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2.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4.xml" ContentType="application/vnd.openxmlformats-officedocument.them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5.xml" ContentType="application/vnd.openxmlformats-officedocument.theme+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notesSlides/notesSlide1.xml" ContentType="application/vnd.openxmlformats-officedocument.presentationml.notesSlide+xml"/>
  <Override PartName="/ppt/tags/tag659.xml" ContentType="application/vnd.openxmlformats-officedocument.presentationml.tags+xml"/>
  <Override PartName="/ppt/tags/tag660.xml" ContentType="application/vnd.openxmlformats-officedocument.presentationml.tags+xml"/>
  <Override PartName="/ppt/notesSlides/notesSlide2.xml" ContentType="application/vnd.openxmlformats-officedocument.presentationml.notesSlide+xml"/>
  <Override PartName="/ppt/tags/tag661.xml" ContentType="application/vnd.openxmlformats-officedocument.presentationml.tags+xml"/>
  <Override PartName="/ppt/notesSlides/notesSlide3.xml" ContentType="application/vnd.openxmlformats-officedocument.presentationml.notesSlide+xml"/>
  <Override PartName="/ppt/media/image33.bin" ContentType="image/jpeg"/>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notesSlides/notesSlide4.xml" ContentType="application/vnd.openxmlformats-officedocument.presentationml.notesSlide+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notesSlides/notesSlide5.xml" ContentType="application/vnd.openxmlformats-officedocument.presentationml.notesSlide+xml"/>
  <Override PartName="/ppt/tags/tag668.xml" ContentType="application/vnd.openxmlformats-officedocument.presentationml.tags+xml"/>
  <Override PartName="/ppt/notesSlides/notesSlide6.xml" ContentType="application/vnd.openxmlformats-officedocument.presentationml.notesSlide+xml"/>
  <Override PartName="/ppt/tags/tag669.xml" ContentType="application/vnd.openxmlformats-officedocument.presentationml.tags+xml"/>
  <Override PartName="/ppt/notesSlides/notesSlide7.xml" ContentType="application/vnd.openxmlformats-officedocument.presentationml.notesSlide+xml"/>
  <Override PartName="/ppt/tags/tag670.xml" ContentType="application/vnd.openxmlformats-officedocument.presentationml.tags+xml"/>
  <Override PartName="/ppt/notesSlides/notesSlide8.xml" ContentType="application/vnd.openxmlformats-officedocument.presentationml.notesSlide+xml"/>
  <Override PartName="/ppt/tags/tag671.xml" ContentType="application/vnd.openxmlformats-officedocument.presentationml.tags+xml"/>
  <Override PartName="/ppt/notesSlides/notesSlide9.xml" ContentType="application/vnd.openxmlformats-officedocument.presentationml.notesSlide+xml"/>
  <Override PartName="/ppt/tags/tag672.xml" ContentType="application/vnd.openxmlformats-officedocument.presentationml.tags+xml"/>
  <Override PartName="/ppt/notesSlides/notesSlide10.xml" ContentType="application/vnd.openxmlformats-officedocument.presentationml.notesSlide+xml"/>
  <Override PartName="/ppt/tags/tag673.xml" ContentType="application/vnd.openxmlformats-officedocument.presentationml.tags+xml"/>
  <Override PartName="/ppt/notesSlides/notesSlide11.xml" ContentType="application/vnd.openxmlformats-officedocument.presentationml.notesSlide+xml"/>
  <Override PartName="/ppt/tags/tag674.xml" ContentType="application/vnd.openxmlformats-officedocument.presentationml.tags+xml"/>
  <Override PartName="/ppt/notesSlides/notesSlide12.xml" ContentType="application/vnd.openxmlformats-officedocument.presentationml.notesSlide+xml"/>
  <Override PartName="/ppt/tags/tag675.xml" ContentType="application/vnd.openxmlformats-officedocument.presentationml.tags+xml"/>
  <Override PartName="/ppt/notesSlides/notesSlide13.xml" ContentType="application/vnd.openxmlformats-officedocument.presentationml.notesSlide+xml"/>
  <Override PartName="/ppt/tags/tag676.xml" ContentType="application/vnd.openxmlformats-officedocument.presentationml.tags+xml"/>
  <Override PartName="/ppt/notesSlides/notesSlide14.xml" ContentType="application/vnd.openxmlformats-officedocument.presentationml.notesSlide+xml"/>
  <Override PartName="/ppt/tags/tag677.xml" ContentType="application/vnd.openxmlformats-officedocument.presentationml.tags+xml"/>
  <Override PartName="/ppt/tags/tag678.xml" ContentType="application/vnd.openxmlformats-officedocument.presentationml.tags+xml"/>
  <Override PartName="/ppt/notesSlides/notesSlide15.xml" ContentType="application/vnd.openxmlformats-officedocument.presentationml.notesSlide+xml"/>
  <Override PartName="/ppt/tags/tag679.xml" ContentType="application/vnd.openxmlformats-officedocument.presentationml.tags+xml"/>
  <Override PartName="/ppt/notesSlides/notesSlide16.xml" ContentType="application/vnd.openxmlformats-officedocument.presentationml.notesSlide+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notesSlides/notesSlide17.xml" ContentType="application/vnd.openxmlformats-officedocument.presentationml.notesSlide+xml"/>
  <Override PartName="/ppt/tags/tag683.xml" ContentType="application/vnd.openxmlformats-officedocument.presentationml.tags+xml"/>
  <Override PartName="/ppt/notesSlides/notesSlide18.xml" ContentType="application/vnd.openxmlformats-officedocument.presentationml.notesSlide+xml"/>
  <Override PartName="/ppt/tags/tag684.xml" ContentType="application/vnd.openxmlformats-officedocument.presentationml.tags+xml"/>
  <Override PartName="/ppt/notesSlides/notesSlide19.xml" ContentType="application/vnd.openxmlformats-officedocument.presentationml.notesSlide+xml"/>
  <Override PartName="/ppt/tags/tag685.xml" ContentType="application/vnd.openxmlformats-officedocument.presentationml.tags+xml"/>
  <Override PartName="/ppt/notesSlides/notesSlide20.xml" ContentType="application/vnd.openxmlformats-officedocument.presentationml.notesSlide+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notesSlides/notesSlide21.xml" ContentType="application/vnd.openxmlformats-officedocument.presentationml.notesSlide+xml"/>
  <Override PartName="/ppt/tags/tag689.xml" ContentType="application/vnd.openxmlformats-officedocument.presentationml.tags+xml"/>
  <Override PartName="/ppt/tags/tag690.xml" ContentType="application/vnd.openxmlformats-officedocument.presentationml.tags+xml"/>
  <Override PartName="/ppt/notesSlides/notesSlide22.xml" ContentType="application/vnd.openxmlformats-officedocument.presentationml.notesSlide+xml"/>
  <Override PartName="/ppt/tags/tag691.xml" ContentType="application/vnd.openxmlformats-officedocument.presentationml.tags+xml"/>
  <Override PartName="/ppt/notesSlides/notesSlide23.xml" ContentType="application/vnd.openxmlformats-officedocument.presentationml.notesSlide+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notesSlides/notesSlide24.xml" ContentType="application/vnd.openxmlformats-officedocument.presentationml.notesSlide+xml"/>
  <Override PartName="/ppt/media/image83.bin" ContentType="image/png"/>
  <Override PartName="/ppt/media/image84.bin" ContentType="image/svg+xml"/>
  <Override PartName="/ppt/media/image85.bin" ContentType="image/png"/>
  <Override PartName="/ppt/media/image86.bin" ContentType="image/svg+xml"/>
  <Override PartName="/ppt/media/image87.bin" ContentType="image/png"/>
  <Override PartName="/ppt/media/image88.bin" ContentType="image/svg+xml"/>
  <Override PartName="/ppt/tags/tag695.xml" ContentType="application/vnd.openxmlformats-officedocument.presentationml.tags+xml"/>
  <Override PartName="/ppt/tags/tag696.xml" ContentType="application/vnd.openxmlformats-officedocument.presentationml.tags+xml"/>
  <Override PartName="/ppt/notesSlides/notesSlide25.xml" ContentType="application/vnd.openxmlformats-officedocument.presentationml.notesSlide+xml"/>
  <Override PartName="/ppt/media/image93.bin" ContentType="image/png"/>
  <Override PartName="/ppt/media/image94.bin" ContentType="image/svg+xml"/>
  <Override PartName="/ppt/media/image95.bin" ContentType="image/png"/>
  <Override PartName="/ppt/media/image96.bin" ContentType="image/svg+xml"/>
  <Override PartName="/ppt/tags/tag697.xml" ContentType="application/vnd.openxmlformats-officedocument.presentationml.tags+xml"/>
  <Override PartName="/ppt/tags/tag698.xml" ContentType="application/vnd.openxmlformats-officedocument.presentationml.tags+xml"/>
  <Override PartName="/ppt/notesSlides/notesSlide26.xml" ContentType="application/vnd.openxmlformats-officedocument.presentationml.notesSlide+xml"/>
  <Override PartName="/ppt/tags/tag699.xml" ContentType="application/vnd.openxmlformats-officedocument.presentationml.tags+xml"/>
  <Override PartName="/ppt/tags/tag700.xml" ContentType="application/vnd.openxmlformats-officedocument.presentationml.tags+xml"/>
  <Override PartName="/ppt/notesSlides/notesSlide27.xml" ContentType="application/vnd.openxmlformats-officedocument.presentationml.notesSlide+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notesSlides/notesSlide28.xml" ContentType="application/vnd.openxmlformats-officedocument.presentationml.notesSlide+xml"/>
  <Override PartName="/ppt/media/image99.bin" ContentType="image/png"/>
  <Override PartName="/ppt/media/image100.bin" ContentType="image/svg+xml"/>
  <Override PartName="/ppt/media/image101.bin" ContentType="image/png"/>
  <Override PartName="/ppt/media/image102.bin" ContentType="image/svg+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notesSlides/notesSlide29.xml" ContentType="application/vnd.openxmlformats-officedocument.presentationml.notesSlide+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notesSlides/notesSlide30.xml" ContentType="application/vnd.openxmlformats-officedocument.presentationml.notesSlide+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notesSlides/notesSlide31.xml" ContentType="application/vnd.openxmlformats-officedocument.presentationml.notesSlide+xml"/>
  <Override PartName="/ppt/charts/chart1.xml" ContentType="application/vnd.openxmlformats-officedocument.drawingml.chart+xml"/>
  <Override PartName="/ppt/tags/tag737.xml" ContentType="application/vnd.openxmlformats-officedocument.presentationml.tags+xml"/>
  <Override PartName="/ppt/tags/tag738.xml" ContentType="application/vnd.openxmlformats-officedocument.presentationml.tags+xml"/>
  <Override PartName="/ppt/notesSlides/notesSlide32.xml" ContentType="application/vnd.openxmlformats-officedocument.presentationml.notesSlide+xml"/>
  <Override PartName="/ppt/media/image110.bin" ContentType="image/png"/>
  <Override PartName="/ppt/media/image111.bin" ContentType="image/svg+xml"/>
  <Override PartName="/ppt/tags/tag739.xml" ContentType="application/vnd.openxmlformats-officedocument.presentationml.tags+xml"/>
  <Override PartName="/ppt/notesSlides/notesSlide33.xml" ContentType="application/vnd.openxmlformats-officedocument.presentationml.notesSlide+xml"/>
  <Override PartName="/ppt/media/image113.bin" ContentType="image/jpeg"/>
  <Override PartName="/ppt/media/image114.bin" ContentType="image/x-emf"/>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p:sldMasterIdLst>
    <p:sldMasterId id="2147483648" r:id="rId12"/>
    <p:sldMasterId id="2147483808" r:id="rId13"/>
    <p:sldMasterId id="2147483844" r:id="rId14"/>
    <p:sldMasterId id="2147483887" r:id="rId15"/>
    <p:sldMasterId id="2147483930" r:id="rId16"/>
  </p:sldMasterIdLst>
  <p:notesMasterIdLst>
    <p:notesMasterId r:id="rId53"/>
  </p:notesMasterIdLst>
  <p:handoutMasterIdLst>
    <p:handoutMasterId r:id="rId54"/>
  </p:handoutMasterIdLst>
  <p:sldIdLst>
    <p:sldId id="2134804331" r:id="rId17"/>
    <p:sldId id="2134804335" r:id="rId18"/>
    <p:sldId id="2134804333" r:id="rId19"/>
    <p:sldId id="2134804336" r:id="rId20"/>
    <p:sldId id="2134804338" r:id="rId21"/>
    <p:sldId id="2134804334" r:id="rId22"/>
    <p:sldId id="417" r:id="rId23"/>
    <p:sldId id="453" r:id="rId24"/>
    <p:sldId id="410" r:id="rId25"/>
    <p:sldId id="12705" r:id="rId26"/>
    <p:sldId id="413" r:id="rId27"/>
    <p:sldId id="414" r:id="rId28"/>
    <p:sldId id="415" r:id="rId29"/>
    <p:sldId id="416" r:id="rId30"/>
    <p:sldId id="260" r:id="rId31"/>
    <p:sldId id="365" r:id="rId32"/>
    <p:sldId id="315" r:id="rId33"/>
    <p:sldId id="2134804337" r:id="rId34"/>
    <p:sldId id="437" r:id="rId35"/>
    <p:sldId id="758" r:id="rId36"/>
    <p:sldId id="12715" r:id="rId37"/>
    <p:sldId id="267" r:id="rId38"/>
    <p:sldId id="2134804306" r:id="rId39"/>
    <p:sldId id="256" r:id="rId40"/>
    <p:sldId id="2134804307" r:id="rId41"/>
    <p:sldId id="2134804319" r:id="rId42"/>
    <p:sldId id="347" r:id="rId43"/>
    <p:sldId id="1448943294" r:id="rId44"/>
    <p:sldId id="2134804308" r:id="rId45"/>
    <p:sldId id="2134804309" r:id="rId46"/>
    <p:sldId id="2134804310" r:id="rId47"/>
    <p:sldId id="2134804326" r:id="rId48"/>
    <p:sldId id="2134804314" r:id="rId49"/>
    <p:sldId id="276" r:id="rId50"/>
    <p:sldId id="2134804339" r:id="rId51"/>
    <p:sldId id="832" r:id="rId52"/>
  </p:sldIdLst>
  <p:sldSz cx="12192000" cy="6858000"/>
  <p:notesSz cx="6858000" cy="9144000"/>
  <p:embeddedFontLst>
    <p:embeddedFont>
      <p:font typeface="Apis" panose="020B0604020202020204" charset="0"/>
      <p:regular r:id="rId55"/>
      <p:bold r:id="rId56"/>
      <p:italic r:id="rId57"/>
      <p:boldItalic r:id="rId58"/>
    </p:embeddedFont>
    <p:embeddedFont>
      <p:font typeface="Apis For Office" panose="020B0504010101010104" pitchFamily="34" charset="0"/>
      <p:regular r:id="rId59"/>
      <p:bold r:id="rId60"/>
      <p:italic r:id="rId61"/>
      <p:boldItalic r:id="rId62"/>
    </p:embeddedFont>
    <p:embeddedFont>
      <p:font typeface="Apis For Office Light" panose="020B0404010101010104" pitchFamily="34" charset="0"/>
      <p:regular r:id="rId63"/>
      <p:italic r:id="rId64"/>
    </p:embeddedFont>
    <p:embeddedFont>
      <p:font typeface="Apis For Office Medium" panose="020B0604010101010104" charset="0"/>
      <p:regular r:id="rId65"/>
      <p:italic r:id="rId66"/>
    </p:embeddedFont>
    <p:embeddedFont>
      <p:font typeface="Verdana" panose="020B0604030504040204" pitchFamily="34" charset="0"/>
      <p:regular r:id="rId67"/>
      <p:bold r:id="rId68"/>
      <p:italic r:id="rId69"/>
      <p:boldItalic r:id="rId70"/>
    </p:embeddedFont>
  </p:embeddedFontLst>
  <p:custDataLst>
    <p:tags r:id="rId7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7"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34D070-069E-4C97-BA61-E1E01E99F7FF}" v="12" dt="2020-11-06T15:41:43.444"/>
    <p1510:client id="{54FA72C3-7083-41EE-8854-0D384E2B79F6}" v="68" dt="2020-11-06T16:15:59.280"/>
    <p1510:client id="{6D9994FD-5E6E-4AA2-B4CA-E2C8F98AF5CD}" v="4" dt="2020-11-06T16:21:05.6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272" autoAdjust="0"/>
    <p:restoredTop sz="93817" autoAdjust="0"/>
  </p:normalViewPr>
  <p:slideViewPr>
    <p:cSldViewPr snapToGrid="0" showGuides="1">
      <p:cViewPr varScale="1">
        <p:scale>
          <a:sx n="63" d="100"/>
          <a:sy n="63" d="100"/>
        </p:scale>
        <p:origin x="600" y="52"/>
      </p:cViewPr>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0"/>
    </p:cViewPr>
  </p:sorterViewPr>
  <p:notesViewPr>
    <p:cSldViewPr snapToGrid="0">
      <p:cViewPr varScale="1">
        <p:scale>
          <a:sx n="51" d="100"/>
          <a:sy n="51" d="100"/>
        </p:scale>
        <p:origin x="2692" y="4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2.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font" Target="fonts/font1.fntdata"/><Relationship Id="rId63" Type="http://schemas.openxmlformats.org/officeDocument/2006/relationships/font" Target="fonts/font9.fntdata"/><Relationship Id="rId68" Type="http://schemas.openxmlformats.org/officeDocument/2006/relationships/font" Target="fonts/font14.fntdata"/><Relationship Id="rId76" Type="http://schemas.openxmlformats.org/officeDocument/2006/relationships/tableStyles" Target="tableStyles.xml"/><Relationship Id="rId7" Type="http://schemas.openxmlformats.org/officeDocument/2006/relationships/customXml" Target="../customXml/item7.xml"/><Relationship Id="rId71"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Master" Target="slideMasters/slideMaster5.xml"/><Relationship Id="rId29" Type="http://schemas.openxmlformats.org/officeDocument/2006/relationships/slide" Target="slides/slide13.xml"/><Relationship Id="rId11" Type="http://schemas.openxmlformats.org/officeDocument/2006/relationships/customXml" Target="../customXml/item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Master" Target="slideMasters/slideMaster4.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font" Target="fonts/font3.fntdata"/><Relationship Id="rId61" Type="http://schemas.openxmlformats.org/officeDocument/2006/relationships/font" Target="fonts/font7.fntdata"/><Relationship Id="rId10" Type="http://schemas.openxmlformats.org/officeDocument/2006/relationships/customXml" Target="../customXml/item10.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3.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slide" Target="slides/slide35.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Master" Target="slideMasters/slideMaster1.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080550098231821E-2"/>
          <c:y val="5.1080550098231821E-2"/>
          <c:w val="0.89783889980353626"/>
          <c:h val="0.89783889980353626"/>
        </c:manualLayout>
      </c:layout>
      <c:pieChart>
        <c:varyColors val="0"/>
        <c:ser>
          <c:idx val="0"/>
          <c:order val="0"/>
          <c:dPt>
            <c:idx val="0"/>
            <c:bubble3D val="0"/>
            <c:spPr>
              <a:solidFill>
                <a:schemeClr val="accent5"/>
              </a:solidFill>
              <a:ln w="9525" algn="ctr">
                <a:solidFill>
                  <a:schemeClr val="tx1"/>
                </a:solidFill>
                <a:prstDash val="solid"/>
              </a:ln>
            </c:spPr>
            <c:extLst>
              <c:ext xmlns:c16="http://schemas.microsoft.com/office/drawing/2014/chart" uri="{C3380CC4-5D6E-409C-BE32-E72D297353CC}">
                <c16:uniqueId val="{00000000-4BED-48D6-A599-7D7B11A097CE}"/>
              </c:ext>
            </c:extLst>
          </c:dPt>
          <c:dPt>
            <c:idx val="1"/>
            <c:bubble3D val="0"/>
            <c:spPr>
              <a:solidFill>
                <a:schemeClr val="accent2"/>
              </a:solidFill>
              <a:ln w="9525" algn="ctr">
                <a:solidFill>
                  <a:schemeClr val="tx1"/>
                </a:solidFill>
                <a:prstDash val="solid"/>
              </a:ln>
            </c:spPr>
            <c:extLst>
              <c:ext xmlns:c16="http://schemas.microsoft.com/office/drawing/2014/chart" uri="{C3380CC4-5D6E-409C-BE32-E72D297353CC}">
                <c16:uniqueId val="{00000001-4BED-48D6-A599-7D7B11A097CE}"/>
              </c:ext>
            </c:extLst>
          </c:dPt>
          <c:dPt>
            <c:idx val="2"/>
            <c:bubble3D val="0"/>
            <c:spPr>
              <a:solidFill>
                <a:schemeClr val="accent1"/>
              </a:solidFill>
              <a:ln w="9525" algn="ctr">
                <a:solidFill>
                  <a:schemeClr val="tx1"/>
                </a:solidFill>
                <a:prstDash val="solid"/>
              </a:ln>
            </c:spPr>
            <c:extLst>
              <c:ext xmlns:c16="http://schemas.microsoft.com/office/drawing/2014/chart" uri="{C3380CC4-5D6E-409C-BE32-E72D297353CC}">
                <c16:uniqueId val="{00000002-4BED-48D6-A599-7D7B11A097CE}"/>
              </c:ext>
            </c:extLst>
          </c:dPt>
          <c:dPt>
            <c:idx val="3"/>
            <c:bubble3D val="0"/>
            <c:spPr>
              <a:solidFill>
                <a:srgbClr val="4C6C9C"/>
              </a:solidFill>
              <a:ln w="9525" algn="ctr">
                <a:solidFill>
                  <a:schemeClr val="tx1"/>
                </a:solidFill>
                <a:prstDash val="solid"/>
              </a:ln>
            </c:spPr>
            <c:extLst>
              <c:ext xmlns:c16="http://schemas.microsoft.com/office/drawing/2014/chart" uri="{C3380CC4-5D6E-409C-BE32-E72D297353CC}">
                <c16:uniqueId val="{00000003-4BED-48D6-A599-7D7B11A097CE}"/>
              </c:ext>
            </c:extLst>
          </c:dPt>
          <c:dPt>
            <c:idx val="4"/>
            <c:bubble3D val="0"/>
            <c:spPr>
              <a:solidFill>
                <a:schemeClr val="bg2"/>
              </a:solidFill>
              <a:ln w="9525" algn="ctr">
                <a:solidFill>
                  <a:schemeClr val="tx1"/>
                </a:solidFill>
                <a:prstDash val="solid"/>
              </a:ln>
            </c:spPr>
            <c:extLst>
              <c:ext xmlns:c16="http://schemas.microsoft.com/office/drawing/2014/chart" uri="{C3380CC4-5D6E-409C-BE32-E72D297353CC}">
                <c16:uniqueId val="{00000004-4BED-48D6-A599-7D7B11A097CE}"/>
              </c:ext>
            </c:extLst>
          </c:dPt>
          <c:dPt>
            <c:idx val="5"/>
            <c:bubble3D val="0"/>
            <c:spPr>
              <a:solidFill>
                <a:srgbClr val="F3B03E"/>
              </a:solidFill>
              <a:ln w="9525" algn="ctr">
                <a:solidFill>
                  <a:schemeClr val="tx1"/>
                </a:solidFill>
                <a:prstDash val="solid"/>
              </a:ln>
            </c:spPr>
            <c:extLst>
              <c:ext xmlns:c16="http://schemas.microsoft.com/office/drawing/2014/chart" uri="{C3380CC4-5D6E-409C-BE32-E72D297353CC}">
                <c16:uniqueId val="{00000005-4BED-48D6-A599-7D7B11A097CE}"/>
              </c:ext>
            </c:extLst>
          </c:dPt>
          <c:dPt>
            <c:idx val="6"/>
            <c:bubble3D val="0"/>
            <c:spPr>
              <a:solidFill>
                <a:schemeClr val="accent1"/>
              </a:solidFill>
              <a:ln>
                <a:noFill/>
              </a:ln>
            </c:spPr>
            <c:extLst>
              <c:ext xmlns:c16="http://schemas.microsoft.com/office/drawing/2014/chart" uri="{C3380CC4-5D6E-409C-BE32-E72D297353CC}">
                <c16:uniqueId val="{00000006-4BED-48D6-A599-7D7B11A097CE}"/>
              </c:ext>
            </c:extLst>
          </c:dPt>
          <c:dPt>
            <c:idx val="7"/>
            <c:bubble3D val="0"/>
            <c:spPr>
              <a:solidFill>
                <a:srgbClr val="007770"/>
              </a:solidFill>
              <a:ln w="9525" algn="ctr">
                <a:solidFill>
                  <a:schemeClr val="tx1"/>
                </a:solidFill>
                <a:prstDash val="solid"/>
              </a:ln>
            </c:spPr>
            <c:extLst>
              <c:ext xmlns:c16="http://schemas.microsoft.com/office/drawing/2014/chart" uri="{C3380CC4-5D6E-409C-BE32-E72D297353CC}">
                <c16:uniqueId val="{00000007-4BED-48D6-A599-7D7B11A097CE}"/>
              </c:ext>
            </c:extLst>
          </c:dPt>
          <c:val>
            <c:numRef>
              <c:f>Sheet1!$A$1:$A$8</c:f>
              <c:numCache>
                <c:formatCode>General</c:formatCode>
                <c:ptCount val="8"/>
                <c:pt idx="0">
                  <c:v>0.97068530382450002</c:v>
                </c:pt>
                <c:pt idx="1">
                  <c:v>0.99009900990099009</c:v>
                </c:pt>
                <c:pt idx="2">
                  <c:v>0.97068530382450002</c:v>
                </c:pt>
                <c:pt idx="3">
                  <c:v>2.9120559114734998</c:v>
                </c:pt>
                <c:pt idx="4">
                  <c:v>1.941370607649</c:v>
                </c:pt>
                <c:pt idx="5">
                  <c:v>35.915356241506501</c:v>
                </c:pt>
                <c:pt idx="6">
                  <c:v>41.739468064453504</c:v>
                </c:pt>
                <c:pt idx="7">
                  <c:v>14.560279557367503</c:v>
                </c:pt>
              </c:numCache>
            </c:numRef>
          </c:val>
          <c:extLst>
            <c:ext xmlns:c16="http://schemas.microsoft.com/office/drawing/2014/chart" uri="{C3380CC4-5D6E-409C-BE32-E72D297353CC}">
              <c16:uniqueId val="{00000008-4BED-48D6-A599-7D7B11A097CE}"/>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06/11/2020</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1386E511-D742-4EFE-90B5-C9FC42762E0F}" type="datetimeFigureOut">
              <a:rPr lang="en-GB" smtClean="0"/>
              <a:pPr/>
              <a:t>06/11/2020</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16CFAD1-D197-4A88-B173-A6412E995EE5}" type="slidenum">
              <a:rPr lang="en-GB" smtClean="0"/>
              <a:pPr/>
              <a:t>‹#›</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medwatch.dk/secure/Top_picks_in_english/article11657489.ec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err="1"/>
              <a:t>Text</a:t>
            </a:r>
            <a:r>
              <a:rPr lang="da-DK" dirty="0"/>
              <a:t> slide</a:t>
            </a:r>
          </a:p>
          <a:p>
            <a:r>
              <a:rPr lang="da-DK" dirty="0"/>
              <a:t>Image </a:t>
            </a:r>
            <a:r>
              <a:rPr lang="da-DK" dirty="0" err="1"/>
              <a:t>left</a:t>
            </a:r>
            <a:r>
              <a:rPr lang="da-DK" dirty="0"/>
              <a:t> </a:t>
            </a:r>
            <a:r>
              <a:rPr lang="da-DK" dirty="0" err="1"/>
              <a:t>square</a:t>
            </a:r>
            <a:endParaRPr lang="en-GB" dirty="0"/>
          </a:p>
          <a:p>
            <a:r>
              <a:rPr lang="da-DK" dirty="0"/>
              <a:t>Life-</a:t>
            </a:r>
            <a:r>
              <a:rPr lang="da-DK" dirty="0" err="1"/>
              <a:t>changing</a:t>
            </a:r>
            <a:r>
              <a:rPr lang="da-DK" dirty="0"/>
              <a:t> </a:t>
            </a:r>
            <a:r>
              <a:rPr lang="da-DK" dirty="0" err="1"/>
              <a:t>careers</a:t>
            </a:r>
            <a:endParaRPr lang="da-DK" dirty="0"/>
          </a:p>
          <a:p>
            <a:r>
              <a:rPr lang="en-GB" dirty="0"/>
              <a:t>P&amp;O</a:t>
            </a:r>
          </a:p>
          <a:p>
            <a:r>
              <a:rPr lang="en-GB" dirty="0"/>
              <a:t>People and organization</a:t>
            </a:r>
          </a:p>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a:pPr/>
              <a:t>1</a:t>
            </a:fld>
            <a:endParaRPr lang="en-GB" dirty="0"/>
          </a:p>
        </p:txBody>
      </p:sp>
    </p:spTree>
    <p:extLst>
      <p:ext uri="{BB962C8B-B14F-4D97-AF65-F5344CB8AC3E}">
        <p14:creationId xmlns:p14="http://schemas.microsoft.com/office/powerpoint/2010/main" val="3389559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pPr/>
              <a:t>10</a:t>
            </a:fld>
            <a:endParaRPr lang="en-GB"/>
          </a:p>
        </p:txBody>
      </p:sp>
    </p:spTree>
    <p:extLst>
      <p:ext uri="{BB962C8B-B14F-4D97-AF65-F5344CB8AC3E}">
        <p14:creationId xmlns:p14="http://schemas.microsoft.com/office/powerpoint/2010/main" val="5129221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1</a:t>
            </a:fld>
            <a:endParaRPr lang="en-GB"/>
          </a:p>
        </p:txBody>
      </p:sp>
    </p:spTree>
    <p:extLst>
      <p:ext uri="{BB962C8B-B14F-4D97-AF65-F5344CB8AC3E}">
        <p14:creationId xmlns:p14="http://schemas.microsoft.com/office/powerpoint/2010/main" val="34609099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2</a:t>
            </a:fld>
            <a:endParaRPr lang="en-GB"/>
          </a:p>
        </p:txBody>
      </p:sp>
    </p:spTree>
    <p:extLst>
      <p:ext uri="{BB962C8B-B14F-4D97-AF65-F5344CB8AC3E}">
        <p14:creationId xmlns:p14="http://schemas.microsoft.com/office/powerpoint/2010/main" val="33841013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3</a:t>
            </a:fld>
            <a:endParaRPr lang="en-GB"/>
          </a:p>
        </p:txBody>
      </p:sp>
    </p:spTree>
    <p:extLst>
      <p:ext uri="{BB962C8B-B14F-4D97-AF65-F5344CB8AC3E}">
        <p14:creationId xmlns:p14="http://schemas.microsoft.com/office/powerpoint/2010/main" val="32186230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4</a:t>
            </a:fld>
            <a:endParaRPr lang="en-GB"/>
          </a:p>
        </p:txBody>
      </p:sp>
    </p:spTree>
    <p:extLst>
      <p:ext uri="{BB962C8B-B14F-4D97-AF65-F5344CB8AC3E}">
        <p14:creationId xmlns:p14="http://schemas.microsoft.com/office/powerpoint/2010/main" val="14587631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6</a:t>
            </a:fld>
            <a:endParaRPr lang="en-GB"/>
          </a:p>
        </p:txBody>
      </p:sp>
    </p:spTree>
    <p:extLst>
      <p:ext uri="{BB962C8B-B14F-4D97-AF65-F5344CB8AC3E}">
        <p14:creationId xmlns:p14="http://schemas.microsoft.com/office/powerpoint/2010/main" val="40507030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7</a:t>
            </a:fld>
            <a:endParaRPr lang="en-GB"/>
          </a:p>
        </p:txBody>
      </p:sp>
    </p:spTree>
    <p:extLst>
      <p:ext uri="{BB962C8B-B14F-4D97-AF65-F5344CB8AC3E}">
        <p14:creationId xmlns:p14="http://schemas.microsoft.com/office/powerpoint/2010/main" val="7858969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000" b="0" i="0" u="none" strike="noStrike" kern="1200" cap="none" spc="0" normalizeH="0" baseline="0" noProof="0" dirty="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13477772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660" indent="-171660" defTabSz="915523" eaLnBrk="0" fontAlgn="base" hangingPunct="0">
              <a:spcBef>
                <a:spcPct val="30000"/>
              </a:spcBef>
              <a:spcAft>
                <a:spcPct val="0"/>
              </a:spcAft>
              <a:buFont typeface="Arial" panose="020B0604020202020204" pitchFamily="34" charset="0"/>
              <a:buChar char="•"/>
              <a:defRPr/>
            </a:pPr>
            <a:r>
              <a:rPr lang="en-GB" altLang="en-US"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Being </a:t>
            </a:r>
            <a:r>
              <a:rPr lang="en-GB" altLang="en-US" sz="1000" b="1"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socially responsible</a:t>
            </a:r>
            <a:r>
              <a:rPr lang="en-GB" altLang="en-US"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 is about considering the impact we have on people’s lives.</a:t>
            </a:r>
          </a:p>
          <a:p>
            <a:pPr marL="171660" indent="-171660" defTabSz="915523" eaLnBrk="0" fontAlgn="base" hangingPunct="0">
              <a:spcBef>
                <a:spcPct val="30000"/>
              </a:spcBef>
              <a:spcAft>
                <a:spcPct val="0"/>
              </a:spcAft>
              <a:buFont typeface="Arial" panose="020B0604020202020204" pitchFamily="34" charset="0"/>
              <a:buChar char="•"/>
              <a:defRPr/>
            </a:pPr>
            <a:endParaRPr lang="en-GB" altLang="en-US"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endParaRPr>
          </a:p>
          <a:p>
            <a:pPr marL="171660" indent="-171660" defTabSz="915523" eaLnBrk="0" fontAlgn="base" hangingPunct="0">
              <a:spcBef>
                <a:spcPct val="30000"/>
              </a:spcBef>
              <a:spcAft>
                <a:spcPct val="0"/>
              </a:spcAft>
              <a:buFont typeface="Arial" panose="020B0604020202020204" pitchFamily="34" charset="0"/>
              <a:buChar char="•"/>
              <a:defRPr/>
            </a:pPr>
            <a:r>
              <a:rPr lang="en-GB" altLang="en-US"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Being </a:t>
            </a:r>
            <a:r>
              <a:rPr lang="en-GB" altLang="en-US" sz="1000" b="1"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financially responsible </a:t>
            </a:r>
            <a:r>
              <a:rPr lang="en-GB" altLang="en-US"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is about considering the impact we make with the money we earn and how we spend it.</a:t>
            </a:r>
          </a:p>
          <a:p>
            <a:pPr marL="171660" indent="-171660" defTabSz="915523" eaLnBrk="0" fontAlgn="base" hangingPunct="0">
              <a:spcBef>
                <a:spcPct val="30000"/>
              </a:spcBef>
              <a:spcAft>
                <a:spcPct val="0"/>
              </a:spcAft>
              <a:buFont typeface="Arial" panose="020B0604020202020204" pitchFamily="34" charset="0"/>
              <a:buChar char="•"/>
              <a:defRPr/>
            </a:pPr>
            <a:endParaRPr lang="en-GB" altLang="en-US"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endParaRPr>
          </a:p>
          <a:p>
            <a:pPr marL="171660" indent="-171660" defTabSz="915523" eaLnBrk="0" fontAlgn="base" hangingPunct="0">
              <a:spcBef>
                <a:spcPct val="30000"/>
              </a:spcBef>
              <a:spcAft>
                <a:spcPct val="0"/>
              </a:spcAft>
              <a:buFont typeface="Arial" panose="020B0604020202020204" pitchFamily="34" charset="0"/>
              <a:buChar char="•"/>
              <a:defRPr/>
            </a:pPr>
            <a:r>
              <a:rPr lang="en-GB" altLang="en-US"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Being </a:t>
            </a:r>
            <a:r>
              <a:rPr lang="en-GB" altLang="en-US" sz="1000" b="1"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environmentally responsible</a:t>
            </a:r>
            <a:r>
              <a:rPr lang="en-GB" altLang="en-US"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 is about considering our impact on the environment in our decisions and all that we do.</a:t>
            </a:r>
          </a:p>
          <a:p>
            <a:pPr defTabSz="914177">
              <a:defRPr/>
            </a:pPr>
            <a:endParaRPr lang="en-GB" altLang="en-US"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endParaRPr>
          </a:p>
          <a:p>
            <a:pPr marL="172218" indent="-172218" defTabSz="915523" eaLnBrk="0" fontAlgn="base" hangingPunct="0">
              <a:spcBef>
                <a:spcPct val="30000"/>
              </a:spcBef>
              <a:spcAft>
                <a:spcPct val="0"/>
              </a:spcAft>
              <a:buFont typeface="Arial" panose="020B0604020202020204" pitchFamily="34" charset="0"/>
              <a:buChar char="•"/>
              <a:defRPr/>
            </a:pPr>
            <a:r>
              <a:rPr lang="en-GB" altLang="en-US" sz="1000" b="1"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Impacts can be positive or negative</a:t>
            </a:r>
            <a:br>
              <a:rPr lang="en-GB" altLang="en-US"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br>
            <a:r>
              <a:rPr lang="en-GB" altLang="en-US"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We take our point of departure in the patients we serve: Our obligation is to do everything we can for them so that they can live healthy lives. We acknowledge that our activities may have negative impacts to people, communities or the environment. We strive to minimise the negative impacts and maximise the positive impacts, and we always seek to balance the three bottom lines.</a:t>
            </a:r>
            <a:endParaRPr lang="en-GB" altLang="en-US" sz="1000" b="1"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endParaRPr>
          </a:p>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9</a:t>
            </a:fld>
            <a:endParaRPr lang="en-GB"/>
          </a:p>
        </p:txBody>
      </p:sp>
    </p:spTree>
    <p:extLst>
      <p:ext uri="{BB962C8B-B14F-4D97-AF65-F5344CB8AC3E}">
        <p14:creationId xmlns:p14="http://schemas.microsoft.com/office/powerpoint/2010/main" val="36974932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702" indent="-171702" defTabSz="915745" eaLnBrk="0" fontAlgn="base" hangingPunct="0">
              <a:spcBef>
                <a:spcPct val="30000"/>
              </a:spcBef>
              <a:spcAft>
                <a:spcPct val="0"/>
              </a:spcAft>
              <a:buFont typeface="Arial" panose="020B0604020202020204" pitchFamily="34" charset="0"/>
              <a:buChar char="•"/>
              <a:defRPr/>
            </a:pPr>
            <a:r>
              <a:rPr lang="en-GB" altLang="en-US" dirty="0">
                <a:solidFill>
                  <a:srgbClr val="FFFFFF"/>
                </a:solidFill>
              </a:rPr>
              <a:t>Being </a:t>
            </a:r>
            <a:r>
              <a:rPr lang="en-GB" altLang="en-US" u="sng" dirty="0">
                <a:solidFill>
                  <a:srgbClr val="FFFFFF"/>
                </a:solidFill>
              </a:rPr>
              <a:t>financially responsible </a:t>
            </a:r>
            <a:r>
              <a:rPr lang="en-GB" altLang="en-US" dirty="0">
                <a:solidFill>
                  <a:srgbClr val="FFFFFF"/>
                </a:solidFill>
              </a:rPr>
              <a:t>is about considering the impact we make with the money we earn and how we spend it</a:t>
            </a:r>
          </a:p>
          <a:p>
            <a:pPr marL="171702" indent="-171702" defTabSz="915745" eaLnBrk="0" fontAlgn="base" hangingPunct="0">
              <a:spcBef>
                <a:spcPct val="30000"/>
              </a:spcBef>
              <a:spcAft>
                <a:spcPct val="0"/>
              </a:spcAft>
              <a:buFont typeface="Arial" panose="020B0604020202020204" pitchFamily="34" charset="0"/>
              <a:buChar char="•"/>
              <a:defRPr/>
            </a:pPr>
            <a:r>
              <a:rPr lang="en-GB" altLang="en-US" dirty="0">
                <a:solidFill>
                  <a:srgbClr val="FFFFFF"/>
                </a:solidFill>
              </a:rPr>
              <a:t>Being </a:t>
            </a:r>
            <a:r>
              <a:rPr lang="en-GB" altLang="en-US" u="sng" dirty="0">
                <a:solidFill>
                  <a:srgbClr val="FFFFFF"/>
                </a:solidFill>
              </a:rPr>
              <a:t>socially responsible </a:t>
            </a:r>
            <a:r>
              <a:rPr lang="en-GB" altLang="en-US" dirty="0">
                <a:solidFill>
                  <a:srgbClr val="FFFFFF"/>
                </a:solidFill>
              </a:rPr>
              <a:t>is about considering the impact we have on people’s lives </a:t>
            </a:r>
          </a:p>
          <a:p>
            <a:pPr marL="171702" indent="-171702" defTabSz="915745" eaLnBrk="0" fontAlgn="base" hangingPunct="0">
              <a:spcBef>
                <a:spcPct val="30000"/>
              </a:spcBef>
              <a:spcAft>
                <a:spcPct val="0"/>
              </a:spcAft>
              <a:buFont typeface="Arial" panose="020B0604020202020204" pitchFamily="34" charset="0"/>
              <a:buChar char="•"/>
              <a:defRPr/>
            </a:pPr>
            <a:r>
              <a:rPr lang="en-GB" altLang="en-US" dirty="0">
                <a:solidFill>
                  <a:srgbClr val="FFFFFF"/>
                </a:solidFill>
              </a:rPr>
              <a:t>Being </a:t>
            </a:r>
            <a:r>
              <a:rPr lang="en-GB" altLang="en-US" u="sng" dirty="0">
                <a:solidFill>
                  <a:srgbClr val="FFFFFF"/>
                </a:solidFill>
              </a:rPr>
              <a:t>environmentally responsible </a:t>
            </a:r>
            <a:r>
              <a:rPr lang="en-GB" altLang="en-US" dirty="0">
                <a:solidFill>
                  <a:srgbClr val="FFFFFF"/>
                </a:solidFill>
              </a:rPr>
              <a:t>is about considering our impact on the environment</a:t>
            </a:r>
            <a:endParaRPr lang="en-GB" altLang="en-US" b="1" dirty="0">
              <a:solidFill>
                <a:srgbClr val="FFFFFF"/>
              </a:solidFill>
            </a:endParaRPr>
          </a:p>
        </p:txBody>
      </p:sp>
      <p:sp>
        <p:nvSpPr>
          <p:cNvPr id="4" name="Pladsholder til slidenummer 3"/>
          <p:cNvSpPr>
            <a:spLocks noGrp="1"/>
          </p:cNvSpPr>
          <p:nvPr>
            <p:ph type="sldNum" sz="quarter" idx="10"/>
          </p:nvPr>
        </p:nvSpPr>
        <p:spPr/>
        <p:txBody>
          <a:bodyPr/>
          <a:lstStyle/>
          <a:p>
            <a:fld id="{576E89B1-B476-4C59-A1AE-E6F2A1941AB8}" type="slidenum">
              <a:rPr lang="en-GB" smtClean="0"/>
              <a:pPr/>
              <a:t>20</a:t>
            </a:fld>
            <a:endParaRPr lang="en-GB" dirty="0"/>
          </a:p>
        </p:txBody>
      </p:sp>
    </p:spTree>
    <p:extLst>
      <p:ext uri="{BB962C8B-B14F-4D97-AF65-F5344CB8AC3E}">
        <p14:creationId xmlns:p14="http://schemas.microsoft.com/office/powerpoint/2010/main" val="2536895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Strengthen pipeline of potential future managers + specialist, acceleration/fast track programme + strong employer brand with young talent, helps NN attract and retain the talent that is needed to succeed in the future (same purpose across programmes)</a:t>
            </a:r>
          </a:p>
        </p:txBody>
      </p:sp>
      <p:sp>
        <p:nvSpPr>
          <p:cNvPr id="4" name="Slide Number Placeholder 3"/>
          <p:cNvSpPr>
            <a:spLocks noGrp="1"/>
          </p:cNvSpPr>
          <p:nvPr>
            <p:ph type="sldNum" sz="quarter" idx="5"/>
          </p:nvPr>
        </p:nvSpPr>
        <p:spPr/>
        <p:txBody>
          <a:bodyPr/>
          <a:lstStyle/>
          <a:p>
            <a:fld id="{A16CFAD1-D197-4A88-B173-A6412E995EE5}" type="slidenum">
              <a:rPr lang="en-GB" smtClean="0"/>
              <a:pPr/>
              <a:t>2</a:t>
            </a:fld>
            <a:endParaRPr lang="en-GB" dirty="0"/>
          </a:p>
        </p:txBody>
      </p:sp>
    </p:spTree>
    <p:extLst>
      <p:ext uri="{BB962C8B-B14F-4D97-AF65-F5344CB8AC3E}">
        <p14:creationId xmlns:p14="http://schemas.microsoft.com/office/powerpoint/2010/main" val="34880088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239" indent="-172239" defTabSz="918606">
              <a:buFont typeface="Arial" panose="020B0604020202020204" pitchFamily="34" charset="0"/>
              <a:buChar char="•"/>
              <a:defRPr/>
            </a:pPr>
            <a:r>
              <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At Novo Nordisk, we are committed to driving change to defeat diabetes and other serious chronic diseases. To fulfil this purpose, we work to prevent and ultimately cure disease, expand access to our medicines, and pioneer scientific breakthroughs.</a:t>
            </a:r>
          </a:p>
          <a:p>
            <a:pPr defTabSz="918606">
              <a:defRPr/>
            </a:pPr>
            <a:endPar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endParaRPr>
          </a:p>
          <a:p>
            <a:pPr defTabSz="918606">
              <a:defRPr/>
            </a:pPr>
            <a:r>
              <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PREVENTION</a:t>
            </a:r>
          </a:p>
          <a:p>
            <a:pPr marL="172239" indent="-172239" defTabSz="918606">
              <a:buFont typeface="Arial" panose="020B0604020202020204" pitchFamily="34" charset="0"/>
              <a:buChar char="•"/>
              <a:defRPr/>
            </a:pPr>
            <a:r>
              <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It takes more than medicine to defeat a serious chronic disease. </a:t>
            </a:r>
          </a:p>
          <a:p>
            <a:pPr marL="172239" indent="-172239" defTabSz="918606">
              <a:buFont typeface="Arial" panose="020B0604020202020204" pitchFamily="34" charset="0"/>
              <a:buChar char="•"/>
              <a:defRPr/>
            </a:pPr>
            <a:r>
              <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That is why we engage with partners globally to address the root causes of disease and develop interventions to prevent the rise of type 2 diabetes and obesity. </a:t>
            </a:r>
            <a:endPar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endParaRPr>
          </a:p>
          <a:p>
            <a:pPr defTabSz="918606">
              <a:defRPr/>
            </a:pPr>
            <a:endPar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endParaRPr>
          </a:p>
          <a:p>
            <a:pPr marL="459303" lvl="1" defTabSz="918606">
              <a:defRPr/>
            </a:pPr>
            <a:r>
              <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Novo Nordisk will be focusing our efforts across three areas:</a:t>
            </a:r>
          </a:p>
          <a:p>
            <a:pPr marL="688955" lvl="1" indent="-229652" defTabSz="918606">
              <a:buFontTx/>
              <a:buAutoNum type="arabicPeriod"/>
              <a:defRPr/>
            </a:pPr>
            <a:r>
              <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Reducing overweight and obesity in children</a:t>
            </a:r>
          </a:p>
          <a:p>
            <a:pPr marL="688955" lvl="1" indent="-229652" defTabSz="918606">
              <a:buFontTx/>
              <a:buAutoNum type="arabicPeriod"/>
              <a:defRPr/>
            </a:pPr>
            <a:r>
              <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Strenghtening prevention by focusing on health inequality in cities</a:t>
            </a:r>
          </a:p>
          <a:p>
            <a:pPr marL="688955" lvl="1" indent="-229652" defTabSz="918606">
              <a:buFontTx/>
              <a:buAutoNum type="arabicPeriod"/>
              <a:defRPr/>
            </a:pPr>
            <a:r>
              <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Bending the global obesity curve</a:t>
            </a:r>
          </a:p>
          <a:p>
            <a:pPr marL="172239" indent="-172239" defTabSz="918606">
              <a:buFont typeface="Arial" panose="020B0604020202020204" pitchFamily="34" charset="0"/>
              <a:buChar char="•"/>
              <a:defRPr/>
            </a:pPr>
            <a:endPar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endParaRPr>
          </a:p>
          <a:p>
            <a:pPr defTabSz="918606">
              <a:defRPr/>
            </a:pPr>
            <a:r>
              <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ACCESS &amp; AFFORDABILITY:</a:t>
            </a:r>
          </a:p>
          <a:p>
            <a:pPr marL="172239" indent="-172239" defTabSz="918606">
              <a:buFont typeface="Arial" panose="020B0604020202020204" pitchFamily="34" charset="0"/>
              <a:buChar char="•"/>
              <a:defRPr/>
            </a:pPr>
            <a:r>
              <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Millions of people rely on us for their life-saving medicines. Yet, only a fraction of patients are being treated because treatment is either not affordable or not available. </a:t>
            </a:r>
          </a:p>
          <a:p>
            <a:pPr marL="172239" indent="-172239" defTabSz="918606">
              <a:buFont typeface="Arial" panose="020B0604020202020204" pitchFamily="34" charset="0"/>
              <a:buChar char="•"/>
              <a:defRPr/>
            </a:pPr>
            <a:r>
              <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We commit to providing access to affordable medicines for vulnerable patients in every country, and we support capacity building within healthcare systems for the future.</a:t>
            </a:r>
            <a:r>
              <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 </a:t>
            </a:r>
          </a:p>
          <a:p>
            <a:pPr defTabSz="918606">
              <a:defRPr/>
            </a:pPr>
            <a:endPar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endParaRPr>
          </a:p>
          <a:p>
            <a:pPr marL="459303" lvl="1" defTabSz="918606">
              <a:defRPr/>
            </a:pPr>
            <a:r>
              <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Novo Nordisk will be focusing our efforts across three areas:</a:t>
            </a:r>
          </a:p>
          <a:p>
            <a:pPr marL="688955" lvl="1" indent="-229652" defTabSz="918606">
              <a:buFontTx/>
              <a:buAutoNum type="arabicPeriod"/>
              <a:defRPr/>
            </a:pPr>
            <a:r>
              <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Offering affordable insulin in every country</a:t>
            </a:r>
          </a:p>
          <a:p>
            <a:pPr marL="688955" lvl="1" indent="-229652" defTabSz="918606">
              <a:buFontTx/>
              <a:buAutoNum type="arabicPeriod"/>
              <a:defRPr/>
            </a:pPr>
            <a:r>
              <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Expanding patients access to insulin</a:t>
            </a:r>
          </a:p>
          <a:p>
            <a:pPr marL="688955" lvl="1" indent="-229652" defTabSz="918606">
              <a:buFontTx/>
              <a:buAutoNum type="arabicPeriod"/>
              <a:defRPr/>
            </a:pPr>
            <a:r>
              <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Strengthening capacity to treat diabetes</a:t>
            </a:r>
          </a:p>
          <a:p>
            <a:pPr marL="172239" indent="-172239" defTabSz="918606">
              <a:buFont typeface="Arial" panose="020B0604020202020204" pitchFamily="34" charset="0"/>
              <a:buChar char="•"/>
              <a:defRPr/>
            </a:pPr>
            <a:endPar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endParaRPr>
          </a:p>
          <a:p>
            <a:pPr defTabSz="918606">
              <a:defRPr/>
            </a:pPr>
            <a:r>
              <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INNOVATION</a:t>
            </a:r>
          </a:p>
          <a:p>
            <a:pPr marL="172239" indent="-172239" defTabSz="918606">
              <a:buFont typeface="Arial" panose="020B0604020202020204" pitchFamily="34" charset="0"/>
              <a:buChar char="•"/>
              <a:defRPr/>
            </a:pPr>
            <a:r>
              <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We collaborate with patients and partners to transform bold ideas into life-saving and preventive medicines. </a:t>
            </a:r>
          </a:p>
          <a:p>
            <a:pPr marL="172239" indent="-172239" defTabSz="918606">
              <a:buFont typeface="Arial" panose="020B0604020202020204" pitchFamily="34" charset="0"/>
              <a:buChar char="•"/>
              <a:defRPr/>
            </a:pPr>
            <a:r>
              <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We make long-term investments in novel treatments and technologies, including curative stem cell-based therapies, and we continually advance the development of medical devices and digital health solutions. </a:t>
            </a:r>
          </a:p>
          <a:p>
            <a:pPr marL="172239" indent="-172239" defTabSz="918606">
              <a:buFont typeface="Arial" panose="020B0604020202020204" pitchFamily="34" charset="0"/>
              <a:buChar char="•"/>
              <a:defRPr/>
            </a:pPr>
            <a:endParaRPr lang="en-GB"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endParaRPr>
          </a:p>
          <a:p>
            <a:pPr marL="459303" lvl="1" defTabSz="918606">
              <a:defRPr/>
            </a:pPr>
            <a:r>
              <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Novo Nordisk will be focusing our efforts across three areas:</a:t>
            </a:r>
          </a:p>
          <a:p>
            <a:pPr marL="688955" lvl="1" indent="-229652" defTabSz="918606">
              <a:buFontTx/>
              <a:buAutoNum type="arabicPeriod"/>
              <a:defRPr/>
            </a:pPr>
            <a:r>
              <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Keeping people at high risk from developing diabetes</a:t>
            </a:r>
          </a:p>
          <a:p>
            <a:pPr marL="688955" lvl="1" indent="-229652" defTabSz="918606">
              <a:buFontTx/>
              <a:buAutoNum type="arabicPeriod"/>
              <a:defRPr/>
            </a:pPr>
            <a:r>
              <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Exploring transformative treatments for people living with diabetes</a:t>
            </a:r>
          </a:p>
          <a:p>
            <a:pPr marL="688955" lvl="1" indent="-229652" defTabSz="918606">
              <a:buFontTx/>
              <a:buAutoNum type="arabicPeriod"/>
              <a:defRPr/>
            </a:pPr>
            <a:r>
              <a:rPr lang="da-DK" sz="8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Striving for curative therapies for diabetes</a:t>
            </a:r>
          </a:p>
          <a:p>
            <a:pPr defTabSz="918606">
              <a:defRPr/>
            </a:pPr>
            <a:endParaRPr lang="en-GB" sz="800" dirty="0">
              <a:solidFill>
                <a:srgbClr val="001965"/>
              </a:solidFill>
            </a:endParaRPr>
          </a:p>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21</a:t>
            </a:fld>
            <a:endParaRPr lang="en-GB"/>
          </a:p>
        </p:txBody>
      </p:sp>
    </p:spTree>
    <p:extLst>
      <p:ext uri="{BB962C8B-B14F-4D97-AF65-F5344CB8AC3E}">
        <p14:creationId xmlns:p14="http://schemas.microsoft.com/office/powerpoint/2010/main" val="2697015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err="1"/>
              <a:t>Text</a:t>
            </a:r>
            <a:r>
              <a:rPr lang="da-DK" dirty="0"/>
              <a:t> slide</a:t>
            </a:r>
          </a:p>
          <a:p>
            <a:r>
              <a:rPr lang="da-DK" dirty="0"/>
              <a:t>Image </a:t>
            </a:r>
            <a:r>
              <a:rPr lang="da-DK" dirty="0" err="1"/>
              <a:t>left</a:t>
            </a:r>
            <a:r>
              <a:rPr lang="da-DK" dirty="0"/>
              <a:t> </a:t>
            </a:r>
            <a:r>
              <a:rPr lang="da-DK" dirty="0" err="1"/>
              <a:t>square</a:t>
            </a:r>
            <a:endParaRPr lang="en-GB" dirty="0"/>
          </a:p>
          <a:p>
            <a:r>
              <a:rPr lang="da-DK" dirty="0"/>
              <a:t>Life-</a:t>
            </a:r>
            <a:r>
              <a:rPr lang="da-DK" dirty="0" err="1"/>
              <a:t>changing</a:t>
            </a:r>
            <a:r>
              <a:rPr lang="da-DK" dirty="0"/>
              <a:t> </a:t>
            </a:r>
            <a:r>
              <a:rPr lang="da-DK" dirty="0" err="1"/>
              <a:t>careers</a:t>
            </a:r>
            <a:endParaRPr lang="da-DK" dirty="0"/>
          </a:p>
          <a:p>
            <a:r>
              <a:rPr lang="en-GB" dirty="0"/>
              <a:t>P&amp;O</a:t>
            </a:r>
          </a:p>
          <a:p>
            <a:r>
              <a:rPr lang="en-GB" dirty="0"/>
              <a:t>People and organization</a:t>
            </a:r>
          </a:p>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a:pPr/>
              <a:t>22</a:t>
            </a:fld>
            <a:endParaRPr lang="en-GB" dirty="0"/>
          </a:p>
        </p:txBody>
      </p:sp>
    </p:spTree>
    <p:extLst>
      <p:ext uri="{BB962C8B-B14F-4D97-AF65-F5344CB8AC3E}">
        <p14:creationId xmlns:p14="http://schemas.microsoft.com/office/powerpoint/2010/main" val="33895590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Video from GRC 2019</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900" b="0" i="0" u="none" strike="noStrike" kern="1200" cap="none" spc="0" normalizeH="0" baseline="0" noProof="0" dirty="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26806581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err="1"/>
              <a:t>Process</a:t>
            </a: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ooped proces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4 steps</a:t>
            </a:r>
          </a:p>
          <a:p>
            <a:r>
              <a:rPr lang="en-GB" dirty="0"/>
              <a:t>P&amp;O</a:t>
            </a:r>
          </a:p>
          <a:p>
            <a:r>
              <a:rPr lang="da-DK" dirty="0"/>
              <a:t>Life-</a:t>
            </a:r>
            <a:r>
              <a:rPr lang="da-DK" dirty="0" err="1"/>
              <a:t>changing</a:t>
            </a:r>
            <a:r>
              <a:rPr lang="da-DK" dirty="0"/>
              <a:t> </a:t>
            </a:r>
            <a:r>
              <a:rPr lang="da-DK" dirty="0" err="1"/>
              <a:t>careers</a:t>
            </a:r>
            <a:endParaRPr lang="da-DK" dirty="0"/>
          </a:p>
          <a:p>
            <a:r>
              <a:rPr lang="en-GB" dirty="0"/>
              <a:t>People and organ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a:pPr/>
              <a:t>24</a:t>
            </a:fld>
            <a:endParaRPr lang="en-GB" dirty="0"/>
          </a:p>
        </p:txBody>
      </p:sp>
    </p:spTree>
    <p:extLst>
      <p:ext uri="{BB962C8B-B14F-4D97-AF65-F5344CB8AC3E}">
        <p14:creationId xmlns:p14="http://schemas.microsoft.com/office/powerpoint/2010/main" val="12819053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ooped process 4 steps</a:t>
            </a:r>
          </a:p>
          <a:p>
            <a:r>
              <a:rPr lang="en-GB" dirty="0"/>
              <a:t>Circle diagra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orporate consulting</a:t>
            </a:r>
          </a:p>
          <a:p>
            <a:r>
              <a:rPr lang="da-DK" dirty="0" err="1"/>
              <a:t>Process</a:t>
            </a: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ooped proces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4 steps</a:t>
            </a:r>
          </a:p>
          <a:p>
            <a:r>
              <a:rPr lang="en-GB" dirty="0"/>
              <a:t>P&amp;O</a:t>
            </a:r>
          </a:p>
          <a:p>
            <a:r>
              <a:rPr lang="da-DK" dirty="0"/>
              <a:t>Life-</a:t>
            </a:r>
            <a:r>
              <a:rPr lang="da-DK" dirty="0" err="1"/>
              <a:t>changing</a:t>
            </a:r>
            <a:r>
              <a:rPr lang="da-DK" dirty="0"/>
              <a:t> </a:t>
            </a:r>
            <a:r>
              <a:rPr lang="da-DK" dirty="0" err="1"/>
              <a:t>careers</a:t>
            </a:r>
            <a:endParaRPr lang="da-DK" dirty="0"/>
          </a:p>
          <a:p>
            <a:r>
              <a:rPr lang="en-GB" dirty="0"/>
              <a:t>People and organ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a:pPr/>
              <a:t>25</a:t>
            </a:fld>
            <a:endParaRPr lang="en-GB" dirty="0"/>
          </a:p>
        </p:txBody>
      </p:sp>
    </p:spTree>
    <p:extLst>
      <p:ext uri="{BB962C8B-B14F-4D97-AF65-F5344CB8AC3E}">
        <p14:creationId xmlns:p14="http://schemas.microsoft.com/office/powerpoint/2010/main" val="26004665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26</a:t>
            </a:fld>
            <a:endParaRPr lang="en-GB" dirty="0"/>
          </a:p>
        </p:txBody>
      </p:sp>
    </p:spTree>
    <p:extLst>
      <p:ext uri="{BB962C8B-B14F-4D97-AF65-F5344CB8AC3E}">
        <p14:creationId xmlns:p14="http://schemas.microsoft.com/office/powerpoint/2010/main" val="5820763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76E89B1-B476-4C59-A1AE-E6F2A1941AB8}" type="slidenum">
              <a:rPr lang="en-GB" smtClean="0"/>
              <a:pPr/>
              <a:t>27</a:t>
            </a:fld>
            <a:endParaRPr lang="en-GB"/>
          </a:p>
        </p:txBody>
      </p:sp>
    </p:spTree>
    <p:extLst>
      <p:ext uri="{BB962C8B-B14F-4D97-AF65-F5344CB8AC3E}">
        <p14:creationId xmlns:p14="http://schemas.microsoft.com/office/powerpoint/2010/main" val="7258242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28</a:t>
            </a:fld>
            <a:endParaRPr lang="en-GB" dirty="0"/>
          </a:p>
        </p:txBody>
      </p:sp>
    </p:spTree>
    <p:extLst>
      <p:ext uri="{BB962C8B-B14F-4D97-AF65-F5344CB8AC3E}">
        <p14:creationId xmlns:p14="http://schemas.microsoft.com/office/powerpoint/2010/main" val="34126371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imeline</a:t>
            </a:r>
          </a:p>
          <a:p>
            <a:r>
              <a:rPr lang="en-GB" dirty="0"/>
              <a:t>5 steps</a:t>
            </a:r>
          </a:p>
          <a:p>
            <a:r>
              <a:rPr lang="en-GB" dirty="0"/>
              <a:t>P&amp;O</a:t>
            </a:r>
          </a:p>
          <a:p>
            <a:r>
              <a:rPr lang="en-GB" dirty="0"/>
              <a:t>Life-changing careers</a:t>
            </a:r>
          </a:p>
          <a:p>
            <a:endParaRPr lang="en-GB" dirty="0"/>
          </a:p>
        </p:txBody>
      </p:sp>
      <p:sp>
        <p:nvSpPr>
          <p:cNvPr id="4" name="Slide Number Placeholder 3"/>
          <p:cNvSpPr>
            <a:spLocks noGrp="1"/>
          </p:cNvSpPr>
          <p:nvPr>
            <p:ph type="sldNum" sz="quarter" idx="5"/>
          </p:nvPr>
        </p:nvSpPr>
        <p:spPr/>
        <p:txBody>
          <a:bodyPr/>
          <a:lstStyle/>
          <a:p>
            <a:fld id="{576E89B1-B476-4C59-A1AE-E6F2A1941AB8}" type="slidenum">
              <a:rPr lang="en-GB"/>
              <a:pPr/>
              <a:t>30</a:t>
            </a:fld>
            <a:endParaRPr lang="en-GB"/>
          </a:p>
        </p:txBody>
      </p:sp>
    </p:spTree>
    <p:extLst>
      <p:ext uri="{BB962C8B-B14F-4D97-AF65-F5344CB8AC3E}">
        <p14:creationId xmlns:p14="http://schemas.microsoft.com/office/powerpoint/2010/main" val="12806460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000" b="0" i="0" u="none" strike="noStrike" kern="1200" cap="none" spc="0" normalizeH="0" baseline="0" noProof="0" dirty="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29240617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Title slide</a:t>
            </a:r>
          </a:p>
          <a:p>
            <a:r>
              <a:rPr lang="da-DK" dirty="0"/>
              <a:t>Front page</a:t>
            </a:r>
          </a:p>
          <a:p>
            <a:r>
              <a:rPr lang="da-DK" dirty="0"/>
              <a:t>First page</a:t>
            </a:r>
          </a:p>
          <a:p>
            <a:r>
              <a:rPr lang="da-DK" dirty="0"/>
              <a:t>Life-</a:t>
            </a:r>
            <a:r>
              <a:rPr lang="da-DK" dirty="0" err="1"/>
              <a:t>changing</a:t>
            </a:r>
            <a:r>
              <a:rPr lang="da-DK" dirty="0"/>
              <a:t> </a:t>
            </a:r>
            <a:r>
              <a:rPr lang="da-DK" dirty="0" err="1"/>
              <a:t>careers</a:t>
            </a:r>
            <a:endParaRPr lang="da-DK" dirty="0"/>
          </a:p>
          <a:p>
            <a:r>
              <a:rPr lang="en-GB" dirty="0"/>
              <a:t>P&amp;O</a:t>
            </a:r>
          </a:p>
          <a:p>
            <a:r>
              <a:rPr lang="en-GB" dirty="0"/>
              <a:t>People and organization</a:t>
            </a:r>
          </a:p>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a:pPr/>
              <a:t>3</a:t>
            </a:fld>
            <a:endParaRPr lang="en-GB" dirty="0"/>
          </a:p>
        </p:txBody>
      </p:sp>
    </p:spTree>
    <p:extLst>
      <p:ext uri="{BB962C8B-B14F-4D97-AF65-F5344CB8AC3E}">
        <p14:creationId xmlns:p14="http://schemas.microsoft.com/office/powerpoint/2010/main" val="42938928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International experience:</a:t>
            </a:r>
          </a:p>
          <a:p>
            <a:r>
              <a:rPr lang="da-DK" dirty="0"/>
              <a:t>Studying a full semester or working abroad. Back packing around the world does not count as international experience ;o)</a:t>
            </a:r>
          </a:p>
          <a:p>
            <a:endParaRPr lang="da-DK" dirty="0"/>
          </a:p>
          <a:p>
            <a:r>
              <a:rPr lang="da-DK" b="1" dirty="0"/>
              <a:t>Relevant experience from work or extracurricular experience – how important is that?</a:t>
            </a:r>
          </a:p>
          <a:p>
            <a:r>
              <a:rPr lang="da-DK" dirty="0"/>
              <a:t>It’s not the top, top prioritized qualification, but it can show something about what drives you, what hard and soft skills you have learned from eg being part of a sports team </a:t>
            </a:r>
          </a:p>
          <a:p>
            <a:endParaRPr lang="en-GB" dirty="0"/>
          </a:p>
          <a:p>
            <a:r>
              <a:rPr lang="da-DK" dirty="0"/>
              <a:t>Globally Mobile</a:t>
            </a:r>
          </a:p>
          <a:p>
            <a:r>
              <a:rPr lang="da-DK" dirty="0"/>
              <a:t>Important that you are truly globally mobile, since you can be placed anywhere in the world for 6 – 16 months</a:t>
            </a:r>
          </a:p>
          <a:p>
            <a:endParaRPr lang="da-DK" dirty="0"/>
          </a:p>
          <a:p>
            <a:r>
              <a:rPr lang="da-DK" dirty="0"/>
              <a:t>Having a high drive for learning and being able to adapt to change is important, as you will have 3-4 different roles during the 2 years</a:t>
            </a:r>
            <a:endParaRPr lang="en-GB" dirty="0"/>
          </a:p>
          <a:p>
            <a:endParaRPr lang="en-GB" dirty="0"/>
          </a:p>
        </p:txBody>
      </p:sp>
      <p:sp>
        <p:nvSpPr>
          <p:cNvPr id="4" name="Slide Number Placeholder 3"/>
          <p:cNvSpPr>
            <a:spLocks noGrp="1"/>
          </p:cNvSpPr>
          <p:nvPr>
            <p:ph type="sldNum" sz="quarter" idx="5"/>
          </p:nvPr>
        </p:nvSpPr>
        <p:spPr/>
        <p:txBody>
          <a:bodyPr/>
          <a:lstStyle/>
          <a:p>
            <a:fld id="{576E89B1-B476-4C59-A1AE-E6F2A1941AB8}" type="slidenum">
              <a:rPr lang="en-GB"/>
              <a:pPr/>
              <a:t>33</a:t>
            </a:fld>
            <a:endParaRPr lang="en-GB"/>
          </a:p>
        </p:txBody>
      </p:sp>
    </p:spTree>
    <p:extLst>
      <p:ext uri="{BB962C8B-B14F-4D97-AF65-F5344CB8AC3E}">
        <p14:creationId xmlns:p14="http://schemas.microsoft.com/office/powerpoint/2010/main" val="2628791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900" b="0" i="0" u="none" strike="noStrike" kern="1200" cap="none" spc="0" normalizeH="0" baseline="0" noProof="0" dirty="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19642455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err="1"/>
              <a:t>Process</a:t>
            </a: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Looped process 3 steps</a:t>
            </a:r>
          </a:p>
          <a:p>
            <a:r>
              <a:rPr lang="en-GB" dirty="0"/>
              <a:t>P&amp;O</a:t>
            </a:r>
          </a:p>
          <a:p>
            <a:r>
              <a:rPr lang="da-DK" dirty="0"/>
              <a:t>Life-</a:t>
            </a:r>
            <a:r>
              <a:rPr lang="da-DK" dirty="0" err="1"/>
              <a:t>changing</a:t>
            </a:r>
            <a:r>
              <a:rPr lang="da-DK" dirty="0"/>
              <a:t> </a:t>
            </a:r>
            <a:r>
              <a:rPr lang="da-DK" dirty="0" err="1"/>
              <a:t>careers</a:t>
            </a:r>
            <a:endParaRPr lang="da-DK" dirty="0"/>
          </a:p>
          <a:p>
            <a:r>
              <a:rPr lang="en-GB" dirty="0"/>
              <a:t>People and organ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a:ln>
                  <a:noFill/>
                </a:ln>
                <a:solidFill>
                  <a:srgbClr val="000000"/>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000" b="0" i="0" u="none" strike="noStrike" kern="1200" cap="none" spc="0" normalizeH="0" baseline="0" noProof="0" dirty="0">
              <a:ln>
                <a:noFill/>
              </a:ln>
              <a:solidFill>
                <a:srgbClr val="000000"/>
              </a:solidFill>
              <a:effectLst/>
              <a:uLnTx/>
              <a:uFillTx/>
              <a:latin typeface="Apis For Office"/>
              <a:ea typeface="+mn-ea"/>
              <a:cs typeface="+mn-cs"/>
            </a:endParaRPr>
          </a:p>
        </p:txBody>
      </p:sp>
    </p:spTree>
    <p:extLst>
      <p:ext uri="{BB962C8B-B14F-4D97-AF65-F5344CB8AC3E}">
        <p14:creationId xmlns:p14="http://schemas.microsoft.com/office/powerpoint/2010/main" val="2820312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Title slide</a:t>
            </a:r>
          </a:p>
          <a:p>
            <a:r>
              <a:rPr lang="da-DK" dirty="0"/>
              <a:t>Front page</a:t>
            </a:r>
          </a:p>
          <a:p>
            <a:r>
              <a:rPr lang="da-DK" dirty="0"/>
              <a:t>First page</a:t>
            </a:r>
          </a:p>
          <a:p>
            <a:r>
              <a:rPr lang="da-DK" dirty="0"/>
              <a:t>Life-</a:t>
            </a:r>
            <a:r>
              <a:rPr lang="da-DK" dirty="0" err="1"/>
              <a:t>changing</a:t>
            </a:r>
            <a:r>
              <a:rPr lang="da-DK" dirty="0"/>
              <a:t> </a:t>
            </a:r>
            <a:r>
              <a:rPr lang="da-DK" dirty="0" err="1"/>
              <a:t>careers</a:t>
            </a:r>
            <a:endParaRPr lang="da-DK" dirty="0"/>
          </a:p>
          <a:p>
            <a:r>
              <a:rPr lang="en-GB" dirty="0"/>
              <a:t>P&amp;O</a:t>
            </a:r>
          </a:p>
          <a:p>
            <a:r>
              <a:rPr lang="en-GB" dirty="0"/>
              <a:t>People and organization</a:t>
            </a:r>
          </a:p>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a:pPr/>
              <a:t>36</a:t>
            </a:fld>
            <a:endParaRPr lang="en-GB" dirty="0"/>
          </a:p>
        </p:txBody>
      </p:sp>
    </p:spTree>
    <p:extLst>
      <p:ext uri="{BB962C8B-B14F-4D97-AF65-F5344CB8AC3E}">
        <p14:creationId xmlns:p14="http://schemas.microsoft.com/office/powerpoint/2010/main" val="5401565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hort about my background and journey in Novo Nordisk. </a:t>
            </a:r>
          </a:p>
          <a:p>
            <a:endParaRPr lang="en-GB" dirty="0"/>
          </a:p>
          <a:p>
            <a:r>
              <a:rPr lang="en-GB" dirty="0"/>
              <a:t>I have been with the company for almost 7 years, starting out in TA as a recruitment partner in Product Supply, the manufacturing part of Novo. </a:t>
            </a:r>
          </a:p>
          <a:p>
            <a:r>
              <a:rPr lang="en-GB" dirty="0"/>
              <a:t>I graduated from CBS in 2010 with a master’s degree in HRM. </a:t>
            </a:r>
          </a:p>
          <a:p>
            <a:endParaRPr lang="en-GB" dirty="0"/>
          </a:p>
          <a:p>
            <a:r>
              <a:rPr lang="en-GB" dirty="0"/>
              <a:t>I my current role </a:t>
            </a:r>
            <a:r>
              <a:rPr lang="en-GB" dirty="0" err="1"/>
              <a:t>i</a:t>
            </a:r>
            <a:r>
              <a:rPr lang="en-GB" dirty="0"/>
              <a:t> Early Talent &amp; Outreach I’m responsible for Global Talent Attraction, positioning NN as prepared </a:t>
            </a:r>
            <a:r>
              <a:rPr lang="en-GB" dirty="0" err="1"/>
              <a:t>employeer</a:t>
            </a:r>
            <a:r>
              <a:rPr lang="en-GB" dirty="0"/>
              <a:t> – I </a:t>
            </a:r>
            <a:r>
              <a:rPr lang="en-GB" dirty="0" err="1"/>
              <a:t>travell</a:t>
            </a:r>
            <a:r>
              <a:rPr lang="en-GB" dirty="0"/>
              <a:t> around the world ( at least I did before this global Corona outbreak hit us) to tell about the awesome career opportunities we offer in Novo Nordisk.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During this </a:t>
            </a:r>
            <a:r>
              <a:rPr lang="en-GB" sz="1200" b="1" dirty="0" err="1">
                <a:solidFill>
                  <a:srgbClr val="001965"/>
                </a:solidFill>
                <a:ea typeface="MS PGothic" pitchFamily="34" charset="-128"/>
              </a:rPr>
              <a:t>Quarentine</a:t>
            </a:r>
            <a:r>
              <a:rPr lang="en-GB" sz="1200" b="1" dirty="0">
                <a:solidFill>
                  <a:srgbClr val="001965"/>
                </a:solidFill>
                <a:ea typeface="MS PGothic" pitchFamily="34"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solidFill>
                  <a:srgbClr val="001965"/>
                </a:solidFill>
                <a:ea typeface="MS PGothic" pitchFamily="34" charset="-128"/>
              </a:rPr>
              <a:t>I navigate working from home and at the same time taking care of my to small kids. That is one of the most challenging things I have tried. But we managed. Luckily they are both back in day care now. It makes it easier to focus, But </a:t>
            </a:r>
            <a:r>
              <a:rPr lang="en-GB" sz="1200" b="0" dirty="0" err="1">
                <a:solidFill>
                  <a:srgbClr val="001965"/>
                </a:solidFill>
                <a:ea typeface="MS PGothic" pitchFamily="34" charset="-128"/>
              </a:rPr>
              <a:t>i</a:t>
            </a:r>
            <a:r>
              <a:rPr lang="en-GB" sz="1200" b="0" dirty="0">
                <a:solidFill>
                  <a:srgbClr val="001965"/>
                </a:solidFill>
                <a:ea typeface="MS PGothic" pitchFamily="34" charset="-128"/>
              </a:rPr>
              <a:t> have also really </a:t>
            </a:r>
            <a:r>
              <a:rPr lang="en-GB" sz="1200" b="0" dirty="0" err="1">
                <a:solidFill>
                  <a:srgbClr val="001965"/>
                </a:solidFill>
                <a:ea typeface="MS PGothic" pitchFamily="34" charset="-128"/>
              </a:rPr>
              <a:t>enjoyeed</a:t>
            </a:r>
            <a:r>
              <a:rPr lang="en-GB" sz="1200" b="0" dirty="0">
                <a:solidFill>
                  <a:srgbClr val="001965"/>
                </a:solidFill>
                <a:ea typeface="MS PGothic" pitchFamily="34" charset="-128"/>
              </a:rPr>
              <a:t> all the time with them and my husba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solidFill>
                <a:srgbClr val="001965"/>
              </a:solidFill>
              <a:ea typeface="MS PGothic" pitchFamily="34"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solidFill>
                  <a:srgbClr val="001965"/>
                </a:solidFill>
                <a:ea typeface="MS PGothic" pitchFamily="34" charset="-128"/>
              </a:rPr>
              <a:t>My </a:t>
            </a:r>
            <a:r>
              <a:rPr lang="en-GB" sz="1200" b="0" dirty="0" err="1">
                <a:solidFill>
                  <a:srgbClr val="001965"/>
                </a:solidFill>
                <a:ea typeface="MS PGothic" pitchFamily="34" charset="-128"/>
              </a:rPr>
              <a:t>favorite</a:t>
            </a:r>
            <a:r>
              <a:rPr lang="en-GB" sz="1200" b="0" dirty="0">
                <a:solidFill>
                  <a:srgbClr val="001965"/>
                </a:solidFill>
                <a:ea typeface="MS PGothic" pitchFamily="34" charset="-128"/>
              </a:rPr>
              <a:t> new Corona hobby – it to do </a:t>
            </a:r>
            <a:r>
              <a:rPr lang="en-GB" sz="1200" b="0" dirty="0" err="1">
                <a:solidFill>
                  <a:srgbClr val="001965"/>
                </a:solidFill>
                <a:ea typeface="MS PGothic" pitchFamily="34" charset="-128"/>
              </a:rPr>
              <a:t>crossfit</a:t>
            </a:r>
            <a:r>
              <a:rPr lang="en-GB" sz="1200" b="0" dirty="0">
                <a:solidFill>
                  <a:srgbClr val="001965"/>
                </a:solidFill>
                <a:ea typeface="MS PGothic" pitchFamily="34" charset="-128"/>
              </a:rPr>
              <a:t> outside with a friend – we bring our kettlebells and work out for one our – afterwards we jump into the sea. It pretty cold but amazing and you get the best feeling afterwards. </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900" b="0" i="0" u="none" strike="noStrike" kern="1200" cap="none" spc="0" normalizeH="0" baseline="0" noProof="0">
                <a:ln>
                  <a:noFill/>
                </a:ln>
                <a:solidFill>
                  <a:srgbClr val="001965"/>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900" b="0" i="0" u="none" strike="noStrike" kern="1200" cap="none" spc="0" normalizeH="0" baseline="0" noProof="0" dirty="0">
              <a:ln>
                <a:noFill/>
              </a:ln>
              <a:solidFill>
                <a:srgbClr val="001965"/>
              </a:solidFill>
              <a:effectLst/>
              <a:uLnTx/>
              <a:uFillTx/>
              <a:latin typeface="Apis For Office"/>
              <a:ea typeface="+mn-ea"/>
              <a:cs typeface="+mn-cs"/>
            </a:endParaRPr>
          </a:p>
        </p:txBody>
      </p:sp>
    </p:spTree>
    <p:extLst>
      <p:ext uri="{BB962C8B-B14F-4D97-AF65-F5344CB8AC3E}">
        <p14:creationId xmlns:p14="http://schemas.microsoft.com/office/powerpoint/2010/main" val="3686407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hort about my background and journey in Novo Nordisk. </a:t>
            </a:r>
          </a:p>
          <a:p>
            <a:endParaRPr lang="en-GB" dirty="0"/>
          </a:p>
          <a:p>
            <a:r>
              <a:rPr lang="en-GB" dirty="0"/>
              <a:t>I have been with the company for almost 7 years, starting out in TA as a recruitment partner in Product Supply, the manufacturing part of Novo. </a:t>
            </a:r>
          </a:p>
          <a:p>
            <a:r>
              <a:rPr lang="en-GB" dirty="0"/>
              <a:t>I graduated from CBS in 2010 with a master’s degree in HRM. </a:t>
            </a:r>
          </a:p>
          <a:p>
            <a:endParaRPr lang="en-GB" dirty="0"/>
          </a:p>
          <a:p>
            <a:r>
              <a:rPr lang="en-GB" dirty="0"/>
              <a:t>I my current role </a:t>
            </a:r>
            <a:r>
              <a:rPr lang="en-GB" dirty="0" err="1"/>
              <a:t>i</a:t>
            </a:r>
            <a:r>
              <a:rPr lang="en-GB" dirty="0"/>
              <a:t> Early Talent &amp; Outreach I’m responsible for Global Talent Attraction, positioning NN as prepared </a:t>
            </a:r>
            <a:r>
              <a:rPr lang="en-GB" dirty="0" err="1"/>
              <a:t>employeer</a:t>
            </a:r>
            <a:r>
              <a:rPr lang="en-GB" dirty="0"/>
              <a:t> – I </a:t>
            </a:r>
            <a:r>
              <a:rPr lang="en-GB" dirty="0" err="1"/>
              <a:t>travell</a:t>
            </a:r>
            <a:r>
              <a:rPr lang="en-GB" dirty="0"/>
              <a:t> around the world ( at least I did before this global Corona outbreak hit us) to tell about the awesome career opportunities we offer in Novo Nordisk.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During this </a:t>
            </a:r>
            <a:r>
              <a:rPr lang="en-GB" sz="1200" b="1" dirty="0" err="1">
                <a:solidFill>
                  <a:srgbClr val="001965"/>
                </a:solidFill>
                <a:ea typeface="MS PGothic" pitchFamily="34" charset="-128"/>
              </a:rPr>
              <a:t>Quarentine</a:t>
            </a:r>
            <a:r>
              <a:rPr lang="en-GB" sz="1200" b="1" dirty="0">
                <a:solidFill>
                  <a:srgbClr val="001965"/>
                </a:solidFill>
                <a:ea typeface="MS PGothic" pitchFamily="34" charset="-128"/>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solidFill>
                  <a:srgbClr val="001965"/>
                </a:solidFill>
                <a:ea typeface="MS PGothic" pitchFamily="34" charset="-128"/>
              </a:rPr>
              <a:t>I navigate working from home and at the same time taking care of my to small kids. That is one of the most challenging things I have tried. But we managed. Luckily they are both back in day care now. It makes it easier to focus, But </a:t>
            </a:r>
            <a:r>
              <a:rPr lang="en-GB" sz="1200" b="0" dirty="0" err="1">
                <a:solidFill>
                  <a:srgbClr val="001965"/>
                </a:solidFill>
                <a:ea typeface="MS PGothic" pitchFamily="34" charset="-128"/>
              </a:rPr>
              <a:t>i</a:t>
            </a:r>
            <a:r>
              <a:rPr lang="en-GB" sz="1200" b="0" dirty="0">
                <a:solidFill>
                  <a:srgbClr val="001965"/>
                </a:solidFill>
                <a:ea typeface="MS PGothic" pitchFamily="34" charset="-128"/>
              </a:rPr>
              <a:t> have also really </a:t>
            </a:r>
            <a:r>
              <a:rPr lang="en-GB" sz="1200" b="0" dirty="0" err="1">
                <a:solidFill>
                  <a:srgbClr val="001965"/>
                </a:solidFill>
                <a:ea typeface="MS PGothic" pitchFamily="34" charset="-128"/>
              </a:rPr>
              <a:t>enjoyeed</a:t>
            </a:r>
            <a:r>
              <a:rPr lang="en-GB" sz="1200" b="0" dirty="0">
                <a:solidFill>
                  <a:srgbClr val="001965"/>
                </a:solidFill>
                <a:ea typeface="MS PGothic" pitchFamily="34" charset="-128"/>
              </a:rPr>
              <a:t> all the time with them and my husba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solidFill>
                <a:srgbClr val="001965"/>
              </a:solidFill>
              <a:ea typeface="MS PGothic" pitchFamily="34"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solidFill>
                  <a:srgbClr val="001965"/>
                </a:solidFill>
                <a:ea typeface="MS PGothic" pitchFamily="34" charset="-128"/>
              </a:rPr>
              <a:t>My </a:t>
            </a:r>
            <a:r>
              <a:rPr lang="en-GB" sz="1200" b="0" dirty="0" err="1">
                <a:solidFill>
                  <a:srgbClr val="001965"/>
                </a:solidFill>
                <a:ea typeface="MS PGothic" pitchFamily="34" charset="-128"/>
              </a:rPr>
              <a:t>favorite</a:t>
            </a:r>
            <a:r>
              <a:rPr lang="en-GB" sz="1200" b="0" dirty="0">
                <a:solidFill>
                  <a:srgbClr val="001965"/>
                </a:solidFill>
                <a:ea typeface="MS PGothic" pitchFamily="34" charset="-128"/>
              </a:rPr>
              <a:t> new Corona hobby – it to do </a:t>
            </a:r>
            <a:r>
              <a:rPr lang="en-GB" sz="1200" b="0" dirty="0" err="1">
                <a:solidFill>
                  <a:srgbClr val="001965"/>
                </a:solidFill>
                <a:ea typeface="MS PGothic" pitchFamily="34" charset="-128"/>
              </a:rPr>
              <a:t>crossfit</a:t>
            </a:r>
            <a:r>
              <a:rPr lang="en-GB" sz="1200" b="0" dirty="0">
                <a:solidFill>
                  <a:srgbClr val="001965"/>
                </a:solidFill>
                <a:ea typeface="MS PGothic" pitchFamily="34" charset="-128"/>
              </a:rPr>
              <a:t> outside with a friend – we bring our kettlebells and work out for one our – afterwards we jump into the sea. It pretty cold but amazing and you get the best feeling afterwards. </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900" b="0" i="0" u="none" strike="noStrike" kern="1200" cap="none" spc="0" normalizeH="0" baseline="0" noProof="0">
                <a:ln>
                  <a:noFill/>
                </a:ln>
                <a:solidFill>
                  <a:srgbClr val="001965"/>
                </a:solidFill>
                <a:effectLst/>
                <a:uLnTx/>
                <a:uFillTx/>
                <a:latin typeface="Apis For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900" b="0" i="0" u="none" strike="noStrike" kern="1200" cap="none" spc="0" normalizeH="0" baseline="0" noProof="0" dirty="0">
              <a:ln>
                <a:noFill/>
              </a:ln>
              <a:solidFill>
                <a:srgbClr val="001965"/>
              </a:solidFill>
              <a:effectLst/>
              <a:uLnTx/>
              <a:uFillTx/>
              <a:latin typeface="Apis For Office"/>
              <a:ea typeface="+mn-ea"/>
              <a:cs typeface="+mn-cs"/>
            </a:endParaRPr>
          </a:p>
        </p:txBody>
      </p:sp>
    </p:spTree>
    <p:extLst>
      <p:ext uri="{BB962C8B-B14F-4D97-AF65-F5344CB8AC3E}">
        <p14:creationId xmlns:p14="http://schemas.microsoft.com/office/powerpoint/2010/main" val="5698314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16CFAD1-D197-4A88-B173-A6412E995EE5}" type="slidenum">
              <a:rPr lang="en-GB" smtClean="0"/>
              <a:pPr/>
              <a:t>6</a:t>
            </a:fld>
            <a:endParaRPr lang="en-GB"/>
          </a:p>
        </p:txBody>
      </p:sp>
    </p:spTree>
    <p:extLst>
      <p:ext uri="{BB962C8B-B14F-4D97-AF65-F5344CB8AC3E}">
        <p14:creationId xmlns:p14="http://schemas.microsoft.com/office/powerpoint/2010/main" val="23549347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7</a:t>
            </a:fld>
            <a:endParaRPr lang="en-GB"/>
          </a:p>
        </p:txBody>
      </p:sp>
    </p:spTree>
    <p:extLst>
      <p:ext uri="{BB962C8B-B14F-4D97-AF65-F5344CB8AC3E}">
        <p14:creationId xmlns:p14="http://schemas.microsoft.com/office/powerpoint/2010/main" val="34273196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88">
              <a:defRPr/>
            </a:pPr>
            <a:r>
              <a:rPr lang="en-GB"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References:</a:t>
            </a:r>
          </a:p>
          <a:p>
            <a:pPr marL="228573" indent="-228573">
              <a:buAutoNum type="arabicPeriod"/>
              <a:defRPr/>
            </a:pPr>
            <a:r>
              <a:rPr lang="en-GB"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MedWatch. Novo Nordisk is the world’s 6</a:t>
            </a:r>
            <a:r>
              <a:rPr lang="en-GB" sz="1000" baseline="30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th</a:t>
            </a:r>
            <a:r>
              <a:rPr lang="en-GB"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 largest pharma company by market value. 2 October 2019. Available at: </a:t>
            </a:r>
            <a:r>
              <a:rPr lang="en-GB" sz="1000" u="sng"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hlinkClick r:id="rId3">
                  <a:extLst>
                    <a:ext uri="{A12FA001-AC4F-418D-AE19-62706E023703}">
                      <ahyp:hlinkClr xmlns:ahyp="http://schemas.microsoft.com/office/drawing/2018/hyperlinkcolor" val="tx"/>
                    </a:ext>
                  </a:extLst>
                </a:hlinkClick>
              </a:rPr>
              <a:t>https://medwatch.dk/secure/Top_picks_in_english/article11657489.ece</a:t>
            </a:r>
            <a:r>
              <a:rPr lang="en-GB" sz="1000" u="sng"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 </a:t>
            </a:r>
            <a:br>
              <a:rPr lang="en-GB" sz="1000" u="sng"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br>
            <a:r>
              <a:rPr lang="en-GB"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Accessed: February 2020.</a:t>
            </a:r>
          </a:p>
          <a:p>
            <a:pPr defTabSz="914288">
              <a:defRPr/>
            </a:pPr>
            <a:endParaRPr lang="en-GB"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endParaRPr>
          </a:p>
          <a:p>
            <a:pPr defTabSz="914288">
              <a:defRPr/>
            </a:pPr>
            <a:r>
              <a:rPr lang="en-GB" sz="1000" dirty="0">
                <a:solidFill>
                  <a:srgbClr val="000000"/>
                </a:solidFill>
                <a:latin typeface="Apis For Office" panose="020B0504010101010104" pitchFamily="34" charset="0"/>
                <a:ea typeface="Apis For Office" panose="020B0504010101010104" pitchFamily="34" charset="0"/>
                <a:cs typeface="Apis For Office" panose="020B0504010101010104" pitchFamily="34" charset="0"/>
              </a:rPr>
              <a:t>Fact source: Novo Nordisk Annual Report 2019 and data on file.</a:t>
            </a:r>
          </a:p>
          <a:p>
            <a:endParaRPr lang="en-DK"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8</a:t>
            </a:fld>
            <a:endParaRPr lang="en-GB"/>
          </a:p>
        </p:txBody>
      </p:sp>
    </p:spTree>
    <p:extLst>
      <p:ext uri="{BB962C8B-B14F-4D97-AF65-F5344CB8AC3E}">
        <p14:creationId xmlns:p14="http://schemas.microsoft.com/office/powerpoint/2010/main" val="25131743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9</a:t>
            </a:fld>
            <a:endParaRPr lang="en-GB"/>
          </a:p>
        </p:txBody>
      </p:sp>
    </p:spTree>
    <p:extLst>
      <p:ext uri="{BB962C8B-B14F-4D97-AF65-F5344CB8AC3E}">
        <p14:creationId xmlns:p14="http://schemas.microsoft.com/office/powerpoint/2010/main" val="27799851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273.xml"/><Relationship Id="rId2" Type="http://schemas.openxmlformats.org/officeDocument/2006/relationships/tags" Target="../tags/tag272.xml"/><Relationship Id="rId1" Type="http://schemas.openxmlformats.org/officeDocument/2006/relationships/vmlDrawing" Target="../drawings/vmlDrawing53.vml"/><Relationship Id="rId6" Type="http://schemas.openxmlformats.org/officeDocument/2006/relationships/image" Target="../media/image12.emf"/><Relationship Id="rId5" Type="http://schemas.openxmlformats.org/officeDocument/2006/relationships/oleObject" Target="../embeddings/oleObject53.bin"/><Relationship Id="rId4"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275.xml"/><Relationship Id="rId2" Type="http://schemas.openxmlformats.org/officeDocument/2006/relationships/tags" Target="../tags/tag274.xml"/><Relationship Id="rId1" Type="http://schemas.openxmlformats.org/officeDocument/2006/relationships/vmlDrawing" Target="../drawings/vmlDrawing54.vml"/><Relationship Id="rId6" Type="http://schemas.openxmlformats.org/officeDocument/2006/relationships/image" Target="../media/image12.emf"/><Relationship Id="rId5" Type="http://schemas.openxmlformats.org/officeDocument/2006/relationships/oleObject" Target="../embeddings/oleObject54.bin"/><Relationship Id="rId4"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277.xml"/><Relationship Id="rId2" Type="http://schemas.openxmlformats.org/officeDocument/2006/relationships/tags" Target="../tags/tag276.xml"/><Relationship Id="rId1" Type="http://schemas.openxmlformats.org/officeDocument/2006/relationships/vmlDrawing" Target="../drawings/vmlDrawing55.vml"/><Relationship Id="rId6" Type="http://schemas.openxmlformats.org/officeDocument/2006/relationships/image" Target="../media/image12.emf"/><Relationship Id="rId5" Type="http://schemas.openxmlformats.org/officeDocument/2006/relationships/oleObject" Target="../embeddings/oleObject55.bin"/><Relationship Id="rId4"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279.xml"/><Relationship Id="rId2" Type="http://schemas.openxmlformats.org/officeDocument/2006/relationships/tags" Target="../tags/tag278.xml"/><Relationship Id="rId1" Type="http://schemas.openxmlformats.org/officeDocument/2006/relationships/vmlDrawing" Target="../drawings/vmlDrawing56.vml"/><Relationship Id="rId6" Type="http://schemas.openxmlformats.org/officeDocument/2006/relationships/image" Target="../media/image12.emf"/><Relationship Id="rId5" Type="http://schemas.openxmlformats.org/officeDocument/2006/relationships/oleObject" Target="../embeddings/oleObject56.bin"/><Relationship Id="rId4"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281.xml"/><Relationship Id="rId2" Type="http://schemas.openxmlformats.org/officeDocument/2006/relationships/tags" Target="../tags/tag280.xml"/><Relationship Id="rId1" Type="http://schemas.openxmlformats.org/officeDocument/2006/relationships/vmlDrawing" Target="../drawings/vmlDrawing57.vml"/><Relationship Id="rId6" Type="http://schemas.openxmlformats.org/officeDocument/2006/relationships/image" Target="../media/image12.emf"/><Relationship Id="rId5" Type="http://schemas.openxmlformats.org/officeDocument/2006/relationships/oleObject" Target="../embeddings/oleObject57.bin"/><Relationship Id="rId4"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283.xml"/><Relationship Id="rId2" Type="http://schemas.openxmlformats.org/officeDocument/2006/relationships/tags" Target="../tags/tag282.xml"/><Relationship Id="rId1" Type="http://schemas.openxmlformats.org/officeDocument/2006/relationships/vmlDrawing" Target="../drawings/vmlDrawing58.vml"/><Relationship Id="rId6" Type="http://schemas.openxmlformats.org/officeDocument/2006/relationships/image" Target="../media/image12.emf"/><Relationship Id="rId5" Type="http://schemas.openxmlformats.org/officeDocument/2006/relationships/oleObject" Target="../embeddings/oleObject58.bin"/><Relationship Id="rId4"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285.xml"/><Relationship Id="rId2" Type="http://schemas.openxmlformats.org/officeDocument/2006/relationships/tags" Target="../tags/tag284.xml"/><Relationship Id="rId1" Type="http://schemas.openxmlformats.org/officeDocument/2006/relationships/vmlDrawing" Target="../drawings/vmlDrawing59.vml"/><Relationship Id="rId6" Type="http://schemas.openxmlformats.org/officeDocument/2006/relationships/image" Target="../media/image12.emf"/><Relationship Id="rId5" Type="http://schemas.openxmlformats.org/officeDocument/2006/relationships/oleObject" Target="../embeddings/oleObject59.bin"/><Relationship Id="rId4"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vmlDrawing" Target="../drawings/vmlDrawing60.vml"/><Relationship Id="rId6" Type="http://schemas.openxmlformats.org/officeDocument/2006/relationships/image" Target="../media/image12.emf"/><Relationship Id="rId5" Type="http://schemas.openxmlformats.org/officeDocument/2006/relationships/oleObject" Target="../embeddings/oleObject60.bin"/><Relationship Id="rId4"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89.xml"/><Relationship Id="rId2" Type="http://schemas.openxmlformats.org/officeDocument/2006/relationships/tags" Target="../tags/tag288.xml"/><Relationship Id="rId1" Type="http://schemas.openxmlformats.org/officeDocument/2006/relationships/vmlDrawing" Target="../drawings/vmlDrawing61.vml"/><Relationship Id="rId6" Type="http://schemas.openxmlformats.org/officeDocument/2006/relationships/image" Target="../media/image12.emf"/><Relationship Id="rId5" Type="http://schemas.openxmlformats.org/officeDocument/2006/relationships/oleObject" Target="../embeddings/oleObject61.bin"/><Relationship Id="rId4"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91.xml"/><Relationship Id="rId2" Type="http://schemas.openxmlformats.org/officeDocument/2006/relationships/tags" Target="../tags/tag290.xml"/><Relationship Id="rId1" Type="http://schemas.openxmlformats.org/officeDocument/2006/relationships/vmlDrawing" Target="../drawings/vmlDrawing62.vml"/><Relationship Id="rId6" Type="http://schemas.openxmlformats.org/officeDocument/2006/relationships/image" Target="../media/image12.emf"/><Relationship Id="rId5" Type="http://schemas.openxmlformats.org/officeDocument/2006/relationships/oleObject" Target="../embeddings/oleObject62.bin"/><Relationship Id="rId4"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293.xml"/><Relationship Id="rId2" Type="http://schemas.openxmlformats.org/officeDocument/2006/relationships/tags" Target="../tags/tag292.xml"/><Relationship Id="rId1" Type="http://schemas.openxmlformats.org/officeDocument/2006/relationships/vmlDrawing" Target="../drawings/vmlDrawing63.vml"/><Relationship Id="rId6" Type="http://schemas.openxmlformats.org/officeDocument/2006/relationships/image" Target="../media/image12.emf"/><Relationship Id="rId5" Type="http://schemas.openxmlformats.org/officeDocument/2006/relationships/oleObject" Target="../embeddings/oleObject63.bin"/><Relationship Id="rId4"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295.xml"/><Relationship Id="rId2" Type="http://schemas.openxmlformats.org/officeDocument/2006/relationships/tags" Target="../tags/tag294.xml"/><Relationship Id="rId1" Type="http://schemas.openxmlformats.org/officeDocument/2006/relationships/vmlDrawing" Target="../drawings/vmlDrawing64.vml"/><Relationship Id="rId6" Type="http://schemas.openxmlformats.org/officeDocument/2006/relationships/image" Target="../media/image12.emf"/><Relationship Id="rId5" Type="http://schemas.openxmlformats.org/officeDocument/2006/relationships/oleObject" Target="../embeddings/oleObject64.bin"/><Relationship Id="rId4"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297.xml"/><Relationship Id="rId2" Type="http://schemas.openxmlformats.org/officeDocument/2006/relationships/tags" Target="../tags/tag296.xml"/><Relationship Id="rId1" Type="http://schemas.openxmlformats.org/officeDocument/2006/relationships/vmlDrawing" Target="../drawings/vmlDrawing65.vml"/><Relationship Id="rId6" Type="http://schemas.openxmlformats.org/officeDocument/2006/relationships/image" Target="../media/image12.emf"/><Relationship Id="rId5" Type="http://schemas.openxmlformats.org/officeDocument/2006/relationships/oleObject" Target="../embeddings/oleObject65.bin"/><Relationship Id="rId4"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66.vml"/><Relationship Id="rId6" Type="http://schemas.openxmlformats.org/officeDocument/2006/relationships/image" Target="../media/image12.emf"/><Relationship Id="rId5" Type="http://schemas.openxmlformats.org/officeDocument/2006/relationships/oleObject" Target="../embeddings/oleObject66.bin"/><Relationship Id="rId4"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301.xml"/><Relationship Id="rId2" Type="http://schemas.openxmlformats.org/officeDocument/2006/relationships/tags" Target="../tags/tag300.xml"/><Relationship Id="rId1" Type="http://schemas.openxmlformats.org/officeDocument/2006/relationships/vmlDrawing" Target="../drawings/vmlDrawing67.vml"/><Relationship Id="rId6" Type="http://schemas.openxmlformats.org/officeDocument/2006/relationships/image" Target="../media/image12.emf"/><Relationship Id="rId5" Type="http://schemas.openxmlformats.org/officeDocument/2006/relationships/oleObject" Target="../embeddings/oleObject67.bin"/><Relationship Id="rId4"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03.xml"/><Relationship Id="rId2" Type="http://schemas.openxmlformats.org/officeDocument/2006/relationships/tags" Target="../tags/tag302.xml"/><Relationship Id="rId1" Type="http://schemas.openxmlformats.org/officeDocument/2006/relationships/vmlDrawing" Target="../drawings/vmlDrawing68.vml"/><Relationship Id="rId6" Type="http://schemas.openxmlformats.org/officeDocument/2006/relationships/image" Target="../media/image12.emf"/><Relationship Id="rId5" Type="http://schemas.openxmlformats.org/officeDocument/2006/relationships/oleObject" Target="../embeddings/oleObject68.bin"/><Relationship Id="rId4"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305.xml"/><Relationship Id="rId2" Type="http://schemas.openxmlformats.org/officeDocument/2006/relationships/tags" Target="../tags/tag304.xml"/><Relationship Id="rId1" Type="http://schemas.openxmlformats.org/officeDocument/2006/relationships/vmlDrawing" Target="../drawings/vmlDrawing69.vml"/><Relationship Id="rId6" Type="http://schemas.openxmlformats.org/officeDocument/2006/relationships/image" Target="../media/image12.emf"/><Relationship Id="rId5" Type="http://schemas.openxmlformats.org/officeDocument/2006/relationships/oleObject" Target="../embeddings/oleObject69.bin"/><Relationship Id="rId4"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307.xml"/><Relationship Id="rId2" Type="http://schemas.openxmlformats.org/officeDocument/2006/relationships/tags" Target="../tags/tag306.xml"/><Relationship Id="rId1" Type="http://schemas.openxmlformats.org/officeDocument/2006/relationships/vmlDrawing" Target="../drawings/vmlDrawing70.vml"/><Relationship Id="rId6" Type="http://schemas.openxmlformats.org/officeDocument/2006/relationships/image" Target="../media/image12.emf"/><Relationship Id="rId5" Type="http://schemas.openxmlformats.org/officeDocument/2006/relationships/oleObject" Target="../embeddings/oleObject70.bin"/><Relationship Id="rId4"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309.xml"/><Relationship Id="rId2" Type="http://schemas.openxmlformats.org/officeDocument/2006/relationships/tags" Target="../tags/tag308.xml"/><Relationship Id="rId1" Type="http://schemas.openxmlformats.org/officeDocument/2006/relationships/vmlDrawing" Target="../drawings/vmlDrawing71.vml"/><Relationship Id="rId6" Type="http://schemas.openxmlformats.org/officeDocument/2006/relationships/image" Target="../media/image12.emf"/><Relationship Id="rId5" Type="http://schemas.openxmlformats.org/officeDocument/2006/relationships/oleObject" Target="../embeddings/oleObject71.bin"/><Relationship Id="rId4"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vmlDrawing" Target="../drawings/vmlDrawing72.vml"/><Relationship Id="rId6" Type="http://schemas.openxmlformats.org/officeDocument/2006/relationships/image" Target="../media/image12.emf"/><Relationship Id="rId5" Type="http://schemas.openxmlformats.org/officeDocument/2006/relationships/oleObject" Target="../embeddings/oleObject72.bin"/><Relationship Id="rId4"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vmlDrawing" Target="../drawings/vmlDrawing73.vml"/><Relationship Id="rId6" Type="http://schemas.openxmlformats.org/officeDocument/2006/relationships/image" Target="../media/image12.emf"/><Relationship Id="rId5" Type="http://schemas.openxmlformats.org/officeDocument/2006/relationships/oleObject" Target="../embeddings/oleObject73.bin"/><Relationship Id="rId4"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vmlDrawing" Target="../drawings/vmlDrawing74.vml"/><Relationship Id="rId6" Type="http://schemas.openxmlformats.org/officeDocument/2006/relationships/image" Target="../media/image12.emf"/><Relationship Id="rId5" Type="http://schemas.openxmlformats.org/officeDocument/2006/relationships/oleObject" Target="../embeddings/oleObject74.bin"/><Relationship Id="rId4"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317.xml"/><Relationship Id="rId2" Type="http://schemas.openxmlformats.org/officeDocument/2006/relationships/tags" Target="../tags/tag316.xml"/><Relationship Id="rId1" Type="http://schemas.openxmlformats.org/officeDocument/2006/relationships/vmlDrawing" Target="../drawings/vmlDrawing75.vml"/><Relationship Id="rId6" Type="http://schemas.openxmlformats.org/officeDocument/2006/relationships/image" Target="../media/image12.emf"/><Relationship Id="rId5" Type="http://schemas.openxmlformats.org/officeDocument/2006/relationships/oleObject" Target="../embeddings/oleObject75.bin"/><Relationship Id="rId4"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319.xml"/><Relationship Id="rId2" Type="http://schemas.openxmlformats.org/officeDocument/2006/relationships/tags" Target="../tags/tag318.xml"/><Relationship Id="rId1" Type="http://schemas.openxmlformats.org/officeDocument/2006/relationships/vmlDrawing" Target="../drawings/vmlDrawing76.vml"/><Relationship Id="rId6" Type="http://schemas.openxmlformats.org/officeDocument/2006/relationships/image" Target="../media/image12.emf"/><Relationship Id="rId5" Type="http://schemas.openxmlformats.org/officeDocument/2006/relationships/oleObject" Target="../embeddings/oleObject76.bin"/><Relationship Id="rId4"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0.xml"/><Relationship Id="rId1" Type="http://schemas.openxmlformats.org/officeDocument/2006/relationships/vmlDrawing" Target="../drawings/vmlDrawing77.vml"/><Relationship Id="rId5" Type="http://schemas.openxmlformats.org/officeDocument/2006/relationships/image" Target="../media/image12.emf"/><Relationship Id="rId4" Type="http://schemas.openxmlformats.org/officeDocument/2006/relationships/oleObject" Target="../embeddings/oleObject77.bin"/></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slideMaster" Target="../slideMasters/slideMaster3.xml"/><Relationship Id="rId7" Type="http://schemas.openxmlformats.org/officeDocument/2006/relationships/image" Target="../media/image29.png"/><Relationship Id="rId12" Type="http://schemas.openxmlformats.org/officeDocument/2006/relationships/image" Target="../media/image8.png"/><Relationship Id="rId2" Type="http://schemas.openxmlformats.org/officeDocument/2006/relationships/tags" Target="../tags/tag321.xml"/><Relationship Id="rId1" Type="http://schemas.openxmlformats.org/officeDocument/2006/relationships/vmlDrawing" Target="../drawings/vmlDrawing78.v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image" Target="../media/image12.emf"/><Relationship Id="rId15" Type="http://schemas.openxmlformats.org/officeDocument/2006/relationships/image" Target="../media/image11.png"/><Relationship Id="rId10" Type="http://schemas.openxmlformats.org/officeDocument/2006/relationships/image" Target="../media/image30.png"/><Relationship Id="rId4" Type="http://schemas.openxmlformats.org/officeDocument/2006/relationships/oleObject" Target="../embeddings/oleObject78.bin"/><Relationship Id="rId9" Type="http://schemas.openxmlformats.org/officeDocument/2006/relationships/image" Target="../media/image5.png"/><Relationship Id="rId14" Type="http://schemas.openxmlformats.org/officeDocument/2006/relationships/image" Target="../media/image10.pn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2.xml"/><Relationship Id="rId1" Type="http://schemas.openxmlformats.org/officeDocument/2006/relationships/vmlDrawing" Target="../drawings/vmlDrawing79.vml"/><Relationship Id="rId5" Type="http://schemas.openxmlformats.org/officeDocument/2006/relationships/image" Target="../media/image12.emf"/><Relationship Id="rId4" Type="http://schemas.openxmlformats.org/officeDocument/2006/relationships/oleObject" Target="../embeddings/oleObject79.bin"/></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324.xml"/><Relationship Id="rId2" Type="http://schemas.openxmlformats.org/officeDocument/2006/relationships/tags" Target="../tags/tag323.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Master" Target="../slideMasters/slideMaster3.xml"/><Relationship Id="rId7" Type="http://schemas.openxmlformats.org/officeDocument/2006/relationships/image" Target="../media/image25.jpeg"/><Relationship Id="rId2" Type="http://schemas.openxmlformats.org/officeDocument/2006/relationships/tags" Target="../tags/tag325.xml"/><Relationship Id="rId1" Type="http://schemas.openxmlformats.org/officeDocument/2006/relationships/vmlDrawing" Target="../drawings/vmlDrawing81.vml"/><Relationship Id="rId6" Type="http://schemas.openxmlformats.org/officeDocument/2006/relationships/image" Target="../media/image24.png"/><Relationship Id="rId5" Type="http://schemas.openxmlformats.org/officeDocument/2006/relationships/image" Target="../media/image12.emf"/><Relationship Id="rId4" Type="http://schemas.openxmlformats.org/officeDocument/2006/relationships/oleObject" Target="../embeddings/oleObject81.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417.xml"/><Relationship Id="rId2" Type="http://schemas.openxmlformats.org/officeDocument/2006/relationships/tags" Target="../tags/tag416.xml"/><Relationship Id="rId1" Type="http://schemas.openxmlformats.org/officeDocument/2006/relationships/vmlDrawing" Target="../drawings/vmlDrawing83.vml"/><Relationship Id="rId6" Type="http://schemas.openxmlformats.org/officeDocument/2006/relationships/image" Target="../media/image12.emf"/><Relationship Id="rId5" Type="http://schemas.openxmlformats.org/officeDocument/2006/relationships/oleObject" Target="../embeddings/oleObject83.bin"/><Relationship Id="rId4"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419.xml"/><Relationship Id="rId2" Type="http://schemas.openxmlformats.org/officeDocument/2006/relationships/tags" Target="../tags/tag418.xml"/><Relationship Id="rId1" Type="http://schemas.openxmlformats.org/officeDocument/2006/relationships/vmlDrawing" Target="../drawings/vmlDrawing84.vml"/><Relationship Id="rId6" Type="http://schemas.openxmlformats.org/officeDocument/2006/relationships/image" Target="../media/image12.emf"/><Relationship Id="rId5" Type="http://schemas.openxmlformats.org/officeDocument/2006/relationships/oleObject" Target="../embeddings/oleObject84.bin"/><Relationship Id="rId4"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421.xml"/><Relationship Id="rId2" Type="http://schemas.openxmlformats.org/officeDocument/2006/relationships/tags" Target="../tags/tag420.xml"/><Relationship Id="rId1" Type="http://schemas.openxmlformats.org/officeDocument/2006/relationships/vmlDrawing" Target="../drawings/vmlDrawing85.vml"/><Relationship Id="rId6" Type="http://schemas.openxmlformats.org/officeDocument/2006/relationships/image" Target="../media/image12.emf"/><Relationship Id="rId5" Type="http://schemas.openxmlformats.org/officeDocument/2006/relationships/oleObject" Target="../embeddings/oleObject85.bin"/><Relationship Id="rId4"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423.xml"/><Relationship Id="rId2" Type="http://schemas.openxmlformats.org/officeDocument/2006/relationships/tags" Target="../tags/tag422.xml"/><Relationship Id="rId1" Type="http://schemas.openxmlformats.org/officeDocument/2006/relationships/vmlDrawing" Target="../drawings/vmlDrawing86.vml"/><Relationship Id="rId6" Type="http://schemas.openxmlformats.org/officeDocument/2006/relationships/image" Target="../media/image12.emf"/><Relationship Id="rId5" Type="http://schemas.openxmlformats.org/officeDocument/2006/relationships/oleObject" Target="../embeddings/oleObject86.bin"/><Relationship Id="rId4"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4.xml"/><Relationship Id="rId1" Type="http://schemas.openxmlformats.org/officeDocument/2006/relationships/vmlDrawing" Target="../drawings/vmlDrawing87.vml"/><Relationship Id="rId5" Type="http://schemas.openxmlformats.org/officeDocument/2006/relationships/image" Target="../media/image12.emf"/><Relationship Id="rId4" Type="http://schemas.openxmlformats.org/officeDocument/2006/relationships/oleObject" Target="../embeddings/oleObject87.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8.svg"/><Relationship Id="rId2" Type="http://schemas.openxmlformats.org/officeDocument/2006/relationships/tags" Target="../tags/tag425.xml"/><Relationship Id="rId1" Type="http://schemas.openxmlformats.org/officeDocument/2006/relationships/vmlDrawing" Target="../drawings/vmlDrawing88.vml"/><Relationship Id="rId6" Type="http://schemas.openxmlformats.org/officeDocument/2006/relationships/image" Target="../media/image27.png"/><Relationship Id="rId5" Type="http://schemas.openxmlformats.org/officeDocument/2006/relationships/image" Target="../media/image12.emf"/><Relationship Id="rId4" Type="http://schemas.openxmlformats.org/officeDocument/2006/relationships/oleObject" Target="../embeddings/oleObject88.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8.svg"/><Relationship Id="rId2" Type="http://schemas.openxmlformats.org/officeDocument/2006/relationships/tags" Target="../tags/tag426.xml"/><Relationship Id="rId1" Type="http://schemas.openxmlformats.org/officeDocument/2006/relationships/vmlDrawing" Target="../drawings/vmlDrawing89.vml"/><Relationship Id="rId6" Type="http://schemas.openxmlformats.org/officeDocument/2006/relationships/image" Target="../media/image27.png"/><Relationship Id="rId5" Type="http://schemas.openxmlformats.org/officeDocument/2006/relationships/image" Target="../media/image12.emf"/><Relationship Id="rId4" Type="http://schemas.openxmlformats.org/officeDocument/2006/relationships/oleObject" Target="../embeddings/oleObject89.bin"/></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428.xml"/><Relationship Id="rId2" Type="http://schemas.openxmlformats.org/officeDocument/2006/relationships/tags" Target="../tags/tag427.xml"/><Relationship Id="rId1" Type="http://schemas.openxmlformats.org/officeDocument/2006/relationships/vmlDrawing" Target="../drawings/vmlDrawing90.vml"/><Relationship Id="rId6" Type="http://schemas.openxmlformats.org/officeDocument/2006/relationships/image" Target="../media/image12.emf"/><Relationship Id="rId5" Type="http://schemas.openxmlformats.org/officeDocument/2006/relationships/oleObject" Target="../embeddings/oleObject90.bin"/><Relationship Id="rId4"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430.xml"/><Relationship Id="rId2" Type="http://schemas.openxmlformats.org/officeDocument/2006/relationships/tags" Target="../tags/tag429.xml"/><Relationship Id="rId1" Type="http://schemas.openxmlformats.org/officeDocument/2006/relationships/vmlDrawing" Target="../drawings/vmlDrawing91.vml"/><Relationship Id="rId6" Type="http://schemas.openxmlformats.org/officeDocument/2006/relationships/image" Target="../media/image12.emf"/><Relationship Id="rId5" Type="http://schemas.openxmlformats.org/officeDocument/2006/relationships/oleObject" Target="../embeddings/oleObject91.bin"/><Relationship Id="rId4"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432.xml"/><Relationship Id="rId2" Type="http://schemas.openxmlformats.org/officeDocument/2006/relationships/tags" Target="../tags/tag431.xml"/><Relationship Id="rId1" Type="http://schemas.openxmlformats.org/officeDocument/2006/relationships/vmlDrawing" Target="../drawings/vmlDrawing92.vml"/><Relationship Id="rId6" Type="http://schemas.openxmlformats.org/officeDocument/2006/relationships/image" Target="../media/image12.emf"/><Relationship Id="rId5" Type="http://schemas.openxmlformats.org/officeDocument/2006/relationships/oleObject" Target="../embeddings/oleObject92.bin"/><Relationship Id="rId4"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434.xml"/><Relationship Id="rId2" Type="http://schemas.openxmlformats.org/officeDocument/2006/relationships/tags" Target="../tags/tag433.xml"/><Relationship Id="rId1" Type="http://schemas.openxmlformats.org/officeDocument/2006/relationships/vmlDrawing" Target="../drawings/vmlDrawing93.vml"/><Relationship Id="rId6" Type="http://schemas.openxmlformats.org/officeDocument/2006/relationships/image" Target="../media/image12.emf"/><Relationship Id="rId5" Type="http://schemas.openxmlformats.org/officeDocument/2006/relationships/oleObject" Target="../embeddings/oleObject93.bin"/><Relationship Id="rId4"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94.vml"/><Relationship Id="rId6" Type="http://schemas.openxmlformats.org/officeDocument/2006/relationships/image" Target="../media/image12.emf"/><Relationship Id="rId5" Type="http://schemas.openxmlformats.org/officeDocument/2006/relationships/oleObject" Target="../embeddings/oleObject94.bin"/><Relationship Id="rId4"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438.xml"/><Relationship Id="rId2" Type="http://schemas.openxmlformats.org/officeDocument/2006/relationships/tags" Target="../tags/tag437.xml"/><Relationship Id="rId1" Type="http://schemas.openxmlformats.org/officeDocument/2006/relationships/vmlDrawing" Target="../drawings/vmlDrawing95.vml"/><Relationship Id="rId6" Type="http://schemas.openxmlformats.org/officeDocument/2006/relationships/image" Target="../media/image12.emf"/><Relationship Id="rId5" Type="http://schemas.openxmlformats.org/officeDocument/2006/relationships/oleObject" Target="../embeddings/oleObject95.bin"/><Relationship Id="rId4"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440.xml"/><Relationship Id="rId2" Type="http://schemas.openxmlformats.org/officeDocument/2006/relationships/tags" Target="../tags/tag439.xml"/><Relationship Id="rId1" Type="http://schemas.openxmlformats.org/officeDocument/2006/relationships/vmlDrawing" Target="../drawings/vmlDrawing96.vml"/><Relationship Id="rId6" Type="http://schemas.openxmlformats.org/officeDocument/2006/relationships/image" Target="../media/image12.emf"/><Relationship Id="rId5" Type="http://schemas.openxmlformats.org/officeDocument/2006/relationships/oleObject" Target="../embeddings/oleObject96.bin"/><Relationship Id="rId4"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442.xml"/><Relationship Id="rId2" Type="http://schemas.openxmlformats.org/officeDocument/2006/relationships/tags" Target="../tags/tag441.xml"/><Relationship Id="rId1" Type="http://schemas.openxmlformats.org/officeDocument/2006/relationships/vmlDrawing" Target="../drawings/vmlDrawing97.vml"/><Relationship Id="rId6" Type="http://schemas.openxmlformats.org/officeDocument/2006/relationships/image" Target="../media/image12.emf"/><Relationship Id="rId5" Type="http://schemas.openxmlformats.org/officeDocument/2006/relationships/oleObject" Target="../embeddings/oleObject97.bin"/><Relationship Id="rId4"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444.xml"/><Relationship Id="rId2" Type="http://schemas.openxmlformats.org/officeDocument/2006/relationships/tags" Target="../tags/tag443.xml"/><Relationship Id="rId1" Type="http://schemas.openxmlformats.org/officeDocument/2006/relationships/vmlDrawing" Target="../drawings/vmlDrawing98.vml"/><Relationship Id="rId6" Type="http://schemas.openxmlformats.org/officeDocument/2006/relationships/image" Target="../media/image12.emf"/><Relationship Id="rId5" Type="http://schemas.openxmlformats.org/officeDocument/2006/relationships/oleObject" Target="../embeddings/oleObject98.bin"/><Relationship Id="rId4"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446.xml"/><Relationship Id="rId2" Type="http://schemas.openxmlformats.org/officeDocument/2006/relationships/tags" Target="../tags/tag445.xml"/><Relationship Id="rId1" Type="http://schemas.openxmlformats.org/officeDocument/2006/relationships/vmlDrawing" Target="../drawings/vmlDrawing99.vml"/><Relationship Id="rId6" Type="http://schemas.openxmlformats.org/officeDocument/2006/relationships/image" Target="../media/image12.emf"/><Relationship Id="rId5" Type="http://schemas.openxmlformats.org/officeDocument/2006/relationships/oleObject" Target="../embeddings/oleObject99.bin"/><Relationship Id="rId4"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448.xml"/><Relationship Id="rId2" Type="http://schemas.openxmlformats.org/officeDocument/2006/relationships/tags" Target="../tags/tag447.xml"/><Relationship Id="rId1" Type="http://schemas.openxmlformats.org/officeDocument/2006/relationships/vmlDrawing" Target="../drawings/vmlDrawing100.vml"/><Relationship Id="rId6" Type="http://schemas.openxmlformats.org/officeDocument/2006/relationships/image" Target="../media/image12.emf"/><Relationship Id="rId5" Type="http://schemas.openxmlformats.org/officeDocument/2006/relationships/oleObject" Target="../embeddings/oleObject100.bin"/><Relationship Id="rId4"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450.xml"/><Relationship Id="rId2" Type="http://schemas.openxmlformats.org/officeDocument/2006/relationships/tags" Target="../tags/tag449.xml"/><Relationship Id="rId1" Type="http://schemas.openxmlformats.org/officeDocument/2006/relationships/vmlDrawing" Target="../drawings/vmlDrawing101.vml"/><Relationship Id="rId6" Type="http://schemas.openxmlformats.org/officeDocument/2006/relationships/image" Target="../media/image12.emf"/><Relationship Id="rId5" Type="http://schemas.openxmlformats.org/officeDocument/2006/relationships/oleObject" Target="../embeddings/oleObject101.bin"/><Relationship Id="rId4"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452.xml"/><Relationship Id="rId2" Type="http://schemas.openxmlformats.org/officeDocument/2006/relationships/tags" Target="../tags/tag451.xml"/><Relationship Id="rId1" Type="http://schemas.openxmlformats.org/officeDocument/2006/relationships/vmlDrawing" Target="../drawings/vmlDrawing102.vml"/><Relationship Id="rId6" Type="http://schemas.openxmlformats.org/officeDocument/2006/relationships/image" Target="../media/image12.emf"/><Relationship Id="rId5" Type="http://schemas.openxmlformats.org/officeDocument/2006/relationships/oleObject" Target="../embeddings/oleObject102.bin"/><Relationship Id="rId4"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454.xml"/><Relationship Id="rId2" Type="http://schemas.openxmlformats.org/officeDocument/2006/relationships/tags" Target="../tags/tag453.xml"/><Relationship Id="rId1" Type="http://schemas.openxmlformats.org/officeDocument/2006/relationships/vmlDrawing" Target="../drawings/vmlDrawing103.vml"/><Relationship Id="rId6" Type="http://schemas.openxmlformats.org/officeDocument/2006/relationships/image" Target="../media/image12.emf"/><Relationship Id="rId5" Type="http://schemas.openxmlformats.org/officeDocument/2006/relationships/oleObject" Target="../embeddings/oleObject103.bin"/><Relationship Id="rId4"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456.xml"/><Relationship Id="rId2" Type="http://schemas.openxmlformats.org/officeDocument/2006/relationships/tags" Target="../tags/tag455.xml"/><Relationship Id="rId1" Type="http://schemas.openxmlformats.org/officeDocument/2006/relationships/vmlDrawing" Target="../drawings/vmlDrawing104.vml"/><Relationship Id="rId6" Type="http://schemas.openxmlformats.org/officeDocument/2006/relationships/image" Target="../media/image12.emf"/><Relationship Id="rId5" Type="http://schemas.openxmlformats.org/officeDocument/2006/relationships/oleObject" Target="../embeddings/oleObject104.bin"/><Relationship Id="rId4"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458.xml"/><Relationship Id="rId2" Type="http://schemas.openxmlformats.org/officeDocument/2006/relationships/tags" Target="../tags/tag457.xml"/><Relationship Id="rId1" Type="http://schemas.openxmlformats.org/officeDocument/2006/relationships/vmlDrawing" Target="../drawings/vmlDrawing105.vml"/><Relationship Id="rId6" Type="http://schemas.openxmlformats.org/officeDocument/2006/relationships/image" Target="../media/image12.emf"/><Relationship Id="rId5" Type="http://schemas.openxmlformats.org/officeDocument/2006/relationships/oleObject" Target="../embeddings/oleObject105.bin"/><Relationship Id="rId4"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460.xml"/><Relationship Id="rId2" Type="http://schemas.openxmlformats.org/officeDocument/2006/relationships/tags" Target="../tags/tag459.xml"/><Relationship Id="rId1" Type="http://schemas.openxmlformats.org/officeDocument/2006/relationships/vmlDrawing" Target="../drawings/vmlDrawing106.vml"/><Relationship Id="rId6" Type="http://schemas.openxmlformats.org/officeDocument/2006/relationships/image" Target="../media/image12.emf"/><Relationship Id="rId5" Type="http://schemas.openxmlformats.org/officeDocument/2006/relationships/oleObject" Target="../embeddings/oleObject106.bin"/><Relationship Id="rId4"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462.xml"/><Relationship Id="rId2" Type="http://schemas.openxmlformats.org/officeDocument/2006/relationships/tags" Target="../tags/tag461.xml"/><Relationship Id="rId1" Type="http://schemas.openxmlformats.org/officeDocument/2006/relationships/vmlDrawing" Target="../drawings/vmlDrawing107.vml"/><Relationship Id="rId6" Type="http://schemas.openxmlformats.org/officeDocument/2006/relationships/image" Target="../media/image12.emf"/><Relationship Id="rId5" Type="http://schemas.openxmlformats.org/officeDocument/2006/relationships/oleObject" Target="../embeddings/oleObject107.bin"/><Relationship Id="rId4"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464.xml"/><Relationship Id="rId2" Type="http://schemas.openxmlformats.org/officeDocument/2006/relationships/tags" Target="../tags/tag463.xml"/><Relationship Id="rId1" Type="http://schemas.openxmlformats.org/officeDocument/2006/relationships/vmlDrawing" Target="../drawings/vmlDrawing108.vml"/><Relationship Id="rId6" Type="http://schemas.openxmlformats.org/officeDocument/2006/relationships/image" Target="../media/image12.emf"/><Relationship Id="rId5" Type="http://schemas.openxmlformats.org/officeDocument/2006/relationships/oleObject" Target="../embeddings/oleObject108.bin"/><Relationship Id="rId4"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466.xml"/><Relationship Id="rId2" Type="http://schemas.openxmlformats.org/officeDocument/2006/relationships/tags" Target="../tags/tag465.xml"/><Relationship Id="rId1" Type="http://schemas.openxmlformats.org/officeDocument/2006/relationships/vmlDrawing" Target="../drawings/vmlDrawing109.vml"/><Relationship Id="rId6" Type="http://schemas.openxmlformats.org/officeDocument/2006/relationships/image" Target="../media/image12.emf"/><Relationship Id="rId5" Type="http://schemas.openxmlformats.org/officeDocument/2006/relationships/oleObject" Target="../embeddings/oleObject109.bin"/><Relationship Id="rId4"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468.xml"/><Relationship Id="rId2" Type="http://schemas.openxmlformats.org/officeDocument/2006/relationships/tags" Target="../tags/tag467.xml"/><Relationship Id="rId1" Type="http://schemas.openxmlformats.org/officeDocument/2006/relationships/vmlDrawing" Target="../drawings/vmlDrawing110.vml"/><Relationship Id="rId6" Type="http://schemas.openxmlformats.org/officeDocument/2006/relationships/image" Target="../media/image12.emf"/><Relationship Id="rId5" Type="http://schemas.openxmlformats.org/officeDocument/2006/relationships/oleObject" Target="../embeddings/oleObject110.bin"/><Relationship Id="rId4"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470.xml"/><Relationship Id="rId2" Type="http://schemas.openxmlformats.org/officeDocument/2006/relationships/tags" Target="../tags/tag469.xml"/><Relationship Id="rId1" Type="http://schemas.openxmlformats.org/officeDocument/2006/relationships/vmlDrawing" Target="../drawings/vmlDrawing111.vml"/><Relationship Id="rId6" Type="http://schemas.openxmlformats.org/officeDocument/2006/relationships/image" Target="../media/image12.emf"/><Relationship Id="rId5" Type="http://schemas.openxmlformats.org/officeDocument/2006/relationships/oleObject" Target="../embeddings/oleObject111.bin"/><Relationship Id="rId4"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472.xml"/><Relationship Id="rId2" Type="http://schemas.openxmlformats.org/officeDocument/2006/relationships/tags" Target="../tags/tag471.xml"/><Relationship Id="rId1" Type="http://schemas.openxmlformats.org/officeDocument/2006/relationships/vmlDrawing" Target="../drawings/vmlDrawing112.vml"/><Relationship Id="rId6" Type="http://schemas.openxmlformats.org/officeDocument/2006/relationships/image" Target="../media/image12.emf"/><Relationship Id="rId5" Type="http://schemas.openxmlformats.org/officeDocument/2006/relationships/oleObject" Target="../embeddings/oleObject112.bin"/><Relationship Id="rId4"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474.xml"/><Relationship Id="rId2" Type="http://schemas.openxmlformats.org/officeDocument/2006/relationships/tags" Target="../tags/tag473.xml"/><Relationship Id="rId1" Type="http://schemas.openxmlformats.org/officeDocument/2006/relationships/vmlDrawing" Target="../drawings/vmlDrawing113.vml"/><Relationship Id="rId6" Type="http://schemas.openxmlformats.org/officeDocument/2006/relationships/image" Target="../media/image12.emf"/><Relationship Id="rId5" Type="http://schemas.openxmlformats.org/officeDocument/2006/relationships/oleObject" Target="../embeddings/oleObject113.bin"/><Relationship Id="rId4"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476.xml"/><Relationship Id="rId2" Type="http://schemas.openxmlformats.org/officeDocument/2006/relationships/tags" Target="../tags/tag475.xml"/><Relationship Id="rId1" Type="http://schemas.openxmlformats.org/officeDocument/2006/relationships/vmlDrawing" Target="../drawings/vmlDrawing114.vml"/><Relationship Id="rId6" Type="http://schemas.openxmlformats.org/officeDocument/2006/relationships/image" Target="../media/image12.emf"/><Relationship Id="rId5" Type="http://schemas.openxmlformats.org/officeDocument/2006/relationships/oleObject" Target="../embeddings/oleObject114.bin"/><Relationship Id="rId4"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478.xml"/><Relationship Id="rId2" Type="http://schemas.openxmlformats.org/officeDocument/2006/relationships/tags" Target="../tags/tag477.xml"/><Relationship Id="rId1" Type="http://schemas.openxmlformats.org/officeDocument/2006/relationships/vmlDrawing" Target="../drawings/vmlDrawing115.vml"/><Relationship Id="rId6" Type="http://schemas.openxmlformats.org/officeDocument/2006/relationships/image" Target="../media/image12.emf"/><Relationship Id="rId5" Type="http://schemas.openxmlformats.org/officeDocument/2006/relationships/oleObject" Target="../embeddings/oleObject115.bin"/><Relationship Id="rId4"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480.xml"/><Relationship Id="rId2" Type="http://schemas.openxmlformats.org/officeDocument/2006/relationships/tags" Target="../tags/tag479.xml"/><Relationship Id="rId1" Type="http://schemas.openxmlformats.org/officeDocument/2006/relationships/vmlDrawing" Target="../drawings/vmlDrawing116.vml"/><Relationship Id="rId6" Type="http://schemas.openxmlformats.org/officeDocument/2006/relationships/image" Target="../media/image12.emf"/><Relationship Id="rId5" Type="http://schemas.openxmlformats.org/officeDocument/2006/relationships/oleObject" Target="../embeddings/oleObject116.bin"/><Relationship Id="rId4"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482.xml"/><Relationship Id="rId2" Type="http://schemas.openxmlformats.org/officeDocument/2006/relationships/tags" Target="../tags/tag481.xml"/><Relationship Id="rId1" Type="http://schemas.openxmlformats.org/officeDocument/2006/relationships/vmlDrawing" Target="../drawings/vmlDrawing117.vml"/><Relationship Id="rId6" Type="http://schemas.openxmlformats.org/officeDocument/2006/relationships/image" Target="../media/image12.emf"/><Relationship Id="rId5" Type="http://schemas.openxmlformats.org/officeDocument/2006/relationships/oleObject" Target="../embeddings/oleObject117.bin"/><Relationship Id="rId4"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484.xml"/><Relationship Id="rId2" Type="http://schemas.openxmlformats.org/officeDocument/2006/relationships/tags" Target="../tags/tag483.xml"/><Relationship Id="rId1" Type="http://schemas.openxmlformats.org/officeDocument/2006/relationships/vmlDrawing" Target="../drawings/vmlDrawing118.vml"/><Relationship Id="rId6" Type="http://schemas.openxmlformats.org/officeDocument/2006/relationships/image" Target="../media/image12.emf"/><Relationship Id="rId5" Type="http://schemas.openxmlformats.org/officeDocument/2006/relationships/oleObject" Target="../embeddings/oleObject118.bin"/><Relationship Id="rId4"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5.xml"/><Relationship Id="rId1" Type="http://schemas.openxmlformats.org/officeDocument/2006/relationships/vmlDrawing" Target="../drawings/vmlDrawing119.vml"/><Relationship Id="rId5" Type="http://schemas.openxmlformats.org/officeDocument/2006/relationships/image" Target="../media/image12.emf"/><Relationship Id="rId4" Type="http://schemas.openxmlformats.org/officeDocument/2006/relationships/oleObject" Target="../embeddings/oleObject119.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slideMaster" Target="../slideMasters/slideMaster4.xml"/><Relationship Id="rId7" Type="http://schemas.openxmlformats.org/officeDocument/2006/relationships/image" Target="../media/image29.png"/><Relationship Id="rId12" Type="http://schemas.openxmlformats.org/officeDocument/2006/relationships/image" Target="../media/image8.png"/><Relationship Id="rId2" Type="http://schemas.openxmlformats.org/officeDocument/2006/relationships/tags" Target="../tags/tag486.xml"/><Relationship Id="rId1" Type="http://schemas.openxmlformats.org/officeDocument/2006/relationships/vmlDrawing" Target="../drawings/vmlDrawing120.v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image" Target="../media/image12.emf"/><Relationship Id="rId15" Type="http://schemas.openxmlformats.org/officeDocument/2006/relationships/image" Target="../media/image11.png"/><Relationship Id="rId10" Type="http://schemas.openxmlformats.org/officeDocument/2006/relationships/image" Target="../media/image30.png"/><Relationship Id="rId4" Type="http://schemas.openxmlformats.org/officeDocument/2006/relationships/oleObject" Target="../embeddings/oleObject120.bin"/><Relationship Id="rId9" Type="http://schemas.openxmlformats.org/officeDocument/2006/relationships/image" Target="../media/image5.png"/><Relationship Id="rId14" Type="http://schemas.openxmlformats.org/officeDocument/2006/relationships/image" Target="../media/image10.pn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7.xml"/><Relationship Id="rId1" Type="http://schemas.openxmlformats.org/officeDocument/2006/relationships/vmlDrawing" Target="../drawings/vmlDrawing121.vml"/><Relationship Id="rId5" Type="http://schemas.openxmlformats.org/officeDocument/2006/relationships/image" Target="../media/image12.emf"/><Relationship Id="rId4" Type="http://schemas.openxmlformats.org/officeDocument/2006/relationships/oleObject" Target="../embeddings/oleObject121.bin"/></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489.xml"/><Relationship Id="rId2" Type="http://schemas.openxmlformats.org/officeDocument/2006/relationships/tags" Target="../tags/tag488.xml"/><Relationship Id="rId1" Type="http://schemas.openxmlformats.org/officeDocument/2006/relationships/vmlDrawing" Target="../drawings/vmlDrawing122.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Master" Target="../slideMasters/slideMaster4.xml"/><Relationship Id="rId7" Type="http://schemas.openxmlformats.org/officeDocument/2006/relationships/image" Target="../media/image25.jpeg"/><Relationship Id="rId2" Type="http://schemas.openxmlformats.org/officeDocument/2006/relationships/tags" Target="../tags/tag490.xml"/><Relationship Id="rId1" Type="http://schemas.openxmlformats.org/officeDocument/2006/relationships/vmlDrawing" Target="../drawings/vmlDrawing123.vml"/><Relationship Id="rId6" Type="http://schemas.openxmlformats.org/officeDocument/2006/relationships/image" Target="../media/image24.png"/><Relationship Id="rId5" Type="http://schemas.openxmlformats.org/officeDocument/2006/relationships/image" Target="../media/image12.emf"/><Relationship Id="rId4" Type="http://schemas.openxmlformats.org/officeDocument/2006/relationships/oleObject" Target="../embeddings/oleObject123.bin"/></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582.xml"/><Relationship Id="rId2" Type="http://schemas.openxmlformats.org/officeDocument/2006/relationships/tags" Target="../tags/tag581.xml"/><Relationship Id="rId1" Type="http://schemas.openxmlformats.org/officeDocument/2006/relationships/vmlDrawing" Target="../drawings/vmlDrawing125.vml"/><Relationship Id="rId6" Type="http://schemas.openxmlformats.org/officeDocument/2006/relationships/image" Target="../media/image12.emf"/><Relationship Id="rId5" Type="http://schemas.openxmlformats.org/officeDocument/2006/relationships/oleObject" Target="../embeddings/oleObject125.bin"/><Relationship Id="rId4"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584.xml"/><Relationship Id="rId2" Type="http://schemas.openxmlformats.org/officeDocument/2006/relationships/tags" Target="../tags/tag583.xml"/><Relationship Id="rId1" Type="http://schemas.openxmlformats.org/officeDocument/2006/relationships/vmlDrawing" Target="../drawings/vmlDrawing126.vml"/><Relationship Id="rId6" Type="http://schemas.openxmlformats.org/officeDocument/2006/relationships/image" Target="../media/image12.emf"/><Relationship Id="rId5" Type="http://schemas.openxmlformats.org/officeDocument/2006/relationships/oleObject" Target="../embeddings/oleObject126.bin"/><Relationship Id="rId4"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586.xml"/><Relationship Id="rId2" Type="http://schemas.openxmlformats.org/officeDocument/2006/relationships/tags" Target="../tags/tag585.xml"/><Relationship Id="rId1" Type="http://schemas.openxmlformats.org/officeDocument/2006/relationships/vmlDrawing" Target="../drawings/vmlDrawing127.vml"/><Relationship Id="rId6" Type="http://schemas.openxmlformats.org/officeDocument/2006/relationships/image" Target="../media/image12.emf"/><Relationship Id="rId5" Type="http://schemas.openxmlformats.org/officeDocument/2006/relationships/oleObject" Target="../embeddings/oleObject127.bin"/><Relationship Id="rId4"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588.xml"/><Relationship Id="rId2" Type="http://schemas.openxmlformats.org/officeDocument/2006/relationships/tags" Target="../tags/tag587.xml"/><Relationship Id="rId1" Type="http://schemas.openxmlformats.org/officeDocument/2006/relationships/vmlDrawing" Target="../drawings/vmlDrawing128.vml"/><Relationship Id="rId6" Type="http://schemas.openxmlformats.org/officeDocument/2006/relationships/image" Target="../media/image12.emf"/><Relationship Id="rId5" Type="http://schemas.openxmlformats.org/officeDocument/2006/relationships/oleObject" Target="../embeddings/oleObject128.bin"/><Relationship Id="rId4"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9.xml"/><Relationship Id="rId1" Type="http://schemas.openxmlformats.org/officeDocument/2006/relationships/vmlDrawing" Target="../drawings/vmlDrawing129.vml"/><Relationship Id="rId5" Type="http://schemas.openxmlformats.org/officeDocument/2006/relationships/image" Target="../media/image12.emf"/><Relationship Id="rId4" Type="http://schemas.openxmlformats.org/officeDocument/2006/relationships/oleObject" Target="../embeddings/oleObject129.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8.svg"/><Relationship Id="rId2" Type="http://schemas.openxmlformats.org/officeDocument/2006/relationships/tags" Target="../tags/tag590.xml"/><Relationship Id="rId1" Type="http://schemas.openxmlformats.org/officeDocument/2006/relationships/vmlDrawing" Target="../drawings/vmlDrawing130.vml"/><Relationship Id="rId6" Type="http://schemas.openxmlformats.org/officeDocument/2006/relationships/image" Target="../media/image27.png"/><Relationship Id="rId5" Type="http://schemas.openxmlformats.org/officeDocument/2006/relationships/image" Target="../media/image12.emf"/><Relationship Id="rId4" Type="http://schemas.openxmlformats.org/officeDocument/2006/relationships/oleObject" Target="../embeddings/oleObject130.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8.svg"/><Relationship Id="rId2" Type="http://schemas.openxmlformats.org/officeDocument/2006/relationships/tags" Target="../tags/tag591.xml"/><Relationship Id="rId1" Type="http://schemas.openxmlformats.org/officeDocument/2006/relationships/vmlDrawing" Target="../drawings/vmlDrawing131.vml"/><Relationship Id="rId6" Type="http://schemas.openxmlformats.org/officeDocument/2006/relationships/image" Target="../media/image27.png"/><Relationship Id="rId5" Type="http://schemas.openxmlformats.org/officeDocument/2006/relationships/image" Target="../media/image12.emf"/><Relationship Id="rId4" Type="http://schemas.openxmlformats.org/officeDocument/2006/relationships/oleObject" Target="../embeddings/oleObject131.bin"/></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593.xml"/><Relationship Id="rId2" Type="http://schemas.openxmlformats.org/officeDocument/2006/relationships/tags" Target="../tags/tag592.xml"/><Relationship Id="rId1" Type="http://schemas.openxmlformats.org/officeDocument/2006/relationships/vmlDrawing" Target="../drawings/vmlDrawing132.vml"/><Relationship Id="rId6" Type="http://schemas.openxmlformats.org/officeDocument/2006/relationships/image" Target="../media/image12.emf"/><Relationship Id="rId5" Type="http://schemas.openxmlformats.org/officeDocument/2006/relationships/oleObject" Target="../embeddings/oleObject132.bin"/><Relationship Id="rId4"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595.xml"/><Relationship Id="rId2" Type="http://schemas.openxmlformats.org/officeDocument/2006/relationships/tags" Target="../tags/tag594.xml"/><Relationship Id="rId1" Type="http://schemas.openxmlformats.org/officeDocument/2006/relationships/vmlDrawing" Target="../drawings/vmlDrawing133.vml"/><Relationship Id="rId6" Type="http://schemas.openxmlformats.org/officeDocument/2006/relationships/image" Target="../media/image12.emf"/><Relationship Id="rId5" Type="http://schemas.openxmlformats.org/officeDocument/2006/relationships/oleObject" Target="../embeddings/oleObject133.bin"/><Relationship Id="rId4"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597.xml"/><Relationship Id="rId2" Type="http://schemas.openxmlformats.org/officeDocument/2006/relationships/tags" Target="../tags/tag596.xml"/><Relationship Id="rId1" Type="http://schemas.openxmlformats.org/officeDocument/2006/relationships/vmlDrawing" Target="../drawings/vmlDrawing134.vml"/><Relationship Id="rId6" Type="http://schemas.openxmlformats.org/officeDocument/2006/relationships/image" Target="../media/image12.emf"/><Relationship Id="rId5" Type="http://schemas.openxmlformats.org/officeDocument/2006/relationships/oleObject" Target="../embeddings/oleObject134.bin"/><Relationship Id="rId4"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599.xml"/><Relationship Id="rId2" Type="http://schemas.openxmlformats.org/officeDocument/2006/relationships/tags" Target="../tags/tag598.xml"/><Relationship Id="rId1" Type="http://schemas.openxmlformats.org/officeDocument/2006/relationships/vmlDrawing" Target="../drawings/vmlDrawing135.vml"/><Relationship Id="rId6" Type="http://schemas.openxmlformats.org/officeDocument/2006/relationships/image" Target="../media/image12.emf"/><Relationship Id="rId5" Type="http://schemas.openxmlformats.org/officeDocument/2006/relationships/oleObject" Target="../embeddings/oleObject135.bin"/><Relationship Id="rId4"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601.xml"/><Relationship Id="rId2" Type="http://schemas.openxmlformats.org/officeDocument/2006/relationships/tags" Target="../tags/tag600.xml"/><Relationship Id="rId1" Type="http://schemas.openxmlformats.org/officeDocument/2006/relationships/vmlDrawing" Target="../drawings/vmlDrawing136.vml"/><Relationship Id="rId6" Type="http://schemas.openxmlformats.org/officeDocument/2006/relationships/image" Target="../media/image12.emf"/><Relationship Id="rId5" Type="http://schemas.openxmlformats.org/officeDocument/2006/relationships/oleObject" Target="../embeddings/oleObject136.bin"/><Relationship Id="rId4"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603.xml"/><Relationship Id="rId2" Type="http://schemas.openxmlformats.org/officeDocument/2006/relationships/tags" Target="../tags/tag602.xml"/><Relationship Id="rId1" Type="http://schemas.openxmlformats.org/officeDocument/2006/relationships/vmlDrawing" Target="../drawings/vmlDrawing137.vml"/><Relationship Id="rId6" Type="http://schemas.openxmlformats.org/officeDocument/2006/relationships/image" Target="../media/image12.emf"/><Relationship Id="rId5" Type="http://schemas.openxmlformats.org/officeDocument/2006/relationships/oleObject" Target="../embeddings/oleObject137.bin"/><Relationship Id="rId4"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605.xml"/><Relationship Id="rId2" Type="http://schemas.openxmlformats.org/officeDocument/2006/relationships/tags" Target="../tags/tag604.xml"/><Relationship Id="rId1" Type="http://schemas.openxmlformats.org/officeDocument/2006/relationships/vmlDrawing" Target="../drawings/vmlDrawing138.vml"/><Relationship Id="rId6" Type="http://schemas.openxmlformats.org/officeDocument/2006/relationships/image" Target="../media/image12.emf"/><Relationship Id="rId5" Type="http://schemas.openxmlformats.org/officeDocument/2006/relationships/oleObject" Target="../embeddings/oleObject138.bin"/><Relationship Id="rId4"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607.xml"/><Relationship Id="rId2" Type="http://schemas.openxmlformats.org/officeDocument/2006/relationships/tags" Target="../tags/tag606.xml"/><Relationship Id="rId1" Type="http://schemas.openxmlformats.org/officeDocument/2006/relationships/vmlDrawing" Target="../drawings/vmlDrawing139.vml"/><Relationship Id="rId6" Type="http://schemas.openxmlformats.org/officeDocument/2006/relationships/image" Target="../media/image12.emf"/><Relationship Id="rId5" Type="http://schemas.openxmlformats.org/officeDocument/2006/relationships/oleObject" Target="../embeddings/oleObject139.bin"/><Relationship Id="rId4"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609.xml"/><Relationship Id="rId2" Type="http://schemas.openxmlformats.org/officeDocument/2006/relationships/tags" Target="../tags/tag608.xml"/><Relationship Id="rId1" Type="http://schemas.openxmlformats.org/officeDocument/2006/relationships/vmlDrawing" Target="../drawings/vmlDrawing140.vml"/><Relationship Id="rId6" Type="http://schemas.openxmlformats.org/officeDocument/2006/relationships/image" Target="../media/image12.emf"/><Relationship Id="rId5" Type="http://schemas.openxmlformats.org/officeDocument/2006/relationships/oleObject" Target="../embeddings/oleObject140.bin"/><Relationship Id="rId4"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611.xml"/><Relationship Id="rId2" Type="http://schemas.openxmlformats.org/officeDocument/2006/relationships/tags" Target="../tags/tag610.xml"/><Relationship Id="rId1" Type="http://schemas.openxmlformats.org/officeDocument/2006/relationships/vmlDrawing" Target="../drawings/vmlDrawing141.vml"/><Relationship Id="rId6" Type="http://schemas.openxmlformats.org/officeDocument/2006/relationships/image" Target="../media/image12.emf"/><Relationship Id="rId5" Type="http://schemas.openxmlformats.org/officeDocument/2006/relationships/oleObject" Target="../embeddings/oleObject141.bin"/><Relationship Id="rId4"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613.xml"/><Relationship Id="rId2" Type="http://schemas.openxmlformats.org/officeDocument/2006/relationships/tags" Target="../tags/tag612.xml"/><Relationship Id="rId1" Type="http://schemas.openxmlformats.org/officeDocument/2006/relationships/vmlDrawing" Target="../drawings/vmlDrawing142.vml"/><Relationship Id="rId6" Type="http://schemas.openxmlformats.org/officeDocument/2006/relationships/image" Target="../media/image12.emf"/><Relationship Id="rId5" Type="http://schemas.openxmlformats.org/officeDocument/2006/relationships/oleObject" Target="../embeddings/oleObject142.bin"/><Relationship Id="rId4"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615.xml"/><Relationship Id="rId2" Type="http://schemas.openxmlformats.org/officeDocument/2006/relationships/tags" Target="../tags/tag614.xml"/><Relationship Id="rId1" Type="http://schemas.openxmlformats.org/officeDocument/2006/relationships/vmlDrawing" Target="../drawings/vmlDrawing143.vml"/><Relationship Id="rId6" Type="http://schemas.openxmlformats.org/officeDocument/2006/relationships/image" Target="../media/image12.emf"/><Relationship Id="rId5" Type="http://schemas.openxmlformats.org/officeDocument/2006/relationships/oleObject" Target="../embeddings/oleObject143.bin"/><Relationship Id="rId4"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617.xml"/><Relationship Id="rId2" Type="http://schemas.openxmlformats.org/officeDocument/2006/relationships/tags" Target="../tags/tag616.xml"/><Relationship Id="rId1" Type="http://schemas.openxmlformats.org/officeDocument/2006/relationships/vmlDrawing" Target="../drawings/vmlDrawing144.vml"/><Relationship Id="rId6" Type="http://schemas.openxmlformats.org/officeDocument/2006/relationships/image" Target="../media/image12.emf"/><Relationship Id="rId5" Type="http://schemas.openxmlformats.org/officeDocument/2006/relationships/oleObject" Target="../embeddings/oleObject144.bin"/><Relationship Id="rId4"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619.xml"/><Relationship Id="rId2" Type="http://schemas.openxmlformats.org/officeDocument/2006/relationships/tags" Target="../tags/tag618.xml"/><Relationship Id="rId1" Type="http://schemas.openxmlformats.org/officeDocument/2006/relationships/vmlDrawing" Target="../drawings/vmlDrawing145.vml"/><Relationship Id="rId6" Type="http://schemas.openxmlformats.org/officeDocument/2006/relationships/image" Target="../media/image12.emf"/><Relationship Id="rId5" Type="http://schemas.openxmlformats.org/officeDocument/2006/relationships/oleObject" Target="../embeddings/oleObject145.bin"/><Relationship Id="rId4"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621.xml"/><Relationship Id="rId2" Type="http://schemas.openxmlformats.org/officeDocument/2006/relationships/tags" Target="../tags/tag620.xml"/><Relationship Id="rId1" Type="http://schemas.openxmlformats.org/officeDocument/2006/relationships/vmlDrawing" Target="../drawings/vmlDrawing146.vml"/><Relationship Id="rId6" Type="http://schemas.openxmlformats.org/officeDocument/2006/relationships/image" Target="../media/image12.emf"/><Relationship Id="rId5" Type="http://schemas.openxmlformats.org/officeDocument/2006/relationships/oleObject" Target="../embeddings/oleObject146.bin"/><Relationship Id="rId4"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623.xml"/><Relationship Id="rId2" Type="http://schemas.openxmlformats.org/officeDocument/2006/relationships/tags" Target="../tags/tag622.xml"/><Relationship Id="rId1" Type="http://schemas.openxmlformats.org/officeDocument/2006/relationships/vmlDrawing" Target="../drawings/vmlDrawing147.vml"/><Relationship Id="rId6" Type="http://schemas.openxmlformats.org/officeDocument/2006/relationships/image" Target="../media/image12.emf"/><Relationship Id="rId5" Type="http://schemas.openxmlformats.org/officeDocument/2006/relationships/oleObject" Target="../embeddings/oleObject147.bin"/><Relationship Id="rId4"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625.xml"/><Relationship Id="rId2" Type="http://schemas.openxmlformats.org/officeDocument/2006/relationships/tags" Target="../tags/tag624.xml"/><Relationship Id="rId1" Type="http://schemas.openxmlformats.org/officeDocument/2006/relationships/vmlDrawing" Target="../drawings/vmlDrawing148.vml"/><Relationship Id="rId6" Type="http://schemas.openxmlformats.org/officeDocument/2006/relationships/image" Target="../media/image12.emf"/><Relationship Id="rId5" Type="http://schemas.openxmlformats.org/officeDocument/2006/relationships/oleObject" Target="../embeddings/oleObject148.bin"/><Relationship Id="rId4"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627.xml"/><Relationship Id="rId2" Type="http://schemas.openxmlformats.org/officeDocument/2006/relationships/tags" Target="../tags/tag626.xml"/><Relationship Id="rId1" Type="http://schemas.openxmlformats.org/officeDocument/2006/relationships/vmlDrawing" Target="../drawings/vmlDrawing149.vml"/><Relationship Id="rId6" Type="http://schemas.openxmlformats.org/officeDocument/2006/relationships/image" Target="../media/image12.emf"/><Relationship Id="rId5" Type="http://schemas.openxmlformats.org/officeDocument/2006/relationships/oleObject" Target="../embeddings/oleObject149.bin"/><Relationship Id="rId4"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629.xml"/><Relationship Id="rId2" Type="http://schemas.openxmlformats.org/officeDocument/2006/relationships/tags" Target="../tags/tag628.xml"/><Relationship Id="rId1" Type="http://schemas.openxmlformats.org/officeDocument/2006/relationships/vmlDrawing" Target="../drawings/vmlDrawing150.vml"/><Relationship Id="rId6" Type="http://schemas.openxmlformats.org/officeDocument/2006/relationships/image" Target="../media/image12.emf"/><Relationship Id="rId5" Type="http://schemas.openxmlformats.org/officeDocument/2006/relationships/oleObject" Target="../embeddings/oleObject150.bin"/><Relationship Id="rId4"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631.xml"/><Relationship Id="rId2" Type="http://schemas.openxmlformats.org/officeDocument/2006/relationships/tags" Target="../tags/tag630.xml"/><Relationship Id="rId1" Type="http://schemas.openxmlformats.org/officeDocument/2006/relationships/vmlDrawing" Target="../drawings/vmlDrawing151.vml"/><Relationship Id="rId6" Type="http://schemas.openxmlformats.org/officeDocument/2006/relationships/image" Target="../media/image12.emf"/><Relationship Id="rId5" Type="http://schemas.openxmlformats.org/officeDocument/2006/relationships/oleObject" Target="../embeddings/oleObject151.bin"/><Relationship Id="rId4"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633.xml"/><Relationship Id="rId2" Type="http://schemas.openxmlformats.org/officeDocument/2006/relationships/tags" Target="../tags/tag632.xml"/><Relationship Id="rId1" Type="http://schemas.openxmlformats.org/officeDocument/2006/relationships/vmlDrawing" Target="../drawings/vmlDrawing152.vml"/><Relationship Id="rId6" Type="http://schemas.openxmlformats.org/officeDocument/2006/relationships/image" Target="../media/image12.emf"/><Relationship Id="rId5" Type="http://schemas.openxmlformats.org/officeDocument/2006/relationships/oleObject" Target="../embeddings/oleObject152.bin"/><Relationship Id="rId4"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635.xml"/><Relationship Id="rId2" Type="http://schemas.openxmlformats.org/officeDocument/2006/relationships/tags" Target="../tags/tag634.xml"/><Relationship Id="rId1" Type="http://schemas.openxmlformats.org/officeDocument/2006/relationships/vmlDrawing" Target="../drawings/vmlDrawing153.vml"/><Relationship Id="rId6" Type="http://schemas.openxmlformats.org/officeDocument/2006/relationships/image" Target="../media/image12.emf"/><Relationship Id="rId5" Type="http://schemas.openxmlformats.org/officeDocument/2006/relationships/oleObject" Target="../embeddings/oleObject153.bin"/><Relationship Id="rId4"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637.xml"/><Relationship Id="rId2" Type="http://schemas.openxmlformats.org/officeDocument/2006/relationships/tags" Target="../tags/tag636.xml"/><Relationship Id="rId1" Type="http://schemas.openxmlformats.org/officeDocument/2006/relationships/vmlDrawing" Target="../drawings/vmlDrawing154.vml"/><Relationship Id="rId6" Type="http://schemas.openxmlformats.org/officeDocument/2006/relationships/image" Target="../media/image12.emf"/><Relationship Id="rId5" Type="http://schemas.openxmlformats.org/officeDocument/2006/relationships/oleObject" Target="../embeddings/oleObject154.bin"/><Relationship Id="rId4"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639.xml"/><Relationship Id="rId2" Type="http://schemas.openxmlformats.org/officeDocument/2006/relationships/tags" Target="../tags/tag638.xml"/><Relationship Id="rId1" Type="http://schemas.openxmlformats.org/officeDocument/2006/relationships/vmlDrawing" Target="../drawings/vmlDrawing155.vml"/><Relationship Id="rId6" Type="http://schemas.openxmlformats.org/officeDocument/2006/relationships/image" Target="../media/image12.emf"/><Relationship Id="rId5" Type="http://schemas.openxmlformats.org/officeDocument/2006/relationships/oleObject" Target="../embeddings/oleObject155.bin"/><Relationship Id="rId4"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641.xml"/><Relationship Id="rId2" Type="http://schemas.openxmlformats.org/officeDocument/2006/relationships/tags" Target="../tags/tag640.xml"/><Relationship Id="rId1" Type="http://schemas.openxmlformats.org/officeDocument/2006/relationships/vmlDrawing" Target="../drawings/vmlDrawing156.vml"/><Relationship Id="rId6" Type="http://schemas.openxmlformats.org/officeDocument/2006/relationships/image" Target="../media/image12.emf"/><Relationship Id="rId5" Type="http://schemas.openxmlformats.org/officeDocument/2006/relationships/oleObject" Target="../embeddings/oleObject156.bin"/><Relationship Id="rId4"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643.xml"/><Relationship Id="rId2" Type="http://schemas.openxmlformats.org/officeDocument/2006/relationships/tags" Target="../tags/tag642.xml"/><Relationship Id="rId1" Type="http://schemas.openxmlformats.org/officeDocument/2006/relationships/vmlDrawing" Target="../drawings/vmlDrawing157.vml"/><Relationship Id="rId6" Type="http://schemas.openxmlformats.org/officeDocument/2006/relationships/image" Target="../media/image12.emf"/><Relationship Id="rId5" Type="http://schemas.openxmlformats.org/officeDocument/2006/relationships/oleObject" Target="../embeddings/oleObject157.bin"/><Relationship Id="rId4"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645.xml"/><Relationship Id="rId2" Type="http://schemas.openxmlformats.org/officeDocument/2006/relationships/tags" Target="../tags/tag644.xml"/><Relationship Id="rId1" Type="http://schemas.openxmlformats.org/officeDocument/2006/relationships/vmlDrawing" Target="../drawings/vmlDrawing158.vml"/><Relationship Id="rId6" Type="http://schemas.openxmlformats.org/officeDocument/2006/relationships/image" Target="../media/image12.emf"/><Relationship Id="rId5" Type="http://schemas.openxmlformats.org/officeDocument/2006/relationships/oleObject" Target="../embeddings/oleObject158.bin"/><Relationship Id="rId4"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647.xml"/><Relationship Id="rId2" Type="http://schemas.openxmlformats.org/officeDocument/2006/relationships/tags" Target="../tags/tag646.xml"/><Relationship Id="rId1" Type="http://schemas.openxmlformats.org/officeDocument/2006/relationships/vmlDrawing" Target="../drawings/vmlDrawing159.vml"/><Relationship Id="rId6" Type="http://schemas.openxmlformats.org/officeDocument/2006/relationships/image" Target="../media/image12.emf"/><Relationship Id="rId5" Type="http://schemas.openxmlformats.org/officeDocument/2006/relationships/oleObject" Target="../embeddings/oleObject159.bin"/><Relationship Id="rId4"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649.xml"/><Relationship Id="rId2" Type="http://schemas.openxmlformats.org/officeDocument/2006/relationships/tags" Target="../tags/tag648.xml"/><Relationship Id="rId1" Type="http://schemas.openxmlformats.org/officeDocument/2006/relationships/vmlDrawing" Target="../drawings/vmlDrawing160.vml"/><Relationship Id="rId6" Type="http://schemas.openxmlformats.org/officeDocument/2006/relationships/image" Target="../media/image12.emf"/><Relationship Id="rId5" Type="http://schemas.openxmlformats.org/officeDocument/2006/relationships/oleObject" Target="../embeddings/oleObject160.bin"/><Relationship Id="rId4"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0.xml"/><Relationship Id="rId1" Type="http://schemas.openxmlformats.org/officeDocument/2006/relationships/vmlDrawing" Target="../drawings/vmlDrawing161.vml"/><Relationship Id="rId5" Type="http://schemas.openxmlformats.org/officeDocument/2006/relationships/image" Target="../media/image12.emf"/><Relationship Id="rId4" Type="http://schemas.openxmlformats.org/officeDocument/2006/relationships/oleObject" Target="../embeddings/oleObject161.bin"/></Relationships>
</file>

<file path=ppt/slideLayouts/_rels/slideLayout20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slideMaster" Target="../slideMasters/slideMaster5.xml"/><Relationship Id="rId7" Type="http://schemas.openxmlformats.org/officeDocument/2006/relationships/image" Target="../media/image29.png"/><Relationship Id="rId12" Type="http://schemas.openxmlformats.org/officeDocument/2006/relationships/image" Target="../media/image8.png"/><Relationship Id="rId2" Type="http://schemas.openxmlformats.org/officeDocument/2006/relationships/tags" Target="../tags/tag651.xml"/><Relationship Id="rId1" Type="http://schemas.openxmlformats.org/officeDocument/2006/relationships/vmlDrawing" Target="../drawings/vmlDrawing162.v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image" Target="../media/image12.emf"/><Relationship Id="rId15" Type="http://schemas.openxmlformats.org/officeDocument/2006/relationships/image" Target="../media/image11.png"/><Relationship Id="rId10" Type="http://schemas.openxmlformats.org/officeDocument/2006/relationships/image" Target="../media/image30.png"/><Relationship Id="rId4" Type="http://schemas.openxmlformats.org/officeDocument/2006/relationships/oleObject" Target="../embeddings/oleObject162.bin"/><Relationship Id="rId9" Type="http://schemas.openxmlformats.org/officeDocument/2006/relationships/image" Target="../media/image5.png"/><Relationship Id="rId1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2.xml"/><Relationship Id="rId1" Type="http://schemas.openxmlformats.org/officeDocument/2006/relationships/vmlDrawing" Target="../drawings/vmlDrawing163.vml"/><Relationship Id="rId5" Type="http://schemas.openxmlformats.org/officeDocument/2006/relationships/image" Target="../media/image12.emf"/><Relationship Id="rId4" Type="http://schemas.openxmlformats.org/officeDocument/2006/relationships/oleObject" Target="../embeddings/oleObject163.bin"/></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654.xml"/><Relationship Id="rId2" Type="http://schemas.openxmlformats.org/officeDocument/2006/relationships/tags" Target="../tags/tag653.xml"/><Relationship Id="rId1" Type="http://schemas.openxmlformats.org/officeDocument/2006/relationships/vmlDrawing" Target="../drawings/vmlDrawing164.vml"/><Relationship Id="rId6" Type="http://schemas.openxmlformats.org/officeDocument/2006/relationships/image" Target="../media/image1.emf"/><Relationship Id="rId5" Type="http://schemas.openxmlformats.org/officeDocument/2006/relationships/oleObject" Target="../embeddings/oleObject164.bin"/><Relationship Id="rId4"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Master" Target="../slideMasters/slideMaster5.xml"/><Relationship Id="rId7" Type="http://schemas.openxmlformats.org/officeDocument/2006/relationships/image" Target="../media/image25.jpeg"/><Relationship Id="rId2" Type="http://schemas.openxmlformats.org/officeDocument/2006/relationships/tags" Target="../tags/tag655.xml"/><Relationship Id="rId1" Type="http://schemas.openxmlformats.org/officeDocument/2006/relationships/vmlDrawing" Target="../drawings/vmlDrawing165.vml"/><Relationship Id="rId6" Type="http://schemas.openxmlformats.org/officeDocument/2006/relationships/image" Target="../media/image24.png"/><Relationship Id="rId5" Type="http://schemas.openxmlformats.org/officeDocument/2006/relationships/image" Target="../media/image12.emf"/><Relationship Id="rId4" Type="http://schemas.openxmlformats.org/officeDocument/2006/relationships/oleObject" Target="../embeddings/oleObject165.bin"/></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8.v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9.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10.v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11.v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vmlDrawing" Target="../drawings/vmlDrawing13.vml"/><Relationship Id="rId6" Type="http://schemas.openxmlformats.org/officeDocument/2006/relationships/image" Target="../media/image12.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vmlDrawing" Target="../drawings/vmlDrawing15.vml"/><Relationship Id="rId6" Type="http://schemas.openxmlformats.org/officeDocument/2006/relationships/image" Target="../media/image12.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0.xml"/><Relationship Id="rId1" Type="http://schemas.openxmlformats.org/officeDocument/2006/relationships/vmlDrawing" Target="../drawings/vmlDrawing16.vml"/><Relationship Id="rId5" Type="http://schemas.openxmlformats.org/officeDocument/2006/relationships/image" Target="../media/image12.emf"/><Relationship Id="rId4" Type="http://schemas.openxmlformats.org/officeDocument/2006/relationships/oleObject" Target="../embeddings/oleObject1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1.xml"/><Relationship Id="rId1" Type="http://schemas.openxmlformats.org/officeDocument/2006/relationships/vmlDrawing" Target="../drawings/vmlDrawing17.vml"/><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vmlDrawing" Target="../drawings/vmlDrawing18.vml"/><Relationship Id="rId6" Type="http://schemas.openxmlformats.org/officeDocument/2006/relationships/image" Target="../media/image12.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19.vml"/><Relationship Id="rId6" Type="http://schemas.openxmlformats.org/officeDocument/2006/relationships/image" Target="../media/image12.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20.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29.xml"/><Relationship Id="rId2" Type="http://schemas.openxmlformats.org/officeDocument/2006/relationships/tags" Target="../tags/tag128.xml"/><Relationship Id="rId1" Type="http://schemas.openxmlformats.org/officeDocument/2006/relationships/vmlDrawing" Target="../drawings/vmlDrawing21.vml"/><Relationship Id="rId6" Type="http://schemas.openxmlformats.org/officeDocument/2006/relationships/image" Target="../media/image12.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22.vml"/><Relationship Id="rId6" Type="http://schemas.openxmlformats.org/officeDocument/2006/relationships/image" Target="../media/image12.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23.vml"/><Relationship Id="rId6" Type="http://schemas.openxmlformats.org/officeDocument/2006/relationships/image" Target="../media/image1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24.vml"/><Relationship Id="rId6" Type="http://schemas.openxmlformats.org/officeDocument/2006/relationships/image" Target="../media/image12.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25.vml"/><Relationship Id="rId6" Type="http://schemas.openxmlformats.org/officeDocument/2006/relationships/image" Target="../media/image12.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vmlDrawing" Target="../drawings/vmlDrawing26.vml"/><Relationship Id="rId6" Type="http://schemas.openxmlformats.org/officeDocument/2006/relationships/image" Target="../media/image12.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27.vml"/><Relationship Id="rId6" Type="http://schemas.openxmlformats.org/officeDocument/2006/relationships/image" Target="../media/image12.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2.xml"/><Relationship Id="rId1" Type="http://schemas.openxmlformats.org/officeDocument/2006/relationships/vmlDrawing" Target="../drawings/vmlDrawing28.vml"/><Relationship Id="rId5" Type="http://schemas.openxmlformats.org/officeDocument/2006/relationships/image" Target="../media/image12.emf"/><Relationship Id="rId4" Type="http://schemas.openxmlformats.org/officeDocument/2006/relationships/oleObject" Target="../embeddings/oleObject2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vmlDrawing" Target="../drawings/vmlDrawing29.vml"/><Relationship Id="rId5" Type="http://schemas.openxmlformats.org/officeDocument/2006/relationships/image" Target="../media/image12.emf"/><Relationship Id="rId4" Type="http://schemas.openxmlformats.org/officeDocument/2006/relationships/oleObject" Target="../embeddings/oleObject29.bin"/></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16.png"/><Relationship Id="rId2" Type="http://schemas.openxmlformats.org/officeDocument/2006/relationships/tags" Target="../tags/tag144.xml"/><Relationship Id="rId1" Type="http://schemas.openxmlformats.org/officeDocument/2006/relationships/vmlDrawing" Target="../drawings/vmlDrawing30.vml"/><Relationship Id="rId6" Type="http://schemas.openxmlformats.org/officeDocument/2006/relationships/image" Target="../media/image12.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31.vml"/><Relationship Id="rId6" Type="http://schemas.openxmlformats.org/officeDocument/2006/relationships/image" Target="../media/image12.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32.vml"/><Relationship Id="rId6" Type="http://schemas.openxmlformats.org/officeDocument/2006/relationships/image" Target="../media/image12.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0.xml"/><Relationship Id="rId1" Type="http://schemas.openxmlformats.org/officeDocument/2006/relationships/vmlDrawing" Target="../drawings/vmlDrawing33.vml"/><Relationship Id="rId5" Type="http://schemas.openxmlformats.org/officeDocument/2006/relationships/image" Target="../media/image12.emf"/><Relationship Id="rId4" Type="http://schemas.openxmlformats.org/officeDocument/2006/relationships/oleObject" Target="../embeddings/oleObject33.bin"/></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17.png"/><Relationship Id="rId2" Type="http://schemas.openxmlformats.org/officeDocument/2006/relationships/tags" Target="../tags/tag151.xml"/><Relationship Id="rId1" Type="http://schemas.openxmlformats.org/officeDocument/2006/relationships/vmlDrawing" Target="../drawings/vmlDrawing34.vml"/><Relationship Id="rId6" Type="http://schemas.openxmlformats.org/officeDocument/2006/relationships/image" Target="../media/image12.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18.png"/><Relationship Id="rId2" Type="http://schemas.openxmlformats.org/officeDocument/2006/relationships/tags" Target="../tags/tag153.xml"/><Relationship Id="rId1" Type="http://schemas.openxmlformats.org/officeDocument/2006/relationships/vmlDrawing" Target="../drawings/vmlDrawing35.vml"/><Relationship Id="rId6" Type="http://schemas.openxmlformats.org/officeDocument/2006/relationships/image" Target="../media/image12.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image" Target="../media/image18.png"/><Relationship Id="rId2" Type="http://schemas.openxmlformats.org/officeDocument/2006/relationships/tags" Target="../tags/tag155.xml"/><Relationship Id="rId1" Type="http://schemas.openxmlformats.org/officeDocument/2006/relationships/vmlDrawing" Target="../drawings/vmlDrawing36.vml"/><Relationship Id="rId6" Type="http://schemas.openxmlformats.org/officeDocument/2006/relationships/image" Target="../media/image12.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158.xml"/><Relationship Id="rId7" Type="http://schemas.openxmlformats.org/officeDocument/2006/relationships/image" Target="../media/image14.jpeg"/><Relationship Id="rId2" Type="http://schemas.openxmlformats.org/officeDocument/2006/relationships/tags" Target="../tags/tag157.xml"/><Relationship Id="rId1" Type="http://schemas.openxmlformats.org/officeDocument/2006/relationships/vmlDrawing" Target="../drawings/vmlDrawing37.vml"/><Relationship Id="rId6" Type="http://schemas.openxmlformats.org/officeDocument/2006/relationships/image" Target="../media/image19.emf"/><Relationship Id="rId5" Type="http://schemas.openxmlformats.org/officeDocument/2006/relationships/oleObject" Target="../embeddings/oleObject37.bin"/><Relationship Id="rId10" Type="http://schemas.openxmlformats.org/officeDocument/2006/relationships/image" Target="../media/image21.png"/><Relationship Id="rId4" Type="http://schemas.openxmlformats.org/officeDocument/2006/relationships/slideMaster" Target="../slideMasters/slideMaster2.xml"/><Relationship Id="rId9" Type="http://schemas.openxmlformats.org/officeDocument/2006/relationships/image" Target="../media/image20.png"/></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3.png"/><Relationship Id="rId2" Type="http://schemas.openxmlformats.org/officeDocument/2006/relationships/tags" Target="../tags/tag159.xml"/><Relationship Id="rId1" Type="http://schemas.openxmlformats.org/officeDocument/2006/relationships/vmlDrawing" Target="../drawings/vmlDrawing38.vml"/><Relationship Id="rId6" Type="http://schemas.openxmlformats.org/officeDocument/2006/relationships/image" Target="../media/image22.png"/><Relationship Id="rId5" Type="http://schemas.openxmlformats.org/officeDocument/2006/relationships/image" Target="../media/image12.emf"/><Relationship Id="rId4" Type="http://schemas.openxmlformats.org/officeDocument/2006/relationships/oleObject" Target="../embeddings/oleObject38.bin"/></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Master" Target="../slideMasters/slideMaster2.xml"/><Relationship Id="rId7" Type="http://schemas.openxmlformats.org/officeDocument/2006/relationships/image" Target="../media/image25.jpeg"/><Relationship Id="rId2" Type="http://schemas.openxmlformats.org/officeDocument/2006/relationships/tags" Target="../tags/tag160.xml"/><Relationship Id="rId1" Type="http://schemas.openxmlformats.org/officeDocument/2006/relationships/vmlDrawing" Target="../drawings/vmlDrawing39.vml"/><Relationship Id="rId6" Type="http://schemas.openxmlformats.org/officeDocument/2006/relationships/image" Target="../media/image24.png"/><Relationship Id="rId5" Type="http://schemas.openxmlformats.org/officeDocument/2006/relationships/image" Target="../media/image12.emf"/><Relationship Id="rId4" Type="http://schemas.openxmlformats.org/officeDocument/2006/relationships/oleObject" Target="../embeddings/oleObject39.bin"/></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52.xml"/><Relationship Id="rId2" Type="http://schemas.openxmlformats.org/officeDocument/2006/relationships/tags" Target="../tags/tag251.xml"/><Relationship Id="rId1" Type="http://schemas.openxmlformats.org/officeDocument/2006/relationships/vmlDrawing" Target="../drawings/vmlDrawing41.vml"/><Relationship Id="rId6" Type="http://schemas.openxmlformats.org/officeDocument/2006/relationships/image" Target="../media/image12.emf"/><Relationship Id="rId5" Type="http://schemas.openxmlformats.org/officeDocument/2006/relationships/oleObject" Target="../embeddings/oleObject41.bin"/><Relationship Id="rId4"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vmlDrawing" Target="../drawings/vmlDrawing42.vml"/><Relationship Id="rId6" Type="http://schemas.openxmlformats.org/officeDocument/2006/relationships/image" Target="../media/image12.emf"/><Relationship Id="rId5" Type="http://schemas.openxmlformats.org/officeDocument/2006/relationships/oleObject" Target="../embeddings/oleObject42.bin"/><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43.vml"/><Relationship Id="rId6" Type="http://schemas.openxmlformats.org/officeDocument/2006/relationships/image" Target="../media/image12.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58.xml"/><Relationship Id="rId2" Type="http://schemas.openxmlformats.org/officeDocument/2006/relationships/tags" Target="../tags/tag257.xml"/><Relationship Id="rId1" Type="http://schemas.openxmlformats.org/officeDocument/2006/relationships/vmlDrawing" Target="../drawings/vmlDrawing44.vml"/><Relationship Id="rId6" Type="http://schemas.openxmlformats.org/officeDocument/2006/relationships/image" Target="../media/image12.emf"/><Relationship Id="rId5" Type="http://schemas.openxmlformats.org/officeDocument/2006/relationships/oleObject" Target="../embeddings/oleObject44.bin"/><Relationship Id="rId4"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9.xml"/><Relationship Id="rId1" Type="http://schemas.openxmlformats.org/officeDocument/2006/relationships/vmlDrawing" Target="../drawings/vmlDrawing45.vml"/><Relationship Id="rId5" Type="http://schemas.openxmlformats.org/officeDocument/2006/relationships/image" Target="../media/image12.emf"/><Relationship Id="rId4" Type="http://schemas.openxmlformats.org/officeDocument/2006/relationships/oleObject" Target="../embeddings/oleObject4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8.svg"/><Relationship Id="rId2" Type="http://schemas.openxmlformats.org/officeDocument/2006/relationships/tags" Target="../tags/tag260.xml"/><Relationship Id="rId1" Type="http://schemas.openxmlformats.org/officeDocument/2006/relationships/vmlDrawing" Target="../drawings/vmlDrawing46.vml"/><Relationship Id="rId6" Type="http://schemas.openxmlformats.org/officeDocument/2006/relationships/image" Target="../media/image27.png"/><Relationship Id="rId5" Type="http://schemas.openxmlformats.org/officeDocument/2006/relationships/image" Target="../media/image12.emf"/><Relationship Id="rId4" Type="http://schemas.openxmlformats.org/officeDocument/2006/relationships/oleObject" Target="../embeddings/oleObject4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8.svg"/><Relationship Id="rId2" Type="http://schemas.openxmlformats.org/officeDocument/2006/relationships/tags" Target="../tags/tag261.xml"/><Relationship Id="rId1" Type="http://schemas.openxmlformats.org/officeDocument/2006/relationships/vmlDrawing" Target="../drawings/vmlDrawing47.vml"/><Relationship Id="rId6" Type="http://schemas.openxmlformats.org/officeDocument/2006/relationships/image" Target="../media/image27.png"/><Relationship Id="rId5" Type="http://schemas.openxmlformats.org/officeDocument/2006/relationships/image" Target="../media/image12.emf"/><Relationship Id="rId4" Type="http://schemas.openxmlformats.org/officeDocument/2006/relationships/oleObject" Target="../embeddings/oleObject47.bin"/></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vmlDrawing" Target="../drawings/vmlDrawing48.vml"/><Relationship Id="rId6" Type="http://schemas.openxmlformats.org/officeDocument/2006/relationships/image" Target="../media/image12.emf"/><Relationship Id="rId5" Type="http://schemas.openxmlformats.org/officeDocument/2006/relationships/oleObject" Target="../embeddings/oleObject48.bin"/><Relationship Id="rId4"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265.xml"/><Relationship Id="rId2" Type="http://schemas.openxmlformats.org/officeDocument/2006/relationships/tags" Target="../tags/tag264.xml"/><Relationship Id="rId1" Type="http://schemas.openxmlformats.org/officeDocument/2006/relationships/vmlDrawing" Target="../drawings/vmlDrawing49.vml"/><Relationship Id="rId6" Type="http://schemas.openxmlformats.org/officeDocument/2006/relationships/image" Target="../media/image12.emf"/><Relationship Id="rId5" Type="http://schemas.openxmlformats.org/officeDocument/2006/relationships/oleObject" Target="../embeddings/oleObject49.bin"/><Relationship Id="rId4"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67.xml"/><Relationship Id="rId2" Type="http://schemas.openxmlformats.org/officeDocument/2006/relationships/tags" Target="../tags/tag266.xml"/><Relationship Id="rId1" Type="http://schemas.openxmlformats.org/officeDocument/2006/relationships/vmlDrawing" Target="../drawings/vmlDrawing50.vml"/><Relationship Id="rId6" Type="http://schemas.openxmlformats.org/officeDocument/2006/relationships/image" Target="../media/image12.emf"/><Relationship Id="rId5" Type="http://schemas.openxmlformats.org/officeDocument/2006/relationships/oleObject" Target="../embeddings/oleObject50.bin"/><Relationship Id="rId4"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tags" Target="../tags/tag268.xml"/><Relationship Id="rId1" Type="http://schemas.openxmlformats.org/officeDocument/2006/relationships/vmlDrawing" Target="../drawings/vmlDrawing51.vml"/><Relationship Id="rId6" Type="http://schemas.openxmlformats.org/officeDocument/2006/relationships/image" Target="../media/image12.emf"/><Relationship Id="rId5" Type="http://schemas.openxmlformats.org/officeDocument/2006/relationships/oleObject" Target="../embeddings/oleObject51.bin"/><Relationship Id="rId4"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vmlDrawing" Target="../drawings/vmlDrawing52.vml"/><Relationship Id="rId6" Type="http://schemas.openxmlformats.org/officeDocument/2006/relationships/image" Target="../media/image12.emf"/><Relationship Id="rId5" Type="http://schemas.openxmlformats.org/officeDocument/2006/relationships/oleObject" Target="../embeddings/oleObject52.bin"/><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a:t>
            </a:r>
            <a:r>
              <a:rPr lang="en-GB" dirty="0" err="1"/>
              <a:t>Templafy</a:t>
            </a:r>
            <a:endParaRPr lang="en-GB" dirty="0"/>
          </a:p>
        </p:txBody>
      </p:sp>
      <p:sp>
        <p:nvSpPr>
          <p:cNvPr id="2" name="Title 1"/>
          <p:cNvSpPr>
            <a:spLocks noGrp="1"/>
          </p:cNvSpPr>
          <p:nvPr>
            <p:ph type="ctrTitle" hasCustomPrompt="1"/>
          </p:nvPr>
        </p:nvSpPr>
        <p:spPr>
          <a:xfrm>
            <a:off x="648000" y="648000"/>
            <a:ext cx="8652000"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B18D8341-8676-4AC2-B2EE-A6BD630350DE}" type="datetime3">
              <a:rPr lang="en-US" smtClean="0"/>
              <a:t>6 November 2020</a:t>
            </a:fld>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da-DK" sz="10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 Divider">
    <p:bg>
      <p:bgPr>
        <a:solidFill>
          <a:srgbClr val="F7F6F5"/>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a:xfrm>
            <a:off x="397164" y="324001"/>
            <a:ext cx="8902835" cy="5885999"/>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9ADEA971-85EC-4577-9544-0B49C08A7CF8}" type="datetime3">
              <a:rPr lang="en-US" smtClean="0"/>
              <a:t>6 November 2020</a:t>
            </a:fld>
            <a:endParaRPr lang="en-GB"/>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Tree>
    <p:extLst>
      <p:ext uri="{BB962C8B-B14F-4D97-AF65-F5344CB8AC3E}">
        <p14:creationId xmlns:p14="http://schemas.microsoft.com/office/powerpoint/2010/main" val="38787337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251D2DB-BA33-4C5C-A0D8-D6D2C9549AEF}"/>
              </a:ext>
            </a:extLst>
          </p:cNvPr>
          <p:cNvGraphicFramePr>
            <a:graphicFrameLocks noChangeAspect="1"/>
          </p:cNvGraphicFramePr>
          <p:nvPr userDrawn="1">
            <p:custDataLst>
              <p:tags r:id="rId2"/>
            </p:custDataLst>
            <p:extLst>
              <p:ext uri="{D42A27DB-BD31-4B8C-83A1-F6EECF244321}">
                <p14:modId xmlns:p14="http://schemas.microsoft.com/office/powerpoint/2010/main" val="3580821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7"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E251D2DB-BA33-4C5C-A0D8-D6D2C9549A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2ED9701-D9B4-4171-8555-D72A7B3A1856}"/>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7FDCE9F-9CB5-44E4-A448-27FAAAEFFD57}"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FD24B339-4BEF-40F4-99BA-001E3E26118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3853121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59D6FAC-90A8-469D-A269-94AC26C9A902}"/>
              </a:ext>
            </a:extLst>
          </p:cNvPr>
          <p:cNvGraphicFramePr>
            <a:graphicFrameLocks noChangeAspect="1"/>
          </p:cNvGraphicFramePr>
          <p:nvPr userDrawn="1">
            <p:custDataLst>
              <p:tags r:id="rId2"/>
            </p:custDataLst>
            <p:extLst>
              <p:ext uri="{D42A27DB-BD31-4B8C-83A1-F6EECF244321}">
                <p14:modId xmlns:p14="http://schemas.microsoft.com/office/powerpoint/2010/main" val="368908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1"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459D6FAC-90A8-469D-A269-94AC26C9A9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605DE2-BB9F-4577-9D57-9C9E6F263FC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4838D3F8-4398-4FE3-8614-A5CCC873FBEC}"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50C9B3A-1DC8-4D31-931B-2B9DFA8D23B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78913169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E. Conten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F21F9BA-7012-4E8C-9891-591416E4C269}"/>
              </a:ext>
            </a:extLst>
          </p:cNvPr>
          <p:cNvGraphicFramePr>
            <a:graphicFrameLocks noChangeAspect="1"/>
          </p:cNvGraphicFramePr>
          <p:nvPr userDrawn="1">
            <p:custDataLst>
              <p:tags r:id="rId2"/>
            </p:custDataLst>
            <p:extLst>
              <p:ext uri="{D42A27DB-BD31-4B8C-83A1-F6EECF244321}">
                <p14:modId xmlns:p14="http://schemas.microsoft.com/office/powerpoint/2010/main" val="1097001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5" name="think-cell Slide" r:id="rId5" imgW="415" imgH="416" progId="TCLayout.ActiveDocument.1">
                  <p:embed/>
                </p:oleObj>
              </mc:Choice>
              <mc:Fallback>
                <p:oleObj name="think-cell Slide" r:id="rId5" imgW="415" imgH="416" progId="TCLayout.ActiveDocument.1">
                  <p:embed/>
                  <p:pic>
                    <p:nvPicPr>
                      <p:cNvPr id="13" name="Object 12" hidden="1">
                        <a:extLst>
                          <a:ext uri="{FF2B5EF4-FFF2-40B4-BE49-F238E27FC236}">
                            <a16:creationId xmlns:a16="http://schemas.microsoft.com/office/drawing/2014/main" id="{7F21F9BA-7012-4E8C-9891-591416E4C2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8DD9863-FFCA-4EA5-995C-9DDBD63E92E9}"/>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542ADAD-E52E-4019-9C7B-02ECF748A125}"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4E040E5F-17E7-4BD9-A89F-45152FDBA83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9181956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72F151-43C9-4A00-AB24-1AE5E7ABC76D}"/>
              </a:ext>
            </a:extLst>
          </p:cNvPr>
          <p:cNvGraphicFramePr>
            <a:graphicFrameLocks noChangeAspect="1"/>
          </p:cNvGraphicFramePr>
          <p:nvPr userDrawn="1">
            <p:custDataLst>
              <p:tags r:id="rId2"/>
            </p:custDataLst>
            <p:extLst>
              <p:ext uri="{D42A27DB-BD31-4B8C-83A1-F6EECF244321}">
                <p14:modId xmlns:p14="http://schemas.microsoft.com/office/powerpoint/2010/main" val="91624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9"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9972F151-43C9-4A00-AB24-1AE5E7ABC7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098E69C-706B-4E1E-A657-9B10ABE428AD}"/>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F048A4FE-4D2C-4A4C-B57C-B9C92489327C}"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AD76CD6D-257F-451B-A84B-5F86799B060C}"/>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2532483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316F14-C49F-49E6-AA76-BBB807D7468C}"/>
              </a:ext>
            </a:extLst>
          </p:cNvPr>
          <p:cNvGraphicFramePr>
            <a:graphicFrameLocks noChangeAspect="1"/>
          </p:cNvGraphicFramePr>
          <p:nvPr userDrawn="1">
            <p:custDataLst>
              <p:tags r:id="rId2"/>
            </p:custDataLst>
            <p:extLst>
              <p:ext uri="{D42A27DB-BD31-4B8C-83A1-F6EECF244321}">
                <p14:modId xmlns:p14="http://schemas.microsoft.com/office/powerpoint/2010/main" val="649073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3"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0A316F14-C49F-49E6-AA76-BBB807D746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7326E8-4721-4513-8B2D-54AF245877F0}"/>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3DEABCB-1059-45EF-B5C7-5E232B507538}"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32797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D61DC41-3583-4CC0-A77A-5F6958E2E074}"/>
              </a:ext>
            </a:extLst>
          </p:cNvPr>
          <p:cNvGraphicFramePr>
            <a:graphicFrameLocks noChangeAspect="1"/>
          </p:cNvGraphicFramePr>
          <p:nvPr userDrawn="1">
            <p:custDataLst>
              <p:tags r:id="rId2"/>
            </p:custDataLst>
            <p:extLst>
              <p:ext uri="{D42A27DB-BD31-4B8C-83A1-F6EECF244321}">
                <p14:modId xmlns:p14="http://schemas.microsoft.com/office/powerpoint/2010/main" val="393889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7" name="think-cell Slide" r:id="rId5" imgW="415" imgH="416" progId="TCLayout.ActiveDocument.1">
                  <p:embed/>
                </p:oleObj>
              </mc:Choice>
              <mc:Fallback>
                <p:oleObj name="think-cell Slide" r:id="rId5" imgW="415" imgH="416" progId="TCLayout.ActiveDocument.1">
                  <p:embed/>
                  <p:pic>
                    <p:nvPicPr>
                      <p:cNvPr id="13" name="Object 12" hidden="1">
                        <a:extLst>
                          <a:ext uri="{FF2B5EF4-FFF2-40B4-BE49-F238E27FC236}">
                            <a16:creationId xmlns:a16="http://schemas.microsoft.com/office/drawing/2014/main" id="{9D61DC41-3583-4CC0-A77A-5F6958E2E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16469A1-2425-4EE7-8CA3-2EE3026B7BCE}"/>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49FD1BCF-9863-4732-997D-DBA220290EB2}"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7925488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021229-8D73-43E2-AB1F-2172FDF529E4}"/>
              </a:ext>
            </a:extLst>
          </p:cNvPr>
          <p:cNvGraphicFramePr>
            <a:graphicFrameLocks noChangeAspect="1"/>
          </p:cNvGraphicFramePr>
          <p:nvPr userDrawn="1">
            <p:custDataLst>
              <p:tags r:id="rId2"/>
            </p:custDataLst>
            <p:extLst>
              <p:ext uri="{D42A27DB-BD31-4B8C-83A1-F6EECF244321}">
                <p14:modId xmlns:p14="http://schemas.microsoft.com/office/powerpoint/2010/main" val="247722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1"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FC021229-8D73-43E2-AB1F-2172FDF529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E24DFE-D39E-4731-8CAC-2555BA9F698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8EB3AF4-2E3D-4556-B836-69C6D3BB5FFD}" type="datetime3">
              <a:rPr lang="en-GB" smtClean="0"/>
              <a:t>6 November, 2020</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dirty="0"/>
              <a:t>Graduate Programme Introduc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29367343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1CCE79-4A99-4DAD-B2DE-699A48BC8242}"/>
              </a:ext>
            </a:extLst>
          </p:cNvPr>
          <p:cNvGraphicFramePr>
            <a:graphicFrameLocks noChangeAspect="1"/>
          </p:cNvGraphicFramePr>
          <p:nvPr userDrawn="1">
            <p:custDataLst>
              <p:tags r:id="rId2"/>
            </p:custDataLst>
            <p:extLst>
              <p:ext uri="{D42A27DB-BD31-4B8C-83A1-F6EECF244321}">
                <p14:modId xmlns:p14="http://schemas.microsoft.com/office/powerpoint/2010/main" val="1023369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391CCE79-4A99-4DAD-B2DE-699A48BC82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140541-55E9-4524-8211-36EA9144C817}"/>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0B98031-9AB0-4DE5-A19B-551E1762FEDE}"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3" name="Text Placeholder 4">
            <a:extLst>
              <a:ext uri="{FF2B5EF4-FFF2-40B4-BE49-F238E27FC236}">
                <a16:creationId xmlns:a16="http://schemas.microsoft.com/office/drawing/2014/main" id="{5F91D68D-2FA9-4CAD-8EF0-C0BF3460A391}"/>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09615345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A8B9EA4-9598-461F-B820-76BCAD2DD906}"/>
              </a:ext>
            </a:extLst>
          </p:cNvPr>
          <p:cNvGraphicFramePr>
            <a:graphicFrameLocks noChangeAspect="1"/>
          </p:cNvGraphicFramePr>
          <p:nvPr userDrawn="1">
            <p:custDataLst>
              <p:tags r:id="rId2"/>
            </p:custDataLst>
            <p:extLst>
              <p:ext uri="{D42A27DB-BD31-4B8C-83A1-F6EECF244321}">
                <p14:modId xmlns:p14="http://schemas.microsoft.com/office/powerpoint/2010/main" val="2189992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9"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7A8B9EA4-9598-461F-B820-76BCAD2DD9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D2B4F0-54B0-4AC4-9487-C7CBC9977AA8}"/>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8404E12-4FC5-45C7-980D-B11E6B29D477}"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36D757B-F40B-4569-BAF1-AA3404B9E9E6}"/>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2758330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 placeholders horis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9C39C9-7690-43C2-AF73-56A5C8077ED0}"/>
              </a:ext>
            </a:extLst>
          </p:cNvPr>
          <p:cNvGraphicFramePr>
            <a:graphicFrameLocks noChangeAspect="1"/>
          </p:cNvGraphicFramePr>
          <p:nvPr userDrawn="1">
            <p:custDataLst>
              <p:tags r:id="rId2"/>
            </p:custDataLst>
            <p:extLst>
              <p:ext uri="{D42A27DB-BD31-4B8C-83A1-F6EECF244321}">
                <p14:modId xmlns:p14="http://schemas.microsoft.com/office/powerpoint/2010/main" val="2409704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3"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939C39C9-7690-43C2-AF73-56A5C8077E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AE75B6E-FBD9-477F-AD21-EB9145117FFA}"/>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478A406-8A1D-4D28-BE31-DDAD56AA345D}"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9EC381D6-39E2-4766-8084-72599657FA73}"/>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300064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1E252EB-50FF-463F-9667-CCB7A7DE750A}"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73101111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68B0304-49F9-4245-AFC2-82E85533D779}"/>
              </a:ext>
            </a:extLst>
          </p:cNvPr>
          <p:cNvGraphicFramePr>
            <a:graphicFrameLocks noChangeAspect="1"/>
          </p:cNvGraphicFramePr>
          <p:nvPr userDrawn="1">
            <p:custDataLst>
              <p:tags r:id="rId2"/>
            </p:custDataLst>
            <p:extLst>
              <p:ext uri="{D42A27DB-BD31-4B8C-83A1-F6EECF244321}">
                <p14:modId xmlns:p14="http://schemas.microsoft.com/office/powerpoint/2010/main" val="4129040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7"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C68B0304-49F9-4245-AFC2-82E85533D7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9D7615-E721-40B5-8FF2-5CC354129A7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9600" b="0" i="0" baseline="0" noProof="0" dirty="0">
              <a:latin typeface="Apis For Office" panose="020B0504010101010104" pitchFamily="34" charset="0"/>
              <a:ea typeface="+mj-ea"/>
              <a:cs typeface="+mj-cs"/>
              <a:sym typeface="Apis For Office" panose="020B0504010101010104" pitchFamily="34" charset="0"/>
            </a:endParaRPr>
          </a:p>
        </p:txBody>
      </p:sp>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74B95C3-7DB5-4EEE-9854-1E1244DA5AAF}" type="datetime3">
              <a:rPr lang="en-GB" smtClean="0"/>
              <a:t>6 November, 2020</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44E7C209-74AB-4928-B52F-1ED3C6CFC5A2}"/>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9022087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30251B-6514-40D2-88DD-77A79F0E02DD}"/>
              </a:ext>
            </a:extLst>
          </p:cNvPr>
          <p:cNvGraphicFramePr>
            <a:graphicFrameLocks noChangeAspect="1"/>
          </p:cNvGraphicFramePr>
          <p:nvPr userDrawn="1">
            <p:custDataLst>
              <p:tags r:id="rId2"/>
            </p:custDataLst>
            <p:extLst>
              <p:ext uri="{D42A27DB-BD31-4B8C-83A1-F6EECF244321}">
                <p14:modId xmlns:p14="http://schemas.microsoft.com/office/powerpoint/2010/main" val="2025004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1"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CB30251B-6514-40D2-88DD-77A79F0E02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15AA886-7594-4E76-8E21-F2805AD3995B}"/>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7200" b="0" i="0" baseline="0" noProof="0" dirty="0">
              <a:latin typeface="Apis For Office" panose="020B0504010101010104" pitchFamily="34" charset="0"/>
              <a:ea typeface="+mj-ea"/>
              <a:cs typeface="+mj-cs"/>
              <a:sym typeface="Apis For Office" panose="020B0504010101010104" pitchFamily="34" charset="0"/>
            </a:endParaRPr>
          </a:p>
        </p:txBody>
      </p:sp>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6267A6FF-7661-46E8-A20F-F7FA4105A0C6}" type="datetime3">
              <a:rPr lang="en-GB" smtClean="0"/>
              <a:t>6 November, 2020</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E3FA8B5C-51AE-4CBF-B3D5-16E4AB91FC0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65867408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A8E882B-3329-4054-B946-22815EA5A414}"/>
              </a:ext>
            </a:extLst>
          </p:cNvPr>
          <p:cNvGraphicFramePr>
            <a:graphicFrameLocks noChangeAspect="1"/>
          </p:cNvGraphicFramePr>
          <p:nvPr userDrawn="1">
            <p:custDataLst>
              <p:tags r:id="rId2"/>
            </p:custDataLst>
            <p:extLst>
              <p:ext uri="{D42A27DB-BD31-4B8C-83A1-F6EECF244321}">
                <p14:modId xmlns:p14="http://schemas.microsoft.com/office/powerpoint/2010/main" val="1849095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5"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CA8E882B-3329-4054-B946-22815EA5A4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0223AD3-8FAB-44DE-9FEC-929998EE630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9600" b="0" i="0" baseline="0" noProof="0" dirty="0">
              <a:latin typeface="Apis For Office" panose="020B0504010101010104" pitchFamily="34" charset="0"/>
              <a:ea typeface="+mj-ea"/>
              <a:cs typeface="+mj-cs"/>
              <a:sym typeface="Apis For Office" panose="020B0504010101010104" pitchFamily="34" charset="0"/>
            </a:endParaRPr>
          </a:p>
        </p:txBody>
      </p:sp>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0931FCD1-1E3B-4DED-8CE7-B8FE8F2FE5C9}" type="datetime3">
              <a:rPr lang="en-GB" smtClean="0"/>
              <a:t>6 November, 2020</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152DA9A1-3FA7-4BC8-9172-644A881C6F4B}"/>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1359319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C972E4-DB01-41DC-9A8F-C5FD5457BB5C}"/>
              </a:ext>
            </a:extLst>
          </p:cNvPr>
          <p:cNvGraphicFramePr>
            <a:graphicFrameLocks noChangeAspect="1"/>
          </p:cNvGraphicFramePr>
          <p:nvPr userDrawn="1">
            <p:custDataLst>
              <p:tags r:id="rId2"/>
            </p:custDataLst>
            <p:extLst>
              <p:ext uri="{D42A27DB-BD31-4B8C-83A1-F6EECF244321}">
                <p14:modId xmlns:p14="http://schemas.microsoft.com/office/powerpoint/2010/main" val="58921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9"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16C972E4-DB01-41DC-9A8F-C5FD5457BB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485169-4676-41EC-B0B8-B0E121C25771}"/>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7200" b="0" i="0" baseline="0" noProof="0" dirty="0">
              <a:latin typeface="Apis For Office" panose="020B0504010101010104" pitchFamily="34" charset="0"/>
              <a:ea typeface="+mj-ea"/>
              <a:cs typeface="+mj-cs"/>
              <a:sym typeface="Apis For Office" panose="020B0504010101010104" pitchFamily="34" charset="0"/>
            </a:endParaRPr>
          </a:p>
        </p:txBody>
      </p:sp>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D07A5FF4-5BD4-41DD-B27B-4F364FCCC3D6}" type="datetime3">
              <a:rPr lang="en-GB" smtClean="0"/>
              <a:t>6 November, 2020</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B6E51AD8-D258-457C-9483-72C95483B71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83861103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Editorial Pi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FE191F-FF1E-47FF-8E3B-3BE26297D4E1}"/>
              </a:ext>
            </a:extLst>
          </p:cNvPr>
          <p:cNvGraphicFramePr>
            <a:graphicFrameLocks noChangeAspect="1"/>
          </p:cNvGraphicFramePr>
          <p:nvPr userDrawn="1">
            <p:custDataLst>
              <p:tags r:id="rId2"/>
            </p:custDataLst>
            <p:extLst>
              <p:ext uri="{D42A27DB-BD31-4B8C-83A1-F6EECF244321}">
                <p14:modId xmlns:p14="http://schemas.microsoft.com/office/powerpoint/2010/main" val="1362665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3"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75FE191F-FF1E-47FF-8E3B-3BE26297D4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A7CCB5-5B88-4EBE-96F0-D71AE0BA0A3A}"/>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Rectangle 14">
            <a:extLst>
              <a:ext uri="{FF2B5EF4-FFF2-40B4-BE49-F238E27FC236}">
                <a16:creationId xmlns:a16="http://schemas.microsoft.com/office/drawing/2014/main" id="{282C40FC-7870-4C1F-9C95-3246AC8AF6C8}"/>
              </a:ext>
            </a:extLst>
          </p:cNvPr>
          <p:cNvSpPr/>
          <p:nvPr userDrawn="1"/>
        </p:nvSpPr>
        <p:spPr bwMode="ltGray">
          <a:xfrm>
            <a:off x="323999" y="3429000"/>
            <a:ext cx="11544001" cy="3105000"/>
          </a:xfrm>
          <a:prstGeom prst="rect">
            <a:avLst/>
          </a:prstGeom>
          <a:solidFill>
            <a:srgbClr val="FCED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lnSpc>
                <a:spcPct val="100000"/>
              </a:lnSpc>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5886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6FBFD73-3C1C-4846-838D-F4D2F20A36C4}"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2140096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Editorial Gree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B1AF08-E352-43FF-B54F-7E46909CA039}"/>
              </a:ext>
            </a:extLst>
          </p:cNvPr>
          <p:cNvGraphicFramePr>
            <a:graphicFrameLocks noChangeAspect="1"/>
          </p:cNvGraphicFramePr>
          <p:nvPr userDrawn="1">
            <p:custDataLst>
              <p:tags r:id="rId2"/>
            </p:custDataLst>
            <p:extLst>
              <p:ext uri="{D42A27DB-BD31-4B8C-83A1-F6EECF244321}">
                <p14:modId xmlns:p14="http://schemas.microsoft.com/office/powerpoint/2010/main" val="1473184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7"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08B1AF08-E352-43FF-B54F-7E46909CA0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C22FAE2-004C-4669-B1CA-0881CD9A8ECD}"/>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0" y="324000"/>
            <a:ext cx="8975999" cy="6210000"/>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7822374-0DB1-4770-AECF-0E53C1BB88F8}"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4" name="Content Placeholder 3">
            <a:extLst>
              <a:ext uri="{FF2B5EF4-FFF2-40B4-BE49-F238E27FC236}">
                <a16:creationId xmlns:a16="http://schemas.microsoft.com/office/drawing/2014/main" id="{7CDAC364-33E1-4E5D-B7FA-E4D384921297}"/>
              </a:ext>
            </a:extLst>
          </p:cNvPr>
          <p:cNvSpPr>
            <a:spLocks noGrp="1"/>
          </p:cNvSpPr>
          <p:nvPr>
            <p:ph sz="quarter" idx="14" hasCustomPrompt="1"/>
          </p:nvPr>
        </p:nvSpPr>
        <p:spPr>
          <a:xfrm>
            <a:off x="5135999" y="648000"/>
            <a:ext cx="4164001"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10">
            <a:extLst>
              <a:ext uri="{FF2B5EF4-FFF2-40B4-BE49-F238E27FC236}">
                <a16:creationId xmlns:a16="http://schemas.microsoft.com/office/drawing/2014/main" id="{F8270947-5EF6-40DC-A2E5-BBCD8A56EE7C}"/>
              </a:ext>
            </a:extLst>
          </p:cNvPr>
          <p:cNvSpPr>
            <a:spLocks noGrp="1"/>
          </p:cNvSpPr>
          <p:nvPr>
            <p:ph sz="quarter" idx="15" hasCustomPrompt="1"/>
          </p:nvPr>
        </p:nvSpPr>
        <p:spPr>
          <a:xfrm>
            <a:off x="9624000" y="648000"/>
            <a:ext cx="1920000" cy="5562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8291218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Editorial Blu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5D1844-50F7-4781-A4D4-23EFDE8CEF93}"/>
              </a:ext>
            </a:extLst>
          </p:cNvPr>
          <p:cNvGraphicFramePr>
            <a:graphicFrameLocks noChangeAspect="1"/>
          </p:cNvGraphicFramePr>
          <p:nvPr userDrawn="1">
            <p:custDataLst>
              <p:tags r:id="rId2"/>
            </p:custDataLst>
            <p:extLst>
              <p:ext uri="{D42A27DB-BD31-4B8C-83A1-F6EECF244321}">
                <p14:modId xmlns:p14="http://schemas.microsoft.com/office/powerpoint/2010/main" val="3857326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1"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2E5D1844-50F7-4781-A4D4-23EFDE8CEF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97FD86A-87BF-49AE-8019-40831AAF1261}"/>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Rectangle 14">
            <a:extLst>
              <a:ext uri="{FF2B5EF4-FFF2-40B4-BE49-F238E27FC236}">
                <a16:creationId xmlns:a16="http://schemas.microsoft.com/office/drawing/2014/main" id="{282C40FC-7870-4C1F-9C95-3246AC8AF6C8}"/>
              </a:ext>
            </a:extLst>
          </p:cNvPr>
          <p:cNvSpPr/>
          <p:nvPr userDrawn="1"/>
        </p:nvSpPr>
        <p:spPr bwMode="ltGray">
          <a:xfrm>
            <a:off x="5135999" y="324000"/>
            <a:ext cx="6732001" cy="6210000"/>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lnSpc>
                <a:spcPct val="100000"/>
              </a:lnSpc>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D680068-8429-4F76-84FC-970758704C5A}"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9850153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Editorial Gre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B029DE-45B7-4166-9DBE-3A16A3C0C8F0}"/>
              </a:ext>
            </a:extLst>
          </p:cNvPr>
          <p:cNvGraphicFramePr>
            <a:graphicFrameLocks noChangeAspect="1"/>
          </p:cNvGraphicFramePr>
          <p:nvPr userDrawn="1">
            <p:custDataLst>
              <p:tags r:id="rId2"/>
            </p:custDataLst>
            <p:extLst>
              <p:ext uri="{D42A27DB-BD31-4B8C-83A1-F6EECF244321}">
                <p14:modId xmlns:p14="http://schemas.microsoft.com/office/powerpoint/2010/main" val="2353349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47B029DE-45B7-4166-9DBE-3A16A3C0C8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4302D5-5167-45AC-8F1C-04D10D9D290B}"/>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0" y="324000"/>
            <a:ext cx="8975999" cy="6210000"/>
          </a:xfrm>
          <a:prstGeom prst="rect">
            <a:avLst/>
          </a:prstGeom>
          <a:solidFill>
            <a:srgbClr val="E9EB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3105000"/>
          </a:xfrm>
        </p:spPr>
        <p:txBody>
          <a:bodyPr anchor="t"/>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0AFC648-0C72-4044-8074-D5FCE37692E6}"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4" name="Content Placeholder 3">
            <a:extLst>
              <a:ext uri="{FF2B5EF4-FFF2-40B4-BE49-F238E27FC236}">
                <a16:creationId xmlns:a16="http://schemas.microsoft.com/office/drawing/2014/main" id="{B0C40FC7-04A9-4263-9DB4-3DAAFE35D369}"/>
              </a:ext>
            </a:extLst>
          </p:cNvPr>
          <p:cNvSpPr>
            <a:spLocks noGrp="1"/>
          </p:cNvSpPr>
          <p:nvPr>
            <p:ph sz="quarter" idx="14" hasCustomPrompt="1"/>
          </p:nvPr>
        </p:nvSpPr>
        <p:spPr>
          <a:xfrm>
            <a:off x="647999"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10">
            <a:extLst>
              <a:ext uri="{FF2B5EF4-FFF2-40B4-BE49-F238E27FC236}">
                <a16:creationId xmlns:a16="http://schemas.microsoft.com/office/drawing/2014/main" id="{D3F5C81B-CCBB-449E-A906-622504023D22}"/>
              </a:ext>
            </a:extLst>
          </p:cNvPr>
          <p:cNvSpPr>
            <a:spLocks noGrp="1"/>
          </p:cNvSpPr>
          <p:nvPr>
            <p:ph sz="quarter" idx="15" hasCustomPrompt="1"/>
          </p:nvPr>
        </p:nvSpPr>
        <p:spPr>
          <a:xfrm>
            <a:off x="5135999" y="648000"/>
            <a:ext cx="6408001" cy="3105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12">
            <a:extLst>
              <a:ext uri="{FF2B5EF4-FFF2-40B4-BE49-F238E27FC236}">
                <a16:creationId xmlns:a16="http://schemas.microsoft.com/office/drawing/2014/main" id="{4BBF8239-2E8F-4667-916C-3F586A89212F}"/>
              </a:ext>
            </a:extLst>
          </p:cNvPr>
          <p:cNvSpPr>
            <a:spLocks noGrp="1"/>
          </p:cNvSpPr>
          <p:nvPr>
            <p:ph sz="quarter" idx="16" hasCustomPrompt="1"/>
          </p:nvPr>
        </p:nvSpPr>
        <p:spPr>
          <a:xfrm>
            <a:off x="5135999" y="4076999"/>
            <a:ext cx="4164000" cy="2133001"/>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Content Placeholder 16">
            <a:extLst>
              <a:ext uri="{FF2B5EF4-FFF2-40B4-BE49-F238E27FC236}">
                <a16:creationId xmlns:a16="http://schemas.microsoft.com/office/drawing/2014/main" id="{0901DBFD-EC7A-43B4-895D-0575D5391E8E}"/>
              </a:ext>
            </a:extLst>
          </p:cNvPr>
          <p:cNvSpPr>
            <a:spLocks noGrp="1"/>
          </p:cNvSpPr>
          <p:nvPr>
            <p:ph sz="quarter" idx="17" hasCustomPrompt="1"/>
          </p:nvPr>
        </p:nvSpPr>
        <p:spPr>
          <a:xfrm>
            <a:off x="9623999" y="4076999"/>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95108042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Reporting A.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211F66-4B95-4B3D-81DC-E161607C10E4}"/>
              </a:ext>
            </a:extLst>
          </p:cNvPr>
          <p:cNvGraphicFramePr>
            <a:graphicFrameLocks noChangeAspect="1"/>
          </p:cNvGraphicFramePr>
          <p:nvPr userDrawn="1">
            <p:custDataLst>
              <p:tags r:id="rId2"/>
            </p:custDataLst>
            <p:extLst>
              <p:ext uri="{D42A27DB-BD31-4B8C-83A1-F6EECF244321}">
                <p14:modId xmlns:p14="http://schemas.microsoft.com/office/powerpoint/2010/main" val="3823010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9"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80211F66-4B95-4B3D-81DC-E161607C10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F190C23-0DAE-4152-9429-2E76EDC3EF84}"/>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5135999" y="3429000"/>
            <a:ext cx="4164001"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5135999" y="648000"/>
            <a:ext cx="4164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FA385441-22C6-4DB3-8126-AE935B1ECDAD}"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F5229E68-3EC6-4831-B439-8804F87FEA6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49534523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Reporting B. Conten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DCD7DD-08A3-4FDC-9812-4DBF163BCD1D}"/>
              </a:ext>
            </a:extLst>
          </p:cNvPr>
          <p:cNvGraphicFramePr>
            <a:graphicFrameLocks noChangeAspect="1"/>
          </p:cNvGraphicFramePr>
          <p:nvPr userDrawn="1">
            <p:custDataLst>
              <p:tags r:id="rId2"/>
            </p:custDataLst>
            <p:extLst>
              <p:ext uri="{D42A27DB-BD31-4B8C-83A1-F6EECF244321}">
                <p14:modId xmlns:p14="http://schemas.microsoft.com/office/powerpoint/2010/main" val="3445077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3"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FDDCD7DD-08A3-4FDC-9812-4DBF163BCD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0B2817D-613F-4D6F-8233-EEF0B985880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9CACD44-9E7B-4EB8-9F5C-EFECF296B0C2}"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0A2ECB2A-19E9-48E5-91DB-E34F20D2AB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6761552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0060D94-26BA-49FC-B9C1-7CB09256D381}"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79101651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Reporting C.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81A650-E9FE-4382-BCB6-DEBE60ECB531}"/>
              </a:ext>
            </a:extLst>
          </p:cNvPr>
          <p:cNvGraphicFramePr>
            <a:graphicFrameLocks noChangeAspect="1"/>
          </p:cNvGraphicFramePr>
          <p:nvPr userDrawn="1">
            <p:custDataLst>
              <p:tags r:id="rId2"/>
            </p:custDataLst>
            <p:extLst>
              <p:ext uri="{D42A27DB-BD31-4B8C-83A1-F6EECF244321}">
                <p14:modId xmlns:p14="http://schemas.microsoft.com/office/powerpoint/2010/main" val="2036272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7"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381A650-E9FE-4382-BCB6-DEBE60ECB5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A8C3B3-1FD7-4417-9BE0-11FF2EA62E20}"/>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1B07903-98BA-4D9D-97E3-02117323AA47}"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F1618E7-6259-402C-A006-7EB43B92C8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95238901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Reporting 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1E4D3D-97D3-49CB-9761-112B49D94631}"/>
              </a:ext>
            </a:extLst>
          </p:cNvPr>
          <p:cNvGraphicFramePr>
            <a:graphicFrameLocks noChangeAspect="1"/>
          </p:cNvGraphicFramePr>
          <p:nvPr userDrawn="1">
            <p:custDataLst>
              <p:tags r:id="rId2"/>
            </p:custDataLst>
            <p:extLst>
              <p:ext uri="{D42A27DB-BD31-4B8C-83A1-F6EECF244321}">
                <p14:modId xmlns:p14="http://schemas.microsoft.com/office/powerpoint/2010/main" val="1166631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1"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A91E4D3D-97D3-49CB-9761-112B49D946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4DA988D-F179-411B-801A-09E7767DFFB7}"/>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999" y="648000"/>
            <a:ext cx="10896000"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7999" y="1548000"/>
            <a:ext cx="10896001" cy="46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D499F9A-4FB4-40A1-87A4-F9BB659A6303}"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124112536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Reporting E.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EA3B32-1BB3-4A00-B7B1-C08E52098708}"/>
              </a:ext>
            </a:extLst>
          </p:cNvPr>
          <p:cNvGraphicFramePr>
            <a:graphicFrameLocks noChangeAspect="1"/>
          </p:cNvGraphicFramePr>
          <p:nvPr userDrawn="1">
            <p:custDataLst>
              <p:tags r:id="rId2"/>
            </p:custDataLst>
            <p:extLst>
              <p:ext uri="{D42A27DB-BD31-4B8C-83A1-F6EECF244321}">
                <p14:modId xmlns:p14="http://schemas.microsoft.com/office/powerpoint/2010/main" val="1769581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8EA3B32-1BB3-4A00-B7B1-C08E520987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A43BB45-2FEB-421E-895B-F5A18F05253B}"/>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699" y="647700"/>
            <a:ext cx="10896601"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62592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6CD411E-1319-49FA-BDF5-04C2BCEECF9F}"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EAF405E3-B39D-45EE-8E47-4F2225BD2A65}"/>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91665409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11DFF8-9745-4A70-984D-2C52DF3C3923}"/>
              </a:ext>
            </a:extLst>
          </p:cNvPr>
          <p:cNvGraphicFramePr>
            <a:graphicFrameLocks noChangeAspect="1"/>
          </p:cNvGraphicFramePr>
          <p:nvPr userDrawn="1">
            <p:custDataLst>
              <p:tags r:id="rId2"/>
            </p:custDataLst>
            <p:extLst>
              <p:ext uri="{D42A27DB-BD31-4B8C-83A1-F6EECF244321}">
                <p14:modId xmlns:p14="http://schemas.microsoft.com/office/powerpoint/2010/main" val="182738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9"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0111DFF8-9745-4A70-984D-2C52DF3C39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EE34BD-69C4-4286-AAEC-8A136B3B54F1}"/>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AAB12255-2CF7-4448-B163-1CFC06A86083}" type="datetime3">
              <a:rPr lang="en-GB" smtClean="0"/>
              <a:t>6 November, 2020</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dirty="0"/>
              <a:t>Graduate Programme Introduc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78541480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BDF756-5E01-4131-BCA0-ABD78F38ED93}"/>
              </a:ext>
            </a:extLst>
          </p:cNvPr>
          <p:cNvGraphicFramePr>
            <a:graphicFrameLocks noChangeAspect="1"/>
          </p:cNvGraphicFramePr>
          <p:nvPr userDrawn="1">
            <p:custDataLst>
              <p:tags r:id="rId2"/>
            </p:custDataLst>
            <p:extLst>
              <p:ext uri="{D42A27DB-BD31-4B8C-83A1-F6EECF244321}">
                <p14:modId xmlns:p14="http://schemas.microsoft.com/office/powerpoint/2010/main" val="25482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3"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17BDF756-5E01-4131-BCA0-ABD78F38ED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BCCAE3A0-D5EF-40D9-A06E-C109CB0B5D61}" type="datetime3">
              <a:rPr lang="en-GB" smtClean="0"/>
              <a:t>6 November, 2020</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dirty="0"/>
              <a:t>Graduate Programme Introduc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18728007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D40317-F025-4EE5-885C-D60565470F58}"/>
              </a:ext>
            </a:extLst>
          </p:cNvPr>
          <p:cNvGraphicFramePr>
            <a:graphicFrameLocks noChangeAspect="1"/>
          </p:cNvGraphicFramePr>
          <p:nvPr userDrawn="1">
            <p:custDataLst>
              <p:tags r:id="rId2"/>
            </p:custDataLst>
            <p:extLst>
              <p:ext uri="{D42A27DB-BD31-4B8C-83A1-F6EECF244321}">
                <p14:modId xmlns:p14="http://schemas.microsoft.com/office/powerpoint/2010/main" val="2288679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7"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8FD40317-F025-4EE5-885C-D60565470F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8"/>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9"/>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10"/>
          <a:srcRect l="3901" t="45142" r="62601" b="9046"/>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11"/>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12"/>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13"/>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5"/>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057C519A-65C8-4831-95BF-E57A52A90B5A}" type="datetime3">
              <a:rPr lang="en-GB" smtClean="0"/>
              <a:t>6 November, 2020</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dirty="0"/>
              <a:t>Graduate Programme Introduc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16778199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D983B7-ACBF-465A-9DF3-1A982F04F61D}"/>
              </a:ext>
            </a:extLst>
          </p:cNvPr>
          <p:cNvGraphicFramePr>
            <a:graphicFrameLocks noChangeAspect="1"/>
          </p:cNvGraphicFramePr>
          <p:nvPr userDrawn="1">
            <p:custDataLst>
              <p:tags r:id="rId2"/>
            </p:custDataLst>
            <p:extLst>
              <p:ext uri="{D42A27DB-BD31-4B8C-83A1-F6EECF244321}">
                <p14:modId xmlns:p14="http://schemas.microsoft.com/office/powerpoint/2010/main" val="1329079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1"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91D983B7-ACBF-465A-9DF3-1A982F04F6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fld id="{E3003526-8179-4D7A-B18E-FAFE460FF8E2}" type="datetime3">
              <a:rPr lang="en-GB" smtClean="0"/>
              <a:t>6 November, 2020</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r>
              <a:rPr lang="en-GB" dirty="0"/>
              <a:t>Graduate Programme Introduc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257826378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Reporting 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5ABC87-3A04-44FB-BB7A-33BF50DF4EFB}"/>
              </a:ext>
            </a:extLst>
          </p:cNvPr>
          <p:cNvGraphicFramePr>
            <a:graphicFrameLocks noChangeAspect="1"/>
          </p:cNvGraphicFramePr>
          <p:nvPr userDrawn="1">
            <p:custDataLst>
              <p:tags r:id="rId2"/>
            </p:custDataLst>
            <p:extLst>
              <p:ext uri="{D42A27DB-BD31-4B8C-83A1-F6EECF244321}">
                <p14:modId xmlns:p14="http://schemas.microsoft.com/office/powerpoint/2010/main" val="3960071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5" name="think-cell Slide" r:id="rId5" imgW="499" imgH="499" progId="TCLayout.ActiveDocument.1">
                  <p:embed/>
                </p:oleObj>
              </mc:Choice>
              <mc:Fallback>
                <p:oleObj name="think-cell Slide" r:id="rId5" imgW="499" imgH="499" progId="TCLayout.ActiveDocument.1">
                  <p:embed/>
                  <p:pic>
                    <p:nvPicPr>
                      <p:cNvPr id="5" name="Object 4" hidden="1">
                        <a:extLst>
                          <a:ext uri="{FF2B5EF4-FFF2-40B4-BE49-F238E27FC236}">
                            <a16:creationId xmlns:a16="http://schemas.microsoft.com/office/drawing/2014/main" id="{ED5ABC87-3A04-44FB-BB7A-33BF50DF4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4D5D10-6667-455E-9FA4-485E2099BAD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999" y="648000"/>
            <a:ext cx="10896000" cy="900000"/>
          </a:xfrm>
        </p:spPr>
        <p:txBody>
          <a:bodyPr/>
          <a:lstStyle>
            <a:lvl1pPr>
              <a:defRPr sz="2800" b="0"/>
            </a:lvl1pPr>
          </a:lstStyle>
          <a:p>
            <a:r>
              <a:rPr lang="en-GB" noProof="0" dirty="0"/>
              <a:t>Click to add title</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3421447-240C-413A-AFEC-CE24C323C2E0}"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615641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Half_break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85EB43B-93A1-42CD-B766-0B2E3BDA88CC}"/>
              </a:ext>
            </a:extLst>
          </p:cNvPr>
          <p:cNvGraphicFramePr>
            <a:graphicFrameLocks noChangeAspect="1"/>
          </p:cNvGraphicFramePr>
          <p:nvPr userDrawn="1">
            <p:custDataLst>
              <p:tags r:id="rId2"/>
            </p:custDataLst>
            <p:extLst>
              <p:ext uri="{D42A27DB-BD31-4B8C-83A1-F6EECF244321}">
                <p14:modId xmlns:p14="http://schemas.microsoft.com/office/powerpoint/2010/main" val="1225550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9"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185EB43B-93A1-42CD-B766-0B2E3BDA88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Billede 2" descr="Et billede, der indeholder person, indendørs, mand, væg&#10;&#10;Beskrivelse, der er oprettet med meget høj sikkerhed">
            <a:extLst>
              <a:ext uri="{FF2B5EF4-FFF2-40B4-BE49-F238E27FC236}">
                <a16:creationId xmlns:a16="http://schemas.microsoft.com/office/drawing/2014/main" id="{DA436AA8-D98F-4450-8563-C25B1A435C4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3" descr="NN_m_2c_RGB">
            <a:extLst>
              <a:ext uri="{FF2B5EF4-FFF2-40B4-BE49-F238E27FC236}">
                <a16:creationId xmlns:a16="http://schemas.microsoft.com/office/drawing/2014/main" id="{4259EC19-DB3D-46E5-980F-DA570FC52FCE}"/>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0431" y="5714738"/>
            <a:ext cx="1080128" cy="8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lede 8" descr="Et billede, der indeholder objekt&#10;&#10;Beskrivelse, der er oprettet med meget høj sikkerhed">
            <a:extLst>
              <a:ext uri="{FF2B5EF4-FFF2-40B4-BE49-F238E27FC236}">
                <a16:creationId xmlns:a16="http://schemas.microsoft.com/office/drawing/2014/main" id="{7A735535-B5EF-4338-A4A8-452EB6154FD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387043" y="5858934"/>
            <a:ext cx="1096271" cy="589805"/>
          </a:xfrm>
          <a:prstGeom prst="rect">
            <a:avLst/>
          </a:prstGeom>
        </p:spPr>
      </p:pic>
      <p:sp>
        <p:nvSpPr>
          <p:cNvPr id="13" name="Content Placeholder 2">
            <a:extLst>
              <a:ext uri="{FF2B5EF4-FFF2-40B4-BE49-F238E27FC236}">
                <a16:creationId xmlns:a16="http://schemas.microsoft.com/office/drawing/2014/main" id="{BB3AC0B3-D4B4-4CA5-962D-F1E7785E43E8}"/>
              </a:ext>
            </a:extLst>
          </p:cNvPr>
          <p:cNvSpPr>
            <a:spLocks noGrp="1"/>
          </p:cNvSpPr>
          <p:nvPr>
            <p:ph idx="1"/>
          </p:nvPr>
        </p:nvSpPr>
        <p:spPr>
          <a:xfrm>
            <a:off x="6387043" y="1509107"/>
            <a:ext cx="5673600" cy="3941052"/>
          </a:xfrm>
          <a:prstGeom prst="rect">
            <a:avLst/>
          </a:prstGeom>
        </p:spPr>
        <p:txBody>
          <a:bodyPr>
            <a:normAutofit/>
          </a:bodyPr>
          <a:lstStyle>
            <a:lvl1pPr marL="0" indent="0">
              <a:buClr>
                <a:srgbClr val="009FDA"/>
              </a:buClr>
              <a:buFont typeface="+mj-lt"/>
              <a:buNone/>
              <a:defRPr sz="1467">
                <a:solidFill>
                  <a:srgbClr val="001423"/>
                </a:solidFill>
                <a:latin typeface="Verdana" panose="020B0604030504040204" pitchFamily="34" charset="0"/>
                <a:ea typeface="Verdana" panose="020B0604030504040204" pitchFamily="34" charset="0"/>
                <a:cs typeface="Verdana" panose="020B0604030504040204" pitchFamily="34" charset="0"/>
              </a:defRPr>
            </a:lvl1pPr>
            <a:lvl2pPr>
              <a:buClr>
                <a:srgbClr val="009FDA"/>
              </a:buClr>
              <a:defRPr sz="2133">
                <a:solidFill>
                  <a:srgbClr val="001423"/>
                </a:solidFill>
                <a:latin typeface="Verdana" panose="020B0604030504040204" pitchFamily="34" charset="0"/>
                <a:ea typeface="Verdana" panose="020B0604030504040204" pitchFamily="34" charset="0"/>
                <a:cs typeface="Verdana" panose="020B0604030504040204" pitchFamily="34" charset="0"/>
              </a:defRPr>
            </a:lvl2pPr>
            <a:lvl3pPr>
              <a:buClr>
                <a:srgbClr val="009FDA"/>
              </a:buClr>
              <a:defRPr sz="1867">
                <a:solidFill>
                  <a:srgbClr val="001423"/>
                </a:solidFill>
                <a:latin typeface="Verdana" panose="020B0604030504040204" pitchFamily="34" charset="0"/>
                <a:ea typeface="Verdana" panose="020B0604030504040204" pitchFamily="34" charset="0"/>
                <a:cs typeface="Verdana" panose="020B0604030504040204" pitchFamily="34" charset="0"/>
              </a:defRPr>
            </a:lvl3pPr>
            <a:lvl4pPr>
              <a:buClr>
                <a:srgbClr val="009FDA"/>
              </a:buClr>
              <a:defRPr sz="1600">
                <a:solidFill>
                  <a:srgbClr val="001423"/>
                </a:solidFill>
                <a:latin typeface="Verdana" panose="020B0604030504040204" pitchFamily="34" charset="0"/>
                <a:ea typeface="Verdana" panose="020B0604030504040204" pitchFamily="34" charset="0"/>
                <a:cs typeface="Verdana" panose="020B0604030504040204" pitchFamily="34" charset="0"/>
              </a:defRPr>
            </a:lvl4pPr>
            <a:lvl5pPr>
              <a:buClr>
                <a:srgbClr val="009FDA"/>
              </a:buClr>
              <a:defRPr sz="1600">
                <a:solidFill>
                  <a:srgbClr val="001423"/>
                </a:solidFill>
                <a:latin typeface="Verdana" panose="020B0604030504040204" pitchFamily="34" charset="0"/>
                <a:ea typeface="Verdana" panose="020B0604030504040204" pitchFamily="34" charset="0"/>
                <a:cs typeface="Verdana" panose="020B0604030504040204" pitchFamily="34" charset="0"/>
              </a:defRPr>
            </a:lvl5pPr>
          </a:lstStyle>
          <a:p>
            <a:pPr lvl="0"/>
            <a:r>
              <a:rPr lang="en-GB" noProof="0" dirty="0"/>
              <a:t>Click to edit Master text styles</a:t>
            </a:r>
          </a:p>
        </p:txBody>
      </p:sp>
      <p:sp>
        <p:nvSpPr>
          <p:cNvPr id="10" name="Tekstfelt 9">
            <a:extLst>
              <a:ext uri="{FF2B5EF4-FFF2-40B4-BE49-F238E27FC236}">
                <a16:creationId xmlns:a16="http://schemas.microsoft.com/office/drawing/2014/main" id="{3E568EC6-2557-4080-A73D-41D3932BD1E8}"/>
              </a:ext>
            </a:extLst>
          </p:cNvPr>
          <p:cNvSpPr txBox="1"/>
          <p:nvPr userDrawn="1"/>
        </p:nvSpPr>
        <p:spPr>
          <a:xfrm>
            <a:off x="0" y="0"/>
            <a:ext cx="3371851" cy="523028"/>
          </a:xfrm>
          <a:prstGeom prst="rect">
            <a:avLst/>
          </a:prstGeom>
          <a:noFill/>
        </p:spPr>
        <p:txBody>
          <a:bodyPr wrap="square" rtlCol="0">
            <a:spAutoFit/>
          </a:bodyPr>
          <a:lstStyle/>
          <a:p>
            <a:r>
              <a:rPr lang="en-GB" sz="933" dirty="0">
                <a:solidFill>
                  <a:srgbClr val="001423"/>
                </a:solidFill>
              </a:rPr>
              <a:t>GITA KAMPEN, JOHAN F PAULSSON </a:t>
            </a:r>
            <a:br>
              <a:rPr lang="en-GB" sz="933" dirty="0">
                <a:solidFill>
                  <a:srgbClr val="001423"/>
                </a:solidFill>
              </a:rPr>
            </a:br>
            <a:r>
              <a:rPr lang="en-GB" sz="933" dirty="0">
                <a:solidFill>
                  <a:srgbClr val="001423"/>
                </a:solidFill>
              </a:rPr>
              <a:t>and KARIN HAMBORG ALBRECHTSEN</a:t>
            </a:r>
          </a:p>
          <a:p>
            <a:r>
              <a:rPr lang="en-GB" sz="933" dirty="0">
                <a:solidFill>
                  <a:srgbClr val="001423"/>
                </a:solidFill>
              </a:rPr>
              <a:t>working in Global Research in Denmark</a:t>
            </a:r>
          </a:p>
        </p:txBody>
      </p:sp>
    </p:spTree>
    <p:extLst>
      <p:ext uri="{BB962C8B-B14F-4D97-AF65-F5344CB8AC3E}">
        <p14:creationId xmlns:p14="http://schemas.microsoft.com/office/powerpoint/2010/main" val="27413098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049">
          <p15:clr>
            <a:srgbClr val="FBAE40"/>
          </p15:clr>
        </p15:guide>
        <p15:guide id="2" pos="2880">
          <p15:clr>
            <a:srgbClr val="FBAE40"/>
          </p15:clr>
        </p15:guide>
        <p15:guide id="3" orient="horz" pos="2777">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2892000" y="647700"/>
            <a:ext cx="8976150" cy="5886300"/>
          </a:xfrm>
          <a:solidFill>
            <a:srgbClr val="D8EAF8"/>
          </a:solidFill>
        </p:spPr>
        <p:txBody>
          <a:bodyPr/>
          <a:lstStyle>
            <a:lvl1pPr marL="0" indent="0">
              <a:buNone/>
              <a:defRPr sz="100">
                <a:noFill/>
              </a:defRPr>
            </a:lvl1pPr>
          </a:lstStyle>
          <a:p>
            <a:pPr lvl="0"/>
            <a:r>
              <a:rPr lang="en-US"/>
              <a:t>Click to edit Master text styles</a:t>
            </a:r>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GB" dirty="0"/>
              <a:t>Insert notes</a:t>
            </a:r>
          </a:p>
        </p:txBody>
      </p:sp>
      <p:sp>
        <p:nvSpPr>
          <p:cNvPr id="4" name="Date Placeholder 3">
            <a:extLst>
              <a:ext uri="{FF2B5EF4-FFF2-40B4-BE49-F238E27FC236}">
                <a16:creationId xmlns:a16="http://schemas.microsoft.com/office/drawing/2014/main" id="{779FC834-4845-430D-833F-E27D62F7E107}"/>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FB39247E-D185-41FD-BF62-F6D03E65C52B}"/>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470F0230-6038-4355-80ED-FB8CD83128CA}"/>
              </a:ext>
            </a:extLst>
          </p:cNvPr>
          <p:cNvSpPr>
            <a:spLocks noGrp="1"/>
          </p:cNvSpPr>
          <p:nvPr>
            <p:ph type="sldNum" sz="quarter" idx="19"/>
          </p:nvPr>
        </p:nvSpPr>
        <p:spPr/>
        <p:txBody>
          <a:bodyPr/>
          <a:lstStyle/>
          <a:p>
            <a:fld id="{23AA811B-2EBD-4900-905E-5BE206449611}" type="slidenum">
              <a:rPr lang="en-GB"/>
              <a:pPr/>
              <a:t>‹#›</a:t>
            </a:fld>
            <a:endParaRPr lang="en-GB" dirty="0"/>
          </a:p>
        </p:txBody>
      </p:sp>
    </p:spTree>
    <p:extLst>
      <p:ext uri="{BB962C8B-B14F-4D97-AF65-F5344CB8AC3E}">
        <p14:creationId xmlns:p14="http://schemas.microsoft.com/office/powerpoint/2010/main" val="7495942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946D65A-F108-4FEE-A6BD-F90FD5C8D7F6}"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5327126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7B3FB6-6446-4040-BDAF-186327E4213C}"/>
              </a:ext>
            </a:extLst>
          </p:cNvPr>
          <p:cNvGraphicFramePr>
            <a:graphicFrameLocks noChangeAspect="1"/>
          </p:cNvGraphicFramePr>
          <p:nvPr userDrawn="1">
            <p:custDataLst>
              <p:tags r:id="rId2"/>
            </p:custDataLst>
            <p:extLst>
              <p:ext uri="{D42A27DB-BD31-4B8C-83A1-F6EECF244321}">
                <p14:modId xmlns:p14="http://schemas.microsoft.com/office/powerpoint/2010/main" val="2371807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7"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067B3FB6-6446-4040-BDAF-186327E421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72C1F08-D77F-4733-95F9-5422787A8E3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bwMode="auto">
          <a:xfrm>
            <a:off x="648000" y="648000"/>
            <a:ext cx="8652000" cy="5562000"/>
          </a:xfrm>
        </p:spPr>
        <p:txBody>
          <a:bodyPr bIns="144000" anchor="ctr"/>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1D7B928B-C3E7-4734-A6B6-D3F89845C0CF}" type="datetime3">
              <a:rPr lang="en-GB" smtClean="0"/>
              <a:t>6 November, 2020</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r>
              <a:rPr lang="en-GB" dirty="0"/>
              <a:t>Graduate Programme Introduction</a:t>
            </a:r>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dirty="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CC218D6D-FEFB-46D0-8813-C99976F4CA1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1117430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BF2AB43-F65D-4F3A-81F3-CF6686B03C2F}"/>
              </a:ext>
            </a:extLst>
          </p:cNvPr>
          <p:cNvGraphicFramePr>
            <a:graphicFrameLocks noChangeAspect="1"/>
          </p:cNvGraphicFramePr>
          <p:nvPr userDrawn="1">
            <p:custDataLst>
              <p:tags r:id="rId2"/>
            </p:custDataLst>
            <p:extLst>
              <p:ext uri="{D42A27DB-BD31-4B8C-83A1-F6EECF244321}">
                <p14:modId xmlns:p14="http://schemas.microsoft.com/office/powerpoint/2010/main" val="2632544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1"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CBF2AB43-F65D-4F3A-81F3-CF6686B03C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1957412-2AD9-49E7-ADFF-862967049C79}"/>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ctrTitle" hasCustomPrompt="1"/>
          </p:nvPr>
        </p:nvSpPr>
        <p:spPr>
          <a:xfrm>
            <a:off x="647999" y="648000"/>
            <a:ext cx="8652001" cy="5562000"/>
          </a:xfrm>
        </p:spPr>
        <p:txBody>
          <a:bodyPr bIns="144000" anchor="ctr"/>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37188A09-683A-4A73-AA8F-56D1F23AC7BC}" type="datetime3">
              <a:rPr lang="en-GB" smtClean="0"/>
              <a:t>6 November, 2020</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r>
              <a:rPr lang="en-GB" dirty="0"/>
              <a:t>Graduate Programme Introduction</a:t>
            </a:r>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14" name="Slide Number Placeholder 8">
            <a:extLst>
              <a:ext uri="{FF2B5EF4-FFF2-40B4-BE49-F238E27FC236}">
                <a16:creationId xmlns:a16="http://schemas.microsoft.com/office/drawing/2014/main" id="{4589B76A-6F33-43A1-BEAC-5DD74727BCF8}"/>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9CE848CF-6894-4564-ABE3-C9ED24818DC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24329399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E741C9-DA95-4EC4-A542-690C548FF16E}"/>
              </a:ext>
            </a:extLst>
          </p:cNvPr>
          <p:cNvGraphicFramePr>
            <a:graphicFrameLocks noChangeAspect="1"/>
          </p:cNvGraphicFramePr>
          <p:nvPr userDrawn="1">
            <p:custDataLst>
              <p:tags r:id="rId2"/>
            </p:custDataLst>
            <p:extLst>
              <p:ext uri="{D42A27DB-BD31-4B8C-83A1-F6EECF244321}">
                <p14:modId xmlns:p14="http://schemas.microsoft.com/office/powerpoint/2010/main" val="3150675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86E741C9-DA95-4EC4-A542-690C548FF1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F4CFEEC-F4B7-40DE-878B-CCCC8E32B458}"/>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ctrTitle" hasCustomPrompt="1"/>
          </p:nvPr>
        </p:nvSpPr>
        <p:spPr>
          <a:xfrm>
            <a:off x="647999" y="648000"/>
            <a:ext cx="8652001" cy="5562000"/>
          </a:xfrm>
        </p:spPr>
        <p:txBody>
          <a:bodyPr bIns="144000" anchor="ctr"/>
          <a:lstStyle>
            <a:lvl1pPr algn="l">
              <a:lnSpc>
                <a:spcPct val="100000"/>
              </a:lnSpc>
              <a:defRPr sz="4400">
                <a:solidFill>
                  <a:schemeClr val="tx2"/>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tx2"/>
                </a:solidFill>
              </a:defRPr>
            </a:lvl1pPr>
          </a:lstStyle>
          <a:p>
            <a:fld id="{13B3C43D-4956-4357-A6A8-7FD3C44E59D4}" type="datetime3">
              <a:rPr lang="en-GB" smtClean="0"/>
              <a:t>6 November, 2020</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tx2"/>
                </a:solidFill>
              </a:defRPr>
            </a:lvl1pPr>
          </a:lstStyle>
          <a:p>
            <a:r>
              <a:rPr lang="en-GB" dirty="0"/>
              <a:t>Graduate Programme Introduction</a:t>
            </a:r>
          </a:p>
        </p:txBody>
      </p:sp>
      <p:sp>
        <p:nvSpPr>
          <p:cNvPr id="14" name="Freeform: Shape 13">
            <a:extLst>
              <a:ext uri="{FF2B5EF4-FFF2-40B4-BE49-F238E27FC236}">
                <a16:creationId xmlns:a16="http://schemas.microsoft.com/office/drawing/2014/main" id="{471420AF-1268-4AE1-84DA-164DB71C2C14}"/>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13" name="Slide Number Placeholder 8">
            <a:extLst>
              <a:ext uri="{FF2B5EF4-FFF2-40B4-BE49-F238E27FC236}">
                <a16:creationId xmlns:a16="http://schemas.microsoft.com/office/drawing/2014/main" id="{7CC7667B-71FE-473D-AE19-E08F2682BD4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AE78219-5CBB-4760-B800-636AFE0A99A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56515291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A8445D0-CD95-4A06-9080-92870B82FDE4}"/>
              </a:ext>
            </a:extLst>
          </p:cNvPr>
          <p:cNvGraphicFramePr>
            <a:graphicFrameLocks noChangeAspect="1"/>
          </p:cNvGraphicFramePr>
          <p:nvPr userDrawn="1">
            <p:custDataLst>
              <p:tags r:id="rId2"/>
            </p:custDataLst>
            <p:extLst>
              <p:ext uri="{D42A27DB-BD31-4B8C-83A1-F6EECF244321}">
                <p14:modId xmlns:p14="http://schemas.microsoft.com/office/powerpoint/2010/main" val="192127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9"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7A8445D0-CD95-4A06-9080-92870B82FD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0E3A12-DADF-4DF7-9356-9953AC9F254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ctrTitle" hasCustomPrompt="1"/>
          </p:nvPr>
        </p:nvSpPr>
        <p:spPr>
          <a:xfrm>
            <a:off x="5136356" y="2163600"/>
            <a:ext cx="6408844" cy="2379600"/>
          </a:xfrm>
        </p:spPr>
        <p:txBody>
          <a:bodyPr anchor="ctr"/>
          <a:lstStyle>
            <a:lvl1pPr algn="l">
              <a:lnSpc>
                <a:spcPct val="100000"/>
              </a:lnSpc>
              <a:defRPr sz="4400">
                <a:solidFill>
                  <a:schemeClr val="tx2"/>
                </a:solidFill>
              </a:defRPr>
            </a:lvl1pPr>
          </a:lstStyle>
          <a:p>
            <a:r>
              <a:rPr lang="en-GB" dirty="0"/>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5FB0A2D2-439A-42B6-896F-11616203E9AE}" type="datetime3">
              <a:rPr lang="en-GB" smtClean="0"/>
              <a:t>6 November, 2020</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11" name="Footer Placeholder 7">
            <a:extLst>
              <a:ext uri="{FF2B5EF4-FFF2-40B4-BE49-F238E27FC236}">
                <a16:creationId xmlns:a16="http://schemas.microsoft.com/office/drawing/2014/main" id="{3619EDAC-4320-41F5-B9CB-6CF8C3F2CC13}"/>
              </a:ext>
            </a:extLst>
          </p:cNvPr>
          <p:cNvSpPr>
            <a:spLocks noGrp="1"/>
          </p:cNvSpPr>
          <p:nvPr>
            <p:ph type="ftr" sz="quarter" idx="3"/>
          </p:nvPr>
        </p:nvSpPr>
        <p:spPr>
          <a:xfrm>
            <a:off x="9625912" y="5900399"/>
            <a:ext cx="1919288" cy="308313"/>
          </a:xfrm>
          <a:prstGeom prst="rect">
            <a:avLst/>
          </a:prstGeom>
        </p:spPr>
        <p:txBody>
          <a:bodyPr vert="horz" lIns="0" tIns="0" rIns="0" bIns="0" rtlCol="0" anchor="t"/>
          <a:lstStyle>
            <a:lvl1pPr algn="l">
              <a:defRPr sz="1000">
                <a:solidFill>
                  <a:schemeClr val="tx2"/>
                </a:solidFill>
              </a:defRPr>
            </a:lvl1pPr>
          </a:lstStyle>
          <a:p>
            <a:r>
              <a:rPr lang="en-GB" dirty="0"/>
              <a:t>Graduate Programme Introduction</a:t>
            </a:r>
          </a:p>
        </p:txBody>
      </p:sp>
      <p:sp>
        <p:nvSpPr>
          <p:cNvPr id="12" name="Slide Number Placeholder 8">
            <a:extLst>
              <a:ext uri="{FF2B5EF4-FFF2-40B4-BE49-F238E27FC236}">
                <a16:creationId xmlns:a16="http://schemas.microsoft.com/office/drawing/2014/main" id="{6EC1ABD1-7336-4768-9B10-EE224AA916BA}"/>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CFCDB02C-C393-45D0-9339-45B1931BD42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84951537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99CA43-D176-476A-B540-37AD132B9AF8}"/>
              </a:ext>
            </a:extLst>
          </p:cNvPr>
          <p:cNvGraphicFramePr>
            <a:graphicFrameLocks noChangeAspect="1"/>
          </p:cNvGraphicFramePr>
          <p:nvPr userDrawn="1">
            <p:custDataLst>
              <p:tags r:id="rId2"/>
            </p:custDataLst>
            <p:extLst>
              <p:ext uri="{D42A27DB-BD31-4B8C-83A1-F6EECF244321}">
                <p14:modId xmlns:p14="http://schemas.microsoft.com/office/powerpoint/2010/main" val="1230189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3"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799CA43-D176-476A-B540-37AD132B9A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6373D161-C47F-41E7-8BBE-8BE77F904FE3}" type="datetime3">
              <a:rPr lang="en-GB" smtClean="0"/>
              <a:t>6 November, 2020</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Graduate Programme Introduc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3EF1636C-932C-4747-B37D-D0B1E2D9AB1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807919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 Agenda">
    <p:bg bwMode="grayWhite">
      <p:bgPr>
        <a:solidFill>
          <a:srgbClr val="F7F6F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0A0F35-3C55-4ED5-A0F0-E46F0F2F9AC6}"/>
              </a:ext>
            </a:extLst>
          </p:cNvPr>
          <p:cNvGraphicFramePr>
            <a:graphicFrameLocks noChangeAspect="1"/>
          </p:cNvGraphicFramePr>
          <p:nvPr userDrawn="1">
            <p:custDataLst>
              <p:tags r:id="rId2"/>
            </p:custDataLst>
            <p:extLst>
              <p:ext uri="{D42A27DB-BD31-4B8C-83A1-F6EECF244321}">
                <p14:modId xmlns:p14="http://schemas.microsoft.com/office/powerpoint/2010/main" val="3437014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7"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510A0F35-3C55-4ED5-A0F0-E46F0F2F9A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1082" t="20310" r="8216" b="23549"/>
          <a:stretch/>
        </p:blipFill>
        <p:spPr>
          <a:xfrm>
            <a:off x="190500"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dirty="0"/>
              <a:t>09.00-09.30</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fld id="{696DAF88-793E-4D51-9025-7DED844CE5A3}" type="datetime3">
              <a:rPr lang="en-GB" smtClean="0"/>
              <a:t>6 November, 2020</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r>
              <a:rPr lang="en-GB" dirty="0"/>
              <a:t>Graduate Programme Introduc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bwMode="gray">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2"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B3C1CADE-9463-4A8D-B4E6-273C0EC9AFF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95680334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Layout">
    <p:bg>
      <p:bgPr>
        <a:solidFill>
          <a:srgbClr val="F7F6F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481766-8EBA-4DA6-81C1-21059B7526E9}"/>
              </a:ext>
            </a:extLst>
          </p:cNvPr>
          <p:cNvGraphicFramePr>
            <a:graphicFrameLocks noChangeAspect="1"/>
          </p:cNvGraphicFramePr>
          <p:nvPr userDrawn="1">
            <p:custDataLst>
              <p:tags r:id="rId2"/>
            </p:custDataLst>
            <p:extLst>
              <p:ext uri="{D42A27DB-BD31-4B8C-83A1-F6EECF244321}">
                <p14:modId xmlns:p14="http://schemas.microsoft.com/office/powerpoint/2010/main" val="2644723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1"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8E481766-8EBA-4DA6-81C1-21059B7526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AE56669E-5532-4649-A54B-EE8B879D7777}" type="datetime3">
              <a:rPr lang="en-GB" smtClean="0"/>
              <a:t>6 November, 2020</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Graduate Programme Introduc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1082" t="20310" r="8216" b="23549"/>
          <a:stretch/>
        </p:blipFill>
        <p:spPr>
          <a:xfrm>
            <a:off x="190500" y="2105535"/>
            <a:ext cx="10292105" cy="2989020"/>
          </a:xfrm>
          <a:prstGeom prst="rect">
            <a:avLst/>
          </a:prstGeom>
        </p:spPr>
      </p:pic>
      <p:sp>
        <p:nvSpPr>
          <p:cNvPr id="3"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63388963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58697E-C7F5-45AB-B147-AEFFEF160D53}"/>
              </a:ext>
            </a:extLst>
          </p:cNvPr>
          <p:cNvGraphicFramePr>
            <a:graphicFrameLocks noChangeAspect="1"/>
          </p:cNvGraphicFramePr>
          <p:nvPr userDrawn="1">
            <p:custDataLst>
              <p:tags r:id="rId2"/>
            </p:custDataLst>
            <p:extLst>
              <p:ext uri="{D42A27DB-BD31-4B8C-83A1-F6EECF244321}">
                <p14:modId xmlns:p14="http://schemas.microsoft.com/office/powerpoint/2010/main" val="444261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5"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3458697E-C7F5-45AB-B147-AEFFEF160D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C8C5F5-4FAE-43E8-8F91-18FC639DF538}"/>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1" i="0" baseline="0" noProof="0" dirty="0">
              <a:latin typeface="Apis For Office" panose="020B0504010101010104" pitchFamily="34" charset="0"/>
              <a:ea typeface="+mj-ea"/>
              <a:cs typeface="+mj-cs"/>
              <a:sym typeface="Apis For Office" panose="020B0504010101010104" pitchFamily="34" charset="0"/>
            </a:endParaRPr>
          </a:p>
        </p:txBody>
      </p:sp>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F6198C7F-7E3D-4DD3-88A4-56E1DCEAA2BE}" type="datetime3">
              <a:rPr lang="en-GB" smtClean="0"/>
              <a:t>6 November, 2020</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7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6"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D9E9F619-DDA7-4396-BEF5-E42E21A0A600}"/>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06362467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98AC961-E119-403C-8293-7F132DC7FB62}"/>
              </a:ext>
            </a:extLst>
          </p:cNvPr>
          <p:cNvGraphicFramePr>
            <a:graphicFrameLocks noChangeAspect="1"/>
          </p:cNvGraphicFramePr>
          <p:nvPr userDrawn="1">
            <p:custDataLst>
              <p:tags r:id="rId2"/>
            </p:custDataLst>
            <p:extLst>
              <p:ext uri="{D42A27DB-BD31-4B8C-83A1-F6EECF244321}">
                <p14:modId xmlns:p14="http://schemas.microsoft.com/office/powerpoint/2010/main" val="4031200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9"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698AC961-E119-403C-8293-7F132DC7FB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118078C-B9CC-4708-94BA-A3B3C50BE5BA}"/>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1" i="0" baseline="0" noProof="0" dirty="0">
              <a:latin typeface="Apis For Office" panose="020B0504010101010104" pitchFamily="34" charset="0"/>
              <a:ea typeface="+mj-ea"/>
              <a:cs typeface="+mj-cs"/>
              <a:sym typeface="Apis For Office" panose="020B0504010101010104" pitchFamily="34" charset="0"/>
            </a:endParaRPr>
          </a:p>
        </p:txBody>
      </p:sp>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4" y="647700"/>
            <a:ext cx="8902835" cy="5562300"/>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7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C70CD8B3-8E93-4AF3-A07B-49D861CA1E4D}" type="datetime3">
              <a:rPr lang="en-GB" smtClean="0"/>
              <a:t>6 November, 2020</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6"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C259898-72ED-48AD-B8DB-354C87B7C69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55152855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9DC105-866B-4684-841D-85F3673958B2}"/>
              </a:ext>
            </a:extLst>
          </p:cNvPr>
          <p:cNvGraphicFramePr>
            <a:graphicFrameLocks noChangeAspect="1"/>
          </p:cNvGraphicFramePr>
          <p:nvPr userDrawn="1">
            <p:custDataLst>
              <p:tags r:id="rId2"/>
            </p:custDataLst>
            <p:extLst>
              <p:ext uri="{D42A27DB-BD31-4B8C-83A1-F6EECF244321}">
                <p14:modId xmlns:p14="http://schemas.microsoft.com/office/powerpoint/2010/main" val="2568766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3"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639DC105-866B-4684-841D-85F3673958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789859-74FE-4116-9AAF-9AF74337A8D7}"/>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8000" y="972000"/>
            <a:ext cx="10896000" cy="972000"/>
          </a:xfrm>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DFB4AD8-9510-41BF-A43C-9DAF6DA6FF78}"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7999" y="648000"/>
            <a:ext cx="10896001" cy="324000"/>
          </a:xfrm>
        </p:spPr>
        <p:txBody>
          <a:bodyPr/>
          <a:lstStyle>
            <a:lvl1pPr marL="0" indent="0">
              <a:buNone/>
              <a:defRPr sz="1400" b="1" cap="all" baseline="0"/>
            </a:lvl1pPr>
          </a:lstStyle>
          <a:p>
            <a:pPr lvl="0"/>
            <a:r>
              <a:rPr lang="en-GB" dirty="0"/>
              <a:t>Click to add trumpet</a:t>
            </a:r>
          </a:p>
        </p:txBody>
      </p:sp>
    </p:spTree>
    <p:extLst>
      <p:ext uri="{BB962C8B-B14F-4D97-AF65-F5344CB8AC3E}">
        <p14:creationId xmlns:p14="http://schemas.microsoft.com/office/powerpoint/2010/main" val="15424014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79304B1-949F-4AAA-BD22-47777B0BC12C}"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59989402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A7D398-533C-40C2-8A9C-0C8649777977}"/>
              </a:ext>
            </a:extLst>
          </p:cNvPr>
          <p:cNvGraphicFramePr>
            <a:graphicFrameLocks noChangeAspect="1"/>
          </p:cNvGraphicFramePr>
          <p:nvPr userDrawn="1">
            <p:custDataLst>
              <p:tags r:id="rId2"/>
            </p:custDataLst>
            <p:extLst>
              <p:ext uri="{D42A27DB-BD31-4B8C-83A1-F6EECF244321}">
                <p14:modId xmlns:p14="http://schemas.microsoft.com/office/powerpoint/2010/main" val="4198039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7"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88A7D398-533C-40C2-8A9C-0C86497779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667B10A-1446-43B7-B16E-EC19458A0363}"/>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F9F529C2-0A97-44E0-9985-E67BE0D20613}"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411970611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BCFC11-E6AF-46C7-8C49-BC45E55335D3}"/>
              </a:ext>
            </a:extLst>
          </p:cNvPr>
          <p:cNvGraphicFramePr>
            <a:graphicFrameLocks noChangeAspect="1"/>
          </p:cNvGraphicFramePr>
          <p:nvPr userDrawn="1">
            <p:custDataLst>
              <p:tags r:id="rId2"/>
            </p:custDataLst>
            <p:extLst>
              <p:ext uri="{D42A27DB-BD31-4B8C-83A1-F6EECF244321}">
                <p14:modId xmlns:p14="http://schemas.microsoft.com/office/powerpoint/2010/main" val="2981432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1"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04BCFC11-E6AF-46C7-8C49-BC45E55335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CA96ED-2D5E-4AC0-8D1B-7CD2BA351F1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CEEAE81-524E-49F9-B6C0-BE59B87A0D14}"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09665593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251D2DB-BA33-4C5C-A0D8-D6D2C9549AEF}"/>
              </a:ext>
            </a:extLst>
          </p:cNvPr>
          <p:cNvGraphicFramePr>
            <a:graphicFrameLocks noChangeAspect="1"/>
          </p:cNvGraphicFramePr>
          <p:nvPr userDrawn="1">
            <p:custDataLst>
              <p:tags r:id="rId2"/>
            </p:custDataLst>
            <p:extLst>
              <p:ext uri="{D42A27DB-BD31-4B8C-83A1-F6EECF244321}">
                <p14:modId xmlns:p14="http://schemas.microsoft.com/office/powerpoint/2010/main" val="228828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5"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E251D2DB-BA33-4C5C-A0D8-D6D2C9549A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2ED9701-D9B4-4171-8555-D72A7B3A1856}"/>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7FDCE9F-9CB5-44E4-A448-27FAAAEFFD57}"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FD24B339-4BEF-40F4-99BA-001E3E26118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59653927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59D6FAC-90A8-469D-A269-94AC26C9A902}"/>
              </a:ext>
            </a:extLst>
          </p:cNvPr>
          <p:cNvGraphicFramePr>
            <a:graphicFrameLocks noChangeAspect="1"/>
          </p:cNvGraphicFramePr>
          <p:nvPr userDrawn="1">
            <p:custDataLst>
              <p:tags r:id="rId2"/>
            </p:custDataLst>
            <p:extLst>
              <p:ext uri="{D42A27DB-BD31-4B8C-83A1-F6EECF244321}">
                <p14:modId xmlns:p14="http://schemas.microsoft.com/office/powerpoint/2010/main" val="509118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9"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459D6FAC-90A8-469D-A269-94AC26C9A9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605DE2-BB9F-4577-9D57-9C9E6F263FC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4838D3F8-4398-4FE3-8614-A5CCC873FBEC}"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50C9B3A-1DC8-4D31-931B-2B9DFA8D23B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27509706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E. Conten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F21F9BA-7012-4E8C-9891-591416E4C269}"/>
              </a:ext>
            </a:extLst>
          </p:cNvPr>
          <p:cNvGraphicFramePr>
            <a:graphicFrameLocks noChangeAspect="1"/>
          </p:cNvGraphicFramePr>
          <p:nvPr userDrawn="1">
            <p:custDataLst>
              <p:tags r:id="rId2"/>
            </p:custDataLst>
            <p:extLst>
              <p:ext uri="{D42A27DB-BD31-4B8C-83A1-F6EECF244321}">
                <p14:modId xmlns:p14="http://schemas.microsoft.com/office/powerpoint/2010/main" val="2043703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3" name="think-cell Slide" r:id="rId5" imgW="415" imgH="416" progId="TCLayout.ActiveDocument.1">
                  <p:embed/>
                </p:oleObj>
              </mc:Choice>
              <mc:Fallback>
                <p:oleObj name="think-cell Slide" r:id="rId5" imgW="415" imgH="416" progId="TCLayout.ActiveDocument.1">
                  <p:embed/>
                  <p:pic>
                    <p:nvPicPr>
                      <p:cNvPr id="13" name="Object 12" hidden="1">
                        <a:extLst>
                          <a:ext uri="{FF2B5EF4-FFF2-40B4-BE49-F238E27FC236}">
                            <a16:creationId xmlns:a16="http://schemas.microsoft.com/office/drawing/2014/main" id="{7F21F9BA-7012-4E8C-9891-591416E4C2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8DD9863-FFCA-4EA5-995C-9DDBD63E92E9}"/>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542ADAD-E52E-4019-9C7B-02ECF748A125}"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4E040E5F-17E7-4BD9-A89F-45152FDBA83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8252761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72F151-43C9-4A00-AB24-1AE5E7ABC76D}"/>
              </a:ext>
            </a:extLst>
          </p:cNvPr>
          <p:cNvGraphicFramePr>
            <a:graphicFrameLocks noChangeAspect="1"/>
          </p:cNvGraphicFramePr>
          <p:nvPr userDrawn="1">
            <p:custDataLst>
              <p:tags r:id="rId2"/>
            </p:custDataLst>
            <p:extLst>
              <p:ext uri="{D42A27DB-BD31-4B8C-83A1-F6EECF244321}">
                <p14:modId xmlns:p14="http://schemas.microsoft.com/office/powerpoint/2010/main" val="575937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7"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9972F151-43C9-4A00-AB24-1AE5E7ABC7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098E69C-706B-4E1E-A657-9B10ABE428AD}"/>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F048A4FE-4D2C-4A4C-B57C-B9C92489327C}"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AD76CD6D-257F-451B-A84B-5F86799B060C}"/>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75242862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316F14-C49F-49E6-AA76-BBB807D7468C}"/>
              </a:ext>
            </a:extLst>
          </p:cNvPr>
          <p:cNvGraphicFramePr>
            <a:graphicFrameLocks noChangeAspect="1"/>
          </p:cNvGraphicFramePr>
          <p:nvPr userDrawn="1">
            <p:custDataLst>
              <p:tags r:id="rId2"/>
            </p:custDataLst>
            <p:extLst>
              <p:ext uri="{D42A27DB-BD31-4B8C-83A1-F6EECF244321}">
                <p14:modId xmlns:p14="http://schemas.microsoft.com/office/powerpoint/2010/main" val="1035494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1"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0A316F14-C49F-49E6-AA76-BBB807D746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7326E8-4721-4513-8B2D-54AF245877F0}"/>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3DEABCB-1059-45EF-B5C7-5E232B507538}"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79777756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D61DC41-3583-4CC0-A77A-5F6958E2E074}"/>
              </a:ext>
            </a:extLst>
          </p:cNvPr>
          <p:cNvGraphicFramePr>
            <a:graphicFrameLocks noChangeAspect="1"/>
          </p:cNvGraphicFramePr>
          <p:nvPr userDrawn="1">
            <p:custDataLst>
              <p:tags r:id="rId2"/>
            </p:custDataLst>
            <p:extLst>
              <p:ext uri="{D42A27DB-BD31-4B8C-83A1-F6EECF244321}">
                <p14:modId xmlns:p14="http://schemas.microsoft.com/office/powerpoint/2010/main" val="1233386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5" name="think-cell Slide" r:id="rId5" imgW="415" imgH="416" progId="TCLayout.ActiveDocument.1">
                  <p:embed/>
                </p:oleObj>
              </mc:Choice>
              <mc:Fallback>
                <p:oleObj name="think-cell Slide" r:id="rId5" imgW="415" imgH="416" progId="TCLayout.ActiveDocument.1">
                  <p:embed/>
                  <p:pic>
                    <p:nvPicPr>
                      <p:cNvPr id="13" name="Object 12" hidden="1">
                        <a:extLst>
                          <a:ext uri="{FF2B5EF4-FFF2-40B4-BE49-F238E27FC236}">
                            <a16:creationId xmlns:a16="http://schemas.microsoft.com/office/drawing/2014/main" id="{9D61DC41-3583-4CC0-A77A-5F6958E2E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16469A1-2425-4EE7-8CA3-2EE3026B7BCE}"/>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49FD1BCF-9863-4732-997D-DBA220290EB2}"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20663408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021229-8D73-43E2-AB1F-2172FDF529E4}"/>
              </a:ext>
            </a:extLst>
          </p:cNvPr>
          <p:cNvGraphicFramePr>
            <a:graphicFrameLocks noChangeAspect="1"/>
          </p:cNvGraphicFramePr>
          <p:nvPr userDrawn="1">
            <p:custDataLst>
              <p:tags r:id="rId2"/>
            </p:custDataLst>
            <p:extLst>
              <p:ext uri="{D42A27DB-BD31-4B8C-83A1-F6EECF244321}">
                <p14:modId xmlns:p14="http://schemas.microsoft.com/office/powerpoint/2010/main" val="2861927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9"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FC021229-8D73-43E2-AB1F-2172FDF529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E24DFE-D39E-4731-8CAC-2555BA9F698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8EB3AF4-2E3D-4556-B836-69C6D3BB5FFD}" type="datetime3">
              <a:rPr lang="en-GB" smtClean="0"/>
              <a:t>6 November, 2020</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dirty="0"/>
              <a:t>Graduate Programme Introduc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91569322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1CCE79-4A99-4DAD-B2DE-699A48BC8242}"/>
              </a:ext>
            </a:extLst>
          </p:cNvPr>
          <p:cNvGraphicFramePr>
            <a:graphicFrameLocks noChangeAspect="1"/>
          </p:cNvGraphicFramePr>
          <p:nvPr userDrawn="1">
            <p:custDataLst>
              <p:tags r:id="rId2"/>
            </p:custDataLst>
            <p:extLst>
              <p:ext uri="{D42A27DB-BD31-4B8C-83A1-F6EECF244321}">
                <p14:modId xmlns:p14="http://schemas.microsoft.com/office/powerpoint/2010/main" val="1882621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3"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391CCE79-4A99-4DAD-B2DE-699A48BC82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140541-55E9-4524-8211-36EA9144C817}"/>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0B98031-9AB0-4DE5-A19B-551E1762FEDE}"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3" name="Text Placeholder 4">
            <a:extLst>
              <a:ext uri="{FF2B5EF4-FFF2-40B4-BE49-F238E27FC236}">
                <a16:creationId xmlns:a16="http://schemas.microsoft.com/office/drawing/2014/main" id="{5F91D68D-2FA9-4CAD-8EF0-C0BF3460A391}"/>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389518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B2E469-AF47-4238-8EAC-0FD65E5CFBAC}"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27018570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A8B9EA4-9598-461F-B820-76BCAD2DD906}"/>
              </a:ext>
            </a:extLst>
          </p:cNvPr>
          <p:cNvGraphicFramePr>
            <a:graphicFrameLocks noChangeAspect="1"/>
          </p:cNvGraphicFramePr>
          <p:nvPr userDrawn="1">
            <p:custDataLst>
              <p:tags r:id="rId2"/>
            </p:custDataLst>
            <p:extLst>
              <p:ext uri="{D42A27DB-BD31-4B8C-83A1-F6EECF244321}">
                <p14:modId xmlns:p14="http://schemas.microsoft.com/office/powerpoint/2010/main" val="2278283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7"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7A8B9EA4-9598-461F-B820-76BCAD2DD9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D2B4F0-54B0-4AC4-9487-C7CBC9977AA8}"/>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8404E12-4FC5-45C7-980D-B11E6B29D477}"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36D757B-F40B-4569-BAF1-AA3404B9E9E6}"/>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85027558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 placeholders horis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9C39C9-7690-43C2-AF73-56A5C8077ED0}"/>
              </a:ext>
            </a:extLst>
          </p:cNvPr>
          <p:cNvGraphicFramePr>
            <a:graphicFrameLocks noChangeAspect="1"/>
          </p:cNvGraphicFramePr>
          <p:nvPr userDrawn="1">
            <p:custDataLst>
              <p:tags r:id="rId2"/>
            </p:custDataLst>
            <p:extLst>
              <p:ext uri="{D42A27DB-BD31-4B8C-83A1-F6EECF244321}">
                <p14:modId xmlns:p14="http://schemas.microsoft.com/office/powerpoint/2010/main" val="301324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1"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939C39C9-7690-43C2-AF73-56A5C8077E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AE75B6E-FBD9-477F-AD21-EB9145117FFA}"/>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478A406-8A1D-4D28-BE31-DDAD56AA345D}"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9EC381D6-39E2-4766-8084-72599657FA73}"/>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86781850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68B0304-49F9-4245-AFC2-82E85533D779}"/>
              </a:ext>
            </a:extLst>
          </p:cNvPr>
          <p:cNvGraphicFramePr>
            <a:graphicFrameLocks noChangeAspect="1"/>
          </p:cNvGraphicFramePr>
          <p:nvPr userDrawn="1">
            <p:custDataLst>
              <p:tags r:id="rId2"/>
            </p:custDataLst>
            <p:extLst>
              <p:ext uri="{D42A27DB-BD31-4B8C-83A1-F6EECF244321}">
                <p14:modId xmlns:p14="http://schemas.microsoft.com/office/powerpoint/2010/main" val="1678082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5"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C68B0304-49F9-4245-AFC2-82E85533D7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9D7615-E721-40B5-8FF2-5CC354129A7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9600" b="0" i="0" baseline="0" noProof="0" dirty="0">
              <a:latin typeface="Apis For Office" panose="020B0504010101010104" pitchFamily="34" charset="0"/>
              <a:ea typeface="+mj-ea"/>
              <a:cs typeface="+mj-cs"/>
              <a:sym typeface="Apis For Office" panose="020B0504010101010104" pitchFamily="34" charset="0"/>
            </a:endParaRPr>
          </a:p>
        </p:txBody>
      </p:sp>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74B95C3-7DB5-4EEE-9854-1E1244DA5AAF}" type="datetime3">
              <a:rPr lang="en-GB" smtClean="0"/>
              <a:t>6 November, 2020</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44E7C209-74AB-4928-B52F-1ED3C6CFC5A2}"/>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36104471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30251B-6514-40D2-88DD-77A79F0E02DD}"/>
              </a:ext>
            </a:extLst>
          </p:cNvPr>
          <p:cNvGraphicFramePr>
            <a:graphicFrameLocks noChangeAspect="1"/>
          </p:cNvGraphicFramePr>
          <p:nvPr userDrawn="1">
            <p:custDataLst>
              <p:tags r:id="rId2"/>
            </p:custDataLst>
            <p:extLst>
              <p:ext uri="{D42A27DB-BD31-4B8C-83A1-F6EECF244321}">
                <p14:modId xmlns:p14="http://schemas.microsoft.com/office/powerpoint/2010/main" val="3130771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9"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CB30251B-6514-40D2-88DD-77A79F0E02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15AA886-7594-4E76-8E21-F2805AD3995B}"/>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7200" b="0" i="0" baseline="0" noProof="0" dirty="0">
              <a:latin typeface="Apis For Office" panose="020B0504010101010104" pitchFamily="34" charset="0"/>
              <a:ea typeface="+mj-ea"/>
              <a:cs typeface="+mj-cs"/>
              <a:sym typeface="Apis For Office" panose="020B0504010101010104" pitchFamily="34" charset="0"/>
            </a:endParaRPr>
          </a:p>
        </p:txBody>
      </p:sp>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6267A6FF-7661-46E8-A20F-F7FA4105A0C6}" type="datetime3">
              <a:rPr lang="en-GB" smtClean="0"/>
              <a:t>6 November, 2020</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E3FA8B5C-51AE-4CBF-B3D5-16E4AB91FC0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26281904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A8E882B-3329-4054-B946-22815EA5A414}"/>
              </a:ext>
            </a:extLst>
          </p:cNvPr>
          <p:cNvGraphicFramePr>
            <a:graphicFrameLocks noChangeAspect="1"/>
          </p:cNvGraphicFramePr>
          <p:nvPr userDrawn="1">
            <p:custDataLst>
              <p:tags r:id="rId2"/>
            </p:custDataLst>
            <p:extLst>
              <p:ext uri="{D42A27DB-BD31-4B8C-83A1-F6EECF244321}">
                <p14:modId xmlns:p14="http://schemas.microsoft.com/office/powerpoint/2010/main" val="2794589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3"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CA8E882B-3329-4054-B946-22815EA5A4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0223AD3-8FAB-44DE-9FEC-929998EE630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9600" b="0" i="0" baseline="0" noProof="0" dirty="0">
              <a:latin typeface="Apis For Office" panose="020B0504010101010104" pitchFamily="34" charset="0"/>
              <a:ea typeface="+mj-ea"/>
              <a:cs typeface="+mj-cs"/>
              <a:sym typeface="Apis For Office" panose="020B0504010101010104" pitchFamily="34" charset="0"/>
            </a:endParaRPr>
          </a:p>
        </p:txBody>
      </p:sp>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0931FCD1-1E3B-4DED-8CE7-B8FE8F2FE5C9}" type="datetime3">
              <a:rPr lang="en-GB" smtClean="0"/>
              <a:t>6 November, 2020</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152DA9A1-3FA7-4BC8-9172-644A881C6F4B}"/>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9216233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C972E4-DB01-41DC-9A8F-C5FD5457BB5C}"/>
              </a:ext>
            </a:extLst>
          </p:cNvPr>
          <p:cNvGraphicFramePr>
            <a:graphicFrameLocks noChangeAspect="1"/>
          </p:cNvGraphicFramePr>
          <p:nvPr userDrawn="1">
            <p:custDataLst>
              <p:tags r:id="rId2"/>
            </p:custDataLst>
            <p:extLst>
              <p:ext uri="{D42A27DB-BD31-4B8C-83A1-F6EECF244321}">
                <p14:modId xmlns:p14="http://schemas.microsoft.com/office/powerpoint/2010/main" val="2979547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7"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16C972E4-DB01-41DC-9A8F-C5FD5457BB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485169-4676-41EC-B0B8-B0E121C25771}"/>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7200" b="0" i="0" baseline="0" noProof="0" dirty="0">
              <a:latin typeface="Apis For Office" panose="020B0504010101010104" pitchFamily="34" charset="0"/>
              <a:ea typeface="+mj-ea"/>
              <a:cs typeface="+mj-cs"/>
              <a:sym typeface="Apis For Office" panose="020B0504010101010104" pitchFamily="34" charset="0"/>
            </a:endParaRPr>
          </a:p>
        </p:txBody>
      </p:sp>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D07A5FF4-5BD4-41DD-B27B-4F364FCCC3D6}" type="datetime3">
              <a:rPr lang="en-GB" smtClean="0"/>
              <a:t>6 November, 2020</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B6E51AD8-D258-457C-9483-72C95483B71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6333284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Editorial Pi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FE191F-FF1E-47FF-8E3B-3BE26297D4E1}"/>
              </a:ext>
            </a:extLst>
          </p:cNvPr>
          <p:cNvGraphicFramePr>
            <a:graphicFrameLocks noChangeAspect="1"/>
          </p:cNvGraphicFramePr>
          <p:nvPr userDrawn="1">
            <p:custDataLst>
              <p:tags r:id="rId2"/>
            </p:custDataLst>
            <p:extLst>
              <p:ext uri="{D42A27DB-BD31-4B8C-83A1-F6EECF244321}">
                <p14:modId xmlns:p14="http://schemas.microsoft.com/office/powerpoint/2010/main" val="2326047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1"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75FE191F-FF1E-47FF-8E3B-3BE26297D4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A7CCB5-5B88-4EBE-96F0-D71AE0BA0A3A}"/>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Rectangle 14">
            <a:extLst>
              <a:ext uri="{FF2B5EF4-FFF2-40B4-BE49-F238E27FC236}">
                <a16:creationId xmlns:a16="http://schemas.microsoft.com/office/drawing/2014/main" id="{282C40FC-7870-4C1F-9C95-3246AC8AF6C8}"/>
              </a:ext>
            </a:extLst>
          </p:cNvPr>
          <p:cNvSpPr/>
          <p:nvPr userDrawn="1"/>
        </p:nvSpPr>
        <p:spPr bwMode="ltGray">
          <a:xfrm>
            <a:off x="323999" y="3429000"/>
            <a:ext cx="11544001" cy="3105000"/>
          </a:xfrm>
          <a:prstGeom prst="rect">
            <a:avLst/>
          </a:prstGeom>
          <a:solidFill>
            <a:srgbClr val="FCED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lnSpc>
                <a:spcPct val="100000"/>
              </a:lnSpc>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5886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6FBFD73-3C1C-4846-838D-F4D2F20A36C4}"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49210704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Editorial Gree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B1AF08-E352-43FF-B54F-7E46909CA039}"/>
              </a:ext>
            </a:extLst>
          </p:cNvPr>
          <p:cNvGraphicFramePr>
            <a:graphicFrameLocks noChangeAspect="1"/>
          </p:cNvGraphicFramePr>
          <p:nvPr userDrawn="1">
            <p:custDataLst>
              <p:tags r:id="rId2"/>
            </p:custDataLst>
            <p:extLst>
              <p:ext uri="{D42A27DB-BD31-4B8C-83A1-F6EECF244321}">
                <p14:modId xmlns:p14="http://schemas.microsoft.com/office/powerpoint/2010/main" val="744044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08B1AF08-E352-43FF-B54F-7E46909CA0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C22FAE2-004C-4669-B1CA-0881CD9A8ECD}"/>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0" y="324000"/>
            <a:ext cx="8975999" cy="6210000"/>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7822374-0DB1-4770-AECF-0E53C1BB88F8}"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4" name="Content Placeholder 3">
            <a:extLst>
              <a:ext uri="{FF2B5EF4-FFF2-40B4-BE49-F238E27FC236}">
                <a16:creationId xmlns:a16="http://schemas.microsoft.com/office/drawing/2014/main" id="{7CDAC364-33E1-4E5D-B7FA-E4D384921297}"/>
              </a:ext>
            </a:extLst>
          </p:cNvPr>
          <p:cNvSpPr>
            <a:spLocks noGrp="1"/>
          </p:cNvSpPr>
          <p:nvPr>
            <p:ph sz="quarter" idx="14" hasCustomPrompt="1"/>
          </p:nvPr>
        </p:nvSpPr>
        <p:spPr>
          <a:xfrm>
            <a:off x="5135999" y="648000"/>
            <a:ext cx="4164001"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10">
            <a:extLst>
              <a:ext uri="{FF2B5EF4-FFF2-40B4-BE49-F238E27FC236}">
                <a16:creationId xmlns:a16="http://schemas.microsoft.com/office/drawing/2014/main" id="{F8270947-5EF6-40DC-A2E5-BBCD8A56EE7C}"/>
              </a:ext>
            </a:extLst>
          </p:cNvPr>
          <p:cNvSpPr>
            <a:spLocks noGrp="1"/>
          </p:cNvSpPr>
          <p:nvPr>
            <p:ph sz="quarter" idx="15" hasCustomPrompt="1"/>
          </p:nvPr>
        </p:nvSpPr>
        <p:spPr>
          <a:xfrm>
            <a:off x="9624000" y="648000"/>
            <a:ext cx="1920000" cy="5562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49079801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Editorial Blu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5D1844-50F7-4781-A4D4-23EFDE8CEF93}"/>
              </a:ext>
            </a:extLst>
          </p:cNvPr>
          <p:cNvGraphicFramePr>
            <a:graphicFrameLocks noChangeAspect="1"/>
          </p:cNvGraphicFramePr>
          <p:nvPr userDrawn="1">
            <p:custDataLst>
              <p:tags r:id="rId2"/>
            </p:custDataLst>
            <p:extLst>
              <p:ext uri="{D42A27DB-BD31-4B8C-83A1-F6EECF244321}">
                <p14:modId xmlns:p14="http://schemas.microsoft.com/office/powerpoint/2010/main" val="435765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9"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2E5D1844-50F7-4781-A4D4-23EFDE8CEF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97FD86A-87BF-49AE-8019-40831AAF1261}"/>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Rectangle 14">
            <a:extLst>
              <a:ext uri="{FF2B5EF4-FFF2-40B4-BE49-F238E27FC236}">
                <a16:creationId xmlns:a16="http://schemas.microsoft.com/office/drawing/2014/main" id="{282C40FC-7870-4C1F-9C95-3246AC8AF6C8}"/>
              </a:ext>
            </a:extLst>
          </p:cNvPr>
          <p:cNvSpPr/>
          <p:nvPr userDrawn="1"/>
        </p:nvSpPr>
        <p:spPr bwMode="ltGray">
          <a:xfrm>
            <a:off x="5135999" y="324000"/>
            <a:ext cx="6732001" cy="6210000"/>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lnSpc>
                <a:spcPct val="100000"/>
              </a:lnSpc>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D680068-8429-4F76-84FC-970758704C5A}"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167957473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Editorial Gre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B029DE-45B7-4166-9DBE-3A16A3C0C8F0}"/>
              </a:ext>
            </a:extLst>
          </p:cNvPr>
          <p:cNvGraphicFramePr>
            <a:graphicFrameLocks noChangeAspect="1"/>
          </p:cNvGraphicFramePr>
          <p:nvPr userDrawn="1">
            <p:custDataLst>
              <p:tags r:id="rId2"/>
            </p:custDataLst>
            <p:extLst>
              <p:ext uri="{D42A27DB-BD31-4B8C-83A1-F6EECF244321}">
                <p14:modId xmlns:p14="http://schemas.microsoft.com/office/powerpoint/2010/main" val="2018483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3"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47B029DE-45B7-4166-9DBE-3A16A3C0C8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4302D5-5167-45AC-8F1C-04D10D9D290B}"/>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0" y="324000"/>
            <a:ext cx="8975999" cy="6210000"/>
          </a:xfrm>
          <a:prstGeom prst="rect">
            <a:avLst/>
          </a:prstGeom>
          <a:solidFill>
            <a:srgbClr val="E9EB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3105000"/>
          </a:xfrm>
        </p:spPr>
        <p:txBody>
          <a:bodyPr anchor="t"/>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0AFC648-0C72-4044-8074-D5FCE37692E6}"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4" name="Content Placeholder 3">
            <a:extLst>
              <a:ext uri="{FF2B5EF4-FFF2-40B4-BE49-F238E27FC236}">
                <a16:creationId xmlns:a16="http://schemas.microsoft.com/office/drawing/2014/main" id="{B0C40FC7-04A9-4263-9DB4-3DAAFE35D369}"/>
              </a:ext>
            </a:extLst>
          </p:cNvPr>
          <p:cNvSpPr>
            <a:spLocks noGrp="1"/>
          </p:cNvSpPr>
          <p:nvPr>
            <p:ph sz="quarter" idx="14" hasCustomPrompt="1"/>
          </p:nvPr>
        </p:nvSpPr>
        <p:spPr>
          <a:xfrm>
            <a:off x="647999"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10">
            <a:extLst>
              <a:ext uri="{FF2B5EF4-FFF2-40B4-BE49-F238E27FC236}">
                <a16:creationId xmlns:a16="http://schemas.microsoft.com/office/drawing/2014/main" id="{D3F5C81B-CCBB-449E-A906-622504023D22}"/>
              </a:ext>
            </a:extLst>
          </p:cNvPr>
          <p:cNvSpPr>
            <a:spLocks noGrp="1"/>
          </p:cNvSpPr>
          <p:nvPr>
            <p:ph sz="quarter" idx="15" hasCustomPrompt="1"/>
          </p:nvPr>
        </p:nvSpPr>
        <p:spPr>
          <a:xfrm>
            <a:off x="5135999" y="648000"/>
            <a:ext cx="6408001" cy="3105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12">
            <a:extLst>
              <a:ext uri="{FF2B5EF4-FFF2-40B4-BE49-F238E27FC236}">
                <a16:creationId xmlns:a16="http://schemas.microsoft.com/office/drawing/2014/main" id="{4BBF8239-2E8F-4667-916C-3F586A89212F}"/>
              </a:ext>
            </a:extLst>
          </p:cNvPr>
          <p:cNvSpPr>
            <a:spLocks noGrp="1"/>
          </p:cNvSpPr>
          <p:nvPr>
            <p:ph sz="quarter" idx="16" hasCustomPrompt="1"/>
          </p:nvPr>
        </p:nvSpPr>
        <p:spPr>
          <a:xfrm>
            <a:off x="5135999" y="4076999"/>
            <a:ext cx="4164000" cy="2133001"/>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Content Placeholder 16">
            <a:extLst>
              <a:ext uri="{FF2B5EF4-FFF2-40B4-BE49-F238E27FC236}">
                <a16:creationId xmlns:a16="http://schemas.microsoft.com/office/drawing/2014/main" id="{0901DBFD-EC7A-43B4-895D-0575D5391E8E}"/>
              </a:ext>
            </a:extLst>
          </p:cNvPr>
          <p:cNvSpPr>
            <a:spLocks noGrp="1"/>
          </p:cNvSpPr>
          <p:nvPr>
            <p:ph sz="quarter" idx="17" hasCustomPrompt="1"/>
          </p:nvPr>
        </p:nvSpPr>
        <p:spPr>
          <a:xfrm>
            <a:off x="9623999" y="4076999"/>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732716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CC548A7-22AC-41F8-81EA-83B06B2C841A}"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388461212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Reporting A.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211F66-4B95-4B3D-81DC-E161607C10E4}"/>
              </a:ext>
            </a:extLst>
          </p:cNvPr>
          <p:cNvGraphicFramePr>
            <a:graphicFrameLocks noChangeAspect="1"/>
          </p:cNvGraphicFramePr>
          <p:nvPr userDrawn="1">
            <p:custDataLst>
              <p:tags r:id="rId2"/>
            </p:custDataLst>
            <p:extLst>
              <p:ext uri="{D42A27DB-BD31-4B8C-83A1-F6EECF244321}">
                <p14:modId xmlns:p14="http://schemas.microsoft.com/office/powerpoint/2010/main" val="25188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7"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80211F66-4B95-4B3D-81DC-E161607C10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F190C23-0DAE-4152-9429-2E76EDC3EF84}"/>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5135999" y="3429000"/>
            <a:ext cx="4164001"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5135999" y="648000"/>
            <a:ext cx="4164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FA385441-22C6-4DB3-8126-AE935B1ECDAD}"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F5229E68-3EC6-4831-B439-8804F87FEA6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421109887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Reporting B. Conten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DCD7DD-08A3-4FDC-9812-4DBF163BCD1D}"/>
              </a:ext>
            </a:extLst>
          </p:cNvPr>
          <p:cNvGraphicFramePr>
            <a:graphicFrameLocks noChangeAspect="1"/>
          </p:cNvGraphicFramePr>
          <p:nvPr userDrawn="1">
            <p:custDataLst>
              <p:tags r:id="rId2"/>
            </p:custDataLst>
            <p:extLst>
              <p:ext uri="{D42A27DB-BD31-4B8C-83A1-F6EECF244321}">
                <p14:modId xmlns:p14="http://schemas.microsoft.com/office/powerpoint/2010/main" val="2460382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1"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FDDCD7DD-08A3-4FDC-9812-4DBF163BCD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0B2817D-613F-4D6F-8233-EEF0B985880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9CACD44-9E7B-4EB8-9F5C-EFECF296B0C2}"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0A2ECB2A-19E9-48E5-91DB-E34F20D2AB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64666391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Reporting C.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81A650-E9FE-4382-BCB6-DEBE60ECB531}"/>
              </a:ext>
            </a:extLst>
          </p:cNvPr>
          <p:cNvGraphicFramePr>
            <a:graphicFrameLocks noChangeAspect="1"/>
          </p:cNvGraphicFramePr>
          <p:nvPr userDrawn="1">
            <p:custDataLst>
              <p:tags r:id="rId2"/>
            </p:custDataLst>
            <p:extLst>
              <p:ext uri="{D42A27DB-BD31-4B8C-83A1-F6EECF244321}">
                <p14:modId xmlns:p14="http://schemas.microsoft.com/office/powerpoint/2010/main" val="1756355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381A650-E9FE-4382-BCB6-DEBE60ECB5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A8C3B3-1FD7-4417-9BE0-11FF2EA62E20}"/>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1B07903-98BA-4D9D-97E3-02117323AA47}"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F1618E7-6259-402C-A006-7EB43B92C8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2209006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Reporting 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1E4D3D-97D3-49CB-9761-112B49D94631}"/>
              </a:ext>
            </a:extLst>
          </p:cNvPr>
          <p:cNvGraphicFramePr>
            <a:graphicFrameLocks noChangeAspect="1"/>
          </p:cNvGraphicFramePr>
          <p:nvPr userDrawn="1">
            <p:custDataLst>
              <p:tags r:id="rId2"/>
            </p:custDataLst>
            <p:extLst>
              <p:ext uri="{D42A27DB-BD31-4B8C-83A1-F6EECF244321}">
                <p14:modId xmlns:p14="http://schemas.microsoft.com/office/powerpoint/2010/main" val="227434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9"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A91E4D3D-97D3-49CB-9761-112B49D946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4DA988D-F179-411B-801A-09E7767DFFB7}"/>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999" y="648000"/>
            <a:ext cx="10896000"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7999" y="1548000"/>
            <a:ext cx="10896001" cy="46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D499F9A-4FB4-40A1-87A4-F9BB659A6303}"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145236141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Reporting E.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EA3B32-1BB3-4A00-B7B1-C08E52098708}"/>
              </a:ext>
            </a:extLst>
          </p:cNvPr>
          <p:cNvGraphicFramePr>
            <a:graphicFrameLocks noChangeAspect="1"/>
          </p:cNvGraphicFramePr>
          <p:nvPr userDrawn="1">
            <p:custDataLst>
              <p:tags r:id="rId2"/>
            </p:custDataLst>
            <p:extLst>
              <p:ext uri="{D42A27DB-BD31-4B8C-83A1-F6EECF244321}">
                <p14:modId xmlns:p14="http://schemas.microsoft.com/office/powerpoint/2010/main" val="2261761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3"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8EA3B32-1BB3-4A00-B7B1-C08E520987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A43BB45-2FEB-421E-895B-F5A18F05253B}"/>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699" y="647700"/>
            <a:ext cx="10896601"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62592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6CD411E-1319-49FA-BDF5-04C2BCEECF9F}"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EAF405E3-B39D-45EE-8E47-4F2225BD2A65}"/>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90417572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11DFF8-9745-4A70-984D-2C52DF3C3923}"/>
              </a:ext>
            </a:extLst>
          </p:cNvPr>
          <p:cNvGraphicFramePr>
            <a:graphicFrameLocks noChangeAspect="1"/>
          </p:cNvGraphicFramePr>
          <p:nvPr userDrawn="1">
            <p:custDataLst>
              <p:tags r:id="rId2"/>
            </p:custDataLst>
            <p:extLst>
              <p:ext uri="{D42A27DB-BD31-4B8C-83A1-F6EECF244321}">
                <p14:modId xmlns:p14="http://schemas.microsoft.com/office/powerpoint/2010/main" val="583373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0111DFF8-9745-4A70-984D-2C52DF3C39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EE34BD-69C4-4286-AAEC-8A136B3B54F1}"/>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AAB12255-2CF7-4448-B163-1CFC06A86083}" type="datetime3">
              <a:rPr lang="en-GB" smtClean="0"/>
              <a:t>6 November, 2020</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dirty="0"/>
              <a:t>Graduate Programme Introduc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157462501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BDF756-5E01-4131-BCA0-ABD78F38ED93}"/>
              </a:ext>
            </a:extLst>
          </p:cNvPr>
          <p:cNvGraphicFramePr>
            <a:graphicFrameLocks noChangeAspect="1"/>
          </p:cNvGraphicFramePr>
          <p:nvPr userDrawn="1">
            <p:custDataLst>
              <p:tags r:id="rId2"/>
            </p:custDataLst>
            <p:extLst>
              <p:ext uri="{D42A27DB-BD31-4B8C-83A1-F6EECF244321}">
                <p14:modId xmlns:p14="http://schemas.microsoft.com/office/powerpoint/2010/main" val="1873597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1"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17BDF756-5E01-4131-BCA0-ABD78F38ED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BCCAE3A0-D5EF-40D9-A06E-C109CB0B5D61}" type="datetime3">
              <a:rPr lang="en-GB" smtClean="0"/>
              <a:t>6 November, 2020</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dirty="0"/>
              <a:t>Graduate Programme Introduc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56700338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D40317-F025-4EE5-885C-D60565470F58}"/>
              </a:ext>
            </a:extLst>
          </p:cNvPr>
          <p:cNvGraphicFramePr>
            <a:graphicFrameLocks noChangeAspect="1"/>
          </p:cNvGraphicFramePr>
          <p:nvPr userDrawn="1">
            <p:custDataLst>
              <p:tags r:id="rId2"/>
            </p:custDataLst>
            <p:extLst>
              <p:ext uri="{D42A27DB-BD31-4B8C-83A1-F6EECF244321}">
                <p14:modId xmlns:p14="http://schemas.microsoft.com/office/powerpoint/2010/main" val="1978305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5"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8FD40317-F025-4EE5-885C-D60565470F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8"/>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9"/>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10"/>
          <a:srcRect l="3901" t="45142" r="62601" b="9046"/>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11"/>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12"/>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13"/>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5"/>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057C519A-65C8-4831-95BF-E57A52A90B5A}" type="datetime3">
              <a:rPr lang="en-GB" smtClean="0"/>
              <a:t>6 November, 2020</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dirty="0"/>
              <a:t>Graduate Programme Introduc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91937878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D983B7-ACBF-465A-9DF3-1A982F04F61D}"/>
              </a:ext>
            </a:extLst>
          </p:cNvPr>
          <p:cNvGraphicFramePr>
            <a:graphicFrameLocks noChangeAspect="1"/>
          </p:cNvGraphicFramePr>
          <p:nvPr userDrawn="1">
            <p:custDataLst>
              <p:tags r:id="rId2"/>
            </p:custDataLst>
            <p:extLst>
              <p:ext uri="{D42A27DB-BD31-4B8C-83A1-F6EECF244321}">
                <p14:modId xmlns:p14="http://schemas.microsoft.com/office/powerpoint/2010/main" val="3005995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9"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91D983B7-ACBF-465A-9DF3-1A982F04F6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fld id="{E3003526-8179-4D7A-B18E-FAFE460FF8E2}" type="datetime3">
              <a:rPr lang="en-GB" smtClean="0"/>
              <a:t>6 November, 2020</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r>
              <a:rPr lang="en-GB" dirty="0"/>
              <a:t>Graduate Programme Introduc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3433037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Reporting 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5ABC87-3A04-44FB-BB7A-33BF50DF4EFB}"/>
              </a:ext>
            </a:extLst>
          </p:cNvPr>
          <p:cNvGraphicFramePr>
            <a:graphicFrameLocks noChangeAspect="1"/>
          </p:cNvGraphicFramePr>
          <p:nvPr userDrawn="1">
            <p:custDataLst>
              <p:tags r:id="rId2"/>
            </p:custDataLst>
            <p:extLst>
              <p:ext uri="{D42A27DB-BD31-4B8C-83A1-F6EECF244321}">
                <p14:modId xmlns:p14="http://schemas.microsoft.com/office/powerpoint/2010/main" val="2595601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3" name="think-cell Slide" r:id="rId5" imgW="499" imgH="499" progId="TCLayout.ActiveDocument.1">
                  <p:embed/>
                </p:oleObj>
              </mc:Choice>
              <mc:Fallback>
                <p:oleObj name="think-cell Slide" r:id="rId5" imgW="499" imgH="499" progId="TCLayout.ActiveDocument.1">
                  <p:embed/>
                  <p:pic>
                    <p:nvPicPr>
                      <p:cNvPr id="5" name="Object 4" hidden="1">
                        <a:extLst>
                          <a:ext uri="{FF2B5EF4-FFF2-40B4-BE49-F238E27FC236}">
                            <a16:creationId xmlns:a16="http://schemas.microsoft.com/office/drawing/2014/main" id="{ED5ABC87-3A04-44FB-BB7A-33BF50DF4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4D5D10-6667-455E-9FA4-485E2099BAD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999" y="648000"/>
            <a:ext cx="10896000" cy="900000"/>
          </a:xfrm>
        </p:spPr>
        <p:txBody>
          <a:bodyPr/>
          <a:lstStyle>
            <a:lvl1pPr>
              <a:defRPr sz="2800" b="0"/>
            </a:lvl1pPr>
          </a:lstStyle>
          <a:p>
            <a:r>
              <a:rPr lang="en-GB" noProof="0" dirty="0"/>
              <a:t>Click to add title</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3421447-240C-413A-AFEC-CE24C323C2E0}"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296688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6F4E04F-6962-4F20-9EF6-64C5069C765D}"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246641170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Half_break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85EB43B-93A1-42CD-B766-0B2E3BDA88CC}"/>
              </a:ext>
            </a:extLst>
          </p:cNvPr>
          <p:cNvGraphicFramePr>
            <a:graphicFrameLocks noChangeAspect="1"/>
          </p:cNvGraphicFramePr>
          <p:nvPr userDrawn="1">
            <p:custDataLst>
              <p:tags r:id="rId2"/>
            </p:custDataLst>
            <p:extLst>
              <p:ext uri="{D42A27DB-BD31-4B8C-83A1-F6EECF244321}">
                <p14:modId xmlns:p14="http://schemas.microsoft.com/office/powerpoint/2010/main" val="2125223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7"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185EB43B-93A1-42CD-B766-0B2E3BDA88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Billede 2" descr="Et billede, der indeholder person, indendørs, mand, væg&#10;&#10;Beskrivelse, der er oprettet med meget høj sikkerhed">
            <a:extLst>
              <a:ext uri="{FF2B5EF4-FFF2-40B4-BE49-F238E27FC236}">
                <a16:creationId xmlns:a16="http://schemas.microsoft.com/office/drawing/2014/main" id="{DA436AA8-D98F-4450-8563-C25B1A435C4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3" descr="NN_m_2c_RGB">
            <a:extLst>
              <a:ext uri="{FF2B5EF4-FFF2-40B4-BE49-F238E27FC236}">
                <a16:creationId xmlns:a16="http://schemas.microsoft.com/office/drawing/2014/main" id="{4259EC19-DB3D-46E5-980F-DA570FC52FCE}"/>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0431" y="5714738"/>
            <a:ext cx="1080128" cy="8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lede 8" descr="Et billede, der indeholder objekt&#10;&#10;Beskrivelse, der er oprettet med meget høj sikkerhed">
            <a:extLst>
              <a:ext uri="{FF2B5EF4-FFF2-40B4-BE49-F238E27FC236}">
                <a16:creationId xmlns:a16="http://schemas.microsoft.com/office/drawing/2014/main" id="{7A735535-B5EF-4338-A4A8-452EB6154FD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387043" y="5858934"/>
            <a:ext cx="1096271" cy="589805"/>
          </a:xfrm>
          <a:prstGeom prst="rect">
            <a:avLst/>
          </a:prstGeom>
        </p:spPr>
      </p:pic>
      <p:sp>
        <p:nvSpPr>
          <p:cNvPr id="13" name="Content Placeholder 2">
            <a:extLst>
              <a:ext uri="{FF2B5EF4-FFF2-40B4-BE49-F238E27FC236}">
                <a16:creationId xmlns:a16="http://schemas.microsoft.com/office/drawing/2014/main" id="{BB3AC0B3-D4B4-4CA5-962D-F1E7785E43E8}"/>
              </a:ext>
            </a:extLst>
          </p:cNvPr>
          <p:cNvSpPr>
            <a:spLocks noGrp="1"/>
          </p:cNvSpPr>
          <p:nvPr>
            <p:ph idx="1"/>
          </p:nvPr>
        </p:nvSpPr>
        <p:spPr>
          <a:xfrm>
            <a:off x="6387043" y="1509107"/>
            <a:ext cx="5673600" cy="3941052"/>
          </a:xfrm>
          <a:prstGeom prst="rect">
            <a:avLst/>
          </a:prstGeom>
        </p:spPr>
        <p:txBody>
          <a:bodyPr>
            <a:normAutofit/>
          </a:bodyPr>
          <a:lstStyle>
            <a:lvl1pPr marL="0" indent="0">
              <a:buClr>
                <a:srgbClr val="009FDA"/>
              </a:buClr>
              <a:buFont typeface="+mj-lt"/>
              <a:buNone/>
              <a:defRPr sz="1467">
                <a:solidFill>
                  <a:srgbClr val="001423"/>
                </a:solidFill>
                <a:latin typeface="Verdana" panose="020B0604030504040204" pitchFamily="34" charset="0"/>
                <a:ea typeface="Verdana" panose="020B0604030504040204" pitchFamily="34" charset="0"/>
                <a:cs typeface="Verdana" panose="020B0604030504040204" pitchFamily="34" charset="0"/>
              </a:defRPr>
            </a:lvl1pPr>
            <a:lvl2pPr>
              <a:buClr>
                <a:srgbClr val="009FDA"/>
              </a:buClr>
              <a:defRPr sz="2133">
                <a:solidFill>
                  <a:srgbClr val="001423"/>
                </a:solidFill>
                <a:latin typeface="Verdana" panose="020B0604030504040204" pitchFamily="34" charset="0"/>
                <a:ea typeface="Verdana" panose="020B0604030504040204" pitchFamily="34" charset="0"/>
                <a:cs typeface="Verdana" panose="020B0604030504040204" pitchFamily="34" charset="0"/>
              </a:defRPr>
            </a:lvl2pPr>
            <a:lvl3pPr>
              <a:buClr>
                <a:srgbClr val="009FDA"/>
              </a:buClr>
              <a:defRPr sz="1867">
                <a:solidFill>
                  <a:srgbClr val="001423"/>
                </a:solidFill>
                <a:latin typeface="Verdana" panose="020B0604030504040204" pitchFamily="34" charset="0"/>
                <a:ea typeface="Verdana" panose="020B0604030504040204" pitchFamily="34" charset="0"/>
                <a:cs typeface="Verdana" panose="020B0604030504040204" pitchFamily="34" charset="0"/>
              </a:defRPr>
            </a:lvl3pPr>
            <a:lvl4pPr>
              <a:buClr>
                <a:srgbClr val="009FDA"/>
              </a:buClr>
              <a:defRPr sz="1600">
                <a:solidFill>
                  <a:srgbClr val="001423"/>
                </a:solidFill>
                <a:latin typeface="Verdana" panose="020B0604030504040204" pitchFamily="34" charset="0"/>
                <a:ea typeface="Verdana" panose="020B0604030504040204" pitchFamily="34" charset="0"/>
                <a:cs typeface="Verdana" panose="020B0604030504040204" pitchFamily="34" charset="0"/>
              </a:defRPr>
            </a:lvl4pPr>
            <a:lvl5pPr>
              <a:buClr>
                <a:srgbClr val="009FDA"/>
              </a:buClr>
              <a:defRPr sz="1600">
                <a:solidFill>
                  <a:srgbClr val="001423"/>
                </a:solidFill>
                <a:latin typeface="Verdana" panose="020B0604030504040204" pitchFamily="34" charset="0"/>
                <a:ea typeface="Verdana" panose="020B0604030504040204" pitchFamily="34" charset="0"/>
                <a:cs typeface="Verdana" panose="020B0604030504040204" pitchFamily="34" charset="0"/>
              </a:defRPr>
            </a:lvl5pPr>
          </a:lstStyle>
          <a:p>
            <a:pPr lvl="0"/>
            <a:r>
              <a:rPr lang="en-GB" noProof="0" dirty="0"/>
              <a:t>Click to edit Master text styles</a:t>
            </a:r>
          </a:p>
        </p:txBody>
      </p:sp>
      <p:sp>
        <p:nvSpPr>
          <p:cNvPr id="10" name="Tekstfelt 9">
            <a:extLst>
              <a:ext uri="{FF2B5EF4-FFF2-40B4-BE49-F238E27FC236}">
                <a16:creationId xmlns:a16="http://schemas.microsoft.com/office/drawing/2014/main" id="{3E568EC6-2557-4080-A73D-41D3932BD1E8}"/>
              </a:ext>
            </a:extLst>
          </p:cNvPr>
          <p:cNvSpPr txBox="1"/>
          <p:nvPr userDrawn="1"/>
        </p:nvSpPr>
        <p:spPr>
          <a:xfrm>
            <a:off x="0" y="0"/>
            <a:ext cx="3371851" cy="523028"/>
          </a:xfrm>
          <a:prstGeom prst="rect">
            <a:avLst/>
          </a:prstGeom>
          <a:noFill/>
        </p:spPr>
        <p:txBody>
          <a:bodyPr wrap="square" rtlCol="0">
            <a:spAutoFit/>
          </a:bodyPr>
          <a:lstStyle/>
          <a:p>
            <a:r>
              <a:rPr lang="en-GB" sz="933" dirty="0">
                <a:solidFill>
                  <a:srgbClr val="001423"/>
                </a:solidFill>
              </a:rPr>
              <a:t>GITA KAMPEN, JOHAN F PAULSSON </a:t>
            </a:r>
            <a:br>
              <a:rPr lang="en-GB" sz="933" dirty="0">
                <a:solidFill>
                  <a:srgbClr val="001423"/>
                </a:solidFill>
              </a:rPr>
            </a:br>
            <a:r>
              <a:rPr lang="en-GB" sz="933" dirty="0">
                <a:solidFill>
                  <a:srgbClr val="001423"/>
                </a:solidFill>
              </a:rPr>
              <a:t>and KARIN HAMBORG ALBRECHTSEN</a:t>
            </a:r>
          </a:p>
          <a:p>
            <a:r>
              <a:rPr lang="en-GB" sz="933" dirty="0">
                <a:solidFill>
                  <a:srgbClr val="001423"/>
                </a:solidFill>
              </a:rPr>
              <a:t>working in Global Research in Denmark</a:t>
            </a:r>
          </a:p>
        </p:txBody>
      </p:sp>
    </p:spTree>
    <p:extLst>
      <p:ext uri="{BB962C8B-B14F-4D97-AF65-F5344CB8AC3E}">
        <p14:creationId xmlns:p14="http://schemas.microsoft.com/office/powerpoint/2010/main" val="912883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049">
          <p15:clr>
            <a:srgbClr val="FBAE40"/>
          </p15:clr>
        </p15:guide>
        <p15:guide id="2" pos="2880">
          <p15:clr>
            <a:srgbClr val="FBAE40"/>
          </p15:clr>
        </p15:guide>
        <p15:guide id="3" orient="horz" pos="277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C.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2892000" y="647700"/>
            <a:ext cx="8976150" cy="5886300"/>
          </a:xfrm>
          <a:solidFill>
            <a:srgbClr val="D8EAF8"/>
          </a:solidFill>
        </p:spPr>
        <p:txBody>
          <a:bodyPr/>
          <a:lstStyle>
            <a:lvl1pPr marL="0" indent="0">
              <a:buNone/>
              <a:defRPr sz="100">
                <a:noFill/>
              </a:defRPr>
            </a:lvl1pPr>
          </a:lstStyle>
          <a:p>
            <a:pPr lvl="0"/>
            <a:r>
              <a:rPr lang="en-US"/>
              <a:t>Click to edit Master text styles</a:t>
            </a:r>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GB" dirty="0"/>
              <a:t>Insert notes</a:t>
            </a:r>
          </a:p>
        </p:txBody>
      </p:sp>
      <p:sp>
        <p:nvSpPr>
          <p:cNvPr id="4" name="Date Placeholder 3">
            <a:extLst>
              <a:ext uri="{FF2B5EF4-FFF2-40B4-BE49-F238E27FC236}">
                <a16:creationId xmlns:a16="http://schemas.microsoft.com/office/drawing/2014/main" id="{779FC834-4845-430D-833F-E27D62F7E107}"/>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FB39247E-D185-41FD-BF62-F6D03E65C52B}"/>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470F0230-6038-4355-80ED-FB8CD83128CA}"/>
              </a:ext>
            </a:extLst>
          </p:cNvPr>
          <p:cNvSpPr>
            <a:spLocks noGrp="1"/>
          </p:cNvSpPr>
          <p:nvPr>
            <p:ph type="sldNum" sz="quarter" idx="19"/>
          </p:nvPr>
        </p:nvSpPr>
        <p:spPr/>
        <p:txBody>
          <a:bodyPr/>
          <a:lstStyle/>
          <a:p>
            <a:fld id="{23AA811B-2EBD-4900-905E-5BE206449611}" type="slidenum">
              <a:rPr lang="en-GB"/>
              <a:pPr/>
              <a:t>‹#›</a:t>
            </a:fld>
            <a:endParaRPr lang="en-GB" dirty="0"/>
          </a:p>
        </p:txBody>
      </p:sp>
    </p:spTree>
    <p:extLst>
      <p:ext uri="{BB962C8B-B14F-4D97-AF65-F5344CB8AC3E}">
        <p14:creationId xmlns:p14="http://schemas.microsoft.com/office/powerpoint/2010/main" val="5102958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7B3FB6-6446-4040-BDAF-186327E4213C}"/>
              </a:ext>
            </a:extLst>
          </p:cNvPr>
          <p:cNvGraphicFramePr>
            <a:graphicFrameLocks noChangeAspect="1"/>
          </p:cNvGraphicFramePr>
          <p:nvPr userDrawn="1">
            <p:custDataLst>
              <p:tags r:id="rId2"/>
            </p:custDataLst>
            <p:extLst>
              <p:ext uri="{D42A27DB-BD31-4B8C-83A1-F6EECF244321}">
                <p14:modId xmlns:p14="http://schemas.microsoft.com/office/powerpoint/2010/main" val="2413994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067B3FB6-6446-4040-BDAF-186327E421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72C1F08-D77F-4733-95F9-5422787A8E3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bwMode="auto">
          <a:xfrm>
            <a:off x="648000" y="648000"/>
            <a:ext cx="8652000" cy="5562000"/>
          </a:xfrm>
        </p:spPr>
        <p:txBody>
          <a:bodyPr bIns="144000" anchor="ctr"/>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1D7B928B-C3E7-4734-A6B6-D3F89845C0CF}" type="datetime3">
              <a:rPr lang="en-GB" smtClean="0"/>
              <a:t>6 November, 2020</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r>
              <a:rPr lang="en-GB" dirty="0"/>
              <a:t>Graduate Programme Introduction</a:t>
            </a:r>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dirty="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CC218D6D-FEFB-46D0-8813-C99976F4CA1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1025711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BF2AB43-F65D-4F3A-81F3-CF6686B03C2F}"/>
              </a:ext>
            </a:extLst>
          </p:cNvPr>
          <p:cNvGraphicFramePr>
            <a:graphicFrameLocks noChangeAspect="1"/>
          </p:cNvGraphicFramePr>
          <p:nvPr userDrawn="1">
            <p:custDataLst>
              <p:tags r:id="rId2"/>
            </p:custDataLst>
            <p:extLst>
              <p:ext uri="{D42A27DB-BD31-4B8C-83A1-F6EECF244321}">
                <p14:modId xmlns:p14="http://schemas.microsoft.com/office/powerpoint/2010/main" val="576649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9"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CBF2AB43-F65D-4F3A-81F3-CF6686B03C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1957412-2AD9-49E7-ADFF-862967049C79}"/>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ctrTitle" hasCustomPrompt="1"/>
          </p:nvPr>
        </p:nvSpPr>
        <p:spPr>
          <a:xfrm>
            <a:off x="647999" y="648000"/>
            <a:ext cx="8652001" cy="5562000"/>
          </a:xfrm>
        </p:spPr>
        <p:txBody>
          <a:bodyPr bIns="144000" anchor="ctr"/>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37188A09-683A-4A73-AA8F-56D1F23AC7BC}" type="datetime3">
              <a:rPr lang="en-GB" smtClean="0"/>
              <a:t>6 November, 2020</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r>
              <a:rPr lang="en-GB" dirty="0"/>
              <a:t>Graduate Programme Introduction</a:t>
            </a:r>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14" name="Slide Number Placeholder 8">
            <a:extLst>
              <a:ext uri="{FF2B5EF4-FFF2-40B4-BE49-F238E27FC236}">
                <a16:creationId xmlns:a16="http://schemas.microsoft.com/office/drawing/2014/main" id="{4589B76A-6F33-43A1-BEAC-5DD74727BCF8}"/>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9CE848CF-6894-4564-ABE3-C9ED24818DC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37408915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E741C9-DA95-4EC4-A542-690C548FF16E}"/>
              </a:ext>
            </a:extLst>
          </p:cNvPr>
          <p:cNvGraphicFramePr>
            <a:graphicFrameLocks noChangeAspect="1"/>
          </p:cNvGraphicFramePr>
          <p:nvPr userDrawn="1">
            <p:custDataLst>
              <p:tags r:id="rId2"/>
            </p:custDataLst>
            <p:extLst>
              <p:ext uri="{D42A27DB-BD31-4B8C-83A1-F6EECF244321}">
                <p14:modId xmlns:p14="http://schemas.microsoft.com/office/powerpoint/2010/main" val="3130328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3"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86E741C9-DA95-4EC4-A542-690C548FF1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F4CFEEC-F4B7-40DE-878B-CCCC8E32B458}"/>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ctrTitle" hasCustomPrompt="1"/>
          </p:nvPr>
        </p:nvSpPr>
        <p:spPr>
          <a:xfrm>
            <a:off x="647999" y="648000"/>
            <a:ext cx="8652001" cy="5562000"/>
          </a:xfrm>
        </p:spPr>
        <p:txBody>
          <a:bodyPr bIns="144000" anchor="ctr"/>
          <a:lstStyle>
            <a:lvl1pPr algn="l">
              <a:lnSpc>
                <a:spcPct val="100000"/>
              </a:lnSpc>
              <a:defRPr sz="4400">
                <a:solidFill>
                  <a:schemeClr val="tx2"/>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tx2"/>
                </a:solidFill>
              </a:defRPr>
            </a:lvl1pPr>
          </a:lstStyle>
          <a:p>
            <a:fld id="{13B3C43D-4956-4357-A6A8-7FD3C44E59D4}" type="datetime3">
              <a:rPr lang="en-GB" smtClean="0"/>
              <a:t>6 November, 2020</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tx2"/>
                </a:solidFill>
              </a:defRPr>
            </a:lvl1pPr>
          </a:lstStyle>
          <a:p>
            <a:r>
              <a:rPr lang="en-GB" dirty="0"/>
              <a:t>Graduate Programme Introduction</a:t>
            </a:r>
          </a:p>
        </p:txBody>
      </p:sp>
      <p:sp>
        <p:nvSpPr>
          <p:cNvPr id="14" name="Freeform: Shape 13">
            <a:extLst>
              <a:ext uri="{FF2B5EF4-FFF2-40B4-BE49-F238E27FC236}">
                <a16:creationId xmlns:a16="http://schemas.microsoft.com/office/drawing/2014/main" id="{471420AF-1268-4AE1-84DA-164DB71C2C14}"/>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13" name="Slide Number Placeholder 8">
            <a:extLst>
              <a:ext uri="{FF2B5EF4-FFF2-40B4-BE49-F238E27FC236}">
                <a16:creationId xmlns:a16="http://schemas.microsoft.com/office/drawing/2014/main" id="{7CC7667B-71FE-473D-AE19-E08F2682BD4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AE78219-5CBB-4760-B800-636AFE0A99A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77638852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A8445D0-CD95-4A06-9080-92870B82FDE4}"/>
              </a:ext>
            </a:extLst>
          </p:cNvPr>
          <p:cNvGraphicFramePr>
            <a:graphicFrameLocks noChangeAspect="1"/>
          </p:cNvGraphicFramePr>
          <p:nvPr userDrawn="1">
            <p:custDataLst>
              <p:tags r:id="rId2"/>
            </p:custDataLst>
            <p:extLst>
              <p:ext uri="{D42A27DB-BD31-4B8C-83A1-F6EECF244321}">
                <p14:modId xmlns:p14="http://schemas.microsoft.com/office/powerpoint/2010/main" val="4117399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7"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7A8445D0-CD95-4A06-9080-92870B82FD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0E3A12-DADF-4DF7-9356-9953AC9F254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ctrTitle" hasCustomPrompt="1"/>
          </p:nvPr>
        </p:nvSpPr>
        <p:spPr>
          <a:xfrm>
            <a:off x="5136356" y="2163600"/>
            <a:ext cx="6408844" cy="2379600"/>
          </a:xfrm>
        </p:spPr>
        <p:txBody>
          <a:bodyPr anchor="ctr"/>
          <a:lstStyle>
            <a:lvl1pPr algn="l">
              <a:lnSpc>
                <a:spcPct val="100000"/>
              </a:lnSpc>
              <a:defRPr sz="4400">
                <a:solidFill>
                  <a:schemeClr val="tx2"/>
                </a:solidFill>
              </a:defRPr>
            </a:lvl1pPr>
          </a:lstStyle>
          <a:p>
            <a:r>
              <a:rPr lang="en-GB" dirty="0"/>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5FB0A2D2-439A-42B6-896F-11616203E9AE}" type="datetime3">
              <a:rPr lang="en-GB" smtClean="0"/>
              <a:t>6 November, 2020</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11" name="Footer Placeholder 7">
            <a:extLst>
              <a:ext uri="{FF2B5EF4-FFF2-40B4-BE49-F238E27FC236}">
                <a16:creationId xmlns:a16="http://schemas.microsoft.com/office/drawing/2014/main" id="{3619EDAC-4320-41F5-B9CB-6CF8C3F2CC13}"/>
              </a:ext>
            </a:extLst>
          </p:cNvPr>
          <p:cNvSpPr>
            <a:spLocks noGrp="1"/>
          </p:cNvSpPr>
          <p:nvPr>
            <p:ph type="ftr" sz="quarter" idx="3"/>
          </p:nvPr>
        </p:nvSpPr>
        <p:spPr>
          <a:xfrm>
            <a:off x="9625912" y="5900399"/>
            <a:ext cx="1919288" cy="308313"/>
          </a:xfrm>
          <a:prstGeom prst="rect">
            <a:avLst/>
          </a:prstGeom>
        </p:spPr>
        <p:txBody>
          <a:bodyPr vert="horz" lIns="0" tIns="0" rIns="0" bIns="0" rtlCol="0" anchor="t"/>
          <a:lstStyle>
            <a:lvl1pPr algn="l">
              <a:defRPr sz="1000">
                <a:solidFill>
                  <a:schemeClr val="tx2"/>
                </a:solidFill>
              </a:defRPr>
            </a:lvl1pPr>
          </a:lstStyle>
          <a:p>
            <a:r>
              <a:rPr lang="en-GB" dirty="0"/>
              <a:t>Graduate Programme Introduction</a:t>
            </a:r>
          </a:p>
        </p:txBody>
      </p:sp>
      <p:sp>
        <p:nvSpPr>
          <p:cNvPr id="12" name="Slide Number Placeholder 8">
            <a:extLst>
              <a:ext uri="{FF2B5EF4-FFF2-40B4-BE49-F238E27FC236}">
                <a16:creationId xmlns:a16="http://schemas.microsoft.com/office/drawing/2014/main" id="{6EC1ABD1-7336-4768-9B10-EE224AA916BA}"/>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CFCDB02C-C393-45D0-9339-45B1931BD42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1639943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99CA43-D176-476A-B540-37AD132B9AF8}"/>
              </a:ext>
            </a:extLst>
          </p:cNvPr>
          <p:cNvGraphicFramePr>
            <a:graphicFrameLocks noChangeAspect="1"/>
          </p:cNvGraphicFramePr>
          <p:nvPr userDrawn="1">
            <p:custDataLst>
              <p:tags r:id="rId2"/>
            </p:custDataLst>
            <p:extLst>
              <p:ext uri="{D42A27DB-BD31-4B8C-83A1-F6EECF244321}">
                <p14:modId xmlns:p14="http://schemas.microsoft.com/office/powerpoint/2010/main" val="194128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1"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799CA43-D176-476A-B540-37AD132B9A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6373D161-C47F-41E7-8BBE-8BE77F904FE3}" type="datetime3">
              <a:rPr lang="en-GB" smtClean="0"/>
              <a:t>6 November, 2020</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Graduate Programme Introduc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3EF1636C-932C-4747-B37D-D0B1E2D9AB1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30456544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B. Agenda">
    <p:bg bwMode="grayWhite">
      <p:bgPr>
        <a:solidFill>
          <a:srgbClr val="F7F6F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0A0F35-3C55-4ED5-A0F0-E46F0F2F9AC6}"/>
              </a:ext>
            </a:extLst>
          </p:cNvPr>
          <p:cNvGraphicFramePr>
            <a:graphicFrameLocks noChangeAspect="1"/>
          </p:cNvGraphicFramePr>
          <p:nvPr userDrawn="1">
            <p:custDataLst>
              <p:tags r:id="rId2"/>
            </p:custDataLst>
            <p:extLst>
              <p:ext uri="{D42A27DB-BD31-4B8C-83A1-F6EECF244321}">
                <p14:modId xmlns:p14="http://schemas.microsoft.com/office/powerpoint/2010/main" val="2181507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5"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510A0F35-3C55-4ED5-A0F0-E46F0F2F9A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1082" t="20310" r="8216" b="23549"/>
          <a:stretch/>
        </p:blipFill>
        <p:spPr>
          <a:xfrm>
            <a:off x="190500"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dirty="0"/>
              <a:t>09.00-09.30</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fld id="{696DAF88-793E-4D51-9025-7DED844CE5A3}" type="datetime3">
              <a:rPr lang="en-GB" smtClean="0"/>
              <a:t>6 November, 2020</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r>
              <a:rPr lang="en-GB" dirty="0"/>
              <a:t>Graduate Programme Introduc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bwMode="gray">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2"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B3C1CADE-9463-4A8D-B4E6-273C0EC9AFF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10008637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Agenda Layout">
    <p:bg>
      <p:bgPr>
        <a:solidFill>
          <a:srgbClr val="F7F6F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481766-8EBA-4DA6-81C1-21059B7526E9}"/>
              </a:ext>
            </a:extLst>
          </p:cNvPr>
          <p:cNvGraphicFramePr>
            <a:graphicFrameLocks noChangeAspect="1"/>
          </p:cNvGraphicFramePr>
          <p:nvPr userDrawn="1">
            <p:custDataLst>
              <p:tags r:id="rId2"/>
            </p:custDataLst>
            <p:extLst>
              <p:ext uri="{D42A27DB-BD31-4B8C-83A1-F6EECF244321}">
                <p14:modId xmlns:p14="http://schemas.microsoft.com/office/powerpoint/2010/main" val="1247477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9"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8E481766-8EBA-4DA6-81C1-21059B7526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AE56669E-5532-4649-A54B-EE8B879D7777}" type="datetime3">
              <a:rPr lang="en-GB" smtClean="0"/>
              <a:t>6 November, 2020</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Graduate Programme Introduc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1082" t="20310" r="8216" b="23549"/>
          <a:stretch/>
        </p:blipFill>
        <p:spPr>
          <a:xfrm>
            <a:off x="190500" y="2105535"/>
            <a:ext cx="10292105" cy="2989020"/>
          </a:xfrm>
          <a:prstGeom prst="rect">
            <a:avLst/>
          </a:prstGeom>
        </p:spPr>
      </p:pic>
      <p:sp>
        <p:nvSpPr>
          <p:cNvPr id="3"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53907315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58697E-C7F5-45AB-B147-AEFFEF160D53}"/>
              </a:ext>
            </a:extLst>
          </p:cNvPr>
          <p:cNvGraphicFramePr>
            <a:graphicFrameLocks noChangeAspect="1"/>
          </p:cNvGraphicFramePr>
          <p:nvPr userDrawn="1">
            <p:custDataLst>
              <p:tags r:id="rId2"/>
            </p:custDataLst>
            <p:extLst>
              <p:ext uri="{D42A27DB-BD31-4B8C-83A1-F6EECF244321}">
                <p14:modId xmlns:p14="http://schemas.microsoft.com/office/powerpoint/2010/main" val="794815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3"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3458697E-C7F5-45AB-B147-AEFFEF160D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C8C5F5-4FAE-43E8-8F91-18FC639DF538}"/>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1" i="0" baseline="0" noProof="0" dirty="0">
              <a:latin typeface="Apis For Office" panose="020B0504010101010104" pitchFamily="34" charset="0"/>
              <a:ea typeface="+mj-ea"/>
              <a:cs typeface="+mj-cs"/>
              <a:sym typeface="Apis For Office" panose="020B0504010101010104" pitchFamily="34" charset="0"/>
            </a:endParaRPr>
          </a:p>
        </p:txBody>
      </p:sp>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F6198C7F-7E3D-4DD3-88A4-56E1DCEAA2BE}" type="datetime3">
              <a:rPr lang="en-GB" smtClean="0"/>
              <a:t>6 November, 2020</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7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6"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D9E9F619-DDA7-4396-BEF5-E42E21A0A600}"/>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247696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ACF8AF8-D41D-4B17-A705-476C44EF6F58}"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9624000" y="6210000"/>
            <a:ext cx="1920000" cy="324000"/>
          </a:xfrm>
        </p:spPr>
        <p:txBody>
          <a:bodyPr anchor="b"/>
          <a:lstStyle>
            <a:lvl1pPr marL="0" indent="0" algn="l">
              <a:buNone/>
              <a:defRPr sz="6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50552610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98AC961-E119-403C-8293-7F132DC7FB62}"/>
              </a:ext>
            </a:extLst>
          </p:cNvPr>
          <p:cNvGraphicFramePr>
            <a:graphicFrameLocks noChangeAspect="1"/>
          </p:cNvGraphicFramePr>
          <p:nvPr userDrawn="1">
            <p:custDataLst>
              <p:tags r:id="rId2"/>
            </p:custDataLst>
            <p:extLst>
              <p:ext uri="{D42A27DB-BD31-4B8C-83A1-F6EECF244321}">
                <p14:modId xmlns:p14="http://schemas.microsoft.com/office/powerpoint/2010/main" val="4049004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7"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698AC961-E119-403C-8293-7F132DC7FB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118078C-B9CC-4708-94BA-A3B3C50BE5BA}"/>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1" i="0" baseline="0" noProof="0" dirty="0">
              <a:latin typeface="Apis For Office" panose="020B0504010101010104" pitchFamily="34" charset="0"/>
              <a:ea typeface="+mj-ea"/>
              <a:cs typeface="+mj-cs"/>
              <a:sym typeface="Apis For Office" panose="020B0504010101010104" pitchFamily="34" charset="0"/>
            </a:endParaRPr>
          </a:p>
        </p:txBody>
      </p:sp>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4" y="647700"/>
            <a:ext cx="8902835" cy="5562300"/>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7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C70CD8B3-8E93-4AF3-A07B-49D861CA1E4D}" type="datetime3">
              <a:rPr lang="en-GB" smtClean="0"/>
              <a:t>6 November, 2020</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6"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C259898-72ED-48AD-B8DB-354C87B7C69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72496785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9DC105-866B-4684-841D-85F3673958B2}"/>
              </a:ext>
            </a:extLst>
          </p:cNvPr>
          <p:cNvGraphicFramePr>
            <a:graphicFrameLocks noChangeAspect="1"/>
          </p:cNvGraphicFramePr>
          <p:nvPr userDrawn="1">
            <p:custDataLst>
              <p:tags r:id="rId2"/>
            </p:custDataLst>
            <p:extLst>
              <p:ext uri="{D42A27DB-BD31-4B8C-83A1-F6EECF244321}">
                <p14:modId xmlns:p14="http://schemas.microsoft.com/office/powerpoint/2010/main" val="96628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1"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639DC105-866B-4684-841D-85F3673958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789859-74FE-4116-9AAF-9AF74337A8D7}"/>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8000" y="972000"/>
            <a:ext cx="10896000" cy="972000"/>
          </a:xfrm>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DFB4AD8-9510-41BF-A43C-9DAF6DA6FF78}"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7999" y="648000"/>
            <a:ext cx="10896001" cy="324000"/>
          </a:xfrm>
        </p:spPr>
        <p:txBody>
          <a:bodyPr/>
          <a:lstStyle>
            <a:lvl1pPr marL="0" indent="0">
              <a:buNone/>
              <a:defRPr sz="1400" b="1" cap="all" baseline="0"/>
            </a:lvl1pPr>
          </a:lstStyle>
          <a:p>
            <a:pPr lvl="0"/>
            <a:r>
              <a:rPr lang="en-GB" dirty="0"/>
              <a:t>Click to add trumpet</a:t>
            </a:r>
          </a:p>
        </p:txBody>
      </p:sp>
    </p:spTree>
    <p:extLst>
      <p:ext uri="{BB962C8B-B14F-4D97-AF65-F5344CB8AC3E}">
        <p14:creationId xmlns:p14="http://schemas.microsoft.com/office/powerpoint/2010/main" val="428623831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A7D398-533C-40C2-8A9C-0C8649777977}"/>
              </a:ext>
            </a:extLst>
          </p:cNvPr>
          <p:cNvGraphicFramePr>
            <a:graphicFrameLocks noChangeAspect="1"/>
          </p:cNvGraphicFramePr>
          <p:nvPr userDrawn="1">
            <p:custDataLst>
              <p:tags r:id="rId2"/>
            </p:custDataLst>
            <p:extLst>
              <p:ext uri="{D42A27DB-BD31-4B8C-83A1-F6EECF244321}">
                <p14:modId xmlns:p14="http://schemas.microsoft.com/office/powerpoint/2010/main" val="2971272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88A7D398-533C-40C2-8A9C-0C86497779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667B10A-1446-43B7-B16E-EC19458A0363}"/>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F9F529C2-0A97-44E0-9985-E67BE0D20613}"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54437222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BCFC11-E6AF-46C7-8C49-BC45E55335D3}"/>
              </a:ext>
            </a:extLst>
          </p:cNvPr>
          <p:cNvGraphicFramePr>
            <a:graphicFrameLocks noChangeAspect="1"/>
          </p:cNvGraphicFramePr>
          <p:nvPr userDrawn="1">
            <p:custDataLst>
              <p:tags r:id="rId2"/>
            </p:custDataLst>
            <p:extLst>
              <p:ext uri="{D42A27DB-BD31-4B8C-83A1-F6EECF244321}">
                <p14:modId xmlns:p14="http://schemas.microsoft.com/office/powerpoint/2010/main" val="2524393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9"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04BCFC11-E6AF-46C7-8C49-BC45E55335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CA96ED-2D5E-4AC0-8D1B-7CD2BA351F1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CEEAE81-524E-49F9-B6C0-BE59B87A0D14}"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07235034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251D2DB-BA33-4C5C-A0D8-D6D2C9549AEF}"/>
              </a:ext>
            </a:extLst>
          </p:cNvPr>
          <p:cNvGraphicFramePr>
            <a:graphicFrameLocks noChangeAspect="1"/>
          </p:cNvGraphicFramePr>
          <p:nvPr userDrawn="1">
            <p:custDataLst>
              <p:tags r:id="rId2"/>
            </p:custDataLst>
            <p:extLst>
              <p:ext uri="{D42A27DB-BD31-4B8C-83A1-F6EECF244321}">
                <p14:modId xmlns:p14="http://schemas.microsoft.com/office/powerpoint/2010/main" val="3760773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3"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E251D2DB-BA33-4C5C-A0D8-D6D2C9549A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2ED9701-D9B4-4171-8555-D72A7B3A1856}"/>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3713"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6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7380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7FDCE9F-9CB5-44E4-A448-27FAAAEFFD57}"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FD24B339-4BEF-40F4-99BA-001E3E26118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83968949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59D6FAC-90A8-469D-A269-94AC26C9A902}"/>
              </a:ext>
            </a:extLst>
          </p:cNvPr>
          <p:cNvGraphicFramePr>
            <a:graphicFrameLocks noChangeAspect="1"/>
          </p:cNvGraphicFramePr>
          <p:nvPr userDrawn="1">
            <p:custDataLst>
              <p:tags r:id="rId2"/>
            </p:custDataLst>
            <p:extLst>
              <p:ext uri="{D42A27DB-BD31-4B8C-83A1-F6EECF244321}">
                <p14:modId xmlns:p14="http://schemas.microsoft.com/office/powerpoint/2010/main" val="3819800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7" name="think-cell Slide" r:id="rId5" imgW="415" imgH="416" progId="TCLayout.ActiveDocument.1">
                  <p:embed/>
                </p:oleObj>
              </mc:Choice>
              <mc:Fallback>
                <p:oleObj name="think-cell Slide" r:id="rId5" imgW="415" imgH="416" progId="TCLayout.ActiveDocument.1">
                  <p:embed/>
                  <p:pic>
                    <p:nvPicPr>
                      <p:cNvPr id="10" name="Object 9" hidden="1">
                        <a:extLst>
                          <a:ext uri="{FF2B5EF4-FFF2-40B4-BE49-F238E27FC236}">
                            <a16:creationId xmlns:a16="http://schemas.microsoft.com/office/drawing/2014/main" id="{459D6FAC-90A8-469D-A269-94AC26C9A9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605DE2-BB9F-4577-9D57-9C9E6F263FC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5135999" y="1940566"/>
            <a:ext cx="4164001"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1940566"/>
            <a:ext cx="1920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4838D3F8-4398-4FE3-8614-A5CCC873FBEC}"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50C9B3A-1DC8-4D31-931B-2B9DFA8D23B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60835890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E. Conten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F21F9BA-7012-4E8C-9891-591416E4C269}"/>
              </a:ext>
            </a:extLst>
          </p:cNvPr>
          <p:cNvGraphicFramePr>
            <a:graphicFrameLocks noChangeAspect="1"/>
          </p:cNvGraphicFramePr>
          <p:nvPr userDrawn="1">
            <p:custDataLst>
              <p:tags r:id="rId2"/>
            </p:custDataLst>
            <p:extLst>
              <p:ext uri="{D42A27DB-BD31-4B8C-83A1-F6EECF244321}">
                <p14:modId xmlns:p14="http://schemas.microsoft.com/office/powerpoint/2010/main" val="3008761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41" name="think-cell Slide" r:id="rId5" imgW="415" imgH="416" progId="TCLayout.ActiveDocument.1">
                  <p:embed/>
                </p:oleObj>
              </mc:Choice>
              <mc:Fallback>
                <p:oleObj name="think-cell Slide" r:id="rId5" imgW="415" imgH="416" progId="TCLayout.ActiveDocument.1">
                  <p:embed/>
                  <p:pic>
                    <p:nvPicPr>
                      <p:cNvPr id="13" name="Object 12" hidden="1">
                        <a:extLst>
                          <a:ext uri="{FF2B5EF4-FFF2-40B4-BE49-F238E27FC236}">
                            <a16:creationId xmlns:a16="http://schemas.microsoft.com/office/drawing/2014/main" id="{7F21F9BA-7012-4E8C-9891-591416E4C2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8DD9863-FFCA-4EA5-995C-9DDBD63E92E9}"/>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542ADAD-E52E-4019-9C7B-02ECF748A125}"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7380000" y="324000"/>
            <a:ext cx="4488000" cy="62100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4E040E5F-17E7-4BD9-A89F-45152FDBA83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83596696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F.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72F151-43C9-4A00-AB24-1AE5E7ABC76D}"/>
              </a:ext>
            </a:extLst>
          </p:cNvPr>
          <p:cNvGraphicFramePr>
            <a:graphicFrameLocks noChangeAspect="1"/>
          </p:cNvGraphicFramePr>
          <p:nvPr userDrawn="1">
            <p:custDataLst>
              <p:tags r:id="rId2"/>
            </p:custDataLst>
            <p:extLst>
              <p:ext uri="{D42A27DB-BD31-4B8C-83A1-F6EECF244321}">
                <p14:modId xmlns:p14="http://schemas.microsoft.com/office/powerpoint/2010/main" val="3310246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5"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9972F151-43C9-4A00-AB24-1AE5E7ABC7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098E69C-706B-4E1E-A657-9B10ABE428AD}"/>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F048A4FE-4D2C-4A4C-B57C-B9C92489327C}"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6732001" cy="6210000"/>
          </a:xfrm>
          <a:solidFill>
            <a:schemeClr val="bg1"/>
          </a:solidFill>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
        <p:nvSpPr>
          <p:cNvPr id="4"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AD76CD6D-257F-451B-A84B-5F86799B060C}"/>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32731596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G.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316F14-C49F-49E6-AA76-BBB807D7468C}"/>
              </a:ext>
            </a:extLst>
          </p:cNvPr>
          <p:cNvGraphicFramePr>
            <a:graphicFrameLocks noChangeAspect="1"/>
          </p:cNvGraphicFramePr>
          <p:nvPr userDrawn="1">
            <p:custDataLst>
              <p:tags r:id="rId2"/>
            </p:custDataLst>
            <p:extLst>
              <p:ext uri="{D42A27DB-BD31-4B8C-83A1-F6EECF244321}">
                <p14:modId xmlns:p14="http://schemas.microsoft.com/office/powerpoint/2010/main" val="3482330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9"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0A316F14-C49F-49E6-AA76-BBB807D746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07326E8-4721-4513-8B2D-54AF245877F0}"/>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700" y="647700"/>
            <a:ext cx="41640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4164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3DEABCB-1059-45EF-B5C7-5E232B507538}"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FCE4632D-13BC-453C-AF93-7635FA83FF8F}"/>
              </a:ext>
            </a:extLst>
          </p:cNvPr>
          <p:cNvSpPr>
            <a:spLocks noGrp="1"/>
          </p:cNvSpPr>
          <p:nvPr>
            <p:ph type="pic" sz="quarter" idx="15" hasCustomPrompt="1"/>
          </p:nvPr>
        </p:nvSpPr>
        <p:spPr>
          <a:xfrm>
            <a:off x="5135999" y="324000"/>
            <a:ext cx="4164001"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26471773-71F9-4B85-9108-FDF08BF0EE63}"/>
              </a:ext>
            </a:extLst>
          </p:cNvPr>
          <p:cNvSpPr>
            <a:spLocks noGrp="1"/>
          </p:cNvSpPr>
          <p:nvPr>
            <p:ph type="body" sz="quarter" idx="16" hasCustomPrompt="1"/>
          </p:nvPr>
        </p:nvSpPr>
        <p:spPr>
          <a:xfrm>
            <a:off x="2892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62149136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 Content">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D61DC41-3583-4CC0-A77A-5F6958E2E074}"/>
              </a:ext>
            </a:extLst>
          </p:cNvPr>
          <p:cNvGraphicFramePr>
            <a:graphicFrameLocks noChangeAspect="1"/>
          </p:cNvGraphicFramePr>
          <p:nvPr userDrawn="1">
            <p:custDataLst>
              <p:tags r:id="rId2"/>
            </p:custDataLst>
            <p:extLst>
              <p:ext uri="{D42A27DB-BD31-4B8C-83A1-F6EECF244321}">
                <p14:modId xmlns:p14="http://schemas.microsoft.com/office/powerpoint/2010/main" val="3679706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3" name="think-cell Slide" r:id="rId5" imgW="415" imgH="416" progId="TCLayout.ActiveDocument.1">
                  <p:embed/>
                </p:oleObj>
              </mc:Choice>
              <mc:Fallback>
                <p:oleObj name="think-cell Slide" r:id="rId5" imgW="415" imgH="416" progId="TCLayout.ActiveDocument.1">
                  <p:embed/>
                  <p:pic>
                    <p:nvPicPr>
                      <p:cNvPr id="13" name="Object 12" hidden="1">
                        <a:extLst>
                          <a:ext uri="{FF2B5EF4-FFF2-40B4-BE49-F238E27FC236}">
                            <a16:creationId xmlns:a16="http://schemas.microsoft.com/office/drawing/2014/main" id="{9D61DC41-3583-4CC0-A77A-5F6958E2E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16469A1-2425-4EE7-8CA3-2EE3026B7BCE}"/>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700" y="647700"/>
            <a:ext cx="6408300" cy="1292866"/>
          </a:xfrm>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1920000" cy="4269434"/>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2892000" y="1940566"/>
            <a:ext cx="4164000" cy="4269434"/>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5">
            <a:extLst>
              <a:ext uri="{FF2B5EF4-FFF2-40B4-BE49-F238E27FC236}">
                <a16:creationId xmlns:a16="http://schemas.microsoft.com/office/drawing/2014/main" id="{E08E8AC4-8EBE-4619-B4B8-8A20AA68B5AC}"/>
              </a:ext>
            </a:extLst>
          </p:cNvPr>
          <p:cNvSpPr>
            <a:spLocks noGrp="1"/>
          </p:cNvSpPr>
          <p:nvPr>
            <p:ph sz="quarter" idx="15" hasCustomPrompt="1"/>
          </p:nvPr>
        </p:nvSpPr>
        <p:spPr>
          <a:xfrm>
            <a:off x="9624000" y="648000"/>
            <a:ext cx="1920000"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49FD1BCF-9863-4732-997D-DBA220290EB2}"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Picture Placeholder 10">
            <a:extLst>
              <a:ext uri="{FF2B5EF4-FFF2-40B4-BE49-F238E27FC236}">
                <a16:creationId xmlns:a16="http://schemas.microsoft.com/office/drawing/2014/main" id="{304CBD4A-182F-487E-B21D-5F418CE42D16}"/>
              </a:ext>
            </a:extLst>
          </p:cNvPr>
          <p:cNvSpPr>
            <a:spLocks noGrp="1"/>
          </p:cNvSpPr>
          <p:nvPr>
            <p:ph type="pic" sz="quarter" idx="16" hasCustomPrompt="1"/>
          </p:nvPr>
        </p:nvSpPr>
        <p:spPr>
          <a:xfrm>
            <a:off x="7380000" y="324000"/>
            <a:ext cx="1920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12" name="Text Placeholder 4">
            <a:extLst>
              <a:ext uri="{FF2B5EF4-FFF2-40B4-BE49-F238E27FC236}">
                <a16:creationId xmlns:a16="http://schemas.microsoft.com/office/drawing/2014/main" id="{C92D14D3-8709-434C-A54B-15ADD1D87574}"/>
              </a:ext>
            </a:extLst>
          </p:cNvPr>
          <p:cNvSpPr>
            <a:spLocks noGrp="1"/>
          </p:cNvSpPr>
          <p:nvPr>
            <p:ph type="body" sz="quarter" idx="17" hasCustomPrompt="1"/>
          </p:nvPr>
        </p:nvSpPr>
        <p:spPr>
          <a:xfrm>
            <a:off x="5136000" y="6210000"/>
            <a:ext cx="1920000" cy="324000"/>
          </a:xfrm>
        </p:spPr>
        <p:txBody>
          <a:bodyPr anchor="b"/>
          <a:lstStyle>
            <a:lvl1pPr marL="0" indent="0" algn="r">
              <a:buNone/>
              <a:defRPr sz="700">
                <a:solidFill>
                  <a:schemeClr val="tx2"/>
                </a:solidFill>
              </a:defRPr>
            </a:lvl1pPr>
          </a:lstStyle>
          <a:p>
            <a:pPr lvl="0"/>
            <a:r>
              <a:rPr lang="en-GB" dirty="0"/>
              <a:t>Insert picture text</a:t>
            </a:r>
          </a:p>
        </p:txBody>
      </p:sp>
    </p:spTree>
    <p:extLst>
      <p:ext uri="{BB962C8B-B14F-4D97-AF65-F5344CB8AC3E}">
        <p14:creationId xmlns:p14="http://schemas.microsoft.com/office/powerpoint/2010/main" val="15112415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5FD7BBC-73BD-4175-9385-C9F23D5664DA}" type="datetime3">
              <a:rPr lang="en-US" smtClean="0"/>
              <a:t>6 November 2020</a:t>
            </a:fld>
            <a:endParaRPr lang="en-GB"/>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a:t>Novo Nordisk company presenta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80391392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021229-8D73-43E2-AB1F-2172FDF529E4}"/>
              </a:ext>
            </a:extLst>
          </p:cNvPr>
          <p:cNvGraphicFramePr>
            <a:graphicFrameLocks noChangeAspect="1"/>
          </p:cNvGraphicFramePr>
          <p:nvPr userDrawn="1">
            <p:custDataLst>
              <p:tags r:id="rId2"/>
            </p:custDataLst>
            <p:extLst>
              <p:ext uri="{D42A27DB-BD31-4B8C-83A1-F6EECF244321}">
                <p14:modId xmlns:p14="http://schemas.microsoft.com/office/powerpoint/2010/main" val="427013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7"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FC021229-8D73-43E2-AB1F-2172FDF529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EE24DFE-D39E-4731-8CAC-2555BA9F698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4"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fld id="{D8EB3AF4-2E3D-4556-B836-69C6D3BB5FFD}" type="datetime3">
              <a:rPr lang="en-GB" smtClean="0"/>
              <a:t>6 November, 2020</a:t>
            </a:fld>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r>
              <a:rPr lang="en-GB" dirty="0"/>
              <a:t>Graduate Programme Introduction</a:t>
            </a:r>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5993771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1CCE79-4A99-4DAD-B2DE-699A48BC8242}"/>
              </a:ext>
            </a:extLst>
          </p:cNvPr>
          <p:cNvGraphicFramePr>
            <a:graphicFrameLocks noChangeAspect="1"/>
          </p:cNvGraphicFramePr>
          <p:nvPr userDrawn="1">
            <p:custDataLst>
              <p:tags r:id="rId2"/>
            </p:custDataLst>
            <p:extLst>
              <p:ext uri="{D42A27DB-BD31-4B8C-83A1-F6EECF244321}">
                <p14:modId xmlns:p14="http://schemas.microsoft.com/office/powerpoint/2010/main" val="1887096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61"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391CCE79-4A99-4DAD-B2DE-699A48BC82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140541-55E9-4524-8211-36EA9144C817}"/>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43896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8131500" y="1944000"/>
            <a:ext cx="34128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0B98031-9AB0-4DE5-A19B-551E1762FEDE}"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3" name="Text Placeholder 4">
            <a:extLst>
              <a:ext uri="{FF2B5EF4-FFF2-40B4-BE49-F238E27FC236}">
                <a16:creationId xmlns:a16="http://schemas.microsoft.com/office/drawing/2014/main" id="{5F91D68D-2FA9-4CAD-8EF0-C0BF3460A391}"/>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16754762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A8B9EA4-9598-461F-B820-76BCAD2DD906}"/>
              </a:ext>
            </a:extLst>
          </p:cNvPr>
          <p:cNvGraphicFramePr>
            <a:graphicFrameLocks noChangeAspect="1"/>
          </p:cNvGraphicFramePr>
          <p:nvPr userDrawn="1">
            <p:custDataLst>
              <p:tags r:id="rId2"/>
            </p:custDataLst>
            <p:extLst>
              <p:ext uri="{D42A27DB-BD31-4B8C-83A1-F6EECF244321}">
                <p14:modId xmlns:p14="http://schemas.microsoft.com/office/powerpoint/2010/main" val="3002381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7A8B9EA4-9598-461F-B820-76BCAD2DD9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D2B4F0-54B0-4AC4-9487-C7CBC9977AA8}"/>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8404E12-4FC5-45C7-980D-B11E6B29D477}"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36D757B-F40B-4569-BAF1-AA3404B9E9E6}"/>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45202601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4 placeholders horis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9C39C9-7690-43C2-AF73-56A5C8077ED0}"/>
              </a:ext>
            </a:extLst>
          </p:cNvPr>
          <p:cNvGraphicFramePr>
            <a:graphicFrameLocks noChangeAspect="1"/>
          </p:cNvGraphicFramePr>
          <p:nvPr userDrawn="1">
            <p:custDataLst>
              <p:tags r:id="rId2"/>
            </p:custDataLst>
            <p:extLst>
              <p:ext uri="{D42A27DB-BD31-4B8C-83A1-F6EECF244321}">
                <p14:modId xmlns:p14="http://schemas.microsoft.com/office/powerpoint/2010/main" val="1943208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9"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939C39C9-7690-43C2-AF73-56A5C8077E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AE75B6E-FBD9-477F-AD21-EB9145117FFA}"/>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478A406-8A1D-4D28-BE31-DDAD56AA345D}"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9EC381D6-39E2-4766-8084-72599657FA73}"/>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16318174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68B0304-49F9-4245-AFC2-82E85533D779}"/>
              </a:ext>
            </a:extLst>
          </p:cNvPr>
          <p:cNvGraphicFramePr>
            <a:graphicFrameLocks noChangeAspect="1"/>
          </p:cNvGraphicFramePr>
          <p:nvPr userDrawn="1">
            <p:custDataLst>
              <p:tags r:id="rId2"/>
            </p:custDataLst>
            <p:extLst>
              <p:ext uri="{D42A27DB-BD31-4B8C-83A1-F6EECF244321}">
                <p14:modId xmlns:p14="http://schemas.microsoft.com/office/powerpoint/2010/main" val="3229620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3"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C68B0304-49F9-4245-AFC2-82E85533D7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9D7615-E721-40B5-8FF2-5CC354129A7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9600" b="0" i="0" baseline="0" noProof="0" dirty="0">
              <a:latin typeface="Apis For Office" panose="020B0504010101010104" pitchFamily="34" charset="0"/>
              <a:ea typeface="+mj-ea"/>
              <a:cs typeface="+mj-cs"/>
              <a:sym typeface="Apis For Office" panose="020B0504010101010104" pitchFamily="34" charset="0"/>
            </a:endParaRPr>
          </a:p>
        </p:txBody>
      </p:sp>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74B95C3-7DB5-4EEE-9854-1E1244DA5AAF}" type="datetime3">
              <a:rPr lang="en-GB" smtClean="0"/>
              <a:t>6 November, 2020</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44E7C209-74AB-4928-B52F-1ED3C6CFC5A2}"/>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35604497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30251B-6514-40D2-88DD-77A79F0E02DD}"/>
              </a:ext>
            </a:extLst>
          </p:cNvPr>
          <p:cNvGraphicFramePr>
            <a:graphicFrameLocks noChangeAspect="1"/>
          </p:cNvGraphicFramePr>
          <p:nvPr userDrawn="1">
            <p:custDataLst>
              <p:tags r:id="rId2"/>
            </p:custDataLst>
            <p:extLst>
              <p:ext uri="{D42A27DB-BD31-4B8C-83A1-F6EECF244321}">
                <p14:modId xmlns:p14="http://schemas.microsoft.com/office/powerpoint/2010/main" val="3464298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7"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CB30251B-6514-40D2-88DD-77A79F0E02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15AA886-7594-4E76-8E21-F2805AD3995B}"/>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7200" b="0" i="0" baseline="0" noProof="0" dirty="0">
              <a:latin typeface="Apis For Office" panose="020B0504010101010104" pitchFamily="34" charset="0"/>
              <a:ea typeface="+mj-ea"/>
              <a:cs typeface="+mj-cs"/>
              <a:sym typeface="Apis For Office" panose="020B0504010101010104" pitchFamily="34" charset="0"/>
            </a:endParaRPr>
          </a:p>
        </p:txBody>
      </p:sp>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6267A6FF-7661-46E8-A20F-F7FA4105A0C6}" type="datetime3">
              <a:rPr lang="en-GB" smtClean="0"/>
              <a:t>6 November, 2020</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E3FA8B5C-51AE-4CBF-B3D5-16E4AB91FC0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64945679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A8E882B-3329-4054-B946-22815EA5A414}"/>
              </a:ext>
            </a:extLst>
          </p:cNvPr>
          <p:cNvGraphicFramePr>
            <a:graphicFrameLocks noChangeAspect="1"/>
          </p:cNvGraphicFramePr>
          <p:nvPr userDrawn="1">
            <p:custDataLst>
              <p:tags r:id="rId2"/>
            </p:custDataLst>
            <p:extLst>
              <p:ext uri="{D42A27DB-BD31-4B8C-83A1-F6EECF244321}">
                <p14:modId xmlns:p14="http://schemas.microsoft.com/office/powerpoint/2010/main" val="1801199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81"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CA8E882B-3329-4054-B946-22815EA5A4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0223AD3-8FAB-44DE-9FEC-929998EE630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9600" b="0" i="0" baseline="0" noProof="0" dirty="0">
              <a:latin typeface="Apis For Office" panose="020B0504010101010104" pitchFamily="34" charset="0"/>
              <a:ea typeface="+mj-ea"/>
              <a:cs typeface="+mj-cs"/>
              <a:sym typeface="Apis For Office" panose="020B0504010101010104" pitchFamily="34" charset="0"/>
            </a:endParaRPr>
          </a:p>
        </p:txBody>
      </p:sp>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0931FCD1-1E3B-4DED-8CE7-B8FE8F2FE5C9}" type="datetime3">
              <a:rPr lang="en-GB" smtClean="0"/>
              <a:t>6 November, 2020</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152DA9A1-3FA7-4BC8-9172-644A881C6F4B}"/>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71078833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C972E4-DB01-41DC-9A8F-C5FD5457BB5C}"/>
              </a:ext>
            </a:extLst>
          </p:cNvPr>
          <p:cNvGraphicFramePr>
            <a:graphicFrameLocks noChangeAspect="1"/>
          </p:cNvGraphicFramePr>
          <p:nvPr userDrawn="1">
            <p:custDataLst>
              <p:tags r:id="rId2"/>
            </p:custDataLst>
            <p:extLst>
              <p:ext uri="{D42A27DB-BD31-4B8C-83A1-F6EECF244321}">
                <p14:modId xmlns:p14="http://schemas.microsoft.com/office/powerpoint/2010/main" val="1880404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5"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16C972E4-DB01-41DC-9A8F-C5FD5457BB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485169-4676-41EC-B0B8-B0E121C25771}"/>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7200" b="0" i="0" baseline="0" noProof="0" dirty="0">
              <a:latin typeface="Apis For Office" panose="020B0504010101010104" pitchFamily="34" charset="0"/>
              <a:ea typeface="+mj-ea"/>
              <a:cs typeface="+mj-cs"/>
              <a:sym typeface="Apis For Office" panose="020B0504010101010104" pitchFamily="34" charset="0"/>
            </a:endParaRPr>
          </a:p>
        </p:txBody>
      </p:sp>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D07A5FF4-5BD4-41DD-B27B-4F364FCCC3D6}" type="datetime3">
              <a:rPr lang="en-GB" smtClean="0"/>
              <a:t>6 November, 2020</a:t>
            </a:fld>
            <a:endParaRPr lang="en-GB" dirty="0"/>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2"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B6E51AD8-D258-457C-9483-72C95483B714}"/>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70319257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Editorial Pi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FE191F-FF1E-47FF-8E3B-3BE26297D4E1}"/>
              </a:ext>
            </a:extLst>
          </p:cNvPr>
          <p:cNvGraphicFramePr>
            <a:graphicFrameLocks noChangeAspect="1"/>
          </p:cNvGraphicFramePr>
          <p:nvPr userDrawn="1">
            <p:custDataLst>
              <p:tags r:id="rId2"/>
            </p:custDataLst>
            <p:extLst>
              <p:ext uri="{D42A27DB-BD31-4B8C-83A1-F6EECF244321}">
                <p14:modId xmlns:p14="http://schemas.microsoft.com/office/powerpoint/2010/main" val="3951185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9"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75FE191F-FF1E-47FF-8E3B-3BE26297D4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A7CCB5-5B88-4EBE-96F0-D71AE0BA0A3A}"/>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Rectangle 14">
            <a:extLst>
              <a:ext uri="{FF2B5EF4-FFF2-40B4-BE49-F238E27FC236}">
                <a16:creationId xmlns:a16="http://schemas.microsoft.com/office/drawing/2014/main" id="{282C40FC-7870-4C1F-9C95-3246AC8AF6C8}"/>
              </a:ext>
            </a:extLst>
          </p:cNvPr>
          <p:cNvSpPr/>
          <p:nvPr userDrawn="1"/>
        </p:nvSpPr>
        <p:spPr bwMode="ltGray">
          <a:xfrm>
            <a:off x="323999" y="3429000"/>
            <a:ext cx="11544001" cy="3105000"/>
          </a:xfrm>
          <a:prstGeom prst="rect">
            <a:avLst/>
          </a:prstGeom>
          <a:solidFill>
            <a:srgbClr val="FCED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7999" y="648000"/>
            <a:ext cx="8652001" cy="3105000"/>
          </a:xfrm>
        </p:spPr>
        <p:txBody>
          <a:bodyPr anchor="b"/>
          <a:lstStyle>
            <a:lvl1pPr>
              <a:lnSpc>
                <a:spcPct val="100000"/>
              </a:lnSpc>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5886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6FBFD73-3C1C-4846-838D-F4D2F20A36C4}"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51341048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Editorial Gree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B1AF08-E352-43FF-B54F-7E46909CA039}"/>
              </a:ext>
            </a:extLst>
          </p:cNvPr>
          <p:cNvGraphicFramePr>
            <a:graphicFrameLocks noChangeAspect="1"/>
          </p:cNvGraphicFramePr>
          <p:nvPr userDrawn="1">
            <p:custDataLst>
              <p:tags r:id="rId2"/>
            </p:custDataLst>
            <p:extLst>
              <p:ext uri="{D42A27DB-BD31-4B8C-83A1-F6EECF244321}">
                <p14:modId xmlns:p14="http://schemas.microsoft.com/office/powerpoint/2010/main" val="3420275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3"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08B1AF08-E352-43FF-B54F-7E46909CA0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C22FAE2-004C-4669-B1CA-0881CD9A8ECD}"/>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0" y="324000"/>
            <a:ext cx="8975999" cy="6210000"/>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5562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7822374-0DB1-4770-AECF-0E53C1BB88F8}"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4" name="Content Placeholder 3">
            <a:extLst>
              <a:ext uri="{FF2B5EF4-FFF2-40B4-BE49-F238E27FC236}">
                <a16:creationId xmlns:a16="http://schemas.microsoft.com/office/drawing/2014/main" id="{7CDAC364-33E1-4E5D-B7FA-E4D384921297}"/>
              </a:ext>
            </a:extLst>
          </p:cNvPr>
          <p:cNvSpPr>
            <a:spLocks noGrp="1"/>
          </p:cNvSpPr>
          <p:nvPr>
            <p:ph sz="quarter" idx="14" hasCustomPrompt="1"/>
          </p:nvPr>
        </p:nvSpPr>
        <p:spPr>
          <a:xfrm>
            <a:off x="5135999" y="648000"/>
            <a:ext cx="4164001" cy="5562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10">
            <a:extLst>
              <a:ext uri="{FF2B5EF4-FFF2-40B4-BE49-F238E27FC236}">
                <a16:creationId xmlns:a16="http://schemas.microsoft.com/office/drawing/2014/main" id="{F8270947-5EF6-40DC-A2E5-BBCD8A56EE7C}"/>
              </a:ext>
            </a:extLst>
          </p:cNvPr>
          <p:cNvSpPr>
            <a:spLocks noGrp="1"/>
          </p:cNvSpPr>
          <p:nvPr>
            <p:ph sz="quarter" idx="15" hasCustomPrompt="1"/>
          </p:nvPr>
        </p:nvSpPr>
        <p:spPr>
          <a:xfrm>
            <a:off x="9624000" y="648000"/>
            <a:ext cx="1920000" cy="5562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954438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07CA947-A248-B049-AC7A-80E2A937B92B}"/>
              </a:ext>
            </a:extLst>
          </p:cNvPr>
          <p:cNvSpPr>
            <a:spLocks noGrp="1"/>
          </p:cNvSpPr>
          <p:nvPr>
            <p:ph idx="1"/>
          </p:nvPr>
        </p:nvSpPr>
        <p:spPr>
          <a:xfrm>
            <a:off x="0" y="0"/>
            <a:ext cx="12192000" cy="6857999"/>
          </a:xfrm>
        </p:spPr>
        <p:txBody>
          <a:bodyPr/>
          <a:lstStyle>
            <a:lvl1pPr marL="0" indent="0">
              <a:buNone/>
              <a:defRPr/>
            </a:lvl1pPr>
          </a:lstStyle>
          <a:p>
            <a:pPr lvl="0"/>
            <a:endParaRPr lang="en-GB" noProof="0" dirty="0"/>
          </a:p>
        </p:txBody>
      </p:sp>
      <p:sp>
        <p:nvSpPr>
          <p:cNvPr id="3" name="Pladsholder til dato 2">
            <a:extLst>
              <a:ext uri="{FF2B5EF4-FFF2-40B4-BE49-F238E27FC236}">
                <a16:creationId xmlns:a16="http://schemas.microsoft.com/office/drawing/2014/main" id="{FC82E28F-39E3-994B-8D41-9055B095E41B}"/>
              </a:ext>
            </a:extLst>
          </p:cNvPr>
          <p:cNvSpPr>
            <a:spLocks noGrp="1"/>
          </p:cNvSpPr>
          <p:nvPr>
            <p:ph type="dt" sz="half" idx="10"/>
          </p:nvPr>
        </p:nvSpPr>
        <p:spPr/>
        <p:txBody>
          <a:bodyPr/>
          <a:lstStyle/>
          <a:p>
            <a:fld id="{F31388B1-1568-4556-8265-1D082B7C740A}" type="datetime3">
              <a:rPr lang="en-US" smtClean="0"/>
              <a:t>6 November 2020</a:t>
            </a:fld>
            <a:endParaRPr lang="en-GB" dirty="0"/>
          </a:p>
        </p:txBody>
      </p:sp>
      <p:sp>
        <p:nvSpPr>
          <p:cNvPr id="4" name="Pladsholder til sidefod 3">
            <a:extLst>
              <a:ext uri="{FF2B5EF4-FFF2-40B4-BE49-F238E27FC236}">
                <a16:creationId xmlns:a16="http://schemas.microsoft.com/office/drawing/2014/main" id="{71DA50FE-0722-5D43-B1E0-97DE9918D2A9}"/>
              </a:ext>
            </a:extLst>
          </p:cNvPr>
          <p:cNvSpPr>
            <a:spLocks noGrp="1"/>
          </p:cNvSpPr>
          <p:nvPr>
            <p:ph type="ftr" sz="quarter" idx="11"/>
          </p:nvPr>
        </p:nvSpPr>
        <p:spPr/>
        <p:txBody>
          <a:bodyPr/>
          <a:lstStyle/>
          <a:p>
            <a:r>
              <a:rPr lang="en-GB"/>
              <a:t>Novo Nordisk company presentation</a:t>
            </a:r>
            <a:endParaRPr lang="en-GB" dirty="0"/>
          </a:p>
        </p:txBody>
      </p:sp>
      <p:sp>
        <p:nvSpPr>
          <p:cNvPr id="5" name="Pladsholder til slidenummer 4">
            <a:extLst>
              <a:ext uri="{FF2B5EF4-FFF2-40B4-BE49-F238E27FC236}">
                <a16:creationId xmlns:a16="http://schemas.microsoft.com/office/drawing/2014/main" id="{1C67B352-DB9C-B442-8642-1B8982B76177}"/>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9" name="Title 1">
            <a:extLst>
              <a:ext uri="{FF2B5EF4-FFF2-40B4-BE49-F238E27FC236}">
                <a16:creationId xmlns:a16="http://schemas.microsoft.com/office/drawing/2014/main" id="{B174AD13-491D-0C4F-899F-BA6C1859450D}"/>
              </a:ext>
            </a:extLst>
          </p:cNvPr>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2" name="Tekstfelt 11">
            <a:extLst>
              <a:ext uri="{FF2B5EF4-FFF2-40B4-BE49-F238E27FC236}">
                <a16:creationId xmlns:a16="http://schemas.microsoft.com/office/drawing/2014/main" id="{4720C430-4F9A-7E41-86D6-421B573E3695}"/>
              </a:ext>
            </a:extLst>
          </p:cNvPr>
          <p:cNvSpPr txBox="1"/>
          <p:nvPr userDrawn="1"/>
        </p:nvSpPr>
        <p:spPr>
          <a:xfrm>
            <a:off x="11839074" y="347579"/>
            <a:ext cx="65" cy="343235"/>
          </a:xfrm>
          <a:prstGeom prst="rect">
            <a:avLst/>
          </a:prstGeom>
          <a:noFill/>
        </p:spPr>
        <p:txBody>
          <a:bodyPr wrap="none" lIns="0" tIns="0" rIns="0" bIns="0" rtlCol="0">
            <a:spAutoFit/>
          </a:bodyPr>
          <a:lstStyle/>
          <a:p>
            <a:pPr algn="l">
              <a:lnSpc>
                <a:spcPct val="120000"/>
              </a:lnSpc>
            </a:pPr>
            <a:endParaRPr lang="da-DK" sz="2000" dirty="0">
              <a:solidFill>
                <a:schemeClr val="tx2"/>
              </a:solidFill>
            </a:endParaRPr>
          </a:p>
        </p:txBody>
      </p:sp>
    </p:spTree>
    <p:extLst>
      <p:ext uri="{BB962C8B-B14F-4D97-AF65-F5344CB8AC3E}">
        <p14:creationId xmlns:p14="http://schemas.microsoft.com/office/powerpoint/2010/main" val="39165450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4 placeholders">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7700" y="647700"/>
            <a:ext cx="10895014" cy="1292866"/>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345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9063000" y="1944000"/>
            <a:ext cx="2481000" cy="4266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7DEA8E0-D691-421C-AEB6-2924778F8FD2}"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81596014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Editorial Blu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E5D1844-50F7-4781-A4D4-23EFDE8CEF93}"/>
              </a:ext>
            </a:extLst>
          </p:cNvPr>
          <p:cNvGraphicFramePr>
            <a:graphicFrameLocks noChangeAspect="1"/>
          </p:cNvGraphicFramePr>
          <p:nvPr userDrawn="1">
            <p:custDataLst>
              <p:tags r:id="rId2"/>
            </p:custDataLst>
            <p:extLst>
              <p:ext uri="{D42A27DB-BD31-4B8C-83A1-F6EECF244321}">
                <p14:modId xmlns:p14="http://schemas.microsoft.com/office/powerpoint/2010/main" val="115813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7"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2E5D1844-50F7-4781-A4D4-23EFDE8CEF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97FD86A-87BF-49AE-8019-40831AAF1261}"/>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Rectangle 14">
            <a:extLst>
              <a:ext uri="{FF2B5EF4-FFF2-40B4-BE49-F238E27FC236}">
                <a16:creationId xmlns:a16="http://schemas.microsoft.com/office/drawing/2014/main" id="{282C40FC-7870-4C1F-9C95-3246AC8AF6C8}"/>
              </a:ext>
            </a:extLst>
          </p:cNvPr>
          <p:cNvSpPr/>
          <p:nvPr userDrawn="1"/>
        </p:nvSpPr>
        <p:spPr bwMode="ltGray">
          <a:xfrm>
            <a:off x="5135999" y="324000"/>
            <a:ext cx="6732001" cy="6210000"/>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6408000" cy="2133000"/>
          </a:xfrm>
        </p:spPr>
        <p:txBody>
          <a:bodyPr anchor="t"/>
          <a:lstStyle>
            <a:lvl1pPr>
              <a:lnSpc>
                <a:spcPct val="100000"/>
              </a:lnSpc>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DD680068-8429-4F76-84FC-970758704C5A}"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331877480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Editorial Gre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B029DE-45B7-4166-9DBE-3A16A3C0C8F0}"/>
              </a:ext>
            </a:extLst>
          </p:cNvPr>
          <p:cNvGraphicFramePr>
            <a:graphicFrameLocks noChangeAspect="1"/>
          </p:cNvGraphicFramePr>
          <p:nvPr userDrawn="1">
            <p:custDataLst>
              <p:tags r:id="rId2"/>
            </p:custDataLst>
            <p:extLst>
              <p:ext uri="{D42A27DB-BD31-4B8C-83A1-F6EECF244321}">
                <p14:modId xmlns:p14="http://schemas.microsoft.com/office/powerpoint/2010/main" val="3754337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1"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47B029DE-45B7-4166-9DBE-3A16A3C0C8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4302D5-5167-45AC-8F1C-04D10D9D290B}"/>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0" y="324000"/>
            <a:ext cx="8975999" cy="6210000"/>
          </a:xfrm>
          <a:prstGeom prst="rect">
            <a:avLst/>
          </a:prstGeom>
          <a:solidFill>
            <a:srgbClr val="E9EB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title" hasCustomPrompt="1"/>
          </p:nvPr>
        </p:nvSpPr>
        <p:spPr>
          <a:xfrm>
            <a:off x="648000" y="648000"/>
            <a:ext cx="4164000" cy="3105000"/>
          </a:xfrm>
        </p:spPr>
        <p:txBody>
          <a:bodyPr anchor="t"/>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0AFC648-0C72-4044-8074-D5FCE37692E6}"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4" name="Content Placeholder 3">
            <a:extLst>
              <a:ext uri="{FF2B5EF4-FFF2-40B4-BE49-F238E27FC236}">
                <a16:creationId xmlns:a16="http://schemas.microsoft.com/office/drawing/2014/main" id="{B0C40FC7-04A9-4263-9DB4-3DAAFE35D369}"/>
              </a:ext>
            </a:extLst>
          </p:cNvPr>
          <p:cNvSpPr>
            <a:spLocks noGrp="1"/>
          </p:cNvSpPr>
          <p:nvPr>
            <p:ph sz="quarter" idx="14" hasCustomPrompt="1"/>
          </p:nvPr>
        </p:nvSpPr>
        <p:spPr>
          <a:xfrm>
            <a:off x="647999"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Content Placeholder 10">
            <a:extLst>
              <a:ext uri="{FF2B5EF4-FFF2-40B4-BE49-F238E27FC236}">
                <a16:creationId xmlns:a16="http://schemas.microsoft.com/office/drawing/2014/main" id="{D3F5C81B-CCBB-449E-A906-622504023D22}"/>
              </a:ext>
            </a:extLst>
          </p:cNvPr>
          <p:cNvSpPr>
            <a:spLocks noGrp="1"/>
          </p:cNvSpPr>
          <p:nvPr>
            <p:ph sz="quarter" idx="15" hasCustomPrompt="1"/>
          </p:nvPr>
        </p:nvSpPr>
        <p:spPr>
          <a:xfrm>
            <a:off x="5135999" y="648000"/>
            <a:ext cx="6408001" cy="3105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Content Placeholder 12">
            <a:extLst>
              <a:ext uri="{FF2B5EF4-FFF2-40B4-BE49-F238E27FC236}">
                <a16:creationId xmlns:a16="http://schemas.microsoft.com/office/drawing/2014/main" id="{4BBF8239-2E8F-4667-916C-3F586A89212F}"/>
              </a:ext>
            </a:extLst>
          </p:cNvPr>
          <p:cNvSpPr>
            <a:spLocks noGrp="1"/>
          </p:cNvSpPr>
          <p:nvPr>
            <p:ph sz="quarter" idx="16" hasCustomPrompt="1"/>
          </p:nvPr>
        </p:nvSpPr>
        <p:spPr>
          <a:xfrm>
            <a:off x="5135999" y="4076999"/>
            <a:ext cx="4164000" cy="2133001"/>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Content Placeholder 16">
            <a:extLst>
              <a:ext uri="{FF2B5EF4-FFF2-40B4-BE49-F238E27FC236}">
                <a16:creationId xmlns:a16="http://schemas.microsoft.com/office/drawing/2014/main" id="{0901DBFD-EC7A-43B4-895D-0575D5391E8E}"/>
              </a:ext>
            </a:extLst>
          </p:cNvPr>
          <p:cNvSpPr>
            <a:spLocks noGrp="1"/>
          </p:cNvSpPr>
          <p:nvPr>
            <p:ph sz="quarter" idx="17" hasCustomPrompt="1"/>
          </p:nvPr>
        </p:nvSpPr>
        <p:spPr>
          <a:xfrm>
            <a:off x="9623999" y="4076999"/>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399453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Reporting A.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211F66-4B95-4B3D-81DC-E161607C10E4}"/>
              </a:ext>
            </a:extLst>
          </p:cNvPr>
          <p:cNvGraphicFramePr>
            <a:graphicFrameLocks noChangeAspect="1"/>
          </p:cNvGraphicFramePr>
          <p:nvPr userDrawn="1">
            <p:custDataLst>
              <p:tags r:id="rId2"/>
            </p:custDataLst>
            <p:extLst>
              <p:ext uri="{D42A27DB-BD31-4B8C-83A1-F6EECF244321}">
                <p14:modId xmlns:p14="http://schemas.microsoft.com/office/powerpoint/2010/main" val="1097320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80211F66-4B95-4B3D-81DC-E161607C10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F190C23-0DAE-4152-9429-2E76EDC3EF84}"/>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5135999" y="3429000"/>
            <a:ext cx="4164001"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5135999" y="648000"/>
            <a:ext cx="4164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FA385441-22C6-4DB3-8126-AE935B1ECDAD}"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F5229E68-3EC6-4831-B439-8804F87FEA6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83740174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Reporting B. Conten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DCD7DD-08A3-4FDC-9812-4DBF163BCD1D}"/>
              </a:ext>
            </a:extLst>
          </p:cNvPr>
          <p:cNvGraphicFramePr>
            <a:graphicFrameLocks noChangeAspect="1"/>
          </p:cNvGraphicFramePr>
          <p:nvPr userDrawn="1">
            <p:custDataLst>
              <p:tags r:id="rId2"/>
            </p:custDataLst>
            <p:extLst>
              <p:ext uri="{D42A27DB-BD31-4B8C-83A1-F6EECF244321}">
                <p14:modId xmlns:p14="http://schemas.microsoft.com/office/powerpoint/2010/main" val="395123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9"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FDDCD7DD-08A3-4FDC-9812-4DBF163BCD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0B2817D-613F-4D6F-8233-EEF0B985880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9CACD44-9E7B-4EB8-9F5C-EFECF296B0C2}"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5" name="Text Placeholder 4">
            <a:extLst>
              <a:ext uri="{FF2B5EF4-FFF2-40B4-BE49-F238E27FC236}">
                <a16:creationId xmlns:a16="http://schemas.microsoft.com/office/drawing/2014/main" id="{0A2ECB2A-19E9-48E5-91DB-E34F20D2AB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146011393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Reporting C.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381A650-E9FE-4382-BCB6-DEBE60ECB531}"/>
              </a:ext>
            </a:extLst>
          </p:cNvPr>
          <p:cNvGraphicFramePr>
            <a:graphicFrameLocks noChangeAspect="1"/>
          </p:cNvGraphicFramePr>
          <p:nvPr userDrawn="1">
            <p:custDataLst>
              <p:tags r:id="rId2"/>
            </p:custDataLst>
            <p:extLst>
              <p:ext uri="{D42A27DB-BD31-4B8C-83A1-F6EECF244321}">
                <p14:modId xmlns:p14="http://schemas.microsoft.com/office/powerpoint/2010/main" val="3541594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3"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381A650-E9FE-4382-BCB6-DEBE60ECB5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0A8C3B3-1FD7-4417-9BE0-11FF2EA62E20}"/>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699" y="647700"/>
            <a:ext cx="4162425" cy="1292866"/>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71B07903-98BA-4D9D-97E3-02117323AA47}"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4" name="Text Placeholder 4">
            <a:extLst>
              <a:ext uri="{FF2B5EF4-FFF2-40B4-BE49-F238E27FC236}">
                <a16:creationId xmlns:a16="http://schemas.microsoft.com/office/drawing/2014/main" id="{5F1618E7-6259-402C-A006-7EB43B92C8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70369065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Reporting 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1E4D3D-97D3-49CB-9761-112B49D94631}"/>
              </a:ext>
            </a:extLst>
          </p:cNvPr>
          <p:cNvGraphicFramePr>
            <a:graphicFrameLocks noChangeAspect="1"/>
          </p:cNvGraphicFramePr>
          <p:nvPr userDrawn="1">
            <p:custDataLst>
              <p:tags r:id="rId2"/>
            </p:custDataLst>
            <p:extLst>
              <p:ext uri="{D42A27DB-BD31-4B8C-83A1-F6EECF244321}">
                <p14:modId xmlns:p14="http://schemas.microsoft.com/office/powerpoint/2010/main" val="1819175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7"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A91E4D3D-97D3-49CB-9761-112B49D946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4DA988D-F179-411B-801A-09E7767DFFB7}"/>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999" y="648000"/>
            <a:ext cx="10896000"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7999" y="1548000"/>
            <a:ext cx="10896001" cy="46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ED499F9A-4FB4-40A1-87A4-F9BB659A6303}"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52112753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Reporting E.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EA3B32-1BB3-4A00-B7B1-C08E52098708}"/>
              </a:ext>
            </a:extLst>
          </p:cNvPr>
          <p:cNvGraphicFramePr>
            <a:graphicFrameLocks noChangeAspect="1"/>
          </p:cNvGraphicFramePr>
          <p:nvPr userDrawn="1">
            <p:custDataLst>
              <p:tags r:id="rId2"/>
            </p:custDataLst>
            <p:extLst>
              <p:ext uri="{D42A27DB-BD31-4B8C-83A1-F6EECF244321}">
                <p14:modId xmlns:p14="http://schemas.microsoft.com/office/powerpoint/2010/main" val="3994944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21"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8EA3B32-1BB3-4A00-B7B1-C08E520987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A43BB45-2FEB-421E-895B-F5A18F05253B}"/>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699" y="647700"/>
            <a:ext cx="10896601" cy="900000"/>
          </a:xfrm>
        </p:spPr>
        <p:txBody>
          <a:bodyPr/>
          <a:lstStyle>
            <a:lvl1pPr>
              <a:defRPr sz="2800" b="1"/>
            </a:lvl1pPr>
          </a:lstStyle>
          <a:p>
            <a:r>
              <a:rPr lang="en-GB" noProof="0" dirty="0"/>
              <a:t>Click to add title</a:t>
            </a:r>
          </a:p>
        </p:txBody>
      </p:sp>
      <p:sp>
        <p:nvSpPr>
          <p:cNvPr id="3" name="Content Placeholder 2"/>
          <p:cNvSpPr>
            <a:spLocks noGrp="1"/>
          </p:cNvSpPr>
          <p:nvPr>
            <p:ph idx="1" hasCustomPrompt="1"/>
          </p:nvPr>
        </p:nvSpPr>
        <p:spPr>
          <a:xfrm>
            <a:off x="6480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6259200" y="1547700"/>
            <a:ext cx="5284800" cy="46623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6CD411E-1319-49FA-BDF5-04C2BCEECF9F}"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EAF405E3-B39D-45EE-8E47-4F2225BD2A65}"/>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81913849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11DFF8-9745-4A70-984D-2C52DF3C3923}"/>
              </a:ext>
            </a:extLst>
          </p:cNvPr>
          <p:cNvGraphicFramePr>
            <a:graphicFrameLocks noChangeAspect="1"/>
          </p:cNvGraphicFramePr>
          <p:nvPr userDrawn="1">
            <p:custDataLst>
              <p:tags r:id="rId2"/>
            </p:custDataLst>
            <p:extLst>
              <p:ext uri="{D42A27DB-BD31-4B8C-83A1-F6EECF244321}">
                <p14:modId xmlns:p14="http://schemas.microsoft.com/office/powerpoint/2010/main" val="197975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5"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0111DFF8-9745-4A70-984D-2C52DF3C39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CEE34BD-69C4-4286-AAEC-8A136B3B54F1}"/>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AAB12255-2CF7-4448-B163-1CFC06A86083}" type="datetime3">
              <a:rPr lang="en-GB" smtClean="0"/>
              <a:t>6 November, 2020</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dirty="0"/>
              <a:t>Graduate Programme Introduc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167605624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7BDF756-5E01-4131-BCA0-ABD78F38ED93}"/>
              </a:ext>
            </a:extLst>
          </p:cNvPr>
          <p:cNvGraphicFramePr>
            <a:graphicFrameLocks noChangeAspect="1"/>
          </p:cNvGraphicFramePr>
          <p:nvPr userDrawn="1">
            <p:custDataLst>
              <p:tags r:id="rId2"/>
            </p:custDataLst>
            <p:extLst>
              <p:ext uri="{D42A27DB-BD31-4B8C-83A1-F6EECF244321}">
                <p14:modId xmlns:p14="http://schemas.microsoft.com/office/powerpoint/2010/main" val="2842092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9"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17BDF756-5E01-4131-BCA0-ABD78F38ED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BCCAE3A0-D5EF-40D9-A06E-C109CB0B5D61}" type="datetime3">
              <a:rPr lang="en-GB" smtClean="0"/>
              <a:t>6 November, 2020</a:t>
            </a:fld>
            <a:endParaRPr lang="en-GB" dirty="0"/>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dirty="0"/>
              <a:t>Graduate Programme Introduc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dirty="0"/>
          </a:p>
        </p:txBody>
      </p:sp>
    </p:spTree>
    <p:extLst>
      <p:ext uri="{BB962C8B-B14F-4D97-AF65-F5344CB8AC3E}">
        <p14:creationId xmlns:p14="http://schemas.microsoft.com/office/powerpoint/2010/main" val="278836549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D40317-F025-4EE5-885C-D60565470F58}"/>
              </a:ext>
            </a:extLst>
          </p:cNvPr>
          <p:cNvGraphicFramePr>
            <a:graphicFrameLocks noChangeAspect="1"/>
          </p:cNvGraphicFramePr>
          <p:nvPr userDrawn="1">
            <p:custDataLst>
              <p:tags r:id="rId2"/>
            </p:custDataLst>
            <p:extLst>
              <p:ext uri="{D42A27DB-BD31-4B8C-83A1-F6EECF244321}">
                <p14:modId xmlns:p14="http://schemas.microsoft.com/office/powerpoint/2010/main" val="1453506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3"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8FD40317-F025-4EE5-885C-D60565470F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dirty="0">
                <a:solidFill>
                  <a:srgbClr val="000000"/>
                </a:solidFill>
                <a:latin typeface="+mn-lt"/>
                <a:ea typeface="Arial" panose="020B0604020202020204" pitchFamily="34" charset="0"/>
                <a:cs typeface="Arial" panose="020B0604020202020204" pitchFamily="34" charset="0"/>
              </a:rPr>
              <a:t>Click on the arrow next to </a:t>
            </a:r>
            <a:r>
              <a:rPr lang="en-GB" sz="900" b="1" dirty="0">
                <a:solidFill>
                  <a:srgbClr val="000000"/>
                </a:solidFill>
                <a:latin typeface="+mn-lt"/>
                <a:ea typeface="Arial" panose="020B0604020202020204" pitchFamily="34" charset="0"/>
                <a:cs typeface="Arial" panose="020B0604020202020204" pitchFamily="34" charset="0"/>
              </a:rPr>
              <a:t>Layout</a:t>
            </a:r>
            <a:br>
              <a:rPr lang="en-GB" sz="900" b="1" dirty="0">
                <a:solidFill>
                  <a:srgbClr val="000000"/>
                </a:solidFill>
                <a:latin typeface="+mn-lt"/>
                <a:ea typeface="Arial" panose="020B0604020202020204" pitchFamily="34" charset="0"/>
                <a:cs typeface="Arial" panose="020B0604020202020204" pitchFamily="34" charset="0"/>
              </a:rPr>
            </a:br>
            <a:r>
              <a:rPr lang="en-GB" sz="900" dirty="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8"/>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9"/>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10"/>
          <a:srcRect l="3901" t="45142" r="62601" b="9046"/>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11"/>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12"/>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13"/>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5"/>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057C519A-65C8-4831-95BF-E57A52A90B5A}" type="datetime3">
              <a:rPr lang="en-GB" smtClean="0"/>
              <a:t>6 November, 2020</a:t>
            </a:fld>
            <a:endParaRPr lang="en-GB" dirty="0"/>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dirty="0"/>
              <a:t>Graduate Programme Introduc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609655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 placeholders horizontal">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2EAC862-3F5E-4BE7-98A8-908A40076FAA}"/>
              </a:ext>
            </a:extLst>
          </p:cNvPr>
          <p:cNvSpPr>
            <a:spLocks noGrp="1"/>
          </p:cNvSpPr>
          <p:nvPr>
            <p:ph type="title" hasCustomPrompt="1"/>
          </p:nvPr>
        </p:nvSpPr>
        <p:spPr>
          <a:xfrm>
            <a:off x="648000" y="648000"/>
            <a:ext cx="10896000" cy="1296000"/>
          </a:xfrm>
        </p:spPr>
        <p:txBody>
          <a:bodyPr/>
          <a:lstStyle>
            <a:lvl1pPr>
              <a:defRPr/>
            </a:lvl1pPr>
          </a:lstStyle>
          <a:p>
            <a:r>
              <a:rPr lang="en-US" dirty="0"/>
              <a:t>Click to add title</a:t>
            </a:r>
            <a:endParaRPr lang="nb-NO" dirty="0"/>
          </a:p>
        </p:txBody>
      </p:sp>
      <p:sp>
        <p:nvSpPr>
          <p:cNvPr id="3" name="Content Placeholder 2"/>
          <p:cNvSpPr>
            <a:spLocks noGrp="1"/>
          </p:cNvSpPr>
          <p:nvPr>
            <p:ph idx="1" hasCustomPrompt="1"/>
          </p:nvPr>
        </p:nvSpPr>
        <p:spPr>
          <a:xfrm>
            <a:off x="64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3">
            <a:extLst>
              <a:ext uri="{FF2B5EF4-FFF2-40B4-BE49-F238E27FC236}">
                <a16:creationId xmlns:a16="http://schemas.microsoft.com/office/drawing/2014/main" id="{581FC0A7-42F8-4349-8CA5-D573D5B636CE}"/>
              </a:ext>
            </a:extLst>
          </p:cNvPr>
          <p:cNvSpPr>
            <a:spLocks noGrp="1"/>
          </p:cNvSpPr>
          <p:nvPr>
            <p:ph idx="14" hasCustomPrompt="1"/>
          </p:nvPr>
        </p:nvSpPr>
        <p:spPr>
          <a:xfrm>
            <a:off x="648000"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4">
            <a:extLst>
              <a:ext uri="{FF2B5EF4-FFF2-40B4-BE49-F238E27FC236}">
                <a16:creationId xmlns:a16="http://schemas.microsoft.com/office/drawing/2014/main" id="{62B952AC-1C62-4199-9CD6-8B1EDC5F8A37}"/>
              </a:ext>
            </a:extLst>
          </p:cNvPr>
          <p:cNvSpPr>
            <a:spLocks noGrp="1"/>
          </p:cNvSpPr>
          <p:nvPr>
            <p:ph idx="15" hasCustomPrompt="1"/>
          </p:nvPr>
        </p:nvSpPr>
        <p:spPr>
          <a:xfrm>
            <a:off x="6258000" y="1944000"/>
            <a:ext cx="5286000" cy="18144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5">
            <a:extLst>
              <a:ext uri="{FF2B5EF4-FFF2-40B4-BE49-F238E27FC236}">
                <a16:creationId xmlns:a16="http://schemas.microsoft.com/office/drawing/2014/main" id="{AF5B9A70-CF7A-4620-9CE3-3CD5021B259D}"/>
              </a:ext>
            </a:extLst>
          </p:cNvPr>
          <p:cNvSpPr>
            <a:spLocks noGrp="1"/>
          </p:cNvSpPr>
          <p:nvPr>
            <p:ph idx="16" hasCustomPrompt="1"/>
          </p:nvPr>
        </p:nvSpPr>
        <p:spPr>
          <a:xfrm>
            <a:off x="6257914" y="4076700"/>
            <a:ext cx="5286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DA38177-C2C5-4269-A66A-11D7B9A56FE8}"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8612558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1D983B7-ACBF-465A-9DF3-1A982F04F61D}"/>
              </a:ext>
            </a:extLst>
          </p:cNvPr>
          <p:cNvGraphicFramePr>
            <a:graphicFrameLocks noChangeAspect="1"/>
          </p:cNvGraphicFramePr>
          <p:nvPr userDrawn="1">
            <p:custDataLst>
              <p:tags r:id="rId2"/>
            </p:custDataLst>
            <p:extLst>
              <p:ext uri="{D42A27DB-BD31-4B8C-83A1-F6EECF244321}">
                <p14:modId xmlns:p14="http://schemas.microsoft.com/office/powerpoint/2010/main" val="2288648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7"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91D983B7-ACBF-465A-9DF3-1A982F04F6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br>
              <a:rPr lang="en-GB" sz="2800" b="0" noProof="0" dirty="0">
                <a:solidFill>
                  <a:schemeClr val="bg1"/>
                </a:solidFill>
              </a:rPr>
            </a:b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br>
              <a:rPr lang="en-GB" sz="1800" b="0" noProof="0" dirty="0">
                <a:solidFill>
                  <a:schemeClr val="bg1"/>
                </a:solidFill>
              </a:rPr>
            </a:br>
            <a:endParaRPr lang="en-GB" sz="1800" b="0" noProof="0" dirty="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fld id="{E3003526-8179-4D7A-B18E-FAFE460FF8E2}" type="datetime3">
              <a:rPr lang="en-GB" smtClean="0"/>
              <a:t>6 November, 2020</a:t>
            </a:fld>
            <a:endParaRPr lang="en-GB" dirty="0"/>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r>
              <a:rPr lang="en-GB" dirty="0"/>
              <a:t>Graduate Programme Introduc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54453167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1_Reporting 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5ABC87-3A04-44FB-BB7A-33BF50DF4EFB}"/>
              </a:ext>
            </a:extLst>
          </p:cNvPr>
          <p:cNvGraphicFramePr>
            <a:graphicFrameLocks noChangeAspect="1"/>
          </p:cNvGraphicFramePr>
          <p:nvPr userDrawn="1">
            <p:custDataLst>
              <p:tags r:id="rId2"/>
            </p:custDataLst>
            <p:extLst>
              <p:ext uri="{D42A27DB-BD31-4B8C-83A1-F6EECF244321}">
                <p14:modId xmlns:p14="http://schemas.microsoft.com/office/powerpoint/2010/main" val="433431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41" name="think-cell Slide" r:id="rId5" imgW="499" imgH="499" progId="TCLayout.ActiveDocument.1">
                  <p:embed/>
                </p:oleObj>
              </mc:Choice>
              <mc:Fallback>
                <p:oleObj name="think-cell Slide" r:id="rId5" imgW="499" imgH="499" progId="TCLayout.ActiveDocument.1">
                  <p:embed/>
                  <p:pic>
                    <p:nvPicPr>
                      <p:cNvPr id="5" name="Object 4" hidden="1">
                        <a:extLst>
                          <a:ext uri="{FF2B5EF4-FFF2-40B4-BE49-F238E27FC236}">
                            <a16:creationId xmlns:a16="http://schemas.microsoft.com/office/drawing/2014/main" id="{ED5ABC87-3A04-44FB-BB7A-33BF50DF4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4D5D10-6667-455E-9FA4-485E2099BAD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999" y="648000"/>
            <a:ext cx="10896000" cy="900000"/>
          </a:xfrm>
        </p:spPr>
        <p:txBody>
          <a:bodyPr/>
          <a:lstStyle>
            <a:lvl1pPr>
              <a:defRPr sz="2800" b="0"/>
            </a:lvl1pPr>
          </a:lstStyle>
          <a:p>
            <a:r>
              <a:rPr lang="en-GB" noProof="0" dirty="0"/>
              <a:t>Click to add title</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3421447-240C-413A-AFEC-CE24C323C2E0}"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358602032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userDrawn="1">
  <p:cSld name="Half_break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85EB43B-93A1-42CD-B766-0B2E3BDA88CC}"/>
              </a:ext>
            </a:extLst>
          </p:cNvPr>
          <p:cNvGraphicFramePr>
            <a:graphicFrameLocks noChangeAspect="1"/>
          </p:cNvGraphicFramePr>
          <p:nvPr userDrawn="1">
            <p:custDataLst>
              <p:tags r:id="rId2"/>
            </p:custDataLst>
            <p:extLst>
              <p:ext uri="{D42A27DB-BD31-4B8C-83A1-F6EECF244321}">
                <p14:modId xmlns:p14="http://schemas.microsoft.com/office/powerpoint/2010/main" val="826757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5"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185EB43B-93A1-42CD-B766-0B2E3BDA88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Billede 2" descr="Et billede, der indeholder person, indendørs, mand, væg&#10;&#10;Beskrivelse, der er oprettet med meget høj sikkerhed">
            <a:extLst>
              <a:ext uri="{FF2B5EF4-FFF2-40B4-BE49-F238E27FC236}">
                <a16:creationId xmlns:a16="http://schemas.microsoft.com/office/drawing/2014/main" id="{DA436AA8-D98F-4450-8563-C25B1A435C4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3" descr="NN_m_2c_RGB">
            <a:extLst>
              <a:ext uri="{FF2B5EF4-FFF2-40B4-BE49-F238E27FC236}">
                <a16:creationId xmlns:a16="http://schemas.microsoft.com/office/drawing/2014/main" id="{4259EC19-DB3D-46E5-980F-DA570FC52FCE}"/>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0431" y="5714738"/>
            <a:ext cx="1080128" cy="8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lede 8" descr="Et billede, der indeholder objekt&#10;&#10;Beskrivelse, der er oprettet med meget høj sikkerhed">
            <a:extLst>
              <a:ext uri="{FF2B5EF4-FFF2-40B4-BE49-F238E27FC236}">
                <a16:creationId xmlns:a16="http://schemas.microsoft.com/office/drawing/2014/main" id="{7A735535-B5EF-4338-A4A8-452EB6154FD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387043" y="5858934"/>
            <a:ext cx="1096271" cy="589805"/>
          </a:xfrm>
          <a:prstGeom prst="rect">
            <a:avLst/>
          </a:prstGeom>
        </p:spPr>
      </p:pic>
      <p:sp>
        <p:nvSpPr>
          <p:cNvPr id="13" name="Content Placeholder 2">
            <a:extLst>
              <a:ext uri="{FF2B5EF4-FFF2-40B4-BE49-F238E27FC236}">
                <a16:creationId xmlns:a16="http://schemas.microsoft.com/office/drawing/2014/main" id="{BB3AC0B3-D4B4-4CA5-962D-F1E7785E43E8}"/>
              </a:ext>
            </a:extLst>
          </p:cNvPr>
          <p:cNvSpPr>
            <a:spLocks noGrp="1"/>
          </p:cNvSpPr>
          <p:nvPr>
            <p:ph idx="1"/>
          </p:nvPr>
        </p:nvSpPr>
        <p:spPr>
          <a:xfrm>
            <a:off x="6387043" y="1509107"/>
            <a:ext cx="5673600" cy="3941052"/>
          </a:xfrm>
          <a:prstGeom prst="rect">
            <a:avLst/>
          </a:prstGeom>
        </p:spPr>
        <p:txBody>
          <a:bodyPr>
            <a:normAutofit/>
          </a:bodyPr>
          <a:lstStyle>
            <a:lvl1pPr marL="0" indent="0">
              <a:buClr>
                <a:srgbClr val="009FDA"/>
              </a:buClr>
              <a:buFont typeface="+mj-lt"/>
              <a:buNone/>
              <a:defRPr sz="1467">
                <a:solidFill>
                  <a:srgbClr val="001423"/>
                </a:solidFill>
                <a:latin typeface="Verdana" panose="020B0604030504040204" pitchFamily="34" charset="0"/>
                <a:ea typeface="Verdana" panose="020B0604030504040204" pitchFamily="34" charset="0"/>
                <a:cs typeface="Verdana" panose="020B0604030504040204" pitchFamily="34" charset="0"/>
              </a:defRPr>
            </a:lvl1pPr>
            <a:lvl2pPr>
              <a:buClr>
                <a:srgbClr val="009FDA"/>
              </a:buClr>
              <a:defRPr sz="2133">
                <a:solidFill>
                  <a:srgbClr val="001423"/>
                </a:solidFill>
                <a:latin typeface="Verdana" panose="020B0604030504040204" pitchFamily="34" charset="0"/>
                <a:ea typeface="Verdana" panose="020B0604030504040204" pitchFamily="34" charset="0"/>
                <a:cs typeface="Verdana" panose="020B0604030504040204" pitchFamily="34" charset="0"/>
              </a:defRPr>
            </a:lvl2pPr>
            <a:lvl3pPr>
              <a:buClr>
                <a:srgbClr val="009FDA"/>
              </a:buClr>
              <a:defRPr sz="1867">
                <a:solidFill>
                  <a:srgbClr val="001423"/>
                </a:solidFill>
                <a:latin typeface="Verdana" panose="020B0604030504040204" pitchFamily="34" charset="0"/>
                <a:ea typeface="Verdana" panose="020B0604030504040204" pitchFamily="34" charset="0"/>
                <a:cs typeface="Verdana" panose="020B0604030504040204" pitchFamily="34" charset="0"/>
              </a:defRPr>
            </a:lvl3pPr>
            <a:lvl4pPr>
              <a:buClr>
                <a:srgbClr val="009FDA"/>
              </a:buClr>
              <a:defRPr sz="1600">
                <a:solidFill>
                  <a:srgbClr val="001423"/>
                </a:solidFill>
                <a:latin typeface="Verdana" panose="020B0604030504040204" pitchFamily="34" charset="0"/>
                <a:ea typeface="Verdana" panose="020B0604030504040204" pitchFamily="34" charset="0"/>
                <a:cs typeface="Verdana" panose="020B0604030504040204" pitchFamily="34" charset="0"/>
              </a:defRPr>
            </a:lvl4pPr>
            <a:lvl5pPr>
              <a:buClr>
                <a:srgbClr val="009FDA"/>
              </a:buClr>
              <a:defRPr sz="1600">
                <a:solidFill>
                  <a:srgbClr val="001423"/>
                </a:solidFill>
                <a:latin typeface="Verdana" panose="020B0604030504040204" pitchFamily="34" charset="0"/>
                <a:ea typeface="Verdana" panose="020B0604030504040204" pitchFamily="34" charset="0"/>
                <a:cs typeface="Verdana" panose="020B0604030504040204" pitchFamily="34" charset="0"/>
              </a:defRPr>
            </a:lvl5pPr>
          </a:lstStyle>
          <a:p>
            <a:pPr lvl="0"/>
            <a:r>
              <a:rPr lang="en-GB" noProof="0" dirty="0"/>
              <a:t>Click to edit Master text styles</a:t>
            </a:r>
          </a:p>
        </p:txBody>
      </p:sp>
      <p:sp>
        <p:nvSpPr>
          <p:cNvPr id="10" name="Tekstfelt 9">
            <a:extLst>
              <a:ext uri="{FF2B5EF4-FFF2-40B4-BE49-F238E27FC236}">
                <a16:creationId xmlns:a16="http://schemas.microsoft.com/office/drawing/2014/main" id="{3E568EC6-2557-4080-A73D-41D3932BD1E8}"/>
              </a:ext>
            </a:extLst>
          </p:cNvPr>
          <p:cNvSpPr txBox="1"/>
          <p:nvPr userDrawn="1"/>
        </p:nvSpPr>
        <p:spPr>
          <a:xfrm>
            <a:off x="0" y="0"/>
            <a:ext cx="3371851" cy="523028"/>
          </a:xfrm>
          <a:prstGeom prst="rect">
            <a:avLst/>
          </a:prstGeom>
          <a:noFill/>
        </p:spPr>
        <p:txBody>
          <a:bodyPr wrap="square" rtlCol="0">
            <a:spAutoFit/>
          </a:bodyPr>
          <a:lstStyle/>
          <a:p>
            <a:r>
              <a:rPr lang="en-GB" sz="933" dirty="0">
                <a:solidFill>
                  <a:srgbClr val="001423"/>
                </a:solidFill>
              </a:rPr>
              <a:t>GITA KAMPEN, JOHAN F PAULSSON </a:t>
            </a:r>
            <a:br>
              <a:rPr lang="en-GB" sz="933" dirty="0">
                <a:solidFill>
                  <a:srgbClr val="001423"/>
                </a:solidFill>
              </a:rPr>
            </a:br>
            <a:r>
              <a:rPr lang="en-GB" sz="933" dirty="0">
                <a:solidFill>
                  <a:srgbClr val="001423"/>
                </a:solidFill>
              </a:rPr>
              <a:t>and KARIN HAMBORG ALBRECHTSEN</a:t>
            </a:r>
          </a:p>
          <a:p>
            <a:r>
              <a:rPr lang="en-GB" sz="933" dirty="0">
                <a:solidFill>
                  <a:srgbClr val="001423"/>
                </a:solidFill>
              </a:rPr>
              <a:t>working in Global Research in Denmark</a:t>
            </a:r>
          </a:p>
        </p:txBody>
      </p:sp>
    </p:spTree>
    <p:extLst>
      <p:ext uri="{BB962C8B-B14F-4D97-AF65-F5344CB8AC3E}">
        <p14:creationId xmlns:p14="http://schemas.microsoft.com/office/powerpoint/2010/main" val="12914137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049">
          <p15:clr>
            <a:srgbClr val="FBAE40"/>
          </p15:clr>
        </p15:guide>
        <p15:guide id="2" pos="2880">
          <p15:clr>
            <a:srgbClr val="FBAE40"/>
          </p15:clr>
        </p15:guide>
        <p15:guide id="3" orient="horz" pos="2777">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C. Divider">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9650DCB-43F5-4BCD-9599-AED4AC9F48B5}"/>
              </a:ext>
            </a:extLst>
          </p:cNvPr>
          <p:cNvSpPr>
            <a:spLocks noGrp="1"/>
          </p:cNvSpPr>
          <p:nvPr>
            <p:ph type="body" sz="quarter" idx="16"/>
          </p:nvPr>
        </p:nvSpPr>
        <p:spPr>
          <a:xfrm>
            <a:off x="2892000" y="647700"/>
            <a:ext cx="8976150" cy="5886300"/>
          </a:xfrm>
          <a:solidFill>
            <a:srgbClr val="D8EAF8"/>
          </a:solidFill>
        </p:spPr>
        <p:txBody>
          <a:bodyPr/>
          <a:lstStyle>
            <a:lvl1pPr marL="0" indent="0">
              <a:buNone/>
              <a:defRPr sz="100">
                <a:noFill/>
              </a:defRPr>
            </a:lvl1pPr>
          </a:lstStyle>
          <a:p>
            <a:pPr lvl="0"/>
            <a:r>
              <a:rPr lang="en-US"/>
              <a:t>Click to edit Master text styles</a:t>
            </a:r>
          </a:p>
        </p:txBody>
      </p:sp>
      <p:sp>
        <p:nvSpPr>
          <p:cNvPr id="2" name="Title 1"/>
          <p:cNvSpPr>
            <a:spLocks noGrp="1"/>
          </p:cNvSpPr>
          <p:nvPr>
            <p:ph type="title" hasCustomPrompt="1"/>
          </p:nvPr>
        </p:nvSpPr>
        <p:spPr>
          <a:xfrm>
            <a:off x="648000" y="970713"/>
            <a:ext cx="6406850" cy="5238000"/>
          </a:xfrm>
        </p:spPr>
        <p:txBody>
          <a:bodyPr anchor="ctr"/>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800" i="1">
                <a:solidFill>
                  <a:schemeClr val="accent6"/>
                </a:solidFill>
              </a:defRPr>
            </a:lvl1pPr>
          </a:lstStyle>
          <a:p>
            <a:pPr lvl="0"/>
            <a:r>
              <a:rPr lang="en-GB" dirty="0"/>
              <a:t>Insert notes</a:t>
            </a:r>
          </a:p>
        </p:txBody>
      </p:sp>
      <p:sp>
        <p:nvSpPr>
          <p:cNvPr id="4" name="Date Placeholder 3">
            <a:extLst>
              <a:ext uri="{FF2B5EF4-FFF2-40B4-BE49-F238E27FC236}">
                <a16:creationId xmlns:a16="http://schemas.microsoft.com/office/drawing/2014/main" id="{779FC834-4845-430D-833F-E27D62F7E107}"/>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FB39247E-D185-41FD-BF62-F6D03E65C52B}"/>
              </a:ext>
            </a:extLst>
          </p:cNvPr>
          <p:cNvSpPr>
            <a:spLocks noGrp="1"/>
          </p:cNvSpPr>
          <p:nvPr>
            <p:ph type="ftr" sz="quarter" idx="18"/>
          </p:nvPr>
        </p:nvSpPr>
        <p:spPr/>
        <p:txBody>
          <a:bodyPr/>
          <a:lstStyle/>
          <a:p>
            <a:endParaRPr lang="en-GB" dirty="0"/>
          </a:p>
        </p:txBody>
      </p:sp>
      <p:sp>
        <p:nvSpPr>
          <p:cNvPr id="8" name="Slide Number Placeholder 7">
            <a:extLst>
              <a:ext uri="{FF2B5EF4-FFF2-40B4-BE49-F238E27FC236}">
                <a16:creationId xmlns:a16="http://schemas.microsoft.com/office/drawing/2014/main" id="{470F0230-6038-4355-80ED-FB8CD83128CA}"/>
              </a:ext>
            </a:extLst>
          </p:cNvPr>
          <p:cNvSpPr>
            <a:spLocks noGrp="1"/>
          </p:cNvSpPr>
          <p:nvPr>
            <p:ph type="sldNum" sz="quarter" idx="19"/>
          </p:nvPr>
        </p:nvSpPr>
        <p:spPr/>
        <p:txBody>
          <a:bodyPr/>
          <a:lstStyle/>
          <a:p>
            <a:fld id="{23AA811B-2EBD-4900-905E-5BE206449611}" type="slidenum">
              <a:rPr lang="en-GB"/>
              <a:pPr/>
              <a:t>‹#›</a:t>
            </a:fld>
            <a:endParaRPr lang="en-GB" dirty="0"/>
          </a:p>
        </p:txBody>
      </p:sp>
    </p:spTree>
    <p:extLst>
      <p:ext uri="{BB962C8B-B14F-4D97-AF65-F5344CB8AC3E}">
        <p14:creationId xmlns:p14="http://schemas.microsoft.com/office/powerpoint/2010/main" val="6736468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Report 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3999"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CF071966-BD94-47D2-A067-10FAA55B6AEE}"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5" name="Freeform: Shape 23">
            <a:extLst>
              <a:ext uri="{FF2B5EF4-FFF2-40B4-BE49-F238E27FC236}">
                <a16:creationId xmlns:a16="http://schemas.microsoft.com/office/drawing/2014/main" id="{E2B8DB1D-5516-5E47-A8E8-C0FA60ED3E02}"/>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Tree>
    <p:extLst>
      <p:ext uri="{BB962C8B-B14F-4D97-AF65-F5344CB8AC3E}">
        <p14:creationId xmlns:p14="http://schemas.microsoft.com/office/powerpoint/2010/main" val="18149008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eport B. Content">
    <p:bg>
      <p:bgPr>
        <a:solidFill>
          <a:srgbClr val="F7F6F5"/>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7380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4" name="Content Placeholder 2">
            <a:extLst>
              <a:ext uri="{FF2B5EF4-FFF2-40B4-BE49-F238E27FC236}">
                <a16:creationId xmlns:a16="http://schemas.microsoft.com/office/drawing/2014/main" id="{352F6B10-75DE-4EAB-81DC-766BA163DBE5}"/>
              </a:ext>
            </a:extLst>
          </p:cNvPr>
          <p:cNvSpPr>
            <a:spLocks noGrp="1"/>
          </p:cNvSpPr>
          <p:nvPr>
            <p:ph idx="17"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685AE076-A7BD-47DA-85C8-E77466DCA8C9}"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4868817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Report C. Conten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7F6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7699" y="647700"/>
            <a:ext cx="4162425" cy="1292866"/>
          </a:xfrm>
        </p:spPr>
        <p:txBody>
          <a:bodyPr/>
          <a:lstStyle>
            <a:lvl1pPr>
              <a:defRPr sz="2000" b="1"/>
            </a:lvl1pPr>
          </a:lstStyle>
          <a:p>
            <a:r>
              <a:rPr lang="en-GB" noProof="0" dirty="0"/>
              <a:t>Click to add title</a:t>
            </a:r>
          </a:p>
        </p:txBody>
      </p:sp>
      <p:sp>
        <p:nvSpPr>
          <p:cNvPr id="3" name="Content Placeholder 2"/>
          <p:cNvSpPr>
            <a:spLocks noGrp="1"/>
          </p:cNvSpPr>
          <p:nvPr>
            <p:ph idx="1" hasCustomPrompt="1"/>
          </p:nvPr>
        </p:nvSpPr>
        <p:spPr>
          <a:xfrm>
            <a:off x="648000" y="3429000"/>
            <a:ext cx="4164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1" name="Content Placeholder 2">
            <a:extLst>
              <a:ext uri="{FF2B5EF4-FFF2-40B4-BE49-F238E27FC236}">
                <a16:creationId xmlns:a16="http://schemas.microsoft.com/office/drawing/2014/main" id="{581FC0A7-42F8-4349-8CA5-D573D5B636CE}"/>
              </a:ext>
            </a:extLst>
          </p:cNvPr>
          <p:cNvSpPr>
            <a:spLocks noGrp="1"/>
          </p:cNvSpPr>
          <p:nvPr>
            <p:ph idx="14" hasCustomPrompt="1"/>
          </p:nvPr>
        </p:nvSpPr>
        <p:spPr>
          <a:xfrm>
            <a:off x="9624000" y="3429000"/>
            <a:ext cx="1920000" cy="2781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2" name="Content Placeholder 2">
            <a:extLst>
              <a:ext uri="{FF2B5EF4-FFF2-40B4-BE49-F238E27FC236}">
                <a16:creationId xmlns:a16="http://schemas.microsoft.com/office/drawing/2014/main" id="{62B952AC-1C62-4199-9CD6-8B1EDC5F8A37}"/>
              </a:ext>
            </a:extLst>
          </p:cNvPr>
          <p:cNvSpPr>
            <a:spLocks noGrp="1"/>
          </p:cNvSpPr>
          <p:nvPr>
            <p:ph idx="15" hasCustomPrompt="1"/>
          </p:nvPr>
        </p:nvSpPr>
        <p:spPr>
          <a:xfrm>
            <a:off x="9624000" y="648000"/>
            <a:ext cx="1920000" cy="2133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3" name="Content Placeholder 2">
            <a:extLst>
              <a:ext uri="{FF2B5EF4-FFF2-40B4-BE49-F238E27FC236}">
                <a16:creationId xmlns:a16="http://schemas.microsoft.com/office/drawing/2014/main" id="{AF5B9A70-CF7A-4620-9CE3-3CD5021B259D}"/>
              </a:ext>
            </a:extLst>
          </p:cNvPr>
          <p:cNvSpPr>
            <a:spLocks noGrp="1"/>
          </p:cNvSpPr>
          <p:nvPr>
            <p:ph idx="16" hasCustomPrompt="1"/>
          </p:nvPr>
        </p:nvSpPr>
        <p:spPr>
          <a:xfrm>
            <a:off x="7380000" y="648000"/>
            <a:ext cx="1920000" cy="5562000"/>
          </a:xfrm>
        </p:spPr>
        <p:txBody>
          <a:bodyPr/>
          <a:lstStyle>
            <a:lvl1pPr>
              <a:defRPr sz="1400"/>
            </a:lvl1pPr>
            <a:lvl2pPr>
              <a:defRPr sz="1400"/>
            </a:lvl2pPr>
            <a:lvl3pPr>
              <a:defRPr sz="1400"/>
            </a:lvl3pPr>
            <a:lvl4pPr>
              <a:defRPr sz="1400"/>
            </a:lvl4pPr>
            <a:lvl5pPr>
              <a:defRPr sz="1400"/>
            </a:lvl5pPr>
            <a:lvl6pPr>
              <a:defRPr/>
            </a:lvl6pPr>
            <a:lvl7pPr>
              <a:defRPr/>
            </a:lvl7pPr>
            <a:lvl8pPr>
              <a:defRPr sz="600"/>
            </a:lvl8pPr>
            <a:lvl9pPr>
              <a:defRPr sz="3200"/>
            </a:lvl9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4406600-9469-47CD-BD70-E993D4336855}"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0814115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13CFCCD3-0AE2-4C38-9A7F-E484B1E8CF9D}"/>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2892000" y="648000"/>
            <a:ext cx="8067600"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3429000"/>
            <a:ext cx="1920000" cy="2781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33559BCA-E807-4196-9BC5-D41AB65962CA}" type="datetime3">
              <a:rPr lang="en-US" smtClean="0"/>
              <a:t>6 November 2020</a:t>
            </a:fld>
            <a:endParaRPr lang="en-GB"/>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4738480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9D42066-5D13-4CA9-8F2A-410D70A7E3AF}"/>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4013792" y="648000"/>
            <a:ext cx="7531408"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648000" y="2779200"/>
            <a:ext cx="3041792" cy="34308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EDB3C30A-0ED0-4F24-9C29-8C1B3B4C5FB3}" type="datetime3">
              <a:rPr lang="en-US" smtClean="0"/>
              <a:t>6 November 2020</a:t>
            </a:fld>
            <a:endParaRPr lang="en-GB"/>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4882358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 Editorial ">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39581EB9-E0FA-446E-8021-1547926BE143}"/>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7999" y="648000"/>
            <a:ext cx="8652001" cy="5562000"/>
          </a:xfrm>
        </p:spPr>
        <p:txBody>
          <a:bodyPr anchor="ctr"/>
          <a:lstStyle>
            <a:lvl1pPr>
              <a:lnSpc>
                <a:spcPct val="120000"/>
              </a:lnSpc>
              <a:defRPr sz="96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9624000" y="3429000"/>
            <a:ext cx="1920000" cy="2781000"/>
          </a:xfrm>
        </p:spPr>
        <p:txBody>
          <a:bodyPr anchor="t"/>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7986F82F-9F8F-4FAA-AF02-9B0E6B170A5C}" type="datetime3">
              <a:rPr lang="en-US" smtClean="0"/>
              <a:t>6 November 2020</a:t>
            </a:fld>
            <a:endParaRPr lang="en-GB"/>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2196407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Editorial">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8F7754C-3E86-406C-B149-CDBE81C128E2}"/>
              </a:ext>
            </a:extLst>
          </p:cNvPr>
          <p:cNvSpPr>
            <a:spLocks noGrp="1"/>
          </p:cNvSpPr>
          <p:nvPr>
            <p:ph type="pic" sz="quarter" idx="13" hasCustomPrompt="1"/>
          </p:nvPr>
        </p:nvSpPr>
        <p:spPr>
          <a:xfrm>
            <a:off x="0" y="0"/>
            <a:ext cx="12193200" cy="6861600"/>
          </a:xfrm>
          <a:custGeom>
            <a:avLst/>
            <a:gdLst>
              <a:gd name="connsiteX0" fmla="*/ 11666200 w 12193200"/>
              <a:gd name="connsiteY0" fmla="*/ 756760 h 6861600"/>
              <a:gd name="connsiteX1" fmla="*/ 11678975 w 12193200"/>
              <a:gd name="connsiteY1" fmla="*/ 761119 h 6861600"/>
              <a:gd name="connsiteX2" fmla="*/ 11678975 w 12193200"/>
              <a:gd name="connsiteY2" fmla="*/ 808195 h 6861600"/>
              <a:gd name="connsiteX3" fmla="*/ 11678845 w 12193200"/>
              <a:gd name="connsiteY3" fmla="*/ 808195 h 6861600"/>
              <a:gd name="connsiteX4" fmla="*/ 11667095 w 12193200"/>
              <a:gd name="connsiteY4" fmla="*/ 813579 h 6861600"/>
              <a:gd name="connsiteX5" fmla="*/ 11644998 w 12193200"/>
              <a:gd name="connsiteY5" fmla="*/ 784080 h 6861600"/>
              <a:gd name="connsiteX6" fmla="*/ 11666200 w 12193200"/>
              <a:gd name="connsiteY6" fmla="*/ 756760 h 6861600"/>
              <a:gd name="connsiteX7" fmla="*/ 11553608 w 12193200"/>
              <a:gd name="connsiteY7" fmla="*/ 755951 h 6861600"/>
              <a:gd name="connsiteX8" fmla="*/ 11565369 w 12193200"/>
              <a:gd name="connsiteY8" fmla="*/ 760439 h 6861600"/>
              <a:gd name="connsiteX9" fmla="*/ 11571638 w 12193200"/>
              <a:gd name="connsiteY9" fmla="*/ 784954 h 6861600"/>
              <a:gd name="connsiteX10" fmla="*/ 11565369 w 12193200"/>
              <a:gd name="connsiteY10" fmla="*/ 809339 h 6861600"/>
              <a:gd name="connsiteX11" fmla="*/ 11553608 w 12193200"/>
              <a:gd name="connsiteY11" fmla="*/ 813698 h 6861600"/>
              <a:gd name="connsiteX12" fmla="*/ 11542106 w 12193200"/>
              <a:gd name="connsiteY12" fmla="*/ 809339 h 6861600"/>
              <a:gd name="connsiteX13" fmla="*/ 11535837 w 12193200"/>
              <a:gd name="connsiteY13" fmla="*/ 784954 h 6861600"/>
              <a:gd name="connsiteX14" fmla="*/ 11542106 w 12193200"/>
              <a:gd name="connsiteY14" fmla="*/ 760439 h 6861600"/>
              <a:gd name="connsiteX15" fmla="*/ 11553608 w 12193200"/>
              <a:gd name="connsiteY15" fmla="*/ 755951 h 6861600"/>
              <a:gd name="connsiteX16" fmla="*/ 11389948 w 12193200"/>
              <a:gd name="connsiteY16" fmla="*/ 755951 h 6861600"/>
              <a:gd name="connsiteX17" fmla="*/ 11401504 w 12193200"/>
              <a:gd name="connsiteY17" fmla="*/ 760439 h 6861600"/>
              <a:gd name="connsiteX18" fmla="*/ 11407795 w 12193200"/>
              <a:gd name="connsiteY18" fmla="*/ 784954 h 6861600"/>
              <a:gd name="connsiteX19" fmla="*/ 11401504 w 12193200"/>
              <a:gd name="connsiteY19" fmla="*/ 809339 h 6861600"/>
              <a:gd name="connsiteX20" fmla="*/ 11389948 w 12193200"/>
              <a:gd name="connsiteY20" fmla="*/ 813698 h 6861600"/>
              <a:gd name="connsiteX21" fmla="*/ 11378133 w 12193200"/>
              <a:gd name="connsiteY21" fmla="*/ 809339 h 6861600"/>
              <a:gd name="connsiteX22" fmla="*/ 11371843 w 12193200"/>
              <a:gd name="connsiteY22" fmla="*/ 784954 h 6861600"/>
              <a:gd name="connsiteX23" fmla="*/ 11378133 w 12193200"/>
              <a:gd name="connsiteY23" fmla="*/ 760439 h 6861600"/>
              <a:gd name="connsiteX24" fmla="*/ 11389948 w 12193200"/>
              <a:gd name="connsiteY24" fmla="*/ 755951 h 6861600"/>
              <a:gd name="connsiteX25" fmla="*/ 11267462 w 12193200"/>
              <a:gd name="connsiteY25" fmla="*/ 755951 h 6861600"/>
              <a:gd name="connsiteX26" fmla="*/ 11279148 w 12193200"/>
              <a:gd name="connsiteY26" fmla="*/ 760439 h 6861600"/>
              <a:gd name="connsiteX27" fmla="*/ 11285438 w 12193200"/>
              <a:gd name="connsiteY27" fmla="*/ 784954 h 6861600"/>
              <a:gd name="connsiteX28" fmla="*/ 11279148 w 12193200"/>
              <a:gd name="connsiteY28" fmla="*/ 809339 h 6861600"/>
              <a:gd name="connsiteX29" fmla="*/ 11267462 w 12193200"/>
              <a:gd name="connsiteY29" fmla="*/ 813698 h 6861600"/>
              <a:gd name="connsiteX30" fmla="*/ 11255907 w 12193200"/>
              <a:gd name="connsiteY30" fmla="*/ 809339 h 6861600"/>
              <a:gd name="connsiteX31" fmla="*/ 11249616 w 12193200"/>
              <a:gd name="connsiteY31" fmla="*/ 784954 h 6861600"/>
              <a:gd name="connsiteX32" fmla="*/ 11255907 w 12193200"/>
              <a:gd name="connsiteY32" fmla="*/ 760439 h 6861600"/>
              <a:gd name="connsiteX33" fmla="*/ 11267462 w 12193200"/>
              <a:gd name="connsiteY33" fmla="*/ 755951 h 6861600"/>
              <a:gd name="connsiteX34" fmla="*/ 11708668 w 12193200"/>
              <a:gd name="connsiteY34" fmla="*/ 750006 h 6861600"/>
              <a:gd name="connsiteX35" fmla="*/ 11706381 w 12193200"/>
              <a:gd name="connsiteY35" fmla="*/ 752433 h 6861600"/>
              <a:gd name="connsiteX36" fmla="*/ 11706381 w 12193200"/>
              <a:gd name="connsiteY36" fmla="*/ 817032 h 6861600"/>
              <a:gd name="connsiteX37" fmla="*/ 11708420 w 12193200"/>
              <a:gd name="connsiteY37" fmla="*/ 819459 h 6861600"/>
              <a:gd name="connsiteX38" fmla="*/ 11715671 w 12193200"/>
              <a:gd name="connsiteY38" fmla="*/ 819459 h 6861600"/>
              <a:gd name="connsiteX39" fmla="*/ 11718206 w 12193200"/>
              <a:gd name="connsiteY39" fmla="*/ 817032 h 6861600"/>
              <a:gd name="connsiteX40" fmla="*/ 11718206 w 12193200"/>
              <a:gd name="connsiteY40" fmla="*/ 752433 h 6861600"/>
              <a:gd name="connsiteX41" fmla="*/ 11715660 w 12193200"/>
              <a:gd name="connsiteY41" fmla="*/ 750006 h 6861600"/>
              <a:gd name="connsiteX42" fmla="*/ 11708668 w 12193200"/>
              <a:gd name="connsiteY42" fmla="*/ 750006 h 6861600"/>
              <a:gd name="connsiteX43" fmla="*/ 11826514 w 12193200"/>
              <a:gd name="connsiteY43" fmla="*/ 749671 h 6861600"/>
              <a:gd name="connsiteX44" fmla="*/ 11822404 w 12193200"/>
              <a:gd name="connsiteY44" fmla="*/ 751851 h 6861600"/>
              <a:gd name="connsiteX45" fmla="*/ 11798623 w 12193200"/>
              <a:gd name="connsiteY45" fmla="*/ 781695 h 6861600"/>
              <a:gd name="connsiteX46" fmla="*/ 11798105 w 12193200"/>
              <a:gd name="connsiteY46" fmla="*/ 782461 h 6861600"/>
              <a:gd name="connsiteX47" fmla="*/ 11798234 w 12193200"/>
              <a:gd name="connsiteY47" fmla="*/ 783227 h 6861600"/>
              <a:gd name="connsiteX48" fmla="*/ 11822145 w 12193200"/>
              <a:gd name="connsiteY48" fmla="*/ 817420 h 6861600"/>
              <a:gd name="connsiteX49" fmla="*/ 11826126 w 12193200"/>
              <a:gd name="connsiteY49" fmla="*/ 819470 h 6861600"/>
              <a:gd name="connsiteX50" fmla="*/ 11835254 w 12193200"/>
              <a:gd name="connsiteY50" fmla="*/ 819470 h 6861600"/>
              <a:gd name="connsiteX51" fmla="*/ 11837175 w 12193200"/>
              <a:gd name="connsiteY51" fmla="*/ 817798 h 6861600"/>
              <a:gd name="connsiteX52" fmla="*/ 11836279 w 12193200"/>
              <a:gd name="connsiteY52" fmla="*/ 816136 h 6861600"/>
              <a:gd name="connsiteX53" fmla="*/ 11810826 w 12193200"/>
              <a:gd name="connsiteY53" fmla="*/ 782450 h 6861600"/>
              <a:gd name="connsiteX54" fmla="*/ 11810567 w 12193200"/>
              <a:gd name="connsiteY54" fmla="*/ 782192 h 6861600"/>
              <a:gd name="connsiteX55" fmla="*/ 11834607 w 12193200"/>
              <a:gd name="connsiteY55" fmla="*/ 753890 h 6861600"/>
              <a:gd name="connsiteX56" fmla="*/ 11835254 w 12193200"/>
              <a:gd name="connsiteY56" fmla="*/ 751203 h 6861600"/>
              <a:gd name="connsiteX57" fmla="*/ 11832816 w 12193200"/>
              <a:gd name="connsiteY57" fmla="*/ 749671 h 6861600"/>
              <a:gd name="connsiteX58" fmla="*/ 11826514 w 12193200"/>
              <a:gd name="connsiteY58" fmla="*/ 749671 h 6861600"/>
              <a:gd name="connsiteX59" fmla="*/ 11301634 w 12193200"/>
              <a:gd name="connsiteY59" fmla="*/ 749671 h 6861600"/>
              <a:gd name="connsiteX60" fmla="*/ 11299832 w 12193200"/>
              <a:gd name="connsiteY60" fmla="*/ 751462 h 6861600"/>
              <a:gd name="connsiteX61" fmla="*/ 11300350 w 12193200"/>
              <a:gd name="connsiteY61" fmla="*/ 753383 h 6861600"/>
              <a:gd name="connsiteX62" fmla="*/ 11324605 w 12193200"/>
              <a:gd name="connsiteY62" fmla="*/ 817399 h 6861600"/>
              <a:gd name="connsiteX63" fmla="*/ 11326785 w 12193200"/>
              <a:gd name="connsiteY63" fmla="*/ 819449 h 6861600"/>
              <a:gd name="connsiteX64" fmla="*/ 11332050 w 12193200"/>
              <a:gd name="connsiteY64" fmla="*/ 819449 h 6861600"/>
              <a:gd name="connsiteX65" fmla="*/ 11334489 w 12193200"/>
              <a:gd name="connsiteY65" fmla="*/ 817399 h 6861600"/>
              <a:gd name="connsiteX66" fmla="*/ 11358108 w 12193200"/>
              <a:gd name="connsiteY66" fmla="*/ 753135 h 6861600"/>
              <a:gd name="connsiteX67" fmla="*/ 11358366 w 12193200"/>
              <a:gd name="connsiteY67" fmla="*/ 751085 h 6861600"/>
              <a:gd name="connsiteX68" fmla="*/ 11356694 w 12193200"/>
              <a:gd name="connsiteY68" fmla="*/ 749671 h 6861600"/>
              <a:gd name="connsiteX69" fmla="*/ 11350015 w 12193200"/>
              <a:gd name="connsiteY69" fmla="*/ 749671 h 6861600"/>
              <a:gd name="connsiteX70" fmla="*/ 11348343 w 12193200"/>
              <a:gd name="connsiteY70" fmla="*/ 751592 h 6861600"/>
              <a:gd name="connsiteX71" fmla="*/ 11330885 w 12193200"/>
              <a:gd name="connsiteY71" fmla="*/ 802908 h 6861600"/>
              <a:gd name="connsiteX72" fmla="*/ 11312920 w 12193200"/>
              <a:gd name="connsiteY72" fmla="*/ 751851 h 6861600"/>
              <a:gd name="connsiteX73" fmla="*/ 11309845 w 12193200"/>
              <a:gd name="connsiteY73" fmla="*/ 749671 h 6861600"/>
              <a:gd name="connsiteX74" fmla="*/ 11301634 w 12193200"/>
              <a:gd name="connsiteY74" fmla="*/ 749671 h 6861600"/>
              <a:gd name="connsiteX75" fmla="*/ 11754223 w 12193200"/>
              <a:gd name="connsiteY75" fmla="*/ 748506 h 6861600"/>
              <a:gd name="connsiteX76" fmla="*/ 11731241 w 12193200"/>
              <a:gd name="connsiteY76" fmla="*/ 767625 h 6861600"/>
              <a:gd name="connsiteX77" fmla="*/ 11749346 w 12193200"/>
              <a:gd name="connsiteY77" fmla="*/ 788417 h 6861600"/>
              <a:gd name="connsiteX78" fmla="*/ 11764236 w 12193200"/>
              <a:gd name="connsiteY78" fmla="*/ 801894 h 6861600"/>
              <a:gd name="connsiteX79" fmla="*/ 11750500 w 12193200"/>
              <a:gd name="connsiteY79" fmla="*/ 813698 h 6861600"/>
              <a:gd name="connsiteX80" fmla="*/ 11733679 w 12193200"/>
              <a:gd name="connsiteY80" fmla="*/ 806641 h 6861600"/>
              <a:gd name="connsiteX81" fmla="*/ 11728673 w 12193200"/>
              <a:gd name="connsiteY81" fmla="*/ 811130 h 6861600"/>
              <a:gd name="connsiteX82" fmla="*/ 11750241 w 12193200"/>
              <a:gd name="connsiteY82" fmla="*/ 821402 h 6861600"/>
              <a:gd name="connsiteX83" fmla="*/ 11774896 w 12193200"/>
              <a:gd name="connsiteY83" fmla="*/ 800610 h 6861600"/>
              <a:gd name="connsiteX84" fmla="*/ 11741901 w 12193200"/>
              <a:gd name="connsiteY84" fmla="*/ 766471 h 6861600"/>
              <a:gd name="connsiteX85" fmla="*/ 11753457 w 12193200"/>
              <a:gd name="connsiteY85" fmla="*/ 756199 h 6861600"/>
              <a:gd name="connsiteX86" fmla="*/ 11767322 w 12193200"/>
              <a:gd name="connsiteY86" fmla="*/ 761335 h 6861600"/>
              <a:gd name="connsiteX87" fmla="*/ 11772328 w 12193200"/>
              <a:gd name="connsiteY87" fmla="*/ 756587 h 6861600"/>
              <a:gd name="connsiteX88" fmla="*/ 11754223 w 12193200"/>
              <a:gd name="connsiteY88" fmla="*/ 748506 h 6861600"/>
              <a:gd name="connsiteX89" fmla="*/ 11614257 w 12193200"/>
              <a:gd name="connsiteY89" fmla="*/ 748117 h 6861600"/>
              <a:gd name="connsiteX90" fmla="*/ 11599001 w 12193200"/>
              <a:gd name="connsiteY90" fmla="*/ 750167 h 6861600"/>
              <a:gd name="connsiteX91" fmla="*/ 11592721 w 12193200"/>
              <a:gd name="connsiteY91" fmla="*/ 755660 h 6861600"/>
              <a:gd name="connsiteX92" fmla="*/ 11592721 w 12193200"/>
              <a:gd name="connsiteY92" fmla="*/ 816902 h 6861600"/>
              <a:gd name="connsiteX93" fmla="*/ 11595418 w 12193200"/>
              <a:gd name="connsiteY93" fmla="*/ 819071 h 6861600"/>
              <a:gd name="connsiteX94" fmla="*/ 11602216 w 12193200"/>
              <a:gd name="connsiteY94" fmla="*/ 819071 h 6861600"/>
              <a:gd name="connsiteX95" fmla="*/ 11604654 w 12193200"/>
              <a:gd name="connsiteY95" fmla="*/ 816902 h 6861600"/>
              <a:gd name="connsiteX96" fmla="*/ 11604654 w 12193200"/>
              <a:gd name="connsiteY96" fmla="*/ 760774 h 6861600"/>
              <a:gd name="connsiteX97" fmla="*/ 11611452 w 12193200"/>
              <a:gd name="connsiteY97" fmla="*/ 754764 h 6861600"/>
              <a:gd name="connsiteX98" fmla="*/ 11625943 w 12193200"/>
              <a:gd name="connsiteY98" fmla="*/ 761033 h 6861600"/>
              <a:gd name="connsiteX99" fmla="*/ 11631823 w 12193200"/>
              <a:gd name="connsiteY99" fmla="*/ 755152 h 6861600"/>
              <a:gd name="connsiteX100" fmla="*/ 11614257 w 12193200"/>
              <a:gd name="connsiteY100" fmla="*/ 748117 h 6861600"/>
              <a:gd name="connsiteX101" fmla="*/ 11553619 w 12193200"/>
              <a:gd name="connsiteY101" fmla="*/ 748117 h 6861600"/>
              <a:gd name="connsiteX102" fmla="*/ 11536236 w 12193200"/>
              <a:gd name="connsiteY102" fmla="*/ 753124 h 6861600"/>
              <a:gd name="connsiteX103" fmla="*/ 11523450 w 12193200"/>
              <a:gd name="connsiteY103" fmla="*/ 784954 h 6861600"/>
              <a:gd name="connsiteX104" fmla="*/ 11536236 w 12193200"/>
              <a:gd name="connsiteY104" fmla="*/ 816654 h 6861600"/>
              <a:gd name="connsiteX105" fmla="*/ 11553619 w 12193200"/>
              <a:gd name="connsiteY105" fmla="*/ 821531 h 6861600"/>
              <a:gd name="connsiteX106" fmla="*/ 11571001 w 12193200"/>
              <a:gd name="connsiteY106" fmla="*/ 816654 h 6861600"/>
              <a:gd name="connsiteX107" fmla="*/ 11583917 w 12193200"/>
              <a:gd name="connsiteY107" fmla="*/ 784954 h 6861600"/>
              <a:gd name="connsiteX108" fmla="*/ 11571001 w 12193200"/>
              <a:gd name="connsiteY108" fmla="*/ 753124 h 6861600"/>
              <a:gd name="connsiteX109" fmla="*/ 11553619 w 12193200"/>
              <a:gd name="connsiteY109" fmla="*/ 748117 h 6861600"/>
              <a:gd name="connsiteX110" fmla="*/ 11486031 w 12193200"/>
              <a:gd name="connsiteY110" fmla="*/ 748117 h 6861600"/>
              <a:gd name="connsiteX111" fmla="*/ 11465229 w 12193200"/>
              <a:gd name="connsiteY111" fmla="*/ 751452 h 6861600"/>
              <a:gd name="connsiteX112" fmla="*/ 11459230 w 12193200"/>
              <a:gd name="connsiteY112" fmla="*/ 756965 h 6861600"/>
              <a:gd name="connsiteX113" fmla="*/ 11459230 w 12193200"/>
              <a:gd name="connsiteY113" fmla="*/ 817010 h 6861600"/>
              <a:gd name="connsiteX114" fmla="*/ 11461787 w 12193200"/>
              <a:gd name="connsiteY114" fmla="*/ 819449 h 6861600"/>
              <a:gd name="connsiteX115" fmla="*/ 11468422 w 12193200"/>
              <a:gd name="connsiteY115" fmla="*/ 819449 h 6861600"/>
              <a:gd name="connsiteX116" fmla="*/ 11471228 w 12193200"/>
              <a:gd name="connsiteY116" fmla="*/ 816751 h 6861600"/>
              <a:gd name="connsiteX117" fmla="*/ 11471228 w 12193200"/>
              <a:gd name="connsiteY117" fmla="*/ 761454 h 6861600"/>
              <a:gd name="connsiteX118" fmla="*/ 11485654 w 12193200"/>
              <a:gd name="connsiteY118" fmla="*/ 755422 h 6861600"/>
              <a:gd name="connsiteX119" fmla="*/ 11501223 w 12193200"/>
              <a:gd name="connsiteY119" fmla="*/ 771844 h 6861600"/>
              <a:gd name="connsiteX120" fmla="*/ 11501223 w 12193200"/>
              <a:gd name="connsiteY120" fmla="*/ 816751 h 6861600"/>
              <a:gd name="connsiteX121" fmla="*/ 11504288 w 12193200"/>
              <a:gd name="connsiteY121" fmla="*/ 819449 h 6861600"/>
              <a:gd name="connsiteX122" fmla="*/ 11511690 w 12193200"/>
              <a:gd name="connsiteY122" fmla="*/ 819449 h 6861600"/>
              <a:gd name="connsiteX123" fmla="*/ 11512963 w 12193200"/>
              <a:gd name="connsiteY123" fmla="*/ 816762 h 6861600"/>
              <a:gd name="connsiteX124" fmla="*/ 11512963 w 12193200"/>
              <a:gd name="connsiteY124" fmla="*/ 770312 h 6861600"/>
              <a:gd name="connsiteX125" fmla="*/ 11486031 w 12193200"/>
              <a:gd name="connsiteY125" fmla="*/ 748117 h 6861600"/>
              <a:gd name="connsiteX126" fmla="*/ 11389700 w 12193200"/>
              <a:gd name="connsiteY126" fmla="*/ 748117 h 6861600"/>
              <a:gd name="connsiteX127" fmla="*/ 11372242 w 12193200"/>
              <a:gd name="connsiteY127" fmla="*/ 753124 h 6861600"/>
              <a:gd name="connsiteX128" fmla="*/ 11359402 w 12193200"/>
              <a:gd name="connsiteY128" fmla="*/ 784954 h 6861600"/>
              <a:gd name="connsiteX129" fmla="*/ 11372242 w 12193200"/>
              <a:gd name="connsiteY129" fmla="*/ 816654 h 6861600"/>
              <a:gd name="connsiteX130" fmla="*/ 11389700 w 12193200"/>
              <a:gd name="connsiteY130" fmla="*/ 821531 h 6861600"/>
              <a:gd name="connsiteX131" fmla="*/ 11407158 w 12193200"/>
              <a:gd name="connsiteY131" fmla="*/ 816654 h 6861600"/>
              <a:gd name="connsiteX132" fmla="*/ 11420127 w 12193200"/>
              <a:gd name="connsiteY132" fmla="*/ 784954 h 6861600"/>
              <a:gd name="connsiteX133" fmla="*/ 11407158 w 12193200"/>
              <a:gd name="connsiteY133" fmla="*/ 753124 h 6861600"/>
              <a:gd name="connsiteX134" fmla="*/ 11389700 w 12193200"/>
              <a:gd name="connsiteY134" fmla="*/ 748117 h 6861600"/>
              <a:gd name="connsiteX135" fmla="*/ 11267473 w 12193200"/>
              <a:gd name="connsiteY135" fmla="*/ 748117 h 6861600"/>
              <a:gd name="connsiteX136" fmla="*/ 11250015 w 12193200"/>
              <a:gd name="connsiteY136" fmla="*/ 753124 h 6861600"/>
              <a:gd name="connsiteX137" fmla="*/ 11237046 w 12193200"/>
              <a:gd name="connsiteY137" fmla="*/ 784954 h 6861600"/>
              <a:gd name="connsiteX138" fmla="*/ 11250015 w 12193200"/>
              <a:gd name="connsiteY138" fmla="*/ 816654 h 6861600"/>
              <a:gd name="connsiteX139" fmla="*/ 11267473 w 12193200"/>
              <a:gd name="connsiteY139" fmla="*/ 821531 h 6861600"/>
              <a:gd name="connsiteX140" fmla="*/ 11284931 w 12193200"/>
              <a:gd name="connsiteY140" fmla="*/ 816654 h 6861600"/>
              <a:gd name="connsiteX141" fmla="*/ 11297771 w 12193200"/>
              <a:gd name="connsiteY141" fmla="*/ 784954 h 6861600"/>
              <a:gd name="connsiteX142" fmla="*/ 11284931 w 12193200"/>
              <a:gd name="connsiteY142" fmla="*/ 753124 h 6861600"/>
              <a:gd name="connsiteX143" fmla="*/ 11267473 w 12193200"/>
              <a:gd name="connsiteY143" fmla="*/ 748117 h 6861600"/>
              <a:gd name="connsiteX144" fmla="*/ 11199756 w 12193200"/>
              <a:gd name="connsiteY144" fmla="*/ 748117 h 6861600"/>
              <a:gd name="connsiteX145" fmla="*/ 11178857 w 12193200"/>
              <a:gd name="connsiteY145" fmla="*/ 751452 h 6861600"/>
              <a:gd name="connsiteX146" fmla="*/ 11172825 w 12193200"/>
              <a:gd name="connsiteY146" fmla="*/ 756965 h 6861600"/>
              <a:gd name="connsiteX147" fmla="*/ 11172825 w 12193200"/>
              <a:gd name="connsiteY147" fmla="*/ 817010 h 6861600"/>
              <a:gd name="connsiteX148" fmla="*/ 11175263 w 12193200"/>
              <a:gd name="connsiteY148" fmla="*/ 819449 h 6861600"/>
              <a:gd name="connsiteX149" fmla="*/ 11181932 w 12193200"/>
              <a:gd name="connsiteY149" fmla="*/ 819449 h 6861600"/>
              <a:gd name="connsiteX150" fmla="*/ 11184748 w 12193200"/>
              <a:gd name="connsiteY150" fmla="*/ 816751 h 6861600"/>
              <a:gd name="connsiteX151" fmla="*/ 11184748 w 12193200"/>
              <a:gd name="connsiteY151" fmla="*/ 761454 h 6861600"/>
              <a:gd name="connsiteX152" fmla="*/ 11199238 w 12193200"/>
              <a:gd name="connsiteY152" fmla="*/ 755422 h 6861600"/>
              <a:gd name="connsiteX153" fmla="*/ 11214884 w 12193200"/>
              <a:gd name="connsiteY153" fmla="*/ 771844 h 6861600"/>
              <a:gd name="connsiteX154" fmla="*/ 11214884 w 12193200"/>
              <a:gd name="connsiteY154" fmla="*/ 816751 h 6861600"/>
              <a:gd name="connsiteX155" fmla="*/ 11217959 w 12193200"/>
              <a:gd name="connsiteY155" fmla="*/ 819449 h 6861600"/>
              <a:gd name="connsiteX156" fmla="*/ 11225393 w 12193200"/>
              <a:gd name="connsiteY156" fmla="*/ 819449 h 6861600"/>
              <a:gd name="connsiteX157" fmla="*/ 11226817 w 12193200"/>
              <a:gd name="connsiteY157" fmla="*/ 816762 h 6861600"/>
              <a:gd name="connsiteX158" fmla="*/ 11226817 w 12193200"/>
              <a:gd name="connsiteY158" fmla="*/ 770312 h 6861600"/>
              <a:gd name="connsiteX159" fmla="*/ 11199756 w 12193200"/>
              <a:gd name="connsiteY159" fmla="*/ 748117 h 6861600"/>
              <a:gd name="connsiteX160" fmla="*/ 11681273 w 12193200"/>
              <a:gd name="connsiteY160" fmla="*/ 724801 h 6861600"/>
              <a:gd name="connsiteX161" fmla="*/ 11678845 w 12193200"/>
              <a:gd name="connsiteY161" fmla="*/ 727876 h 6861600"/>
              <a:gd name="connsiteX162" fmla="*/ 11678845 w 12193200"/>
              <a:gd name="connsiteY162" fmla="*/ 752250 h 6861600"/>
              <a:gd name="connsiteX163" fmla="*/ 11664279 w 12193200"/>
              <a:gd name="connsiteY163" fmla="*/ 748527 h 6861600"/>
              <a:gd name="connsiteX164" fmla="*/ 11632848 w 12193200"/>
              <a:gd name="connsiteY164" fmla="*/ 784954 h 6861600"/>
              <a:gd name="connsiteX165" fmla="*/ 11666707 w 12193200"/>
              <a:gd name="connsiteY165" fmla="*/ 821510 h 6861600"/>
              <a:gd name="connsiteX166" fmla="*/ 11690477 w 12193200"/>
              <a:gd name="connsiteY166" fmla="*/ 812036 h 6861600"/>
              <a:gd name="connsiteX167" fmla="*/ 11690477 w 12193200"/>
              <a:gd name="connsiteY167" fmla="*/ 727498 h 6861600"/>
              <a:gd name="connsiteX168" fmla="*/ 11687919 w 12193200"/>
              <a:gd name="connsiteY168" fmla="*/ 724801 h 6861600"/>
              <a:gd name="connsiteX169" fmla="*/ 11681273 w 12193200"/>
              <a:gd name="connsiteY169" fmla="*/ 724801 h 6861600"/>
              <a:gd name="connsiteX170" fmla="*/ 11786797 w 12193200"/>
              <a:gd name="connsiteY170" fmla="*/ 724552 h 6861600"/>
              <a:gd name="connsiteX171" fmla="*/ 11784607 w 12193200"/>
              <a:gd name="connsiteY171" fmla="*/ 726732 h 6861600"/>
              <a:gd name="connsiteX172" fmla="*/ 11784607 w 12193200"/>
              <a:gd name="connsiteY172" fmla="*/ 817280 h 6861600"/>
              <a:gd name="connsiteX173" fmla="*/ 11786797 w 12193200"/>
              <a:gd name="connsiteY173" fmla="*/ 819330 h 6861600"/>
              <a:gd name="connsiteX174" fmla="*/ 11793864 w 12193200"/>
              <a:gd name="connsiteY174" fmla="*/ 819330 h 6861600"/>
              <a:gd name="connsiteX175" fmla="*/ 11796303 w 12193200"/>
              <a:gd name="connsiteY175" fmla="*/ 817409 h 6861600"/>
              <a:gd name="connsiteX176" fmla="*/ 11796303 w 12193200"/>
              <a:gd name="connsiteY176" fmla="*/ 726473 h 6861600"/>
              <a:gd name="connsiteX177" fmla="*/ 11793864 w 12193200"/>
              <a:gd name="connsiteY177" fmla="*/ 724552 h 6861600"/>
              <a:gd name="connsiteX178" fmla="*/ 11786797 w 12193200"/>
              <a:gd name="connsiteY178" fmla="*/ 724552 h 6861600"/>
              <a:gd name="connsiteX179" fmla="*/ 11712617 w 12193200"/>
              <a:gd name="connsiteY179" fmla="*/ 723776 h 6861600"/>
              <a:gd name="connsiteX180" fmla="*/ 11705237 w 12193200"/>
              <a:gd name="connsiteY180" fmla="*/ 730940 h 6861600"/>
              <a:gd name="connsiteX181" fmla="*/ 11712358 w 12193200"/>
              <a:gd name="connsiteY181" fmla="*/ 737975 h 6861600"/>
              <a:gd name="connsiteX182" fmla="*/ 11719609 w 12193200"/>
              <a:gd name="connsiteY182" fmla="*/ 730433 h 6861600"/>
              <a:gd name="connsiteX183" fmla="*/ 11712617 w 12193200"/>
              <a:gd name="connsiteY183" fmla="*/ 723776 h 6861600"/>
              <a:gd name="connsiteX184" fmla="*/ 11855021 w 12193200"/>
              <a:gd name="connsiteY184" fmla="*/ 713601 h 6861600"/>
              <a:gd name="connsiteX185" fmla="*/ 11855284 w 12193200"/>
              <a:gd name="connsiteY185" fmla="*/ 713794 h 6861600"/>
              <a:gd name="connsiteX186" fmla="*/ 11855021 w 12193200"/>
              <a:gd name="connsiteY186" fmla="*/ 713860 h 6861600"/>
              <a:gd name="connsiteX187" fmla="*/ 11855021 w 12193200"/>
              <a:gd name="connsiteY187" fmla="*/ 713601 h 6861600"/>
              <a:gd name="connsiteX188" fmla="*/ 11847209 w 12193200"/>
              <a:gd name="connsiteY188" fmla="*/ 704235 h 6861600"/>
              <a:gd name="connsiteX189" fmla="*/ 11851428 w 12193200"/>
              <a:gd name="connsiteY189" fmla="*/ 704235 h 6861600"/>
              <a:gd name="connsiteX190" fmla="*/ 11857190 w 12193200"/>
              <a:gd name="connsiteY190" fmla="*/ 707699 h 6861600"/>
              <a:gd name="connsiteX191" fmla="*/ 11851817 w 12193200"/>
              <a:gd name="connsiteY191" fmla="*/ 711162 h 6861600"/>
              <a:gd name="connsiteX192" fmla="*/ 11847209 w 12193200"/>
              <a:gd name="connsiteY192" fmla="*/ 711162 h 6861600"/>
              <a:gd name="connsiteX193" fmla="*/ 11843627 w 12193200"/>
              <a:gd name="connsiteY193" fmla="*/ 701020 h 6861600"/>
              <a:gd name="connsiteX194" fmla="*/ 11843627 w 12193200"/>
              <a:gd name="connsiteY194" fmla="*/ 724250 h 6861600"/>
              <a:gd name="connsiteX195" fmla="*/ 11847468 w 12193200"/>
              <a:gd name="connsiteY195" fmla="*/ 724250 h 6861600"/>
              <a:gd name="connsiteX196" fmla="*/ 11847468 w 12193200"/>
              <a:gd name="connsiteY196" fmla="*/ 714367 h 6861600"/>
              <a:gd name="connsiteX197" fmla="*/ 11849648 w 12193200"/>
              <a:gd name="connsiteY197" fmla="*/ 714367 h 6861600"/>
              <a:gd name="connsiteX198" fmla="*/ 11856553 w 12193200"/>
              <a:gd name="connsiteY198" fmla="*/ 720528 h 6861600"/>
              <a:gd name="connsiteX199" fmla="*/ 11858603 w 12193200"/>
              <a:gd name="connsiteY199" fmla="*/ 724121 h 6861600"/>
              <a:gd name="connsiteX200" fmla="*/ 11863081 w 12193200"/>
              <a:gd name="connsiteY200" fmla="*/ 724121 h 6861600"/>
              <a:gd name="connsiteX201" fmla="*/ 11860265 w 12193200"/>
              <a:gd name="connsiteY201" fmla="*/ 719503 h 6861600"/>
              <a:gd name="connsiteX202" fmla="*/ 11857064 w 12193200"/>
              <a:gd name="connsiteY202" fmla="*/ 715107 h 6861600"/>
              <a:gd name="connsiteX203" fmla="*/ 11855284 w 12193200"/>
              <a:gd name="connsiteY203" fmla="*/ 713794 h 6861600"/>
              <a:gd name="connsiteX204" fmla="*/ 11858039 w 12193200"/>
              <a:gd name="connsiteY204" fmla="*/ 713106 h 6861600"/>
              <a:gd name="connsiteX205" fmla="*/ 11861549 w 12193200"/>
              <a:gd name="connsiteY205" fmla="*/ 707310 h 6861600"/>
              <a:gd name="connsiteX206" fmla="*/ 11859370 w 12193200"/>
              <a:gd name="connsiteY206" fmla="*/ 702822 h 6861600"/>
              <a:gd name="connsiteX207" fmla="*/ 11851817 w 12193200"/>
              <a:gd name="connsiteY207" fmla="*/ 701020 h 6861600"/>
              <a:gd name="connsiteX208" fmla="*/ 11843627 w 12193200"/>
              <a:gd name="connsiteY208" fmla="*/ 701020 h 6861600"/>
              <a:gd name="connsiteX209" fmla="*/ 11852712 w 12193200"/>
              <a:gd name="connsiteY209" fmla="*/ 694611 h 6861600"/>
              <a:gd name="connsiteX210" fmla="*/ 11870623 w 12193200"/>
              <a:gd name="connsiteY210" fmla="*/ 712446 h 6861600"/>
              <a:gd name="connsiteX211" fmla="*/ 11852712 w 12193200"/>
              <a:gd name="connsiteY211" fmla="*/ 730541 h 6861600"/>
              <a:gd name="connsiteX212" fmla="*/ 11834931 w 12193200"/>
              <a:gd name="connsiteY212" fmla="*/ 712446 h 6861600"/>
              <a:gd name="connsiteX213" fmla="*/ 11852712 w 12193200"/>
              <a:gd name="connsiteY213" fmla="*/ 694611 h 6861600"/>
              <a:gd name="connsiteX214" fmla="*/ 11852712 w 12193200"/>
              <a:gd name="connsiteY214" fmla="*/ 690888 h 6861600"/>
              <a:gd name="connsiteX215" fmla="*/ 11831348 w 12193200"/>
              <a:gd name="connsiteY215" fmla="*/ 712446 h 6861600"/>
              <a:gd name="connsiteX216" fmla="*/ 11852712 w 12193200"/>
              <a:gd name="connsiteY216" fmla="*/ 734004 h 6861600"/>
              <a:gd name="connsiteX217" fmla="*/ 11874076 w 12193200"/>
              <a:gd name="connsiteY217" fmla="*/ 712446 h 6861600"/>
              <a:gd name="connsiteX218" fmla="*/ 11852712 w 12193200"/>
              <a:gd name="connsiteY218" fmla="*/ 690888 h 6861600"/>
              <a:gd name="connsiteX219" fmla="*/ 11639380 w 12193200"/>
              <a:gd name="connsiteY219" fmla="*/ 551044 h 6861600"/>
              <a:gd name="connsiteX220" fmla="*/ 11641189 w 12193200"/>
              <a:gd name="connsiteY220" fmla="*/ 551862 h 6861600"/>
              <a:gd name="connsiteX221" fmla="*/ 11644652 w 12193200"/>
              <a:gd name="connsiteY221" fmla="*/ 634274 h 6861600"/>
              <a:gd name="connsiteX222" fmla="*/ 11640682 w 12193200"/>
              <a:gd name="connsiteY222" fmla="*/ 633508 h 6861600"/>
              <a:gd name="connsiteX223" fmla="*/ 11634273 w 12193200"/>
              <a:gd name="connsiteY223" fmla="*/ 599671 h 6861600"/>
              <a:gd name="connsiteX224" fmla="*/ 11638243 w 12193200"/>
              <a:gd name="connsiteY224" fmla="*/ 552250 h 6861600"/>
              <a:gd name="connsiteX225" fmla="*/ 11639380 w 12193200"/>
              <a:gd name="connsiteY225" fmla="*/ 551044 h 6861600"/>
              <a:gd name="connsiteX226" fmla="*/ 11490639 w 12193200"/>
              <a:gd name="connsiteY226" fmla="*/ 502002 h 6861600"/>
              <a:gd name="connsiteX227" fmla="*/ 11550015 w 12193200"/>
              <a:gd name="connsiteY227" fmla="*/ 504052 h 6861600"/>
              <a:gd name="connsiteX228" fmla="*/ 11548343 w 12193200"/>
              <a:gd name="connsiteY228" fmla="*/ 536605 h 6861600"/>
              <a:gd name="connsiteX229" fmla="*/ 11499486 w 12193200"/>
              <a:gd name="connsiteY229" fmla="*/ 541094 h 6861600"/>
              <a:gd name="connsiteX230" fmla="*/ 11492948 w 12193200"/>
              <a:gd name="connsiteY230" fmla="*/ 533659 h 6861600"/>
              <a:gd name="connsiteX231" fmla="*/ 11490639 w 12193200"/>
              <a:gd name="connsiteY231" fmla="*/ 502002 h 6861600"/>
              <a:gd name="connsiteX232" fmla="*/ 11594253 w 12193200"/>
              <a:gd name="connsiteY232" fmla="*/ 498797 h 6861600"/>
              <a:gd name="connsiteX233" fmla="*/ 11598612 w 12193200"/>
              <a:gd name="connsiteY233" fmla="*/ 520075 h 6861600"/>
              <a:gd name="connsiteX234" fmla="*/ 11588351 w 12193200"/>
              <a:gd name="connsiteY234" fmla="*/ 527509 h 6861600"/>
              <a:gd name="connsiteX235" fmla="*/ 11580011 w 12193200"/>
              <a:gd name="connsiteY235" fmla="*/ 500718 h 6861600"/>
              <a:gd name="connsiteX236" fmla="*/ 11594253 w 12193200"/>
              <a:gd name="connsiteY236" fmla="*/ 498797 h 6861600"/>
              <a:gd name="connsiteX237" fmla="*/ 11441405 w 12193200"/>
              <a:gd name="connsiteY237" fmla="*/ 491374 h 6861600"/>
              <a:gd name="connsiteX238" fmla="*/ 11460384 w 12193200"/>
              <a:gd name="connsiteY238" fmla="*/ 496499 h 6861600"/>
              <a:gd name="connsiteX239" fmla="*/ 11442948 w 12193200"/>
              <a:gd name="connsiteY239" fmla="*/ 533670 h 6861600"/>
              <a:gd name="connsiteX240" fmla="*/ 11434607 w 12193200"/>
              <a:gd name="connsiteY240" fmla="*/ 527131 h 6861600"/>
              <a:gd name="connsiteX241" fmla="*/ 11441405 w 12193200"/>
              <a:gd name="connsiteY241" fmla="*/ 491374 h 6861600"/>
              <a:gd name="connsiteX242" fmla="*/ 11419441 w 12193200"/>
              <a:gd name="connsiteY242" fmla="*/ 484343 h 6861600"/>
              <a:gd name="connsiteX243" fmla="*/ 11431543 w 12193200"/>
              <a:gd name="connsiteY243" fmla="*/ 488299 h 6861600"/>
              <a:gd name="connsiteX244" fmla="*/ 11423202 w 12193200"/>
              <a:gd name="connsiteY244" fmla="*/ 532257 h 6861600"/>
              <a:gd name="connsiteX245" fmla="*/ 11444102 w 12193200"/>
              <a:gd name="connsiteY245" fmla="*/ 543154 h 6861600"/>
              <a:gd name="connsiteX246" fmla="*/ 11469620 w 12193200"/>
              <a:gd name="connsiteY246" fmla="*/ 498549 h 6861600"/>
              <a:gd name="connsiteX247" fmla="*/ 11481672 w 12193200"/>
              <a:gd name="connsiteY247" fmla="*/ 500729 h 6861600"/>
              <a:gd name="connsiteX248" fmla="*/ 11485395 w 12193200"/>
              <a:gd name="connsiteY248" fmla="*/ 542507 h 6861600"/>
              <a:gd name="connsiteX249" fmla="*/ 11498472 w 12193200"/>
              <a:gd name="connsiteY249" fmla="*/ 550707 h 6861600"/>
              <a:gd name="connsiteX250" fmla="*/ 11555917 w 12193200"/>
              <a:gd name="connsiteY250" fmla="*/ 543532 h 6861600"/>
              <a:gd name="connsiteX251" fmla="*/ 11559122 w 12193200"/>
              <a:gd name="connsiteY251" fmla="*/ 503286 h 6861600"/>
              <a:gd name="connsiteX252" fmla="*/ 11570149 w 12193200"/>
              <a:gd name="connsiteY252" fmla="*/ 502002 h 6861600"/>
              <a:gd name="connsiteX253" fmla="*/ 11579385 w 12193200"/>
              <a:gd name="connsiteY253" fmla="*/ 528405 h 6861600"/>
              <a:gd name="connsiteX254" fmla="*/ 11598752 w 12193200"/>
              <a:gd name="connsiteY254" fmla="*/ 531739 h 6861600"/>
              <a:gd name="connsiteX255" fmla="*/ 11602723 w 12193200"/>
              <a:gd name="connsiteY255" fmla="*/ 497772 h 6861600"/>
              <a:gd name="connsiteX256" fmla="*/ 11625673 w 12193200"/>
              <a:gd name="connsiteY256" fmla="*/ 533282 h 6861600"/>
              <a:gd name="connsiteX257" fmla="*/ 11612855 w 12193200"/>
              <a:gd name="connsiteY257" fmla="*/ 586216 h 6861600"/>
              <a:gd name="connsiteX258" fmla="*/ 11537326 w 12193200"/>
              <a:gd name="connsiteY258" fmla="*/ 569427 h 6861600"/>
              <a:gd name="connsiteX259" fmla="*/ 11459488 w 12193200"/>
              <a:gd name="connsiteY259" fmla="*/ 611465 h 6861600"/>
              <a:gd name="connsiteX260" fmla="*/ 11456154 w 12193200"/>
              <a:gd name="connsiteY260" fmla="*/ 612360 h 6861600"/>
              <a:gd name="connsiteX261" fmla="*/ 11418325 w 12193200"/>
              <a:gd name="connsiteY261" fmla="*/ 585191 h 6861600"/>
              <a:gd name="connsiteX262" fmla="*/ 11388707 w 12193200"/>
              <a:gd name="connsiteY262" fmla="*/ 549434 h 6861600"/>
              <a:gd name="connsiteX263" fmla="*/ 11414743 w 12193200"/>
              <a:gd name="connsiteY263" fmla="*/ 487403 h 6861600"/>
              <a:gd name="connsiteX264" fmla="*/ 11419441 w 12193200"/>
              <a:gd name="connsiteY264" fmla="*/ 484343 h 6861600"/>
              <a:gd name="connsiteX265" fmla="*/ 11358173 w 12193200"/>
              <a:gd name="connsiteY265" fmla="*/ 469801 h 6861600"/>
              <a:gd name="connsiteX266" fmla="*/ 11346260 w 12193200"/>
              <a:gd name="connsiteY266" fmla="*/ 478275 h 6861600"/>
              <a:gd name="connsiteX267" fmla="*/ 11361744 w 12193200"/>
              <a:gd name="connsiteY267" fmla="*/ 470744 h 6861600"/>
              <a:gd name="connsiteX268" fmla="*/ 11358173 w 12193200"/>
              <a:gd name="connsiteY268" fmla="*/ 469801 h 6861600"/>
              <a:gd name="connsiteX269" fmla="*/ 11354455 w 12193200"/>
              <a:gd name="connsiteY269" fmla="*/ 453696 h 6861600"/>
              <a:gd name="connsiteX270" fmla="*/ 11379471 w 12193200"/>
              <a:gd name="connsiteY270" fmla="*/ 464454 h 6861600"/>
              <a:gd name="connsiteX271" fmla="*/ 11401267 w 12193200"/>
              <a:gd name="connsiteY271" fmla="*/ 487522 h 6861600"/>
              <a:gd name="connsiteX272" fmla="*/ 11376515 w 12193200"/>
              <a:gd name="connsiteY272" fmla="*/ 541611 h 6861600"/>
              <a:gd name="connsiteX273" fmla="*/ 11357665 w 12193200"/>
              <a:gd name="connsiteY273" fmla="*/ 511745 h 6861600"/>
              <a:gd name="connsiteX274" fmla="*/ 11330734 w 12193200"/>
              <a:gd name="connsiteY274" fmla="*/ 504052 h 6861600"/>
              <a:gd name="connsiteX275" fmla="*/ 11328166 w 12193200"/>
              <a:gd name="connsiteY275" fmla="*/ 491881 h 6861600"/>
              <a:gd name="connsiteX276" fmla="*/ 11335600 w 12193200"/>
              <a:gd name="connsiteY276" fmla="*/ 481879 h 6861600"/>
              <a:gd name="connsiteX277" fmla="*/ 11338297 w 12193200"/>
              <a:gd name="connsiteY277" fmla="*/ 470604 h 6861600"/>
              <a:gd name="connsiteX278" fmla="*/ 11349972 w 12193200"/>
              <a:gd name="connsiteY278" fmla="*/ 456124 h 6861600"/>
              <a:gd name="connsiteX279" fmla="*/ 11354455 w 12193200"/>
              <a:gd name="connsiteY279" fmla="*/ 453696 h 6861600"/>
              <a:gd name="connsiteX280" fmla="*/ 11324025 w 12193200"/>
              <a:gd name="connsiteY280" fmla="*/ 392924 h 6861600"/>
              <a:gd name="connsiteX281" fmla="*/ 11322134 w 12193200"/>
              <a:gd name="connsiteY281" fmla="*/ 400006 h 6861600"/>
              <a:gd name="connsiteX282" fmla="*/ 11335988 w 12193200"/>
              <a:gd name="connsiteY282" fmla="*/ 441536 h 6861600"/>
              <a:gd name="connsiteX283" fmla="*/ 11339193 w 12193200"/>
              <a:gd name="connsiteY283" fmla="*/ 451786 h 6861600"/>
              <a:gd name="connsiteX284" fmla="*/ 11328425 w 12193200"/>
              <a:gd name="connsiteY284" fmla="*/ 467162 h 6861600"/>
              <a:gd name="connsiteX285" fmla="*/ 11327270 w 12193200"/>
              <a:gd name="connsiteY285" fmla="*/ 474855 h 6861600"/>
              <a:gd name="connsiteX286" fmla="*/ 11315477 w 12193200"/>
              <a:gd name="connsiteY286" fmla="*/ 490748 h 6861600"/>
              <a:gd name="connsiteX287" fmla="*/ 11317268 w 12193200"/>
              <a:gd name="connsiteY287" fmla="*/ 503696 h 6861600"/>
              <a:gd name="connsiteX288" fmla="*/ 11327788 w 12193200"/>
              <a:gd name="connsiteY288" fmla="*/ 514594 h 6861600"/>
              <a:gd name="connsiteX289" fmla="*/ 11341890 w 12193200"/>
              <a:gd name="connsiteY289" fmla="*/ 516137 h 6861600"/>
              <a:gd name="connsiteX290" fmla="*/ 11358561 w 12193200"/>
              <a:gd name="connsiteY290" fmla="*/ 529214 h 6861600"/>
              <a:gd name="connsiteX291" fmla="*/ 11388308 w 12193200"/>
              <a:gd name="connsiteY291" fmla="*/ 580476 h 6861600"/>
              <a:gd name="connsiteX292" fmla="*/ 11394717 w 12193200"/>
              <a:gd name="connsiteY292" fmla="*/ 606490 h 6861600"/>
              <a:gd name="connsiteX293" fmla="*/ 11360611 w 12193200"/>
              <a:gd name="connsiteY293" fmla="*/ 709026 h 6861600"/>
              <a:gd name="connsiteX294" fmla="*/ 11362402 w 12193200"/>
              <a:gd name="connsiteY294" fmla="*/ 719406 h 6861600"/>
              <a:gd name="connsiteX295" fmla="*/ 11388567 w 12193200"/>
              <a:gd name="connsiteY295" fmla="*/ 719406 h 6861600"/>
              <a:gd name="connsiteX296" fmla="*/ 11394210 w 12193200"/>
              <a:gd name="connsiteY296" fmla="*/ 711972 h 6861600"/>
              <a:gd name="connsiteX297" fmla="*/ 11429094 w 12193200"/>
              <a:gd name="connsiteY297" fmla="*/ 608411 h 6861600"/>
              <a:gd name="connsiteX298" fmla="*/ 11464484 w 12193200"/>
              <a:gd name="connsiteY298" fmla="*/ 709921 h 6861600"/>
              <a:gd name="connsiteX299" fmla="*/ 11468207 w 12193200"/>
              <a:gd name="connsiteY299" fmla="*/ 719665 h 6861600"/>
              <a:gd name="connsiteX300" fmla="*/ 11490650 w 12193200"/>
              <a:gd name="connsiteY300" fmla="*/ 719665 h 6861600"/>
              <a:gd name="connsiteX301" fmla="*/ 11497954 w 12193200"/>
              <a:gd name="connsiteY301" fmla="*/ 713126 h 6861600"/>
              <a:gd name="connsiteX302" fmla="*/ 11473979 w 12193200"/>
              <a:gd name="connsiteY302" fmla="*/ 619309 h 6861600"/>
              <a:gd name="connsiteX303" fmla="*/ 11535276 w 12193200"/>
              <a:gd name="connsiteY303" fmla="*/ 595345 h 6861600"/>
              <a:gd name="connsiteX304" fmla="*/ 11569383 w 12193200"/>
              <a:gd name="connsiteY304" fmla="*/ 622136 h 6861600"/>
              <a:gd name="connsiteX305" fmla="*/ 11512315 w 12193200"/>
              <a:gd name="connsiteY305" fmla="*/ 709932 h 6861600"/>
              <a:gd name="connsiteX306" fmla="*/ 11514624 w 12193200"/>
              <a:gd name="connsiteY306" fmla="*/ 719417 h 6861600"/>
              <a:gd name="connsiteX307" fmla="*/ 11538351 w 12193200"/>
              <a:gd name="connsiteY307" fmla="*/ 719417 h 6861600"/>
              <a:gd name="connsiteX308" fmla="*/ 11547069 w 12193200"/>
              <a:gd name="connsiteY308" fmla="*/ 713903 h 6861600"/>
              <a:gd name="connsiteX309" fmla="*/ 11598623 w 12193200"/>
              <a:gd name="connsiteY309" fmla="*/ 630983 h 6861600"/>
              <a:gd name="connsiteX310" fmla="*/ 11608496 w 12193200"/>
              <a:gd name="connsiteY310" fmla="*/ 600869 h 6861600"/>
              <a:gd name="connsiteX311" fmla="*/ 11599130 w 12193200"/>
              <a:gd name="connsiteY311" fmla="*/ 710062 h 6861600"/>
              <a:gd name="connsiteX312" fmla="*/ 11601439 w 12193200"/>
              <a:gd name="connsiteY312" fmla="*/ 719287 h 6861600"/>
              <a:gd name="connsiteX313" fmla="*/ 11622857 w 12193200"/>
              <a:gd name="connsiteY313" fmla="*/ 719287 h 6861600"/>
              <a:gd name="connsiteX314" fmla="*/ 11629525 w 12193200"/>
              <a:gd name="connsiteY314" fmla="*/ 711087 h 6861600"/>
              <a:gd name="connsiteX315" fmla="*/ 11634650 w 12193200"/>
              <a:gd name="connsiteY315" fmla="*/ 693014 h 6861600"/>
              <a:gd name="connsiteX316" fmla="*/ 11654018 w 12193200"/>
              <a:gd name="connsiteY316" fmla="*/ 688018 h 6861600"/>
              <a:gd name="connsiteX317" fmla="*/ 11659024 w 12193200"/>
              <a:gd name="connsiteY317" fmla="*/ 680584 h 6861600"/>
              <a:gd name="connsiteX318" fmla="*/ 11654654 w 12193200"/>
              <a:gd name="connsiteY318" fmla="*/ 520852 h 6861600"/>
              <a:gd name="connsiteX319" fmla="*/ 11603360 w 12193200"/>
              <a:gd name="connsiteY319" fmla="*/ 487533 h 6861600"/>
              <a:gd name="connsiteX320" fmla="*/ 11526547 w 12193200"/>
              <a:gd name="connsiteY320" fmla="*/ 493424 h 6861600"/>
              <a:gd name="connsiteX321" fmla="*/ 11402033 w 12193200"/>
              <a:gd name="connsiteY321" fmla="*/ 464842 h 6861600"/>
              <a:gd name="connsiteX322" fmla="*/ 11401644 w 12193200"/>
              <a:gd name="connsiteY322" fmla="*/ 459199 h 6861600"/>
              <a:gd name="connsiteX323" fmla="*/ 11433960 w 12193200"/>
              <a:gd name="connsiteY323" fmla="*/ 433314 h 6861600"/>
              <a:gd name="connsiteX324" fmla="*/ 11431392 w 12193200"/>
              <a:gd name="connsiteY324" fmla="*/ 426398 h 6861600"/>
              <a:gd name="connsiteX325" fmla="*/ 11365995 w 12193200"/>
              <a:gd name="connsiteY325" fmla="*/ 438191 h 6861600"/>
              <a:gd name="connsiteX326" fmla="*/ 11327648 w 12193200"/>
              <a:gd name="connsiteY326" fmla="*/ 397568 h 6861600"/>
              <a:gd name="connsiteX327" fmla="*/ 11324025 w 12193200"/>
              <a:gd name="connsiteY327" fmla="*/ 392924 h 6861600"/>
              <a:gd name="connsiteX328" fmla="*/ 11391491 w 12193200"/>
              <a:gd name="connsiteY328" fmla="*/ 334037 h 6861600"/>
              <a:gd name="connsiteX329" fmla="*/ 11426364 w 12193200"/>
              <a:gd name="connsiteY329" fmla="*/ 368996 h 6861600"/>
              <a:gd name="connsiteX330" fmla="*/ 11391491 w 12193200"/>
              <a:gd name="connsiteY330" fmla="*/ 403955 h 6861600"/>
              <a:gd name="connsiteX331" fmla="*/ 11356360 w 12193200"/>
              <a:gd name="connsiteY331" fmla="*/ 368996 h 6861600"/>
              <a:gd name="connsiteX332" fmla="*/ 11391491 w 12193200"/>
              <a:gd name="connsiteY332" fmla="*/ 334037 h 6861600"/>
              <a:gd name="connsiteX333" fmla="*/ 11389959 w 12193200"/>
              <a:gd name="connsiteY333" fmla="*/ 321618 h 6861600"/>
              <a:gd name="connsiteX334" fmla="*/ 11337262 w 12193200"/>
              <a:gd name="connsiteY334" fmla="*/ 374510 h 6861600"/>
              <a:gd name="connsiteX335" fmla="*/ 11389959 w 12193200"/>
              <a:gd name="connsiteY335" fmla="*/ 427401 h 6861600"/>
              <a:gd name="connsiteX336" fmla="*/ 11442656 w 12193200"/>
              <a:gd name="connsiteY336" fmla="*/ 374510 h 6861600"/>
              <a:gd name="connsiteX337" fmla="*/ 11389959 w 12193200"/>
              <a:gd name="connsiteY337" fmla="*/ 321618 h 6861600"/>
              <a:gd name="connsiteX338" fmla="*/ 0 w 12193200"/>
              <a:gd name="connsiteY338" fmla="*/ 0 h 6861600"/>
              <a:gd name="connsiteX339" fmla="*/ 12193200 w 12193200"/>
              <a:gd name="connsiteY339" fmla="*/ 0 h 6861600"/>
              <a:gd name="connsiteX340" fmla="*/ 12193200 w 12193200"/>
              <a:gd name="connsiteY340" fmla="*/ 6861600 h 6861600"/>
              <a:gd name="connsiteX341" fmla="*/ 0 w 12193200"/>
              <a:gd name="connsiteY341" fmla="*/ 6861600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3200" h="6861600">
                <a:moveTo>
                  <a:pt x="11666200" y="756760"/>
                </a:moveTo>
                <a:cubicBezTo>
                  <a:pt x="11673094" y="756760"/>
                  <a:pt x="11676288" y="758939"/>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6"/>
                </a:moveTo>
                <a:cubicBezTo>
                  <a:pt x="11706381" y="750006"/>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6"/>
                  <a:pt x="11715660" y="750006"/>
                </a:cubicBezTo>
                <a:cubicBezTo>
                  <a:pt x="11708668" y="750006"/>
                  <a:pt x="11708668" y="750006"/>
                  <a:pt x="11708668" y="750006"/>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2"/>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60"/>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6"/>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4"/>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1"/>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1"/>
                  <a:pt x="11469620" y="498549"/>
                </a:cubicBezTo>
                <a:cubicBezTo>
                  <a:pt x="11473850" y="499574"/>
                  <a:pt x="11477313" y="500092"/>
                  <a:pt x="11481672" y="500729"/>
                </a:cubicBezTo>
                <a:cubicBezTo>
                  <a:pt x="11482190" y="532516"/>
                  <a:pt x="11484111" y="539691"/>
                  <a:pt x="11485395" y="542507"/>
                </a:cubicBezTo>
                <a:cubicBezTo>
                  <a:pt x="11487833" y="548398"/>
                  <a:pt x="11493735" y="550330"/>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2"/>
                </a:cubicBezTo>
                <a:cubicBezTo>
                  <a:pt x="11628371" y="495722"/>
                  <a:pt x="11627086" y="512511"/>
                  <a:pt x="11625673" y="533282"/>
                </a:cubicBezTo>
                <a:cubicBezTo>
                  <a:pt x="11624389" y="553793"/>
                  <a:pt x="11619771" y="582882"/>
                  <a:pt x="11612855" y="586216"/>
                </a:cubicBezTo>
                <a:cubicBezTo>
                  <a:pt x="11605798" y="589162"/>
                  <a:pt x="11594771" y="570323"/>
                  <a:pt x="11537326" y="569427"/>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4"/>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7"/>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7"/>
                  <a:pt x="11535276" y="595345"/>
                </a:cubicBezTo>
                <a:cubicBezTo>
                  <a:pt x="11554773" y="577790"/>
                  <a:pt x="11580421" y="588428"/>
                  <a:pt x="11569383" y="622136"/>
                </a:cubicBezTo>
                <a:cubicBezTo>
                  <a:pt x="11558614" y="655714"/>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8"/>
                </a:cubicBezTo>
                <a:cubicBezTo>
                  <a:pt x="11326493" y="394428"/>
                  <a:pt x="11325115" y="392699"/>
                  <a:pt x="11324025" y="392924"/>
                </a:cubicBezTo>
                <a:close/>
                <a:moveTo>
                  <a:pt x="11391491" y="334037"/>
                </a:moveTo>
                <a:cubicBezTo>
                  <a:pt x="11410848" y="334037"/>
                  <a:pt x="11426364" y="349790"/>
                  <a:pt x="11426364" y="368996"/>
                </a:cubicBezTo>
                <a:cubicBezTo>
                  <a:pt x="11426364" y="388332"/>
                  <a:pt x="11410848" y="403955"/>
                  <a:pt x="11391491" y="403955"/>
                </a:cubicBezTo>
                <a:cubicBezTo>
                  <a:pt x="11372134" y="403955"/>
                  <a:pt x="11356360" y="388332"/>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3200" y="0"/>
                </a:lnTo>
                <a:lnTo>
                  <a:pt x="12193200" y="6861600"/>
                </a:lnTo>
                <a:lnTo>
                  <a:pt x="0" y="6861600"/>
                </a:lnTo>
                <a:close/>
              </a:path>
            </a:pathLst>
          </a:custGeom>
          <a:solidFill>
            <a:srgbClr val="D4D7DC"/>
          </a:solidFill>
        </p:spPr>
        <p:txBody>
          <a:bodyPr wrap="square" tIns="72000" anchor="t" anchorCtr="0">
            <a:noAutofit/>
          </a:bodyPr>
          <a:lstStyle>
            <a:lvl1pPr marL="0" indent="0" algn="ctr">
              <a:buNone/>
              <a:defRPr sz="1400">
                <a:solidFill>
                  <a:schemeClr val="bg1"/>
                </a:solidFill>
              </a:defRPr>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3" name="Title 2">
            <a:extLst>
              <a:ext uri="{FF2B5EF4-FFF2-40B4-BE49-F238E27FC236}">
                <a16:creationId xmlns:a16="http://schemas.microsoft.com/office/drawing/2014/main" id="{B4C3EE7D-BC64-44D4-965B-AAAA5C4BD6BC}"/>
              </a:ext>
            </a:extLst>
          </p:cNvPr>
          <p:cNvSpPr>
            <a:spLocks noGrp="1"/>
          </p:cNvSpPr>
          <p:nvPr>
            <p:ph type="title" hasCustomPrompt="1"/>
          </p:nvPr>
        </p:nvSpPr>
        <p:spPr>
          <a:xfrm>
            <a:off x="648000" y="648000"/>
            <a:ext cx="6408000" cy="5562000"/>
          </a:xfrm>
        </p:spPr>
        <p:txBody>
          <a:bodyPr anchor="ctr"/>
          <a:lstStyle>
            <a:lvl1pPr>
              <a:lnSpc>
                <a:spcPct val="120000"/>
              </a:lnSpc>
              <a:defRPr sz="72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2E69A22-4168-4C89-915E-68554934A99F}"/>
              </a:ext>
            </a:extLst>
          </p:cNvPr>
          <p:cNvSpPr>
            <a:spLocks noGrp="1"/>
          </p:cNvSpPr>
          <p:nvPr>
            <p:ph type="body" sz="quarter" idx="19" hasCustomPrompt="1"/>
          </p:nvPr>
        </p:nvSpPr>
        <p:spPr>
          <a:xfrm>
            <a:off x="7380000" y="2781000"/>
            <a:ext cx="4164000" cy="3429000"/>
          </a:xfrm>
        </p:spPr>
        <p:txBody>
          <a:bodyPr anchor="b"/>
          <a:lstStyle>
            <a:lvl1pPr marL="0" indent="0">
              <a:buNone/>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GB" dirty="0"/>
              <a:t>Click to add text</a:t>
            </a:r>
          </a:p>
        </p:txBody>
      </p:sp>
      <p:sp>
        <p:nvSpPr>
          <p:cNvPr id="6" name="Date Placeholder 5">
            <a:extLst>
              <a:ext uri="{FF2B5EF4-FFF2-40B4-BE49-F238E27FC236}">
                <a16:creationId xmlns:a16="http://schemas.microsoft.com/office/drawing/2014/main" id="{72E73A1B-874D-4A61-944C-6104EF22B9DD}"/>
              </a:ext>
            </a:extLst>
          </p:cNvPr>
          <p:cNvSpPr>
            <a:spLocks noGrp="1"/>
          </p:cNvSpPr>
          <p:nvPr>
            <p:ph type="dt" sz="half" idx="15"/>
          </p:nvPr>
        </p:nvSpPr>
        <p:spPr/>
        <p:txBody>
          <a:bodyPr/>
          <a:lstStyle>
            <a:lvl1pPr>
              <a:defRPr>
                <a:solidFill>
                  <a:schemeClr val="bg1"/>
                </a:solidFill>
              </a:defRPr>
            </a:lvl1pPr>
          </a:lstStyle>
          <a:p>
            <a:fld id="{8E909654-A03B-4E49-A246-E57BAEF641EA}" type="datetime3">
              <a:rPr lang="en-US" smtClean="0"/>
              <a:t>6 November 2020</a:t>
            </a:fld>
            <a:endParaRPr lang="en-GB"/>
          </a:p>
        </p:txBody>
      </p:sp>
      <p:sp>
        <p:nvSpPr>
          <p:cNvPr id="9" name="Footer Placeholder 8">
            <a:extLst>
              <a:ext uri="{FF2B5EF4-FFF2-40B4-BE49-F238E27FC236}">
                <a16:creationId xmlns:a16="http://schemas.microsoft.com/office/drawing/2014/main" id="{C123DF4B-C0EB-448C-B355-2743629DD45A}"/>
              </a:ext>
            </a:extLst>
          </p:cNvPr>
          <p:cNvSpPr>
            <a:spLocks noGrp="1"/>
          </p:cNvSpPr>
          <p:nvPr>
            <p:ph type="ftr" sz="quarter" idx="16"/>
          </p:nvPr>
        </p:nvSpPr>
        <p:spPr/>
        <p:txBody>
          <a:bodyPr/>
          <a:lstStyle>
            <a:lvl1pPr>
              <a:defRPr>
                <a:solidFill>
                  <a:schemeClr val="bg1"/>
                </a:solidFill>
              </a:defRPr>
            </a:lvl1pPr>
          </a:lstStyle>
          <a:p>
            <a:r>
              <a:rPr lang="en-GB"/>
              <a:t>Novo Nordisk company presentation</a:t>
            </a:r>
          </a:p>
        </p:txBody>
      </p:sp>
      <p:sp>
        <p:nvSpPr>
          <p:cNvPr id="10" name="Slide Number Placeholder 9">
            <a:extLst>
              <a:ext uri="{FF2B5EF4-FFF2-40B4-BE49-F238E27FC236}">
                <a16:creationId xmlns:a16="http://schemas.microsoft.com/office/drawing/2014/main" id="{D92667E6-AA52-4ED3-B122-113FB4F8CA46}"/>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8806835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53549E2-35F4-4623-AA95-8FB943764BD3}"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731602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bIns="144000" anchor="ctr"/>
          <a:lstStyle>
            <a:lvl1pPr algn="l">
              <a:lnSpc>
                <a:spcPct val="12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D936575C-232C-4CED-9A58-7834FEC2135C}" type="datetime3">
              <a:rPr lang="en-US" smtClean="0"/>
              <a:t>6 November 2020</a:t>
            </a:fld>
            <a:endParaRPr lang="en-GB"/>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defRPr>
                <a:solidFill>
                  <a:schemeClr val="bg1"/>
                </a:solidFill>
              </a:defRPr>
            </a:lvl1pPr>
          </a:lstStyle>
          <a:p>
            <a:r>
              <a:rPr lang="en-GB"/>
              <a:t>Novo Nordisk company presentation</a:t>
            </a:r>
          </a:p>
        </p:txBody>
      </p:sp>
      <p:sp>
        <p:nvSpPr>
          <p:cNvPr id="9" name="Slide Number Placeholder 8">
            <a:extLst>
              <a:ext uri="{FF2B5EF4-FFF2-40B4-BE49-F238E27FC236}">
                <a16:creationId xmlns:a16="http://schemas.microsoft.com/office/drawing/2014/main" id="{258BF60F-0548-40B3-9532-B1BC93DE7294}"/>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Tree>
    <p:extLst>
      <p:ext uri="{BB962C8B-B14F-4D97-AF65-F5344CB8AC3E}">
        <p14:creationId xmlns:p14="http://schemas.microsoft.com/office/powerpoint/2010/main" val="25638664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909254F-68A0-4B5A-B57D-9C3B94FBD1F2}"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4379869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AF91EF0-6CAE-4B25-B05E-96EC9DC0FFBC}"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1297239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324000" y="3427200"/>
            <a:ext cx="11541600" cy="34308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7999" y="648000"/>
            <a:ext cx="8652001" cy="3105000"/>
          </a:xfrm>
        </p:spPr>
        <p:txBody>
          <a:bodyPr anchor="b"/>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648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5135999" y="4077000"/>
            <a:ext cx="4164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6" name="Text Placeholder 4">
            <a:extLst>
              <a:ext uri="{FF2B5EF4-FFF2-40B4-BE49-F238E27FC236}">
                <a16:creationId xmlns:a16="http://schemas.microsoft.com/office/drawing/2014/main" id="{95E1B88D-BEB4-49A3-83C3-C98DF1AC3317}"/>
              </a:ext>
            </a:extLst>
          </p:cNvPr>
          <p:cNvSpPr>
            <a:spLocks noGrp="1"/>
          </p:cNvSpPr>
          <p:nvPr>
            <p:ph type="body" sz="quarter" idx="16" hasCustomPrompt="1"/>
          </p:nvPr>
        </p:nvSpPr>
        <p:spPr>
          <a:xfrm>
            <a:off x="9624000" y="4077000"/>
            <a:ext cx="1920000" cy="2133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C6C47B-641D-45B4-B496-CCB5A7AD8772}"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9247908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3F8012E-53EC-4CDD-A066-DDA559FEF3A4}"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954371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B1CE496-C150-47B4-8878-36BD9A0AF49C}"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2006421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86C5566C-D343-467E-91DA-4FDC692ED410}"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6027504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2892000" y="324000"/>
            <a:ext cx="8975999"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8000" y="648000"/>
            <a:ext cx="4164000" cy="5562000"/>
          </a:xfrm>
        </p:spPr>
        <p:txBody>
          <a:bodyPr anchor="ctr"/>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5135999" y="2781000"/>
            <a:ext cx="4164001" cy="3429000"/>
          </a:xfrm>
        </p:spPr>
        <p:txBody>
          <a:bodyPr/>
          <a:lstStyle>
            <a:lvl1pPr>
              <a:defRPr sz="2000"/>
            </a:lvl1pPr>
            <a:lvl2pPr>
              <a:defRPr sz="2000"/>
            </a:lvl2pPr>
            <a:lvl3pPr>
              <a:defRPr sz="2000"/>
            </a:lvl3pPr>
            <a:lvl4pPr>
              <a:defRPr sz="2000"/>
            </a:lvl4pPr>
            <a:lvl5pPr>
              <a:defRPr sz="20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9623999" y="2781000"/>
            <a:ext cx="1920001" cy="3429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8000" y="6210000"/>
            <a:ext cx="4164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0BB27EFE-5446-44B7-9DCD-176E2D3435AB}"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41576423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 Editorial Gree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5C78A15-4F63-4D2A-AD28-32FE966AA84E}"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9065809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 Editorial Re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566A5530-3E59-48F9-B24D-80A189CFD474}"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11016766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 Editorial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7EC77AA-FB69-4228-8DFB-BC68D78D62BA}"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880050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20000"/>
              </a:lnSpc>
              <a:defRPr sz="4400">
                <a:solidFill>
                  <a:schemeClr val="tx2"/>
                </a:solidFill>
              </a:defRPr>
            </a:lvl1pPr>
          </a:lstStyle>
          <a:p>
            <a:r>
              <a:rPr lang="en-GB" dirty="0"/>
              <a:t>Click to add title</a:t>
            </a:r>
          </a:p>
        </p:txBody>
      </p:sp>
      <p:sp>
        <p:nvSpPr>
          <p:cNvPr id="9" name="Footer Placeholder 8">
            <a:extLst>
              <a:ext uri="{FF2B5EF4-FFF2-40B4-BE49-F238E27FC236}">
                <a16:creationId xmlns:a16="http://schemas.microsoft.com/office/drawing/2014/main" id="{3297A132-C2EE-4CE3-8B75-B1FDFF50D46E}"/>
              </a:ext>
            </a:extLst>
          </p:cNvPr>
          <p:cNvSpPr>
            <a:spLocks noGrp="1"/>
          </p:cNvSpPr>
          <p:nvPr>
            <p:ph type="ftr" sz="quarter" idx="16"/>
          </p:nvPr>
        </p:nvSpPr>
        <p:spPr>
          <a:xfrm>
            <a:off x="0" y="6876000"/>
            <a:ext cx="0" cy="0"/>
          </a:xfrm>
        </p:spPr>
        <p:txBody>
          <a:bodyPr/>
          <a:lstStyle>
            <a:lvl1pPr>
              <a:defRPr sz="100">
                <a:noFill/>
              </a:defRPr>
            </a:lvl1pPr>
          </a:lstStyle>
          <a:p>
            <a:r>
              <a:rPr lang="en-GB"/>
              <a:t>Novo Nordisk company presentation</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D9F956E7-478D-4878-BADE-EECA8CE7E5F7}" type="datetime3">
              <a:rPr lang="en-US" smtClean="0"/>
              <a:t>6 November 2020</a:t>
            </a:fld>
            <a:endParaRPr lang="en-GB"/>
          </a:p>
        </p:txBody>
      </p:sp>
      <p:sp>
        <p:nvSpPr>
          <p:cNvPr id="32" name="Slide Number Placeholder 8">
            <a:extLst>
              <a:ext uri="{FF2B5EF4-FFF2-40B4-BE49-F238E27FC236}">
                <a16:creationId xmlns:a16="http://schemas.microsoft.com/office/drawing/2014/main" id="{6372F975-2A10-4A3C-B40B-0ABB8DE44F10}"/>
              </a:ext>
            </a:extLst>
          </p:cNvPr>
          <p:cNvSpPr>
            <a:spLocks noGrp="1"/>
          </p:cNvSpPr>
          <p:nvPr>
            <p:ph type="sldNum" sz="quarter" idx="12"/>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Tree>
    <p:extLst>
      <p:ext uri="{BB962C8B-B14F-4D97-AF65-F5344CB8AC3E}">
        <p14:creationId xmlns:p14="http://schemas.microsoft.com/office/powerpoint/2010/main" val="14857131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 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a:xfrm>
            <a:off x="5135999" y="324000"/>
            <a:ext cx="6732001" cy="62100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648000" y="648000"/>
            <a:ext cx="6408000" cy="2133000"/>
          </a:xfrm>
        </p:spPr>
        <p:txBody>
          <a:bodyPr anchor="t"/>
          <a:lstStyle>
            <a:lvl1pPr>
              <a:defRPr sz="4400" b="0"/>
            </a:lvl1pPr>
          </a:lstStyle>
          <a:p>
            <a:r>
              <a:rPr lang="en-GB" noProof="0" dirty="0"/>
              <a:t>Click to add title</a:t>
            </a:r>
          </a:p>
        </p:txBody>
      </p:sp>
      <p:sp>
        <p:nvSpPr>
          <p:cNvPr id="5" name="Text Placeholder 4">
            <a:extLst>
              <a:ext uri="{FF2B5EF4-FFF2-40B4-BE49-F238E27FC236}">
                <a16:creationId xmlns:a16="http://schemas.microsoft.com/office/drawing/2014/main" id="{A2B6B429-7799-4339-B7CE-2765835DF770}"/>
              </a:ext>
            </a:extLst>
          </p:cNvPr>
          <p:cNvSpPr>
            <a:spLocks noGrp="1"/>
          </p:cNvSpPr>
          <p:nvPr>
            <p:ph type="body" sz="quarter" idx="14" hasCustomPrompt="1"/>
          </p:nvPr>
        </p:nvSpPr>
        <p:spPr>
          <a:xfrm>
            <a:off x="2892000" y="3429000"/>
            <a:ext cx="1920000" cy="2781000"/>
          </a:xfrm>
        </p:spPr>
        <p:txBody>
          <a:bodyPr/>
          <a:lstStyle>
            <a:lvl1pPr>
              <a:defRPr sz="1400"/>
            </a:lvl1pPr>
            <a:lvl2pPr>
              <a:defRPr sz="14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4">
            <a:extLst>
              <a:ext uri="{FF2B5EF4-FFF2-40B4-BE49-F238E27FC236}">
                <a16:creationId xmlns:a16="http://schemas.microsoft.com/office/drawing/2014/main" id="{67B2CB86-6590-49D4-96EB-823C6647FED4}"/>
              </a:ext>
            </a:extLst>
          </p:cNvPr>
          <p:cNvSpPr>
            <a:spLocks noGrp="1"/>
          </p:cNvSpPr>
          <p:nvPr>
            <p:ph type="body" sz="quarter" idx="15" hasCustomPrompt="1"/>
          </p:nvPr>
        </p:nvSpPr>
        <p:spPr>
          <a:xfrm>
            <a:off x="7380000" y="3429000"/>
            <a:ext cx="4164000" cy="2781000"/>
          </a:xfrm>
        </p:spPr>
        <p:txBody>
          <a:bodyPr/>
          <a:lstStyle>
            <a:lvl1pPr>
              <a:defRPr sz="1400"/>
            </a:lvl1pPr>
            <a:lvl2pPr>
              <a:defRPr sz="2000"/>
            </a:lvl2pPr>
            <a:lvl3pPr>
              <a:defRPr sz="1400"/>
            </a:lvl3pPr>
            <a:lvl4pPr>
              <a:defRPr sz="1400"/>
            </a:lvl4pPr>
            <a:lvl5pPr>
              <a:defRPr sz="1400"/>
            </a:lvl5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6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22180226-5829-4546-B46E-E6B82FF134F0}" type="datetime3">
              <a:rPr lang="en-US" smtClean="0"/>
              <a:t>6 November 2020</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Novo Nordisk company presenta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3849757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0FF33868-681F-4496-A877-829CD64D7B3F}" type="datetime3">
              <a:rPr lang="en-US" smtClean="0"/>
              <a:t>6 November 2020</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a:t>Novo Nordisk company presentation</a:t>
            </a:r>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9" name="Text Placeholder 4">
            <a:extLst>
              <a:ext uri="{FF2B5EF4-FFF2-40B4-BE49-F238E27FC236}">
                <a16:creationId xmlns:a16="http://schemas.microsoft.com/office/drawing/2014/main" id="{5FCB21B2-BF11-4BB1-B721-7AECC82342B8}"/>
              </a:ext>
            </a:extLst>
          </p:cNvPr>
          <p:cNvSpPr>
            <a:spLocks noGrp="1"/>
          </p:cNvSpPr>
          <p:nvPr>
            <p:ph type="body" sz="quarter" idx="13" hasCustomPrompt="1"/>
          </p:nvPr>
        </p:nvSpPr>
        <p:spPr>
          <a:xfrm>
            <a:off x="647999" y="6210000"/>
            <a:ext cx="10896001"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34508886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518F144-C552-47DE-B37E-F764CB8D02BC}"/>
              </a:ext>
            </a:extLst>
          </p:cNvPr>
          <p:cNvSpPr>
            <a:spLocks noGrp="1"/>
          </p:cNvSpPr>
          <p:nvPr>
            <p:ph type="dt" sz="half" idx="10"/>
          </p:nvPr>
        </p:nvSpPr>
        <p:spPr/>
        <p:txBody>
          <a:bodyPr/>
          <a:lstStyle/>
          <a:p>
            <a:fld id="{2F8C2117-B4D1-44BD-A825-5C59B666D8E7}" type="datetime3">
              <a:rPr lang="en-US" smtClean="0"/>
              <a:t>6 November 2020</a:t>
            </a:fld>
            <a:endParaRPr lang="en-GB"/>
          </a:p>
        </p:txBody>
      </p:sp>
      <p:sp>
        <p:nvSpPr>
          <p:cNvPr id="6" name="Footer Placeholder 5">
            <a:extLst>
              <a:ext uri="{FF2B5EF4-FFF2-40B4-BE49-F238E27FC236}">
                <a16:creationId xmlns:a16="http://schemas.microsoft.com/office/drawing/2014/main" id="{8959BE18-6820-417E-88D1-C143F846218B}"/>
              </a:ext>
            </a:extLst>
          </p:cNvPr>
          <p:cNvSpPr>
            <a:spLocks noGrp="1"/>
          </p:cNvSpPr>
          <p:nvPr>
            <p:ph type="ftr" sz="quarter" idx="11"/>
          </p:nvPr>
        </p:nvSpPr>
        <p:spPr/>
        <p:txBody>
          <a:bodyPr/>
          <a:lstStyle/>
          <a:p>
            <a:r>
              <a:rPr lang="en-GB"/>
              <a:t>Novo Nordisk company presentation</a:t>
            </a:r>
          </a:p>
        </p:txBody>
      </p:sp>
      <p:sp>
        <p:nvSpPr>
          <p:cNvPr id="7" name="Slide Number Placeholder 6">
            <a:extLst>
              <a:ext uri="{FF2B5EF4-FFF2-40B4-BE49-F238E27FC236}">
                <a16:creationId xmlns:a16="http://schemas.microsoft.com/office/drawing/2014/main" id="{F8EC8840-13BA-406D-AE15-E96701F6DEC6}"/>
              </a:ext>
            </a:extLst>
          </p:cNvPr>
          <p:cNvSpPr>
            <a:spLocks noGrp="1"/>
          </p:cNvSpPr>
          <p:nvPr>
            <p:ph type="sldNum" sz="quarter" idx="12"/>
          </p:nvPr>
        </p:nvSpPr>
        <p:spPr/>
        <p:txBody>
          <a:bodyPr/>
          <a:lstStyle/>
          <a:p>
            <a:fld id="{23AA811B-2EBD-4900-905E-5BE206449611}" type="slidenum">
              <a:rPr lang="en-GB" smtClean="0"/>
              <a:t>‹#›</a:t>
            </a:fld>
            <a:endParaRPr lang="en-GB"/>
          </a:p>
        </p:txBody>
      </p:sp>
    </p:spTree>
    <p:extLst>
      <p:ext uri="{BB962C8B-B14F-4D97-AF65-F5344CB8AC3E}">
        <p14:creationId xmlns:p14="http://schemas.microsoft.com/office/powerpoint/2010/main" val="28439488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67579" y="1608016"/>
            <a:ext cx="2786833" cy="4001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latin typeface="+mn-lt"/>
                <a:cs typeface="Arial" panose="020B0604020202020204" pitchFamily="34" charset="0"/>
              </a:rPr>
              <a:t>PICTURES</a:t>
            </a:r>
            <a:br>
              <a:rPr lang="en-GB" sz="90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54412" y="187609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6444587" y="2943287"/>
              <a:ext cx="674853" cy="628489"/>
            </a:xfrm>
            <a:prstGeom prst="rect">
              <a:avLst/>
            </a:prstGeom>
            <a:ln w="3175">
              <a:solidFill>
                <a:schemeClr val="bg1">
                  <a:lumMod val="95000"/>
                </a:schemeClr>
              </a:solidFill>
            </a:ln>
          </p:spPr>
        </p:pic>
      </p:grpSp>
      <p:sp>
        <p:nvSpPr>
          <p:cNvPr id="42" name="Text Box 2">
            <a:extLst>
              <a:ext uri="{FF2B5EF4-FFF2-40B4-BE49-F238E27FC236}">
                <a16:creationId xmlns:a16="http://schemas.microsoft.com/office/drawing/2014/main" id="{00AD0EBC-0A41-4B26-9D79-79E0C00BBA85}"/>
              </a:ext>
            </a:extLst>
          </p:cNvPr>
          <p:cNvSpPr txBox="1">
            <a:spLocks noChangeArrowheads="1"/>
          </p:cNvSpPr>
          <p:nvPr userDrawn="1"/>
        </p:nvSpPr>
        <p:spPr bwMode="auto">
          <a:xfrm>
            <a:off x="647700" y="1613646"/>
            <a:ext cx="2280360" cy="5001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 </a:t>
            </a:r>
            <a:r>
              <a:rPr lang="en-GB" sz="900" b="1" baseline="0" noProof="1">
                <a:solidFill>
                  <a:schemeClr val="tx1"/>
                </a:solidFill>
                <a:latin typeface="+mn-lt"/>
                <a:cs typeface="Arial" panose="020B0604020202020204" pitchFamily="34" charset="0"/>
              </a:rPr>
              <a:t>Decrease</a:t>
            </a:r>
            <a:br>
              <a:rPr lang="en-GB" sz="900" b="1" baseline="0" noProof="1">
                <a:solidFill>
                  <a:schemeClr val="tx1"/>
                </a:solidFill>
                <a:latin typeface="+mn-lt"/>
                <a:cs typeface="Arial" panose="020B0604020202020204" pitchFamily="34" charset="0"/>
              </a:rPr>
            </a:br>
            <a:r>
              <a:rPr lang="en-GB"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GB" sz="900" baseline="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Delete bullet for regular text.</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a:latin typeface="+mn-lt"/>
                <a:cs typeface="Arial" panose="020B0604020202020204" pitchFamily="34" charset="0"/>
              </a:rPr>
              <a:t>SLIDES &amp; LAYOUTS</a:t>
            </a:r>
            <a:br>
              <a:rPr lang="en-GB" altLang="da-DK" sz="900" b="1" noProof="1">
                <a:solidFill>
                  <a:schemeClr val="tx1"/>
                </a:solidFill>
                <a:latin typeface="+mn-lt"/>
                <a:cs typeface="Arial" panose="020B0604020202020204" pitchFamily="34" charset="0"/>
              </a:rPr>
            </a:br>
            <a:br>
              <a:rPr lang="en-GB" altLang="da-DK" sz="900" b="1"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900">
                <a:solidFill>
                  <a:srgbClr val="000000"/>
                </a:solidFill>
                <a:latin typeface="+mn-lt"/>
                <a:ea typeface="Arial" panose="020B0604020202020204" pitchFamily="34" charset="0"/>
                <a:cs typeface="Arial" panose="020B0604020202020204" pitchFamily="34" charset="0"/>
              </a:rPr>
              <a:t>Click on the arrow next to </a:t>
            </a:r>
            <a:r>
              <a:rPr lang="en-GB" sz="900" b="1">
                <a:solidFill>
                  <a:srgbClr val="000000"/>
                </a:solidFill>
                <a:latin typeface="+mn-lt"/>
                <a:ea typeface="Arial" panose="020B0604020202020204" pitchFamily="34" charset="0"/>
                <a:cs typeface="Arial" panose="020B0604020202020204" pitchFamily="34" charset="0"/>
              </a:rPr>
              <a:t>Layout</a:t>
            </a:r>
            <a:br>
              <a:rPr lang="en-GB" sz="900" b="1">
                <a:solidFill>
                  <a:srgbClr val="000000"/>
                </a:solidFill>
                <a:latin typeface="+mn-lt"/>
                <a:ea typeface="Arial" panose="020B0604020202020204" pitchFamily="34" charset="0"/>
                <a:cs typeface="Arial" panose="020B0604020202020204" pitchFamily="34" charset="0"/>
              </a:rPr>
            </a:br>
            <a:r>
              <a:rPr lang="en-GB" sz="900">
                <a:solidFill>
                  <a:srgbClr val="000000"/>
                </a:solidFill>
                <a:latin typeface="+mn-lt"/>
                <a:ea typeface="Arial" panose="020B0604020202020204" pitchFamily="34" charset="0"/>
                <a:cs typeface="Arial" panose="020B0604020202020204" pitchFamily="34" charset="0"/>
              </a:rPr>
              <a:t>to view a dropdown menu of possible slide layouts</a:t>
            </a:r>
            <a:br>
              <a:rPr lang="en-GB" altLang="da-DK" sz="900" b="0" baseline="0" noProof="1">
                <a:solidFill>
                  <a:schemeClr val="tx1"/>
                </a:solidFill>
                <a:latin typeface="+mn-lt"/>
                <a:cs typeface="Arial" panose="020B0604020202020204" pitchFamily="34" charset="0"/>
              </a:rPr>
            </a:br>
            <a:br>
              <a:rPr lang="en-GB" altLang="da-DK" sz="900" b="0" baseline="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a:t>
            </a:r>
            <a:br>
              <a:rPr lang="en-GB" altLang="da-DK" sz="900" baseline="0" noProof="1">
                <a:solidFill>
                  <a:schemeClr val="tx1"/>
                </a:solidFill>
                <a:latin typeface="+mn-lt"/>
                <a:cs typeface="Arial" panose="020B0604020202020204" pitchFamily="34" charset="0"/>
              </a:rPr>
            </a:br>
            <a:r>
              <a:rPr lang="en-GB" altLang="da-DK" sz="900" baseline="0" noProof="1">
                <a:solidFill>
                  <a:schemeClr val="tx1"/>
                </a:solidFill>
                <a:latin typeface="+mn-lt"/>
                <a:cs typeface="Arial" panose="020B0604020202020204" pitchFamily="34" charset="0"/>
              </a:rPr>
              <a:t>slide placeholders to their default settings</a:t>
            </a:r>
            <a:endParaRPr lang="en-GB" altLang="da-DK" sz="900"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p:txBody>
      </p:sp>
      <p:pic>
        <p:nvPicPr>
          <p:cNvPr id="43" name="Picture 2">
            <a:extLst>
              <a:ext uri="{FF2B5EF4-FFF2-40B4-BE49-F238E27FC236}">
                <a16:creationId xmlns:a16="http://schemas.microsoft.com/office/drawing/2014/main" id="{7082C8DC-C092-4676-B834-847B1F285858}"/>
              </a:ext>
            </a:extLst>
          </p:cNvPr>
          <p:cNvPicPr>
            <a:picLocks noChangeAspect="1"/>
          </p:cNvPicPr>
          <p:nvPr userDrawn="1"/>
        </p:nvPicPr>
        <p:blipFill>
          <a:blip r:embed="rId4"/>
          <a:stretch>
            <a:fillRect/>
          </a:stretch>
        </p:blipFill>
        <p:spPr>
          <a:xfrm>
            <a:off x="2967579" y="3322850"/>
            <a:ext cx="257143" cy="285714"/>
          </a:xfrm>
          <a:prstGeom prst="rect">
            <a:avLst/>
          </a:prstGeom>
        </p:spPr>
      </p:pic>
      <p:pic>
        <p:nvPicPr>
          <p:cNvPr id="46" name="Picture 29">
            <a:extLst>
              <a:ext uri="{FF2B5EF4-FFF2-40B4-BE49-F238E27FC236}">
                <a16:creationId xmlns:a16="http://schemas.microsoft.com/office/drawing/2014/main" id="{6B35B93D-CCEE-48AF-A769-8729CC05BE8A}"/>
              </a:ext>
            </a:extLst>
          </p:cNvPr>
          <p:cNvPicPr>
            <a:picLocks noChangeAspect="1"/>
          </p:cNvPicPr>
          <p:nvPr userDrawn="1"/>
        </p:nvPicPr>
        <p:blipFill>
          <a:blip r:embed="rId5"/>
          <a:stretch>
            <a:fillRect/>
          </a:stretch>
        </p:blipFill>
        <p:spPr>
          <a:xfrm>
            <a:off x="2968120" y="2599667"/>
            <a:ext cx="457143" cy="257143"/>
          </a:xfrm>
          <a:prstGeom prst="rect">
            <a:avLst/>
          </a:prstGeom>
        </p:spPr>
      </p:pic>
      <p:pic>
        <p:nvPicPr>
          <p:cNvPr id="51" name="Picture 33">
            <a:extLst>
              <a:ext uri="{FF2B5EF4-FFF2-40B4-BE49-F238E27FC236}">
                <a16:creationId xmlns:a16="http://schemas.microsoft.com/office/drawing/2014/main" id="{939F9DAB-8633-4819-950D-F5E391BF771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7254412" y="3118826"/>
            <a:ext cx="341204" cy="321707"/>
          </a:xfrm>
          <a:prstGeom prst="rect">
            <a:avLst/>
          </a:prstGeom>
        </p:spPr>
      </p:pic>
      <p:pic>
        <p:nvPicPr>
          <p:cNvPr id="55" name="Picture 16">
            <a:extLst>
              <a:ext uri="{FF2B5EF4-FFF2-40B4-BE49-F238E27FC236}">
                <a16:creationId xmlns:a16="http://schemas.microsoft.com/office/drawing/2014/main" id="{A13B127D-1BE4-4C8F-96F6-59C8D10D8F4E}"/>
              </a:ext>
            </a:extLst>
          </p:cNvPr>
          <p:cNvPicPr>
            <a:picLocks noChangeAspect="1"/>
          </p:cNvPicPr>
          <p:nvPr userDrawn="1"/>
        </p:nvPicPr>
        <p:blipFill>
          <a:blip r:embed="rId7"/>
          <a:stretch>
            <a:fillRect/>
          </a:stretch>
        </p:blipFill>
        <p:spPr>
          <a:xfrm>
            <a:off x="2974001" y="4313402"/>
            <a:ext cx="328881" cy="505501"/>
          </a:xfrm>
          <a:prstGeom prst="rect">
            <a:avLst/>
          </a:prstGeom>
        </p:spPr>
      </p:pic>
      <p:pic>
        <p:nvPicPr>
          <p:cNvPr id="56" name="Picture 20">
            <a:extLst>
              <a:ext uri="{FF2B5EF4-FFF2-40B4-BE49-F238E27FC236}">
                <a16:creationId xmlns:a16="http://schemas.microsoft.com/office/drawing/2014/main" id="{5730DD9A-26F6-4C14-AE7D-221D2B3F38DD}"/>
              </a:ext>
            </a:extLst>
          </p:cNvPr>
          <p:cNvPicPr>
            <a:picLocks noChangeAspect="1"/>
          </p:cNvPicPr>
          <p:nvPr userDrawn="1"/>
        </p:nvPicPr>
        <p:blipFill>
          <a:blip r:embed="rId8"/>
          <a:stretch>
            <a:fillRect/>
          </a:stretch>
        </p:blipFill>
        <p:spPr>
          <a:xfrm>
            <a:off x="2974001" y="5641555"/>
            <a:ext cx="538465" cy="172841"/>
          </a:xfrm>
          <a:prstGeom prst="rect">
            <a:avLst/>
          </a:prstGeom>
        </p:spPr>
      </p:pic>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9"/>
          <a:stretch>
            <a:fillRect/>
          </a:stretch>
        </p:blipFill>
        <p:spPr>
          <a:xfrm>
            <a:off x="7310433" y="3928566"/>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729773" y="1608016"/>
            <a:ext cx="2358243"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647700" y="448713"/>
            <a:ext cx="11001373"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pic>
        <p:nvPicPr>
          <p:cNvPr id="66" name="Picture 2" descr="C:\Users\MAV~1.SKA\AppData\Local\Temp\SNAGHTMLe48c1e.PNG">
            <a:extLst>
              <a:ext uri="{FF2B5EF4-FFF2-40B4-BE49-F238E27FC236}">
                <a16:creationId xmlns:a16="http://schemas.microsoft.com/office/drawing/2014/main" id="{DAC63350-5850-40BB-87A2-CE01481E0527}"/>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1266198" y="4635849"/>
            <a:ext cx="650850" cy="97382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6D83AD9C-98AE-450E-B202-15860002D528}"/>
              </a:ext>
            </a:extLst>
          </p:cNvPr>
          <p:cNvPicPr>
            <a:picLocks noChangeAspect="1"/>
          </p:cNvPicPr>
          <p:nvPr userDrawn="1"/>
        </p:nvPicPr>
        <p:blipFill>
          <a:blip r:embed="rId11"/>
          <a:stretch>
            <a:fillRect/>
          </a:stretch>
        </p:blipFill>
        <p:spPr>
          <a:xfrm>
            <a:off x="2974000" y="5077014"/>
            <a:ext cx="475428" cy="176762"/>
          </a:xfrm>
          <a:prstGeom prst="rect">
            <a:avLst/>
          </a:prstGeom>
        </p:spPr>
      </p:pic>
      <p:sp>
        <p:nvSpPr>
          <p:cNvPr id="2" name="Date Placeholder 1">
            <a:extLst>
              <a:ext uri="{FF2B5EF4-FFF2-40B4-BE49-F238E27FC236}">
                <a16:creationId xmlns:a16="http://schemas.microsoft.com/office/drawing/2014/main" id="{8CB97ADE-DB50-43D7-B6D7-6AA6A44173B2}"/>
              </a:ext>
            </a:extLst>
          </p:cNvPr>
          <p:cNvSpPr>
            <a:spLocks noGrp="1"/>
          </p:cNvSpPr>
          <p:nvPr>
            <p:ph type="dt" sz="half" idx="10"/>
          </p:nvPr>
        </p:nvSpPr>
        <p:spPr>
          <a:xfrm>
            <a:off x="0" y="6862254"/>
            <a:ext cx="0" cy="0"/>
          </a:xfrm>
        </p:spPr>
        <p:txBody>
          <a:bodyPr/>
          <a:lstStyle>
            <a:lvl1pPr>
              <a:defRPr sz="100">
                <a:noFill/>
              </a:defRPr>
            </a:lvl1pPr>
          </a:lstStyle>
          <a:p>
            <a:fld id="{FB23D025-5388-4BC0-A2E6-026FBDCCE1A8}" type="datetime3">
              <a:rPr lang="en-US" smtClean="0"/>
              <a:t>6 November 2020</a:t>
            </a:fld>
            <a:endParaRPr lang="en-GB"/>
          </a:p>
        </p:txBody>
      </p:sp>
      <p:sp>
        <p:nvSpPr>
          <p:cNvPr id="3" name="Footer Placeholder 2">
            <a:extLst>
              <a:ext uri="{FF2B5EF4-FFF2-40B4-BE49-F238E27FC236}">
                <a16:creationId xmlns:a16="http://schemas.microsoft.com/office/drawing/2014/main" id="{4B13A6A0-AAC5-4762-99A3-8E67DE5BC58E}"/>
              </a:ext>
            </a:extLst>
          </p:cNvPr>
          <p:cNvSpPr>
            <a:spLocks noGrp="1"/>
          </p:cNvSpPr>
          <p:nvPr>
            <p:ph type="ftr" sz="quarter" idx="11"/>
          </p:nvPr>
        </p:nvSpPr>
        <p:spPr>
          <a:xfrm>
            <a:off x="0" y="6876000"/>
            <a:ext cx="0" cy="0"/>
          </a:xfrm>
        </p:spPr>
        <p:txBody>
          <a:bodyPr/>
          <a:lstStyle>
            <a:lvl1pPr>
              <a:defRPr sz="100">
                <a:noFill/>
              </a:defRPr>
            </a:lvl1pPr>
          </a:lstStyle>
          <a:p>
            <a:r>
              <a:rPr lang="en-GB"/>
              <a:t>Novo Nordisk company presentation</a:t>
            </a:r>
          </a:p>
        </p:txBody>
      </p:sp>
      <p:sp>
        <p:nvSpPr>
          <p:cNvPr id="4" name="Slide Number Placeholder 3">
            <a:extLst>
              <a:ext uri="{FF2B5EF4-FFF2-40B4-BE49-F238E27FC236}">
                <a16:creationId xmlns:a16="http://schemas.microsoft.com/office/drawing/2014/main" id="{566A718C-8117-4521-935E-A616BB58A88D}"/>
              </a:ext>
            </a:extLst>
          </p:cNvPr>
          <p:cNvSpPr>
            <a:spLocks noGrp="1"/>
          </p:cNvSpPr>
          <p:nvPr>
            <p:ph type="sldNum" sz="quarter" idx="12"/>
          </p:nvPr>
        </p:nvSpPr>
        <p:spPr>
          <a:xfrm>
            <a:off x="0" y="6876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21582529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85679227-7206-48A9-85BF-11D64F9A2AF3}" type="datetime3">
              <a:rPr lang="en-US" smtClean="0"/>
              <a:t>6 November 2020</a:t>
            </a:fld>
            <a:endParaRPr lang="en-GB"/>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r>
              <a:rPr lang="en-GB"/>
              <a:t>Novo Nordisk company presentation</a:t>
            </a:r>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16531462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2_A. Cover">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2"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bwMode="auto">
          <a:xfrm>
            <a:off x="648000" y="648000"/>
            <a:ext cx="8652000" cy="3104851"/>
          </a:xfrm>
        </p:spPr>
        <p:txBody>
          <a:bodyPr bIns="144000" anchor="b"/>
          <a:lstStyle>
            <a:lvl1pPr algn="l">
              <a:lnSpc>
                <a:spcPct val="100000"/>
              </a:lnSpc>
              <a:defRPr sz="4400">
                <a:solidFill>
                  <a:schemeClr val="bg1"/>
                </a:solidFill>
              </a:defRPr>
            </a:lvl1pPr>
          </a:lstStyle>
          <a:p>
            <a:r>
              <a:rPr lang="en-GB" dirty="0"/>
              <a:t>Click to add title</a:t>
            </a:r>
          </a:p>
        </p:txBody>
      </p:sp>
      <p:sp>
        <p:nvSpPr>
          <p:cNvPr id="5" name="Text Placeholder 4">
            <a:extLst>
              <a:ext uri="{FF2B5EF4-FFF2-40B4-BE49-F238E27FC236}">
                <a16:creationId xmlns:a16="http://schemas.microsoft.com/office/drawing/2014/main" id="{455D48FB-C4AE-4499-AA0B-C1A976EDD530}"/>
              </a:ext>
            </a:extLst>
          </p:cNvPr>
          <p:cNvSpPr>
            <a:spLocks noGrp="1"/>
          </p:cNvSpPr>
          <p:nvPr>
            <p:ph type="body" sz="quarter" idx="17" hasCustomPrompt="1"/>
          </p:nvPr>
        </p:nvSpPr>
        <p:spPr>
          <a:xfrm>
            <a:off x="648001" y="3753001"/>
            <a:ext cx="8652001" cy="1309148"/>
          </a:xfrm>
        </p:spPr>
        <p:txBody>
          <a:bodyPr/>
          <a:lstStyle>
            <a:lvl1pPr marL="0" indent="0">
              <a:buNone/>
              <a:defRPr>
                <a:solidFill>
                  <a:schemeClr val="bg1"/>
                </a:solidFill>
                <a:latin typeface="+mj-lt"/>
              </a:defRPr>
            </a:lvl1pPr>
          </a:lstStyle>
          <a:p>
            <a:pPr lvl="0"/>
            <a:r>
              <a:rPr lang="en-GB" dirty="0"/>
              <a:t>Click to add sub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799600"/>
            <a:ext cx="1920000" cy="154800"/>
          </a:xfrm>
        </p:spPr>
        <p:txBody>
          <a:bodyPr anchor="b"/>
          <a:lstStyle>
            <a:lvl1pPr marL="0" indent="0">
              <a:buNone/>
              <a:defRPr sz="1000" b="1">
                <a:solidFill>
                  <a:schemeClr val="bg1"/>
                </a:solidFill>
              </a:defRPr>
            </a:lvl1pPr>
          </a:lstStyle>
          <a:p>
            <a:pPr lvl="0"/>
            <a:r>
              <a:rPr lang="en-GB" dirty="0"/>
              <a:t>Insert nam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646989" y="6055200"/>
            <a:ext cx="1920001" cy="154800"/>
          </a:xfrm>
        </p:spPr>
        <p:txBody>
          <a:bodyPr/>
          <a:lstStyle>
            <a:lvl1pPr>
              <a:defRPr sz="1000" b="1">
                <a:solidFill>
                  <a:schemeClr val="bg1"/>
                </a:solidFill>
              </a:defRPr>
            </a:lvl1pPr>
          </a:lstStyle>
          <a:p>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0" y="6876000"/>
            <a:ext cx="0" cy="0"/>
          </a:xfrm>
        </p:spPr>
        <p:txBody>
          <a:bodyPr/>
          <a:lstStyle>
            <a:lvl1pPr algn="l">
              <a:defRPr sz="133">
                <a:noFill/>
              </a:defRPr>
            </a:lvl1pPr>
          </a:lstStyle>
          <a:p>
            <a:endParaRPr lang="en-GB" dirty="0"/>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1"/>
            <a:ext cx="36000" cy="47449"/>
          </a:xfrm>
          <a:prstGeom prst="rect">
            <a:avLst/>
          </a:prstGeom>
          <a:noFill/>
        </p:spPr>
        <p:txBody>
          <a:bodyPr wrap="square" lIns="0" tIns="0" rIns="0" bIns="0" rtlCol="0">
            <a:spAutoFit/>
          </a:bodyPr>
          <a:lstStyle/>
          <a:p>
            <a:pPr algn="l">
              <a:lnSpc>
                <a:spcPct val="120000"/>
              </a:lnSpc>
            </a:pPr>
            <a:r>
              <a:rPr lang="en-GB" sz="133" dirty="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33">
                <a:noFill/>
              </a:defRPr>
            </a:lvl1pPr>
          </a:lstStyle>
          <a:p>
            <a:fld id="{23AA811B-2EBD-4900-905E-5BE206449611}" type="slidenum">
              <a:rPr lang="en-GB"/>
              <a:pPr/>
              <a:t>‹#›</a:t>
            </a:fld>
            <a:endParaRPr lang="en-GB" dirty="0"/>
          </a:p>
        </p:txBody>
      </p:sp>
      <p:sp>
        <p:nvSpPr>
          <p:cNvPr id="3" name="Tagline" descr="{&quot;templafy&quot;:{&quot;id&quot;:&quot;c3573c47-46f3-44cd-9ffa-a621365a4086&quot;}}" title="Form.PLogoChoice.PLogoInsertionWhite">
            <a:extLst>
              <a:ext uri="{FF2B5EF4-FFF2-40B4-BE49-F238E27FC236}">
                <a16:creationId xmlns:a16="http://schemas.microsoft.com/office/drawing/2014/main" id="{CC218D6D-FEFB-46D0-8813-C99976F4CA16}"/>
              </a:ext>
            </a:extLst>
          </p:cNvPr>
          <p:cNvSpPr/>
          <p:nvPr userDrawn="1"/>
        </p:nvSpPr>
        <p:spPr>
          <a:xfrm>
            <a:off x="9240654"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30342374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Reporting 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5ABC87-3A04-44FB-BB7A-33BF50DF4EFB}"/>
              </a:ext>
            </a:extLst>
          </p:cNvPr>
          <p:cNvGraphicFramePr>
            <a:graphicFrameLocks noChangeAspect="1"/>
          </p:cNvGraphicFramePr>
          <p:nvPr userDrawn="1">
            <p:custDataLst>
              <p:tags r:id="rId2"/>
            </p:custDataLst>
            <p:extLst>
              <p:ext uri="{D42A27DB-BD31-4B8C-83A1-F6EECF244321}">
                <p14:modId xmlns:p14="http://schemas.microsoft.com/office/powerpoint/2010/main" val="3727016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499" imgH="499" progId="TCLayout.ActiveDocument.1">
                  <p:embed/>
                </p:oleObj>
              </mc:Choice>
              <mc:Fallback>
                <p:oleObj name="think-cell Slide" r:id="rId5" imgW="499" imgH="499" progId="TCLayout.ActiveDocument.1">
                  <p:embed/>
                  <p:pic>
                    <p:nvPicPr>
                      <p:cNvPr id="5" name="Object 4" hidden="1">
                        <a:extLst>
                          <a:ext uri="{FF2B5EF4-FFF2-40B4-BE49-F238E27FC236}">
                            <a16:creationId xmlns:a16="http://schemas.microsoft.com/office/drawing/2014/main" id="{ED5ABC87-3A04-44FB-BB7A-33BF50DF4E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C4D5D10-6667-455E-9FA4-485E2099BAD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7999" y="648000"/>
            <a:ext cx="10896000" cy="900000"/>
          </a:xfrm>
        </p:spPr>
        <p:txBody>
          <a:bodyPr/>
          <a:lstStyle>
            <a:lvl1pPr>
              <a:defRPr sz="2800" b="0"/>
            </a:lvl1pPr>
          </a:lstStyle>
          <a:p>
            <a:r>
              <a:rPr lang="en-GB" noProof="0" dirty="0"/>
              <a:t>Click to add title</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13421447-240C-413A-AFEC-CE24C323C2E0}" type="datetime3">
              <a:rPr lang="en-US"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Graduate Programme Introduction</a:t>
            </a:r>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70D294CC-24C2-47E3-B826-6C4083885A25}"/>
              </a:ext>
            </a:extLst>
          </p:cNvPr>
          <p:cNvSpPr>
            <a:spLocks noGrp="1"/>
          </p:cNvSpPr>
          <p:nvPr>
            <p:ph type="body" sz="quarter" idx="13" hasCustomPrompt="1"/>
          </p:nvPr>
        </p:nvSpPr>
        <p:spPr>
          <a:xfrm>
            <a:off x="647999" y="6210000"/>
            <a:ext cx="8652000" cy="324000"/>
          </a:xfrm>
        </p:spPr>
        <p:txBody>
          <a:bodyPr anchor="b"/>
          <a:lstStyle>
            <a:lvl1pPr marL="0" indent="0">
              <a:buNone/>
              <a:defRPr sz="600" i="1">
                <a:solidFill>
                  <a:schemeClr val="tx2"/>
                </a:solidFill>
              </a:defRPr>
            </a:lvl1pPr>
          </a:lstStyle>
          <a:p>
            <a:pPr lvl="0"/>
            <a:r>
              <a:rPr lang="en-GB" dirty="0"/>
              <a:t>Insert notes</a:t>
            </a:r>
          </a:p>
        </p:txBody>
      </p:sp>
    </p:spTree>
    <p:extLst>
      <p:ext uri="{BB962C8B-B14F-4D97-AF65-F5344CB8AC3E}">
        <p14:creationId xmlns:p14="http://schemas.microsoft.com/office/powerpoint/2010/main" val="21180950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Editorial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82C40FC-7870-4C1F-9C95-3246AC8AF6C8}"/>
              </a:ext>
            </a:extLst>
          </p:cNvPr>
          <p:cNvSpPr/>
          <p:nvPr userDrawn="1"/>
        </p:nvSpPr>
        <p:spPr bwMode="ltGray">
          <a:xfrm>
            <a:off x="2892000" y="324000"/>
            <a:ext cx="8975999" cy="6210000"/>
          </a:xfrm>
          <a:prstGeom prst="rect">
            <a:avLst/>
          </a:prstGeom>
          <a:solidFill>
            <a:srgbClr val="E9EBE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Title 1"/>
          <p:cNvSpPr>
            <a:spLocks noGrp="1"/>
          </p:cNvSpPr>
          <p:nvPr>
            <p:ph type="title" hasCustomPrompt="1"/>
          </p:nvPr>
        </p:nvSpPr>
        <p:spPr>
          <a:xfrm>
            <a:off x="648000" y="648000"/>
            <a:ext cx="4164000" cy="3105000"/>
          </a:xfrm>
        </p:spPr>
        <p:txBody>
          <a:bodyPr anchor="t"/>
          <a:lstStyle>
            <a:lvl1pPr>
              <a:lnSpc>
                <a:spcPct val="100000"/>
              </a:lnSpc>
              <a:defRPr sz="4400" b="0"/>
            </a:lvl1pPr>
          </a:lstStyle>
          <a:p>
            <a:r>
              <a:rPr lang="en-GB" noProof="0" dirty="0"/>
              <a:t>Click to add title</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1920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A0AFC648-0C72-4044-8074-D5FCE37692E6}" type="datetime3">
              <a:rPr lang="en-US"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a:t>Graduate Programme Introduction</a:t>
            </a:r>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4" name="Content Placeholder 3">
            <a:extLst>
              <a:ext uri="{FF2B5EF4-FFF2-40B4-BE49-F238E27FC236}">
                <a16:creationId xmlns:a16="http://schemas.microsoft.com/office/drawing/2014/main" id="{B0C40FC7-04A9-4263-9DB4-3DAAFE35D369}"/>
              </a:ext>
            </a:extLst>
          </p:cNvPr>
          <p:cNvSpPr>
            <a:spLocks noGrp="1"/>
          </p:cNvSpPr>
          <p:nvPr>
            <p:ph sz="quarter" idx="14" hasCustomPrompt="1"/>
          </p:nvPr>
        </p:nvSpPr>
        <p:spPr>
          <a:xfrm>
            <a:off x="647999" y="4077000"/>
            <a:ext cx="1920000" cy="2133000"/>
          </a:xfrm>
        </p:spPr>
        <p:txBody>
          <a:bodyPr/>
          <a:lstStyle>
            <a:lvl1pPr>
              <a:defRPr sz="1400"/>
            </a:lvl1pPr>
            <a:lvl2pPr>
              <a:defRPr sz="1400"/>
            </a:lvl2pPr>
            <a:lvl3pPr>
              <a:defRPr sz="1400"/>
            </a:lvl3pPr>
            <a:lvl4pPr>
              <a:defRPr sz="1400"/>
            </a:lvl4pPr>
            <a:lvl5pPr>
              <a:defRPr sz="14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10">
            <a:extLst>
              <a:ext uri="{FF2B5EF4-FFF2-40B4-BE49-F238E27FC236}">
                <a16:creationId xmlns:a16="http://schemas.microsoft.com/office/drawing/2014/main" id="{D3F5C81B-CCBB-449E-A906-622504023D22}"/>
              </a:ext>
            </a:extLst>
          </p:cNvPr>
          <p:cNvSpPr>
            <a:spLocks noGrp="1"/>
          </p:cNvSpPr>
          <p:nvPr>
            <p:ph sz="quarter" idx="15" hasCustomPrompt="1"/>
          </p:nvPr>
        </p:nvSpPr>
        <p:spPr>
          <a:xfrm>
            <a:off x="5135999" y="648000"/>
            <a:ext cx="6408001" cy="3105000"/>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Content Placeholder 12">
            <a:extLst>
              <a:ext uri="{FF2B5EF4-FFF2-40B4-BE49-F238E27FC236}">
                <a16:creationId xmlns:a16="http://schemas.microsoft.com/office/drawing/2014/main" id="{4BBF8239-2E8F-4667-916C-3F586A89212F}"/>
              </a:ext>
            </a:extLst>
          </p:cNvPr>
          <p:cNvSpPr>
            <a:spLocks noGrp="1"/>
          </p:cNvSpPr>
          <p:nvPr>
            <p:ph sz="quarter" idx="16" hasCustomPrompt="1"/>
          </p:nvPr>
        </p:nvSpPr>
        <p:spPr>
          <a:xfrm>
            <a:off x="5135999" y="4076999"/>
            <a:ext cx="4164000" cy="2133001"/>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Content Placeholder 16">
            <a:extLst>
              <a:ext uri="{FF2B5EF4-FFF2-40B4-BE49-F238E27FC236}">
                <a16:creationId xmlns:a16="http://schemas.microsoft.com/office/drawing/2014/main" id="{0901DBFD-EC7A-43B4-895D-0575D5391E8E}"/>
              </a:ext>
            </a:extLst>
          </p:cNvPr>
          <p:cNvSpPr>
            <a:spLocks noGrp="1"/>
          </p:cNvSpPr>
          <p:nvPr>
            <p:ph sz="quarter" idx="17" hasCustomPrompt="1"/>
          </p:nvPr>
        </p:nvSpPr>
        <p:spPr>
          <a:xfrm>
            <a:off x="9623999" y="4076999"/>
            <a:ext cx="1920000" cy="2133000"/>
          </a:xfrm>
        </p:spPr>
        <p:txBody>
          <a:bodyPr/>
          <a:lstStyle>
            <a:lvl1pPr>
              <a:defRPr sz="1400"/>
            </a:lvl1pPr>
            <a:lvl2pPr>
              <a:defRPr sz="1400"/>
            </a:lvl2pPr>
            <a:lvl3pPr>
              <a:defRPr sz="1400"/>
            </a:lvl3pPr>
            <a:lvl4pPr>
              <a:defRPr sz="1400"/>
            </a:lvl4pPr>
            <a:lvl5pPr>
              <a:defRPr sz="14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0695634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D.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36356" y="2163600"/>
            <a:ext cx="6408844" cy="2379600"/>
          </a:xfrm>
        </p:spPr>
        <p:txBody>
          <a:bodyPr anchor="ctr"/>
          <a:lstStyle>
            <a:lvl1pPr algn="l">
              <a:lnSpc>
                <a:spcPct val="100000"/>
              </a:lnSpc>
              <a:defRPr sz="4400">
                <a:solidFill>
                  <a:schemeClr val="tx2"/>
                </a:solidFill>
              </a:defRPr>
            </a:lvl1pPr>
          </a:lstStyle>
          <a:p>
            <a:r>
              <a:rPr lang="en-GB" dirty="0"/>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5FB0A2D2-439A-42B6-896F-11616203E9AE}" type="datetime3">
              <a:rPr lang="en-US" smtClean="0"/>
              <a:t>6 November 2020</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
        <p:nvSpPr>
          <p:cNvPr id="11" name="Footer Placeholder 7">
            <a:extLst>
              <a:ext uri="{FF2B5EF4-FFF2-40B4-BE49-F238E27FC236}">
                <a16:creationId xmlns:a16="http://schemas.microsoft.com/office/drawing/2014/main" id="{3619EDAC-4320-41F5-B9CB-6CF8C3F2CC13}"/>
              </a:ext>
            </a:extLst>
          </p:cNvPr>
          <p:cNvSpPr>
            <a:spLocks noGrp="1"/>
          </p:cNvSpPr>
          <p:nvPr>
            <p:ph type="ftr" sz="quarter" idx="3"/>
          </p:nvPr>
        </p:nvSpPr>
        <p:spPr>
          <a:xfrm>
            <a:off x="9625912" y="5900399"/>
            <a:ext cx="1919288" cy="308313"/>
          </a:xfrm>
          <a:prstGeom prst="rect">
            <a:avLst/>
          </a:prstGeom>
        </p:spPr>
        <p:txBody>
          <a:bodyPr vert="horz" lIns="0" tIns="0" rIns="0" bIns="0" rtlCol="0" anchor="t"/>
          <a:lstStyle>
            <a:lvl1pPr algn="l">
              <a:defRPr sz="1000">
                <a:solidFill>
                  <a:schemeClr val="tx2"/>
                </a:solidFill>
              </a:defRPr>
            </a:lvl1pPr>
          </a:lstStyle>
          <a:p>
            <a:r>
              <a:rPr lang="en-GB"/>
              <a:t>Graduate Programme Introduction</a:t>
            </a:r>
            <a:endParaRPr lang="en-GB" dirty="0"/>
          </a:p>
        </p:txBody>
      </p:sp>
      <p:sp>
        <p:nvSpPr>
          <p:cNvPr id="12" name="Slide Number Placeholder 8">
            <a:extLst>
              <a:ext uri="{FF2B5EF4-FFF2-40B4-BE49-F238E27FC236}">
                <a16:creationId xmlns:a16="http://schemas.microsoft.com/office/drawing/2014/main" id="{6EC1ABD1-7336-4768-9B10-EE224AA916BA}"/>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CFCDB02C-C393-45D0-9339-45B1931BD42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dirty="0" err="1"/>
          </a:p>
        </p:txBody>
      </p:sp>
    </p:spTree>
    <p:extLst>
      <p:ext uri="{BB962C8B-B14F-4D97-AF65-F5344CB8AC3E}">
        <p14:creationId xmlns:p14="http://schemas.microsoft.com/office/powerpoint/2010/main" val="25955026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AAB12255-2CF7-4448-B163-1CFC06A86083}" type="datetime3">
              <a:rPr lang="en-US" smtClean="0"/>
              <a:t>6 November 2020</a:t>
            </a:fld>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a:t>Graduate Programme Introduction</a:t>
            </a:r>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2552808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54E95780-252F-4BB6-B963-A78188FF7E5F}" type="datetime3">
              <a:rPr lang="en-US" smtClean="0"/>
              <a:t>6 November 2020</a:t>
            </a:fld>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Tree>
    <p:extLst>
      <p:ext uri="{BB962C8B-B14F-4D97-AF65-F5344CB8AC3E}">
        <p14:creationId xmlns:p14="http://schemas.microsoft.com/office/powerpoint/2010/main" val="21983175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Graduate Programme Introduction</a:t>
            </a:r>
            <a:endParaRPr lang="en-GB" noProof="0" dirty="0"/>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US" noProof="0"/>
              <a:t>26 October 2020</a:t>
            </a:r>
            <a:endParaRPr lang="en-GB" noProof="0" dirty="0"/>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0880587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r>
              <a:rPr lang="en-US"/>
              <a:t>26 October 2020</a:t>
            </a:r>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r>
              <a:rPr lang="en-GB"/>
              <a:t>Graduate Programme Introduction</a:t>
            </a:r>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17278751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mp; sub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E871BF-A5F5-48B5-8A4D-6BD7CBC27A73}"/>
              </a:ext>
            </a:extLst>
          </p:cNvPr>
          <p:cNvGraphicFramePr>
            <a:graphicFrameLocks noChangeAspect="1"/>
          </p:cNvGraphicFramePr>
          <p:nvPr userDrawn="1">
            <p:custDataLst>
              <p:tags r:id="rId2"/>
            </p:custDataLst>
            <p:extLst>
              <p:ext uri="{D42A27DB-BD31-4B8C-83A1-F6EECF244321}">
                <p14:modId xmlns:p14="http://schemas.microsoft.com/office/powerpoint/2010/main" val="2049813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57E871BF-A5F5-48B5-8A4D-6BD7CBC27A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404EF0E-8B5F-4648-92FD-99EF5731645A}"/>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Slide Number Placeholder 2"/>
          <p:cNvSpPr>
            <a:spLocks noGrp="1"/>
          </p:cNvSpPr>
          <p:nvPr>
            <p:ph type="sldNum" sz="quarter" idx="10"/>
          </p:nvPr>
        </p:nvSpPr>
        <p:spPr>
          <a:xfrm>
            <a:off x="11353096" y="140067"/>
            <a:ext cx="416504" cy="135467"/>
          </a:xfrm>
          <a:prstGeom prst="rect">
            <a:avLst/>
          </a:prstGeom>
        </p:spPr>
        <p:txBody>
          <a:bodyPr/>
          <a:lstStyle/>
          <a:p>
            <a:pPr>
              <a:defRPr/>
            </a:pPr>
            <a:fld id="{4B01E8EF-57E8-4F85-90EB-163CEE512F88}" type="slidenum">
              <a:rPr lang="en-GB" noProof="0" smtClean="0"/>
              <a:pPr>
                <a:defRPr/>
              </a:pPr>
              <a:t>‹#›</a:t>
            </a:fld>
            <a:endParaRPr lang="en-GB" noProof="0" dirty="0"/>
          </a:p>
        </p:txBody>
      </p:sp>
      <p:sp>
        <p:nvSpPr>
          <p:cNvPr id="4" name="Footer Placeholder 3"/>
          <p:cNvSpPr>
            <a:spLocks noGrp="1"/>
          </p:cNvSpPr>
          <p:nvPr>
            <p:ph type="ftr" sz="quarter" idx="11"/>
          </p:nvPr>
        </p:nvSpPr>
        <p:spPr/>
        <p:txBody>
          <a:bodyPr/>
          <a:lstStyle/>
          <a:p>
            <a:pPr>
              <a:defRPr/>
            </a:pPr>
            <a:r>
              <a:rPr lang="en-GB" noProof="0" dirty="0"/>
              <a:t>PowerPoint Presentation</a:t>
            </a:r>
          </a:p>
        </p:txBody>
      </p:sp>
      <p:sp>
        <p:nvSpPr>
          <p:cNvPr id="5" name="Date Placeholder 4"/>
          <p:cNvSpPr>
            <a:spLocks noGrp="1"/>
          </p:cNvSpPr>
          <p:nvPr>
            <p:ph type="dt" sz="half" idx="12"/>
          </p:nvPr>
        </p:nvSpPr>
        <p:spPr/>
        <p:txBody>
          <a:bodyPr/>
          <a:lstStyle/>
          <a:p>
            <a:pPr>
              <a:defRPr/>
            </a:pPr>
            <a:r>
              <a:rPr lang="en-GB" noProof="0" dirty="0"/>
              <a:t>Date</a:t>
            </a:r>
          </a:p>
        </p:txBody>
      </p:sp>
      <p:sp>
        <p:nvSpPr>
          <p:cNvPr id="6" name="Rectangle 3">
            <a:extLst>
              <a:ext uri="{FF2B5EF4-FFF2-40B4-BE49-F238E27FC236}">
                <a16:creationId xmlns:a16="http://schemas.microsoft.com/office/drawing/2014/main" id="{9D737C35-DB09-4656-8178-FAE20BA0FDB4}"/>
              </a:ext>
            </a:extLst>
          </p:cNvPr>
          <p:cNvSpPr>
            <a:spLocks noGrp="1" noChangeArrowheads="1"/>
          </p:cNvSpPr>
          <p:nvPr>
            <p:ph type="subTitle" idx="14" hasCustomPrompt="1"/>
          </p:nvPr>
        </p:nvSpPr>
        <p:spPr>
          <a:xfrm>
            <a:off x="422400" y="1209110"/>
            <a:ext cx="11347200" cy="266301"/>
          </a:xfrm>
          <a:extLst>
            <a:ext uri="{909E8E84-426E-40DD-AFC4-6F175D3DCCD1}">
              <a14:hiddenFill xmlns:a14="http://schemas.microsoft.com/office/drawing/2010/main">
                <a:solidFill>
                  <a:schemeClr val="accent1"/>
                </a:solidFill>
              </a14:hiddenFill>
            </a:ext>
          </a:extLst>
        </p:spPr>
        <p:txBody>
          <a:bodyPr wrap="square" lIns="18000" anchor="t" anchorCtr="0">
            <a:noAutofit/>
          </a:bodyPr>
          <a:lstStyle>
            <a:lvl1pPr marL="0" indent="0" algn="l">
              <a:buFontTx/>
              <a:buNone/>
              <a:defRPr sz="1467" spc="200" baseline="0"/>
            </a:lvl1pPr>
          </a:lstStyle>
          <a:p>
            <a:pPr lvl="0"/>
            <a:r>
              <a:rPr lang="en-GB" noProof="0" dirty="0"/>
              <a:t>Insert subtitle</a:t>
            </a:r>
          </a:p>
        </p:txBody>
      </p:sp>
    </p:spTree>
    <p:extLst>
      <p:ext uri="{BB962C8B-B14F-4D97-AF65-F5344CB8AC3E}">
        <p14:creationId xmlns:p14="http://schemas.microsoft.com/office/powerpoint/2010/main" val="20852240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9A9A21-B595-465C-AC6A-25121952B61F}"/>
              </a:ext>
            </a:extLst>
          </p:cNvPr>
          <p:cNvGraphicFramePr>
            <a:graphicFrameLocks noChangeAspect="1"/>
          </p:cNvGraphicFramePr>
          <p:nvPr userDrawn="1">
            <p:custDataLst>
              <p:tags r:id="rId2"/>
            </p:custDataLst>
            <p:extLst>
              <p:ext uri="{D42A27DB-BD31-4B8C-83A1-F6EECF244321}">
                <p14:modId xmlns:p14="http://schemas.microsoft.com/office/powerpoint/2010/main" val="2617691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629A9A21-B595-465C-AC6A-25121952B6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ABE224D-58FE-46A1-94AD-A21DFE661EEA}"/>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267" b="1" i="0" baseline="0" dirty="0">
              <a:latin typeface="Verdana" panose="020B0604030504040204" pitchFamily="34" charset="0"/>
              <a:ea typeface="+mj-ea"/>
              <a:cs typeface="+mj-cs"/>
              <a:sym typeface="Verdana" panose="020B0604030504040204" pitchFamily="34" charset="0"/>
            </a:endParaRPr>
          </a:p>
        </p:txBody>
      </p:sp>
      <p:sp>
        <p:nvSpPr>
          <p:cNvPr id="3074" name="Rectangle 2"/>
          <p:cNvSpPr>
            <a:spLocks noGrp="1" noChangeArrowheads="1"/>
          </p:cNvSpPr>
          <p:nvPr>
            <p:ph type="ctrTitle"/>
          </p:nvPr>
        </p:nvSpPr>
        <p:spPr>
          <a:xfrm>
            <a:off x="7046400" y="1750485"/>
            <a:ext cx="4723200" cy="2042057"/>
          </a:xfrm>
        </p:spPr>
        <p:txBody>
          <a:bodyPr anchor="b"/>
          <a:lstStyle>
            <a:lvl1pPr algn="r">
              <a:lnSpc>
                <a:spcPct val="85000"/>
              </a:lnSpc>
              <a:defRPr sz="4267"/>
            </a:lvl1pPr>
          </a:lstStyle>
          <a:p>
            <a:pPr lvl="0"/>
            <a:r>
              <a:rPr lang="en-GB" noProof="0" dirty="0"/>
              <a:t>Click to edit Master title style</a:t>
            </a:r>
          </a:p>
        </p:txBody>
      </p:sp>
      <p:sp>
        <p:nvSpPr>
          <p:cNvPr id="3075" name="Rectangle 3"/>
          <p:cNvSpPr>
            <a:spLocks noGrp="1" noChangeArrowheads="1"/>
          </p:cNvSpPr>
          <p:nvPr>
            <p:ph type="subTitle" idx="1"/>
          </p:nvPr>
        </p:nvSpPr>
        <p:spPr>
          <a:xfrm>
            <a:off x="7045176" y="4033950"/>
            <a:ext cx="4724425" cy="912781"/>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867"/>
            </a:lvl1pPr>
          </a:lstStyle>
          <a:p>
            <a:pPr lvl="0"/>
            <a:r>
              <a:rPr lang="en-GB" noProof="0" dirty="0"/>
              <a:t>Click to edit Master subtitle style</a:t>
            </a:r>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2005279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D0EA65-7655-4999-BEC4-B2CDB2043BD3}"/>
              </a:ext>
            </a:extLst>
          </p:cNvPr>
          <p:cNvGraphicFramePr>
            <a:graphicFrameLocks noChangeAspect="1"/>
          </p:cNvGraphicFramePr>
          <p:nvPr userDrawn="1">
            <p:custDataLst>
              <p:tags r:id="rId2"/>
            </p:custDataLst>
            <p:extLst>
              <p:ext uri="{D42A27DB-BD31-4B8C-83A1-F6EECF244321}">
                <p14:modId xmlns:p14="http://schemas.microsoft.com/office/powerpoint/2010/main" val="522418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9AD0EA65-7655-4999-BEC4-B2CDB2043B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7D3FCC-281A-4F05-8A98-2A28FA2E05A4}"/>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6494540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romp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983C16-AF04-414F-A327-8ECF54D42FAD}"/>
              </a:ext>
            </a:extLst>
          </p:cNvPr>
          <p:cNvGraphicFramePr>
            <a:graphicFrameLocks noChangeAspect="1"/>
          </p:cNvGraphicFramePr>
          <p:nvPr userDrawn="1">
            <p:custDataLst>
              <p:tags r:id="rId2"/>
            </p:custDataLst>
            <p:extLst>
              <p:ext uri="{D42A27DB-BD31-4B8C-83A1-F6EECF244321}">
                <p14:modId xmlns:p14="http://schemas.microsoft.com/office/powerpoint/2010/main" val="3863108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76983C16-AF04-414F-A327-8ECF54D42F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DA382B9-5A7D-4692-921E-A5AC50EA4EDB}"/>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8" name="Rectangle 3"/>
          <p:cNvSpPr>
            <a:spLocks noGrp="1" noChangeArrowheads="1"/>
          </p:cNvSpPr>
          <p:nvPr>
            <p:ph type="subTitle" idx="14" hasCustomPrompt="1"/>
          </p:nvPr>
        </p:nvSpPr>
        <p:spPr>
          <a:xfrm>
            <a:off x="422400" y="514567"/>
            <a:ext cx="11347200" cy="171520"/>
          </a:xfrm>
          <a:extLst>
            <a:ext uri="{909E8E84-426E-40DD-AFC4-6F175D3DCCD1}">
              <a14:hiddenFill xmlns:a14="http://schemas.microsoft.com/office/drawing/2010/main">
                <a:solidFill>
                  <a:schemeClr val="accent1"/>
                </a:solidFill>
              </a14:hiddenFill>
            </a:ext>
          </a:extLst>
        </p:spPr>
        <p:txBody>
          <a:bodyPr wrap="none" lIns="18000" anchor="ctr" anchorCtr="0">
            <a:noAutofit/>
          </a:bodyPr>
          <a:lstStyle>
            <a:lvl1pPr marL="0" indent="0" algn="l">
              <a:buFontTx/>
              <a:buNone/>
              <a:defRPr sz="1467" baseline="0"/>
            </a:lvl1pPr>
          </a:lstStyle>
          <a:p>
            <a:pPr lvl="0"/>
            <a:r>
              <a:rPr lang="en-GB" noProof="0" dirty="0"/>
              <a:t>Insert </a:t>
            </a:r>
            <a:r>
              <a:rPr lang="en-GB" noProof="0" dirty="0" err="1"/>
              <a:t>trompet</a:t>
            </a:r>
            <a:endParaRPr lang="en-GB" noProof="0" dirty="0"/>
          </a:p>
        </p:txBody>
      </p:sp>
      <p:sp>
        <p:nvSpPr>
          <p:cNvPr id="10"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9"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5"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5206843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BFCB500-2FF2-4117-A692-BC3EF953AD22}"/>
              </a:ext>
            </a:extLst>
          </p:cNvPr>
          <p:cNvGraphicFramePr>
            <a:graphicFrameLocks noChangeAspect="1"/>
          </p:cNvGraphicFramePr>
          <p:nvPr userDrawn="1">
            <p:custDataLst>
              <p:tags r:id="rId2"/>
            </p:custDataLst>
            <p:extLst>
              <p:ext uri="{D42A27DB-BD31-4B8C-83A1-F6EECF244321}">
                <p14:modId xmlns:p14="http://schemas.microsoft.com/office/powerpoint/2010/main" val="1576322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BBFCB500-2FF2-4117-A692-BC3EF953AD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27B7D96-9A3A-48F2-B8A0-B6691267D6A4}"/>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8" name="Rectangle 3"/>
          <p:cNvSpPr>
            <a:spLocks noGrp="1" noChangeArrowheads="1"/>
          </p:cNvSpPr>
          <p:nvPr>
            <p:ph type="subTitle" idx="14" hasCustomPrompt="1"/>
          </p:nvPr>
        </p:nvSpPr>
        <p:spPr>
          <a:xfrm>
            <a:off x="422400" y="1209110"/>
            <a:ext cx="11347200" cy="266301"/>
          </a:xfrm>
          <a:extLst>
            <a:ext uri="{909E8E84-426E-40DD-AFC4-6F175D3DCCD1}">
              <a14:hiddenFill xmlns:a14="http://schemas.microsoft.com/office/drawing/2010/main">
                <a:solidFill>
                  <a:schemeClr val="accent1"/>
                </a:solidFill>
              </a14:hiddenFill>
            </a:ext>
          </a:extLst>
        </p:spPr>
        <p:txBody>
          <a:bodyPr wrap="none" lIns="18000" anchor="ctr" anchorCtr="0"/>
          <a:lstStyle>
            <a:lvl1pPr marL="0" indent="0" algn="l">
              <a:buFontTx/>
              <a:buNone/>
              <a:defRPr sz="1467" baseline="0"/>
            </a:lvl1pPr>
          </a:lstStyle>
          <a:p>
            <a:pPr lvl="0"/>
            <a:r>
              <a:rPr lang="en-GB" noProof="0" dirty="0"/>
              <a:t>Insert subtitle</a:t>
            </a:r>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9"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5"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9540926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6BA54E-7863-43E4-9A51-FEB931F06D49}"/>
              </a:ext>
            </a:extLst>
          </p:cNvPr>
          <p:cNvGraphicFramePr>
            <a:graphicFrameLocks noChangeAspect="1"/>
          </p:cNvGraphicFramePr>
          <p:nvPr userDrawn="1">
            <p:custDataLst>
              <p:tags r:id="rId2"/>
            </p:custDataLst>
            <p:extLst>
              <p:ext uri="{D42A27DB-BD31-4B8C-83A1-F6EECF244321}">
                <p14:modId xmlns:p14="http://schemas.microsoft.com/office/powerpoint/2010/main" val="2279950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866BA54E-7863-43E4-9A51-FEB931F06D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8A1E383-22D4-4BDD-B8E1-6C10DE8FA7D5}"/>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8000" b="1" i="0" baseline="0" dirty="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425095" y="687227"/>
            <a:ext cx="8923332" cy="5006607"/>
          </a:xfrm>
        </p:spPr>
        <p:txBody>
          <a:bodyPr tIns="57600" anchor="t"/>
          <a:lstStyle>
            <a:lvl1pPr>
              <a:lnSpc>
                <a:spcPct val="90000"/>
              </a:lnSpc>
              <a:defRPr sz="8000" spc="-200"/>
            </a:lvl1pPr>
          </a:lstStyle>
          <a:p>
            <a:r>
              <a:rPr lang="en-GB" noProof="0" dirty="0"/>
              <a:t>Click to edit Master title style</a:t>
            </a:r>
          </a:p>
        </p:txBody>
      </p:sp>
      <p:sp>
        <p:nvSpPr>
          <p:cNvPr id="9"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0"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1"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8383887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54E509F-735B-4BC5-92BA-CE8595A1A4D7}"/>
              </a:ext>
            </a:extLst>
          </p:cNvPr>
          <p:cNvGraphicFramePr>
            <a:graphicFrameLocks noChangeAspect="1"/>
          </p:cNvGraphicFramePr>
          <p:nvPr userDrawn="1">
            <p:custDataLst>
              <p:tags r:id="rId2"/>
            </p:custDataLst>
            <p:extLst>
              <p:ext uri="{D42A27DB-BD31-4B8C-83A1-F6EECF244321}">
                <p14:modId xmlns:p14="http://schemas.microsoft.com/office/powerpoint/2010/main" val="3046352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554E509F-735B-4BC5-92BA-CE8595A1A4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0E59DBF-47AD-4893-92AE-81F2B55A38E5}"/>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8"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1"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3"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394681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placeholders horizonta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77A47C-25B4-4D8D-8E03-1B0D09575F97}"/>
              </a:ext>
            </a:extLst>
          </p:cNvPr>
          <p:cNvGraphicFramePr>
            <a:graphicFrameLocks noChangeAspect="1"/>
          </p:cNvGraphicFramePr>
          <p:nvPr userDrawn="1">
            <p:custDataLst>
              <p:tags r:id="rId2"/>
            </p:custDataLst>
            <p:extLst>
              <p:ext uri="{D42A27DB-BD31-4B8C-83A1-F6EECF244321}">
                <p14:modId xmlns:p14="http://schemas.microsoft.com/office/powerpoint/2010/main" val="2705620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377A47C-25B4-4D8D-8E03-1B0D09575F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204D804-A413-4869-A78A-C1775EF12B7B}"/>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24" name="Content Placeholder 2"/>
          <p:cNvSpPr>
            <a:spLocks noGrp="1"/>
          </p:cNvSpPr>
          <p:nvPr>
            <p:ph idx="1"/>
          </p:nvPr>
        </p:nvSpPr>
        <p:spPr>
          <a:xfrm>
            <a:off x="422400" y="1749631"/>
            <a:ext cx="113472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Content Placeholder 2"/>
          <p:cNvSpPr>
            <a:spLocks noGrp="1"/>
          </p:cNvSpPr>
          <p:nvPr>
            <p:ph idx="25"/>
          </p:nvPr>
        </p:nvSpPr>
        <p:spPr>
          <a:xfrm>
            <a:off x="422400" y="3831306"/>
            <a:ext cx="113472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4"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1843045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 Agenda">
    <p:bg>
      <p:bgPr>
        <a:solidFill>
          <a:schemeClr val="tx2"/>
        </a:solidFill>
        <a:effectLst/>
      </p:bgPr>
    </p:bg>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FE888D5C-22B8-4D43-A812-CBA1899C6D1B}"/>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1" name="Text Placeholder 10">
            <a:extLst>
              <a:ext uri="{FF2B5EF4-FFF2-40B4-BE49-F238E27FC236}">
                <a16:creationId xmlns:a16="http://schemas.microsoft.com/office/drawing/2014/main" id="{9E24A4C1-C147-4435-9EF5-9F704F3FDF68}"/>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B2863B6F-B4AA-4107-8EAE-27A9B790199D}" type="datetime3">
              <a:rPr lang="en-US" smtClean="0"/>
              <a:t>6 November 2020</a:t>
            </a:fld>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27" name="TextBox 26">
            <a:extLst>
              <a:ext uri="{FF2B5EF4-FFF2-40B4-BE49-F238E27FC236}">
                <a16:creationId xmlns:a16="http://schemas.microsoft.com/office/drawing/2014/main" id="{E40CB1CA-2587-4B28-B617-12E72EE3F7B3}"/>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a:solidFill>
                  <a:schemeClr val="bg1"/>
                </a:solidFill>
              </a:rPr>
              <a:t>Agenda</a:t>
            </a:r>
          </a:p>
        </p:txBody>
      </p:sp>
      <p:sp>
        <p:nvSpPr>
          <p:cNvPr id="28" name="Freeform: Shape 27">
            <a:extLst>
              <a:ext uri="{FF2B5EF4-FFF2-40B4-BE49-F238E27FC236}">
                <a16:creationId xmlns:a16="http://schemas.microsoft.com/office/drawing/2014/main" id="{43646567-2D5E-4670-950C-54E8ECCF6EB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Tree>
    <p:extLst>
      <p:ext uri="{BB962C8B-B14F-4D97-AF65-F5344CB8AC3E}">
        <p14:creationId xmlns:p14="http://schemas.microsoft.com/office/powerpoint/2010/main" val="1015058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7BE27B-9714-47D0-9737-D86394374538}"/>
              </a:ext>
            </a:extLst>
          </p:cNvPr>
          <p:cNvGraphicFramePr>
            <a:graphicFrameLocks noChangeAspect="1"/>
          </p:cNvGraphicFramePr>
          <p:nvPr userDrawn="1">
            <p:custDataLst>
              <p:tags r:id="rId2"/>
            </p:custDataLst>
            <p:extLst>
              <p:ext uri="{D42A27DB-BD31-4B8C-83A1-F6EECF244321}">
                <p14:modId xmlns:p14="http://schemas.microsoft.com/office/powerpoint/2010/main" val="758110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FD7BE27B-9714-47D0-9737-D863943745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1DB035-4B47-44BB-84D3-91AF1C1BC2BB}"/>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2"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27" name="Content Placeholder 2"/>
          <p:cNvSpPr>
            <a:spLocks noGrp="1"/>
          </p:cNvSpPr>
          <p:nvPr>
            <p:ph idx="1"/>
          </p:nvPr>
        </p:nvSpPr>
        <p:spPr>
          <a:xfrm>
            <a:off x="422400" y="1749631"/>
            <a:ext cx="3497667"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Content Placeholder 2"/>
          <p:cNvSpPr>
            <a:spLocks noGrp="1"/>
          </p:cNvSpPr>
          <p:nvPr>
            <p:ph idx="10"/>
          </p:nvPr>
        </p:nvSpPr>
        <p:spPr>
          <a:xfrm>
            <a:off x="4347167" y="1749631"/>
            <a:ext cx="3497667"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9" name="Content Placeholder 2"/>
          <p:cNvSpPr>
            <a:spLocks noGrp="1"/>
          </p:cNvSpPr>
          <p:nvPr>
            <p:ph idx="11"/>
          </p:nvPr>
        </p:nvSpPr>
        <p:spPr>
          <a:xfrm>
            <a:off x="8271933" y="1749631"/>
            <a:ext cx="3497667"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20"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21"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995018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2EEC09-D265-4EFD-93DF-A46AADC633E5}"/>
              </a:ext>
            </a:extLst>
          </p:cNvPr>
          <p:cNvGraphicFramePr>
            <a:graphicFrameLocks noChangeAspect="1"/>
          </p:cNvGraphicFramePr>
          <p:nvPr userDrawn="1">
            <p:custDataLst>
              <p:tags r:id="rId2"/>
            </p:custDataLst>
            <p:extLst>
              <p:ext uri="{D42A27DB-BD31-4B8C-83A1-F6EECF244321}">
                <p14:modId xmlns:p14="http://schemas.microsoft.com/office/powerpoint/2010/main" val="100186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3E2EEC09-D265-4EFD-93DF-A46AADC633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DF489F-8D1B-4B08-B69F-75CC87B90A36}"/>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37" name="Content Placeholder 2"/>
          <p:cNvSpPr>
            <a:spLocks noGrp="1"/>
          </p:cNvSpPr>
          <p:nvPr>
            <p:ph idx="1"/>
          </p:nvPr>
        </p:nvSpPr>
        <p:spPr>
          <a:xfrm>
            <a:off x="422401" y="1749631"/>
            <a:ext cx="2517649"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2"/>
          <p:cNvSpPr>
            <a:spLocks noGrp="1"/>
          </p:cNvSpPr>
          <p:nvPr>
            <p:ph idx="10"/>
          </p:nvPr>
        </p:nvSpPr>
        <p:spPr>
          <a:xfrm>
            <a:off x="3362450" y="1749631"/>
            <a:ext cx="2517649"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Content Placeholder 2"/>
          <p:cNvSpPr>
            <a:spLocks noGrp="1"/>
          </p:cNvSpPr>
          <p:nvPr>
            <p:ph idx="11"/>
          </p:nvPr>
        </p:nvSpPr>
        <p:spPr>
          <a:xfrm>
            <a:off x="6302500" y="1749631"/>
            <a:ext cx="2517649"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0" name="Content Placeholder 2"/>
          <p:cNvSpPr>
            <a:spLocks noGrp="1"/>
          </p:cNvSpPr>
          <p:nvPr>
            <p:ph idx="12"/>
          </p:nvPr>
        </p:nvSpPr>
        <p:spPr>
          <a:xfrm>
            <a:off x="9251952" y="1749631"/>
            <a:ext cx="2517649"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5"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7938457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34B3E6-C602-4369-853F-899D81165717}"/>
              </a:ext>
            </a:extLst>
          </p:cNvPr>
          <p:cNvGraphicFramePr>
            <a:graphicFrameLocks noChangeAspect="1"/>
          </p:cNvGraphicFramePr>
          <p:nvPr userDrawn="1">
            <p:custDataLst>
              <p:tags r:id="rId2"/>
            </p:custDataLst>
            <p:extLst>
              <p:ext uri="{D42A27DB-BD31-4B8C-83A1-F6EECF244321}">
                <p14:modId xmlns:p14="http://schemas.microsoft.com/office/powerpoint/2010/main" val="2170017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9234B3E6-C602-4369-853F-899D811657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0235193-C5BD-466A-A647-32D71F16F9CF}"/>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8"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9"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4"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
        <p:nvSpPr>
          <p:cNvPr id="10" name="Content Placeholder 2"/>
          <p:cNvSpPr>
            <a:spLocks noGrp="1"/>
          </p:cNvSpPr>
          <p:nvPr>
            <p:ph idx="10"/>
          </p:nvPr>
        </p:nvSpPr>
        <p:spPr>
          <a:xfrm>
            <a:off x="6307200" y="1749631"/>
            <a:ext cx="5462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Content Placeholder 2"/>
          <p:cNvSpPr>
            <a:spLocks noGrp="1"/>
          </p:cNvSpPr>
          <p:nvPr>
            <p:ph idx="26"/>
          </p:nvPr>
        </p:nvSpPr>
        <p:spPr>
          <a:xfrm>
            <a:off x="422401" y="1749631"/>
            <a:ext cx="5462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Content Placeholder 2"/>
          <p:cNvSpPr>
            <a:spLocks noGrp="1"/>
          </p:cNvSpPr>
          <p:nvPr>
            <p:ph idx="27"/>
          </p:nvPr>
        </p:nvSpPr>
        <p:spPr>
          <a:xfrm>
            <a:off x="6306016" y="3831307"/>
            <a:ext cx="5462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2"/>
          <p:cNvSpPr>
            <a:spLocks noGrp="1"/>
          </p:cNvSpPr>
          <p:nvPr>
            <p:ph idx="28"/>
          </p:nvPr>
        </p:nvSpPr>
        <p:spPr>
          <a:xfrm>
            <a:off x="421217" y="3831307"/>
            <a:ext cx="5462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31981062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 placeholders horizonta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1E151-FF15-4DEF-9C7D-326BBE0DFEF1}"/>
              </a:ext>
            </a:extLst>
          </p:cNvPr>
          <p:cNvGraphicFramePr>
            <a:graphicFrameLocks noChangeAspect="1"/>
          </p:cNvGraphicFramePr>
          <p:nvPr userDrawn="1">
            <p:custDataLst>
              <p:tags r:id="rId2"/>
            </p:custDataLst>
            <p:extLst>
              <p:ext uri="{D42A27DB-BD31-4B8C-83A1-F6EECF244321}">
                <p14:modId xmlns:p14="http://schemas.microsoft.com/office/powerpoint/2010/main" val="76150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C281E151-FF15-4DEF-9C7D-326BBE0DFE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EA49F38-21D1-4628-A66B-0C4425FDF67E}"/>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21"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33" name="Content Placeholder 2"/>
          <p:cNvSpPr>
            <a:spLocks noGrp="1"/>
          </p:cNvSpPr>
          <p:nvPr>
            <p:ph idx="1"/>
          </p:nvPr>
        </p:nvSpPr>
        <p:spPr>
          <a:xfrm>
            <a:off x="422400" y="1749631"/>
            <a:ext cx="3497667" cy="1862527"/>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4" name="Content Placeholder 2"/>
          <p:cNvSpPr>
            <a:spLocks noGrp="1"/>
          </p:cNvSpPr>
          <p:nvPr>
            <p:ph idx="10"/>
          </p:nvPr>
        </p:nvSpPr>
        <p:spPr>
          <a:xfrm>
            <a:off x="4347167" y="1749631"/>
            <a:ext cx="3497667" cy="1862527"/>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5" name="Content Placeholder 2"/>
          <p:cNvSpPr>
            <a:spLocks noGrp="1"/>
          </p:cNvSpPr>
          <p:nvPr>
            <p:ph idx="11"/>
          </p:nvPr>
        </p:nvSpPr>
        <p:spPr>
          <a:xfrm>
            <a:off x="8271933" y="1749631"/>
            <a:ext cx="3497667" cy="1862527"/>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7" name="Content Placeholder 2"/>
          <p:cNvSpPr>
            <a:spLocks noGrp="1"/>
          </p:cNvSpPr>
          <p:nvPr>
            <p:ph idx="12"/>
          </p:nvPr>
        </p:nvSpPr>
        <p:spPr>
          <a:xfrm>
            <a:off x="422400" y="3831307"/>
            <a:ext cx="3497667" cy="1862527"/>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2"/>
          <p:cNvSpPr>
            <a:spLocks noGrp="1"/>
          </p:cNvSpPr>
          <p:nvPr>
            <p:ph idx="13"/>
          </p:nvPr>
        </p:nvSpPr>
        <p:spPr>
          <a:xfrm>
            <a:off x="4347167" y="3831307"/>
            <a:ext cx="3497667" cy="1862527"/>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Content Placeholder 2"/>
          <p:cNvSpPr>
            <a:spLocks noGrp="1"/>
          </p:cNvSpPr>
          <p:nvPr>
            <p:ph idx="14"/>
          </p:nvPr>
        </p:nvSpPr>
        <p:spPr>
          <a:xfrm>
            <a:off x="8271933" y="3831307"/>
            <a:ext cx="3497667" cy="1862527"/>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00">
                <a:solidFill>
                  <a:schemeClr val="accent2"/>
                </a:solidFill>
              </a:defRPr>
            </a:lvl4pPr>
            <a:lvl5pPr>
              <a:buClr>
                <a:srgbClr val="001423"/>
              </a:buClr>
              <a:defRPr sz="1333">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6"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7"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167285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EB40C7E-E96A-4783-B9F4-5DE54F1A378E}"/>
              </a:ext>
            </a:extLst>
          </p:cNvPr>
          <p:cNvGraphicFramePr>
            <a:graphicFrameLocks noChangeAspect="1"/>
          </p:cNvGraphicFramePr>
          <p:nvPr userDrawn="1">
            <p:custDataLst>
              <p:tags r:id="rId2"/>
            </p:custDataLst>
            <p:extLst>
              <p:ext uri="{D42A27DB-BD31-4B8C-83A1-F6EECF244321}">
                <p14:modId xmlns:p14="http://schemas.microsoft.com/office/powerpoint/2010/main" val="161009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8EB40C7E-E96A-4783-B9F4-5DE54F1A37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p:cNvSpPr>
          <p:nvPr>
            <p:ph type="pic" sz="quarter" idx="14"/>
          </p:nvPr>
        </p:nvSpPr>
        <p:spPr>
          <a:xfrm>
            <a:off x="0" y="0"/>
            <a:ext cx="12192000" cy="6858000"/>
          </a:xfr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11"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bg1"/>
                </a:solidFill>
              </a:defRPr>
            </a:lvl1pPr>
          </a:lstStyle>
          <a:p>
            <a:pPr>
              <a:defRPr/>
            </a:pPr>
            <a:r>
              <a:rPr lang="en-GB" dirty="0"/>
              <a:t>Graduate Programmes Presentation</a:t>
            </a:r>
          </a:p>
        </p:txBody>
      </p:sp>
      <p:sp>
        <p:nvSpPr>
          <p:cNvPr id="12"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bg1"/>
                </a:solidFill>
              </a:defRPr>
            </a:lvl1pPr>
          </a:lstStyle>
          <a:p>
            <a:pPr>
              <a:defRPr/>
            </a:pPr>
            <a:r>
              <a:rPr lang="en-GB" dirty="0"/>
              <a:t>November 2018</a:t>
            </a:r>
          </a:p>
        </p:txBody>
      </p:sp>
      <p:sp>
        <p:nvSpPr>
          <p:cNvPr id="14"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40681973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top squa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D73F46-5A1C-462C-8FF6-A5149525ABD8}"/>
              </a:ext>
            </a:extLst>
          </p:cNvPr>
          <p:cNvGraphicFramePr>
            <a:graphicFrameLocks noChangeAspect="1"/>
          </p:cNvGraphicFramePr>
          <p:nvPr userDrawn="1">
            <p:custDataLst>
              <p:tags r:id="rId2"/>
            </p:custDataLst>
            <p:extLst>
              <p:ext uri="{D42A27DB-BD31-4B8C-83A1-F6EECF244321}">
                <p14:modId xmlns:p14="http://schemas.microsoft.com/office/powerpoint/2010/main" val="92206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29D73F46-5A1C-462C-8FF6-A5149525AB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p:cNvSpPr>
          <p:nvPr>
            <p:ph type="pic" sz="quarter" idx="14"/>
          </p:nvPr>
        </p:nvSpPr>
        <p:spPr>
          <a:xfrm>
            <a:off x="0" y="0"/>
            <a:ext cx="12192000" cy="3531909"/>
          </a:xfr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18" name="Content Placeholder 2"/>
          <p:cNvSpPr>
            <a:spLocks noGrp="1"/>
          </p:cNvSpPr>
          <p:nvPr>
            <p:ph idx="25"/>
          </p:nvPr>
        </p:nvSpPr>
        <p:spPr>
          <a:xfrm>
            <a:off x="422400" y="3831306"/>
            <a:ext cx="113472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bg1"/>
                </a:solidFill>
              </a:defRPr>
            </a:lvl1pPr>
          </a:lstStyle>
          <a:p>
            <a:pPr>
              <a:defRPr/>
            </a:pPr>
            <a:r>
              <a:rPr lang="en-GB" dirty="0"/>
              <a:t>Graduate Programmes Presentation</a:t>
            </a:r>
          </a:p>
        </p:txBody>
      </p:sp>
      <p:sp>
        <p:nvSpPr>
          <p:cNvPr id="14"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bg1"/>
                </a:solidFill>
              </a:defRPr>
            </a:lvl1pPr>
          </a:lstStyle>
          <a:p>
            <a:pPr>
              <a:defRPr/>
            </a:pPr>
            <a:r>
              <a:rPr lang="en-GB" dirty="0"/>
              <a:t>November 2018</a:t>
            </a:r>
          </a:p>
        </p:txBody>
      </p:sp>
      <p:sp>
        <p:nvSpPr>
          <p:cNvPr id="15"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32886236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middle squa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BF842F-5824-41A3-8D8A-1D103889CF01}"/>
              </a:ext>
            </a:extLst>
          </p:cNvPr>
          <p:cNvGraphicFramePr>
            <a:graphicFrameLocks noChangeAspect="1"/>
          </p:cNvGraphicFramePr>
          <p:nvPr userDrawn="1">
            <p:custDataLst>
              <p:tags r:id="rId2"/>
            </p:custDataLst>
            <p:extLst>
              <p:ext uri="{D42A27DB-BD31-4B8C-83A1-F6EECF244321}">
                <p14:modId xmlns:p14="http://schemas.microsoft.com/office/powerpoint/2010/main" val="4194576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20BF842F-5824-41A3-8D8A-1D103889CF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7A8E48-A3DC-4796-B4B1-4B5B117AFCA8}"/>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9" name="Picture Placeholder 8"/>
          <p:cNvSpPr>
            <a:spLocks noGrp="1"/>
          </p:cNvSpPr>
          <p:nvPr>
            <p:ph type="pic" sz="quarter" idx="14"/>
          </p:nvPr>
        </p:nvSpPr>
        <p:spPr>
          <a:xfrm>
            <a:off x="0" y="1749632"/>
            <a:ext cx="12192000" cy="3941051"/>
          </a:xfr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11"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2"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4"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385605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left squar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1E7E048-F46A-4644-AA96-99F6EC672B35}"/>
              </a:ext>
            </a:extLst>
          </p:cNvPr>
          <p:cNvGraphicFramePr>
            <a:graphicFrameLocks noChangeAspect="1"/>
          </p:cNvGraphicFramePr>
          <p:nvPr userDrawn="1">
            <p:custDataLst>
              <p:tags r:id="rId2"/>
            </p:custDataLst>
            <p:extLst>
              <p:ext uri="{D42A27DB-BD31-4B8C-83A1-F6EECF244321}">
                <p14:modId xmlns:p14="http://schemas.microsoft.com/office/powerpoint/2010/main" val="2582990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11E7E048-F46A-4644-AA96-99F6EC672B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52A73E-E458-4AD0-9F33-485222AA46C9}"/>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9" name="Picture Placeholder 8"/>
          <p:cNvSpPr>
            <a:spLocks noGrp="1"/>
          </p:cNvSpPr>
          <p:nvPr>
            <p:ph type="pic" sz="quarter" idx="14"/>
          </p:nvPr>
        </p:nvSpPr>
        <p:spPr>
          <a:xfrm>
            <a:off x="0" y="0"/>
            <a:ext cx="6088520" cy="6858000"/>
          </a:xfr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15" name="Title 1"/>
          <p:cNvSpPr>
            <a:spLocks noGrp="1"/>
          </p:cNvSpPr>
          <p:nvPr>
            <p:ph type="title"/>
          </p:nvPr>
        </p:nvSpPr>
        <p:spPr>
          <a:xfrm>
            <a:off x="6497928" y="687227"/>
            <a:ext cx="5271673" cy="521883"/>
          </a:xfrm>
        </p:spPr>
        <p:txBody>
          <a:bodyPr anchor="ctr" anchorCtr="0"/>
          <a:lstStyle>
            <a:lvl1pPr>
              <a:defRPr sz="3200"/>
            </a:lvl1pPr>
          </a:lstStyle>
          <a:p>
            <a:r>
              <a:rPr lang="en-GB" noProof="0" dirty="0"/>
              <a:t>Click to edit Master title style</a:t>
            </a:r>
          </a:p>
        </p:txBody>
      </p:sp>
      <p:sp>
        <p:nvSpPr>
          <p:cNvPr id="14" name="Content Placeholder 2"/>
          <p:cNvSpPr>
            <a:spLocks noGrp="1"/>
          </p:cNvSpPr>
          <p:nvPr>
            <p:ph idx="11"/>
          </p:nvPr>
        </p:nvSpPr>
        <p:spPr>
          <a:xfrm>
            <a:off x="6497928" y="1749631"/>
            <a:ext cx="5271673" cy="3941052"/>
          </a:xfrm>
        </p:spPr>
        <p:txBody>
          <a:bodyPr>
            <a:normAutofit/>
          </a:bodyPr>
          <a:lstStyle>
            <a:lvl1pPr>
              <a:buClr>
                <a:schemeClr val="accent1"/>
              </a:buClr>
              <a:defRPr sz="2400">
                <a:solidFill>
                  <a:schemeClr val="accent2"/>
                </a:solidFill>
              </a:defRPr>
            </a:lvl1pPr>
            <a:lvl2pPr>
              <a:buClr>
                <a:schemeClr val="tx2"/>
              </a:buClr>
              <a:defRPr sz="2133">
                <a:solidFill>
                  <a:schemeClr val="accent2"/>
                </a:solidFill>
              </a:defRPr>
            </a:lvl2pPr>
            <a:lvl3pPr>
              <a:buClr>
                <a:schemeClr val="accent5"/>
              </a:buClr>
              <a:defRPr sz="1867">
                <a:solidFill>
                  <a:schemeClr val="accent2"/>
                </a:solidFill>
              </a:defRPr>
            </a:lvl3pPr>
            <a:lvl4pPr>
              <a:buClr>
                <a:schemeClr val="accent3"/>
              </a:buClr>
              <a:defRPr sz="1600">
                <a:solidFill>
                  <a:schemeClr val="accent2"/>
                </a:solidFill>
              </a:defRPr>
            </a:lvl4pPr>
            <a:lvl5pPr>
              <a:buClr>
                <a:srgbClr val="001423"/>
              </a:buClr>
              <a:defRPr sz="1467">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Rectangle 5"/>
          <p:cNvSpPr>
            <a:spLocks noGrp="1" noChangeArrowheads="1"/>
          </p:cNvSpPr>
          <p:nvPr>
            <p:ph type="ftr" sz="quarter" idx="3"/>
          </p:nvPr>
        </p:nvSpPr>
        <p:spPr bwMode="auto">
          <a:xfrm>
            <a:off x="6497927" y="138543"/>
            <a:ext cx="2933165"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8470993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mage large round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B1D334-A374-4C0D-B487-2D810141BE3B}"/>
              </a:ext>
            </a:extLst>
          </p:cNvPr>
          <p:cNvGraphicFramePr>
            <a:graphicFrameLocks noChangeAspect="1"/>
          </p:cNvGraphicFramePr>
          <p:nvPr userDrawn="1">
            <p:custDataLst>
              <p:tags r:id="rId2"/>
            </p:custDataLst>
            <p:extLst>
              <p:ext uri="{D42A27DB-BD31-4B8C-83A1-F6EECF244321}">
                <p14:modId xmlns:p14="http://schemas.microsoft.com/office/powerpoint/2010/main" val="1324874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FDB1D334-A374-4C0D-B487-2D810141BE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795978-A1DE-4D0A-B64F-BF7E747E07BD}"/>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0" name="Picture Placeholder 8"/>
          <p:cNvSpPr>
            <a:spLocks noGrp="1"/>
          </p:cNvSpPr>
          <p:nvPr>
            <p:ph type="pic" sz="quarter" idx="14"/>
          </p:nvPr>
        </p:nvSpPr>
        <p:spPr>
          <a:xfrm>
            <a:off x="422400" y="1749632"/>
            <a:ext cx="11347200" cy="3941051"/>
          </a:xfrm>
          <a:prstGeom prst="roundRect">
            <a:avLst>
              <a:gd name="adj" fmla="val 4683"/>
            </a:avLst>
          </a:prstGeo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4"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9424898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1/2 round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814642-F3C6-4DF5-94DE-98FE43E37C84}"/>
              </a:ext>
            </a:extLst>
          </p:cNvPr>
          <p:cNvGraphicFramePr>
            <a:graphicFrameLocks noChangeAspect="1"/>
          </p:cNvGraphicFramePr>
          <p:nvPr userDrawn="1">
            <p:custDataLst>
              <p:tags r:id="rId2"/>
            </p:custDataLst>
            <p:extLst>
              <p:ext uri="{D42A27DB-BD31-4B8C-83A1-F6EECF244321}">
                <p14:modId xmlns:p14="http://schemas.microsoft.com/office/powerpoint/2010/main" val="2680331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53814642-F3C6-4DF5-94DE-98FE43E37C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04F619-6C67-4B3B-A84E-4A315F382E94}"/>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0" name="Picture Placeholder 8"/>
          <p:cNvSpPr>
            <a:spLocks noGrp="1"/>
          </p:cNvSpPr>
          <p:nvPr>
            <p:ph type="pic" sz="quarter" idx="14"/>
          </p:nvPr>
        </p:nvSpPr>
        <p:spPr>
          <a:xfrm>
            <a:off x="6308548" y="1749632"/>
            <a:ext cx="5458357" cy="3941051"/>
          </a:xfrm>
          <a:prstGeom prst="roundRect">
            <a:avLst>
              <a:gd name="adj" fmla="val 3924"/>
            </a:avLst>
          </a:prstGeo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13"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2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4"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5"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1427253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 Agenda">
    <p:bg>
      <p:bgPr>
        <a:solidFill>
          <a:srgbClr val="F7F6F5"/>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7DCECE-26E9-4E20-AE2B-94B633DF7E0B}"/>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a:solidFill>
                  <a:srgbClr val="EBE8E5"/>
                </a:solidFill>
              </a:rPr>
              <a:t>Agenda</a:t>
            </a:r>
          </a:p>
        </p:txBody>
      </p:sp>
      <p:sp>
        <p:nvSpPr>
          <p:cNvPr id="7" name="Text Placeholder 2"/>
          <p:cNvSpPr>
            <a:spLocks noGrp="1"/>
          </p:cNvSpPr>
          <p:nvPr>
            <p:ph type="body" sz="quarter" idx="13" hasCustomPrompt="1"/>
          </p:nvPr>
        </p:nvSpPr>
        <p:spPr>
          <a:xfrm>
            <a:off x="1512000" y="648000"/>
            <a:ext cx="7786755"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EB0CC9F4-DC9A-4708-B1E2-FACEB2E18404}" type="datetime3">
              <a:rPr lang="en-US" smtClean="0"/>
              <a:t>6 November 2020</a:t>
            </a:fld>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a:p>
        </p:txBody>
      </p:sp>
      <p:sp>
        <p:nvSpPr>
          <p:cNvPr id="23" name="Freeform: Shape 22">
            <a:extLst>
              <a:ext uri="{FF2B5EF4-FFF2-40B4-BE49-F238E27FC236}">
                <a16:creationId xmlns:a16="http://schemas.microsoft.com/office/drawing/2014/main" id="{99DFB180-1AB4-4D39-BF3D-23FED33A1CDF}"/>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Tree>
    <p:extLst>
      <p:ext uri="{BB962C8B-B14F-4D97-AF65-F5344CB8AC3E}">
        <p14:creationId xmlns:p14="http://schemas.microsoft.com/office/powerpoint/2010/main" val="257244162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1/3 round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6EAAF2-53BB-4CF5-AA07-808209445844}"/>
              </a:ext>
            </a:extLst>
          </p:cNvPr>
          <p:cNvGraphicFramePr>
            <a:graphicFrameLocks noChangeAspect="1"/>
          </p:cNvGraphicFramePr>
          <p:nvPr userDrawn="1">
            <p:custDataLst>
              <p:tags r:id="rId2"/>
            </p:custDataLst>
            <p:extLst>
              <p:ext uri="{D42A27DB-BD31-4B8C-83A1-F6EECF244321}">
                <p14:modId xmlns:p14="http://schemas.microsoft.com/office/powerpoint/2010/main" val="469823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B86EAAF2-53BB-4CF5-AA07-8082094458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72CA37-8BF5-47C0-8EAE-81897085D266}"/>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2" name="Content Placeholder 2"/>
          <p:cNvSpPr>
            <a:spLocks noGrp="1"/>
          </p:cNvSpPr>
          <p:nvPr>
            <p:ph idx="18"/>
          </p:nvPr>
        </p:nvSpPr>
        <p:spPr>
          <a:xfrm>
            <a:off x="425095" y="1749631"/>
            <a:ext cx="7419508"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8"/>
          <p:cNvSpPr>
            <a:spLocks noGrp="1"/>
          </p:cNvSpPr>
          <p:nvPr>
            <p:ph type="pic" sz="quarter" idx="14"/>
          </p:nvPr>
        </p:nvSpPr>
        <p:spPr>
          <a:xfrm>
            <a:off x="8269697" y="1749632"/>
            <a:ext cx="3499903" cy="3941051"/>
          </a:xfrm>
          <a:prstGeom prst="roundRect">
            <a:avLst>
              <a:gd name="adj" fmla="val 4084"/>
            </a:avLst>
          </a:prstGeo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13"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4"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5"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2981429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1/4 round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81FDA3-7601-450C-B3E6-524E99583C1D}"/>
              </a:ext>
            </a:extLst>
          </p:cNvPr>
          <p:cNvGraphicFramePr>
            <a:graphicFrameLocks noChangeAspect="1"/>
          </p:cNvGraphicFramePr>
          <p:nvPr userDrawn="1">
            <p:custDataLst>
              <p:tags r:id="rId2"/>
            </p:custDataLst>
            <p:extLst>
              <p:ext uri="{D42A27DB-BD31-4B8C-83A1-F6EECF244321}">
                <p14:modId xmlns:p14="http://schemas.microsoft.com/office/powerpoint/2010/main" val="1414621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5981FDA3-7601-450C-B3E6-524E99583C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0E6775B-7036-4206-872B-C1F9DA384B71}"/>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2" name="Picture Placeholder 8"/>
          <p:cNvSpPr>
            <a:spLocks noGrp="1"/>
          </p:cNvSpPr>
          <p:nvPr>
            <p:ph type="pic" sz="quarter" idx="27"/>
          </p:nvPr>
        </p:nvSpPr>
        <p:spPr>
          <a:xfrm>
            <a:off x="9249600" y="1749632"/>
            <a:ext cx="2520000" cy="3941051"/>
          </a:xfrm>
          <a:prstGeom prst="roundRect">
            <a:avLst>
              <a:gd name="adj" fmla="val 5068"/>
            </a:avLst>
          </a:prstGeo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14" name="Content Placeholder 2"/>
          <p:cNvSpPr>
            <a:spLocks noGrp="1"/>
          </p:cNvSpPr>
          <p:nvPr>
            <p:ph idx="18"/>
          </p:nvPr>
        </p:nvSpPr>
        <p:spPr>
          <a:xfrm>
            <a:off x="425096" y="1749631"/>
            <a:ext cx="8411849"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13"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5"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5258097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images round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F69A9D-89EC-4CDA-BC69-070615A0FA0D}"/>
              </a:ext>
            </a:extLst>
          </p:cNvPr>
          <p:cNvGraphicFramePr>
            <a:graphicFrameLocks noChangeAspect="1"/>
          </p:cNvGraphicFramePr>
          <p:nvPr userDrawn="1">
            <p:custDataLst>
              <p:tags r:id="rId2"/>
            </p:custDataLst>
            <p:extLst>
              <p:ext uri="{D42A27DB-BD31-4B8C-83A1-F6EECF244321}">
                <p14:modId xmlns:p14="http://schemas.microsoft.com/office/powerpoint/2010/main" val="1059208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22F69A9D-89EC-4CDA-BC69-070615A0FA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ACB00B4-2296-46A2-AD91-62533718D867}"/>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7" name="Content Placeholder 2"/>
          <p:cNvSpPr>
            <a:spLocks noGrp="1"/>
          </p:cNvSpPr>
          <p:nvPr>
            <p:ph idx="18"/>
          </p:nvPr>
        </p:nvSpPr>
        <p:spPr>
          <a:xfrm>
            <a:off x="425095" y="1749631"/>
            <a:ext cx="5466201"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29" name="Picture Placeholder 8"/>
          <p:cNvSpPr>
            <a:spLocks noGrp="1"/>
          </p:cNvSpPr>
          <p:nvPr>
            <p:ph type="pic" sz="quarter" idx="27"/>
          </p:nvPr>
        </p:nvSpPr>
        <p:spPr>
          <a:xfrm>
            <a:off x="9249600" y="1749632"/>
            <a:ext cx="2520000" cy="3941051"/>
          </a:xfrm>
          <a:prstGeom prst="roundRect">
            <a:avLst>
              <a:gd name="adj" fmla="val 5068"/>
            </a:avLst>
          </a:prstGeo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30" name="Picture Placeholder 8"/>
          <p:cNvSpPr>
            <a:spLocks noGrp="1"/>
          </p:cNvSpPr>
          <p:nvPr>
            <p:ph type="pic" sz="quarter" idx="28"/>
          </p:nvPr>
        </p:nvSpPr>
        <p:spPr>
          <a:xfrm>
            <a:off x="6302499" y="1749629"/>
            <a:ext cx="2520000" cy="3941051"/>
          </a:xfrm>
          <a:prstGeom prst="roundRect">
            <a:avLst>
              <a:gd name="adj" fmla="val 5068"/>
            </a:avLst>
          </a:prstGeo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4"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9163171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images rounde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E244C2-C114-4631-BD19-4586D52D31C6}"/>
              </a:ext>
            </a:extLst>
          </p:cNvPr>
          <p:cNvGraphicFramePr>
            <a:graphicFrameLocks noChangeAspect="1"/>
          </p:cNvGraphicFramePr>
          <p:nvPr userDrawn="1">
            <p:custDataLst>
              <p:tags r:id="rId2"/>
            </p:custDataLst>
            <p:extLst>
              <p:ext uri="{D42A27DB-BD31-4B8C-83A1-F6EECF244321}">
                <p14:modId xmlns:p14="http://schemas.microsoft.com/office/powerpoint/2010/main" val="3252456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E4E244C2-C114-4631-BD19-4586D52D31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AF2D482-5363-42EB-A787-758AC18981ED}"/>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5"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29" name="Picture Placeholder 8"/>
          <p:cNvSpPr>
            <a:spLocks noGrp="1"/>
          </p:cNvSpPr>
          <p:nvPr>
            <p:ph type="pic" sz="quarter" idx="27"/>
          </p:nvPr>
        </p:nvSpPr>
        <p:spPr>
          <a:xfrm>
            <a:off x="9249600" y="1749632"/>
            <a:ext cx="2520000" cy="3941051"/>
          </a:xfrm>
          <a:prstGeom prst="roundRect">
            <a:avLst>
              <a:gd name="adj" fmla="val 5068"/>
            </a:avLst>
          </a:prstGeo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30" name="Picture Placeholder 8"/>
          <p:cNvSpPr>
            <a:spLocks noGrp="1"/>
          </p:cNvSpPr>
          <p:nvPr>
            <p:ph type="pic" sz="quarter" idx="28"/>
          </p:nvPr>
        </p:nvSpPr>
        <p:spPr>
          <a:xfrm>
            <a:off x="6302499" y="1749629"/>
            <a:ext cx="2520000" cy="3941051"/>
          </a:xfrm>
          <a:prstGeom prst="roundRect">
            <a:avLst>
              <a:gd name="adj" fmla="val 5068"/>
            </a:avLst>
          </a:prstGeo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31" name="Picture Placeholder 8"/>
          <p:cNvSpPr>
            <a:spLocks noGrp="1"/>
          </p:cNvSpPr>
          <p:nvPr>
            <p:ph type="pic" sz="quarter" idx="29"/>
          </p:nvPr>
        </p:nvSpPr>
        <p:spPr>
          <a:xfrm>
            <a:off x="3362449" y="1749629"/>
            <a:ext cx="2520000" cy="3941051"/>
          </a:xfrm>
          <a:prstGeom prst="roundRect">
            <a:avLst>
              <a:gd name="adj" fmla="val 5068"/>
            </a:avLst>
          </a:prstGeo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32" name="Picture Placeholder 8"/>
          <p:cNvSpPr>
            <a:spLocks noGrp="1"/>
          </p:cNvSpPr>
          <p:nvPr>
            <p:ph type="pic" sz="quarter" idx="30"/>
          </p:nvPr>
        </p:nvSpPr>
        <p:spPr>
          <a:xfrm>
            <a:off x="422400" y="1749629"/>
            <a:ext cx="2520000" cy="3941051"/>
          </a:xfrm>
          <a:prstGeom prst="roundRect">
            <a:avLst>
              <a:gd name="adj" fmla="val 5068"/>
            </a:avLst>
          </a:prstGeom>
          <a:solidFill>
            <a:schemeClr val="accent6"/>
          </a:solidFill>
        </p:spPr>
        <p:txBody>
          <a:bodyPr rIns="0" anchor="ctr" anchorCtr="0"/>
          <a:lstStyle>
            <a:lvl1pPr marL="0" indent="0" algn="ctr">
              <a:buNone/>
              <a:defRPr sz="933" baseline="0">
                <a:solidFill>
                  <a:schemeClr val="bg1"/>
                </a:solidFill>
              </a:defRPr>
            </a:lvl1pPr>
          </a:lstStyle>
          <a:p>
            <a:r>
              <a:rPr lang="en-GB" noProof="0" dirty="0"/>
              <a:t>Click icon to add picture</a:t>
            </a:r>
          </a:p>
        </p:txBody>
      </p:sp>
      <p:sp>
        <p:nvSpPr>
          <p:cNvPr id="13"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4"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6"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1318366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6:9 vide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0F09A30-E58F-4BE8-8CB4-B9C1F4768E97}"/>
              </a:ext>
            </a:extLst>
          </p:cNvPr>
          <p:cNvGraphicFramePr>
            <a:graphicFrameLocks noChangeAspect="1"/>
          </p:cNvGraphicFramePr>
          <p:nvPr userDrawn="1">
            <p:custDataLst>
              <p:tags r:id="rId2"/>
            </p:custDataLst>
            <p:extLst>
              <p:ext uri="{D42A27DB-BD31-4B8C-83A1-F6EECF244321}">
                <p14:modId xmlns:p14="http://schemas.microsoft.com/office/powerpoint/2010/main" val="2483217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B0F09A30-E58F-4BE8-8CB4-B9C1F4768E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7C0374D-AD3B-4820-AC50-9E7BAF690987}"/>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4" name="Content Placeholder 2"/>
          <p:cNvSpPr>
            <a:spLocks noGrp="1"/>
          </p:cNvSpPr>
          <p:nvPr>
            <p:ph idx="23"/>
          </p:nvPr>
        </p:nvSpPr>
        <p:spPr>
          <a:xfrm>
            <a:off x="425095" y="1749631"/>
            <a:ext cx="3898204"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Media Placeholder 8"/>
          <p:cNvSpPr>
            <a:spLocks noGrp="1"/>
          </p:cNvSpPr>
          <p:nvPr>
            <p:ph type="media" sz="quarter" idx="18" hasCustomPrompt="1"/>
          </p:nvPr>
        </p:nvSpPr>
        <p:spPr>
          <a:xfrm>
            <a:off x="4770833" y="1746570"/>
            <a:ext cx="7011760" cy="3944113"/>
          </a:xfrm>
          <a:solidFill>
            <a:schemeClr val="accent6"/>
          </a:solidFill>
          <a:effectLst/>
        </p:spPr>
        <p:txBody>
          <a:bodyPr tIns="0" anchor="ctr" anchorCtr="0">
            <a:normAutofit/>
          </a:bodyPr>
          <a:lstStyle>
            <a:lvl1pPr marL="0" indent="0" algn="ctr">
              <a:buNone/>
              <a:defRPr sz="933">
                <a:solidFill>
                  <a:schemeClr val="bg1"/>
                </a:solidFill>
              </a:defRPr>
            </a:lvl1pPr>
          </a:lstStyle>
          <a:p>
            <a:r>
              <a:rPr lang="en-GB" noProof="0" dirty="0"/>
              <a:t>Click to add media size 16/9</a:t>
            </a:r>
          </a:p>
        </p:txBody>
      </p:sp>
      <p:sp>
        <p:nvSpPr>
          <p:cNvPr id="16"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11"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2"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5"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6995241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3 vide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F3DE8D-F90F-4035-A982-3D24BB4D6C80}"/>
              </a:ext>
            </a:extLst>
          </p:cNvPr>
          <p:cNvGraphicFramePr>
            <a:graphicFrameLocks noChangeAspect="1"/>
          </p:cNvGraphicFramePr>
          <p:nvPr userDrawn="1">
            <p:custDataLst>
              <p:tags r:id="rId2"/>
            </p:custDataLst>
            <p:extLst>
              <p:ext uri="{D42A27DB-BD31-4B8C-83A1-F6EECF244321}">
                <p14:modId xmlns:p14="http://schemas.microsoft.com/office/powerpoint/2010/main" val="1000156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47F3DE8D-F90F-4035-A982-3D24BB4D6C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2B52522-7210-435A-8919-24E1E77E2D58}"/>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0" name="Media Placeholder 8"/>
          <p:cNvSpPr>
            <a:spLocks noGrp="1"/>
          </p:cNvSpPr>
          <p:nvPr>
            <p:ph type="media" sz="quarter" idx="15" hasCustomPrompt="1"/>
          </p:nvPr>
        </p:nvSpPr>
        <p:spPr>
          <a:xfrm>
            <a:off x="6522052" y="1746570"/>
            <a:ext cx="5260541" cy="3944113"/>
          </a:xfrm>
          <a:solidFill>
            <a:schemeClr val="accent6"/>
          </a:solidFill>
          <a:effectLst/>
        </p:spPr>
        <p:txBody>
          <a:bodyPr tIns="0" anchor="ctr" anchorCtr="0">
            <a:normAutofit/>
          </a:bodyPr>
          <a:lstStyle>
            <a:lvl1pPr marL="0" indent="0" algn="ctr">
              <a:buNone/>
              <a:defRPr sz="933" baseline="0">
                <a:solidFill>
                  <a:schemeClr val="bg1"/>
                </a:solidFill>
              </a:defRPr>
            </a:lvl1pPr>
          </a:lstStyle>
          <a:p>
            <a:r>
              <a:rPr lang="en-GB" noProof="0" dirty="0"/>
              <a:t>Click to add media size 4/3</a:t>
            </a:r>
          </a:p>
        </p:txBody>
      </p:sp>
      <p:sp>
        <p:nvSpPr>
          <p:cNvPr id="17" name="Content Placeholder 2"/>
          <p:cNvSpPr>
            <a:spLocks noGrp="1"/>
          </p:cNvSpPr>
          <p:nvPr>
            <p:ph idx="24"/>
          </p:nvPr>
        </p:nvSpPr>
        <p:spPr>
          <a:xfrm>
            <a:off x="425095" y="1749631"/>
            <a:ext cx="5668789"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6"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12"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3"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4"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0276708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Video backgrou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6D0DAC-24FA-4054-8215-B74092D1BDFE}"/>
              </a:ext>
            </a:extLst>
          </p:cNvPr>
          <p:cNvGraphicFramePr>
            <a:graphicFrameLocks noChangeAspect="1"/>
          </p:cNvGraphicFramePr>
          <p:nvPr userDrawn="1">
            <p:custDataLst>
              <p:tags r:id="rId2"/>
            </p:custDataLst>
            <p:extLst>
              <p:ext uri="{D42A27DB-BD31-4B8C-83A1-F6EECF244321}">
                <p14:modId xmlns:p14="http://schemas.microsoft.com/office/powerpoint/2010/main" val="2467533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1D6D0DAC-24FA-4054-8215-B74092D1BD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Media Placeholder 8"/>
          <p:cNvSpPr>
            <a:spLocks noGrp="1"/>
          </p:cNvSpPr>
          <p:nvPr>
            <p:ph type="media" sz="quarter" idx="18" hasCustomPrompt="1"/>
          </p:nvPr>
        </p:nvSpPr>
        <p:spPr>
          <a:xfrm>
            <a:off x="0" y="-1"/>
            <a:ext cx="12192000" cy="6857999"/>
          </a:xfrm>
          <a:solidFill>
            <a:schemeClr val="accent6"/>
          </a:solidFill>
          <a:effectLst/>
        </p:spPr>
        <p:txBody>
          <a:bodyPr tIns="0" anchor="ctr" anchorCtr="0">
            <a:normAutofit/>
          </a:bodyPr>
          <a:lstStyle>
            <a:lvl1pPr marL="0" indent="0" algn="ctr">
              <a:buNone/>
              <a:defRPr sz="933">
                <a:solidFill>
                  <a:schemeClr val="bg1"/>
                </a:solidFill>
              </a:defRPr>
            </a:lvl1pPr>
          </a:lstStyle>
          <a:p>
            <a:r>
              <a:rPr lang="en-GB" noProof="0" dirty="0"/>
              <a:t>Click to add media size 16:9</a:t>
            </a:r>
          </a:p>
        </p:txBody>
      </p:sp>
      <p:sp>
        <p:nvSpPr>
          <p:cNvPr id="11"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bg1"/>
                </a:solidFill>
              </a:defRPr>
            </a:lvl1pPr>
          </a:lstStyle>
          <a:p>
            <a:pPr>
              <a:defRPr/>
            </a:pPr>
            <a:r>
              <a:rPr lang="en-GB" dirty="0"/>
              <a:t>Graduate Programmes Presentation</a:t>
            </a:r>
          </a:p>
        </p:txBody>
      </p:sp>
      <p:sp>
        <p:nvSpPr>
          <p:cNvPr id="12"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bg1"/>
                </a:solidFill>
              </a:defRPr>
            </a:lvl1pPr>
          </a:lstStyle>
          <a:p>
            <a:pPr>
              <a:defRPr/>
            </a:pPr>
            <a:r>
              <a:rPr lang="en-GB" dirty="0"/>
              <a:t>November 2018</a:t>
            </a:r>
          </a:p>
        </p:txBody>
      </p:sp>
      <p:sp>
        <p:nvSpPr>
          <p:cNvPr id="14"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15854355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argin gu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D2C438-DF1C-49AE-A89D-286C25E09058}"/>
              </a:ext>
            </a:extLst>
          </p:cNvPr>
          <p:cNvGraphicFramePr>
            <a:graphicFrameLocks noChangeAspect="1"/>
          </p:cNvGraphicFramePr>
          <p:nvPr userDrawn="1">
            <p:custDataLst>
              <p:tags r:id="rId2"/>
            </p:custDataLst>
            <p:extLst>
              <p:ext uri="{D42A27DB-BD31-4B8C-83A1-F6EECF244321}">
                <p14:modId xmlns:p14="http://schemas.microsoft.com/office/powerpoint/2010/main" val="3888875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6CD2C438-DF1C-49AE-A89D-286C25E090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p:cNvSpPr/>
          <p:nvPr userDrawn="1"/>
        </p:nvSpPr>
        <p:spPr bwMode="auto">
          <a:xfrm>
            <a:off x="422400" y="412053"/>
            <a:ext cx="11347200" cy="5278631"/>
          </a:xfrm>
          <a:prstGeom prst="rect">
            <a:avLst/>
          </a:prstGeom>
          <a:pattFill prst="wdUpDiag">
            <a:fgClr>
              <a:schemeClr val="bg2"/>
            </a:fgClr>
            <a:bgClr>
              <a:schemeClr val="bg1"/>
            </a:bgClr>
          </a:pattFill>
          <a:ln w="3175" cap="flat" cmpd="sng" algn="ctr">
            <a:solidFill>
              <a:schemeClr val="accent5"/>
            </a:solidFill>
            <a:prstDash val="solid"/>
            <a:round/>
            <a:headEnd type="none" w="med" len="med"/>
            <a:tailEnd type="none" w="med" len="med"/>
          </a:ln>
          <a:effectLst/>
        </p:spPr>
        <p:txBody>
          <a:bodyPr vert="horz" wrap="none" lIns="96000" tIns="96000" rIns="96000" bIns="96000" numCol="1" rtlCol="0" anchor="ctr" anchorCtr="0" compatLnSpc="1">
            <a:prstTxWarp prst="textNoShape">
              <a:avLst/>
            </a:prstTxWarp>
          </a:bodyPr>
          <a:lstStyle/>
          <a:p>
            <a:pPr marL="0" marR="0" indent="0" algn="ctr" defTabSz="1625559" rtl="0" eaLnBrk="1" fontAlgn="base" latinLnBrk="0" hangingPunct="1">
              <a:lnSpc>
                <a:spcPct val="100000"/>
              </a:lnSpc>
              <a:spcBef>
                <a:spcPct val="50000"/>
              </a:spcBef>
              <a:spcAft>
                <a:spcPct val="0"/>
              </a:spcAft>
              <a:buClrTx/>
              <a:buSzTx/>
              <a:buFontTx/>
              <a:buNone/>
              <a:tabLst/>
            </a:pPr>
            <a:endParaRPr kumimoji="0" lang="en-GB" sz="3200" b="1" i="0" u="none" strike="noStrike" cap="none" normalizeH="0" baseline="0" noProof="0" dirty="0">
              <a:ln>
                <a:noFill/>
              </a:ln>
              <a:solidFill>
                <a:srgbClr val="001965"/>
              </a:solidFill>
              <a:effectLst/>
              <a:latin typeface="Verdana" pitchFamily="34" charset="0"/>
            </a:endParaRPr>
          </a:p>
        </p:txBody>
      </p:sp>
      <p:sp>
        <p:nvSpPr>
          <p:cNvPr id="21" name="Title 6"/>
          <p:cNvSpPr txBox="1">
            <a:spLocks/>
          </p:cNvSpPr>
          <p:nvPr userDrawn="1"/>
        </p:nvSpPr>
        <p:spPr bwMode="auto">
          <a:xfrm>
            <a:off x="425095" y="769746"/>
            <a:ext cx="11357499" cy="52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877888" rtl="0" eaLnBrk="0" fontAlgn="base" hangingPunct="0">
              <a:lnSpc>
                <a:spcPct val="90000"/>
              </a:lnSpc>
              <a:spcBef>
                <a:spcPct val="0"/>
              </a:spcBef>
              <a:spcAft>
                <a:spcPct val="0"/>
              </a:spcAft>
              <a:defRPr sz="2400" b="1" baseline="0">
                <a:solidFill>
                  <a:srgbClr val="001965"/>
                </a:solidFill>
                <a:latin typeface="+mj-lt"/>
                <a:ea typeface="+mj-ea"/>
                <a:cs typeface="+mj-cs"/>
              </a:defRPr>
            </a:lvl1pPr>
            <a:lvl2pPr algn="l" defTabSz="877888" rtl="0" eaLnBrk="0" fontAlgn="base" hangingPunct="0">
              <a:spcBef>
                <a:spcPct val="0"/>
              </a:spcBef>
              <a:spcAft>
                <a:spcPct val="0"/>
              </a:spcAft>
              <a:defRPr sz="2700" b="1">
                <a:solidFill>
                  <a:srgbClr val="001965"/>
                </a:solidFill>
                <a:latin typeface="Verdana" pitchFamily="34" charset="0"/>
              </a:defRPr>
            </a:lvl2pPr>
            <a:lvl3pPr algn="l" defTabSz="877888" rtl="0" eaLnBrk="0" fontAlgn="base" hangingPunct="0">
              <a:spcBef>
                <a:spcPct val="0"/>
              </a:spcBef>
              <a:spcAft>
                <a:spcPct val="0"/>
              </a:spcAft>
              <a:defRPr sz="2700" b="1">
                <a:solidFill>
                  <a:srgbClr val="001965"/>
                </a:solidFill>
                <a:latin typeface="Verdana" pitchFamily="34" charset="0"/>
              </a:defRPr>
            </a:lvl3pPr>
            <a:lvl4pPr algn="l" defTabSz="877888" rtl="0" eaLnBrk="0" fontAlgn="base" hangingPunct="0">
              <a:spcBef>
                <a:spcPct val="0"/>
              </a:spcBef>
              <a:spcAft>
                <a:spcPct val="0"/>
              </a:spcAft>
              <a:defRPr sz="2700" b="1">
                <a:solidFill>
                  <a:srgbClr val="001965"/>
                </a:solidFill>
                <a:latin typeface="Verdana" pitchFamily="34" charset="0"/>
              </a:defRPr>
            </a:lvl4pPr>
            <a:lvl5pPr algn="l" defTabSz="877888" rtl="0" eaLnBrk="0" fontAlgn="base" hangingPunct="0">
              <a:spcBef>
                <a:spcPct val="0"/>
              </a:spcBef>
              <a:spcAft>
                <a:spcPct val="0"/>
              </a:spcAft>
              <a:defRPr sz="2700" b="1">
                <a:solidFill>
                  <a:srgbClr val="001965"/>
                </a:solidFill>
                <a:latin typeface="Verdana" pitchFamily="34" charset="0"/>
              </a:defRPr>
            </a:lvl5pPr>
            <a:lvl6pPr marL="329595" algn="l" defTabSz="878921" rtl="0" eaLnBrk="1" fontAlgn="base" hangingPunct="1">
              <a:spcBef>
                <a:spcPct val="0"/>
              </a:spcBef>
              <a:spcAft>
                <a:spcPct val="0"/>
              </a:spcAft>
              <a:defRPr sz="2700" b="1">
                <a:solidFill>
                  <a:srgbClr val="001965"/>
                </a:solidFill>
                <a:latin typeface="Verdana" pitchFamily="34" charset="0"/>
              </a:defRPr>
            </a:lvl6pPr>
            <a:lvl7pPr marL="659191" algn="l" defTabSz="878921" rtl="0" eaLnBrk="1" fontAlgn="base" hangingPunct="1">
              <a:spcBef>
                <a:spcPct val="0"/>
              </a:spcBef>
              <a:spcAft>
                <a:spcPct val="0"/>
              </a:spcAft>
              <a:defRPr sz="2700" b="1">
                <a:solidFill>
                  <a:srgbClr val="001965"/>
                </a:solidFill>
                <a:latin typeface="Verdana" pitchFamily="34" charset="0"/>
              </a:defRPr>
            </a:lvl7pPr>
            <a:lvl8pPr marL="988786" algn="l" defTabSz="878921" rtl="0" eaLnBrk="1" fontAlgn="base" hangingPunct="1">
              <a:spcBef>
                <a:spcPct val="0"/>
              </a:spcBef>
              <a:spcAft>
                <a:spcPct val="0"/>
              </a:spcAft>
              <a:defRPr sz="2700" b="1">
                <a:solidFill>
                  <a:srgbClr val="001965"/>
                </a:solidFill>
                <a:latin typeface="Verdana" pitchFamily="34" charset="0"/>
              </a:defRPr>
            </a:lvl8pPr>
            <a:lvl9pPr marL="1318382" algn="l" defTabSz="878921" rtl="0" eaLnBrk="1" fontAlgn="base" hangingPunct="1">
              <a:spcBef>
                <a:spcPct val="0"/>
              </a:spcBef>
              <a:spcAft>
                <a:spcPct val="0"/>
              </a:spcAft>
              <a:defRPr sz="2700" b="1">
                <a:solidFill>
                  <a:srgbClr val="001965"/>
                </a:solidFill>
                <a:latin typeface="Verdana" pitchFamily="34" charset="0"/>
              </a:defRPr>
            </a:lvl9pPr>
          </a:lstStyle>
          <a:p>
            <a:r>
              <a:rPr lang="en-GB" sz="3200" noProof="0" dirty="0"/>
              <a:t>Title</a:t>
            </a:r>
          </a:p>
        </p:txBody>
      </p:sp>
      <p:sp>
        <p:nvSpPr>
          <p:cNvPr id="15" name="TextBox 14"/>
          <p:cNvSpPr txBox="1"/>
          <p:nvPr userDrawn="1"/>
        </p:nvSpPr>
        <p:spPr>
          <a:xfrm>
            <a:off x="3665079" y="3366048"/>
            <a:ext cx="4844499" cy="338554"/>
          </a:xfrm>
          <a:prstGeom prst="rect">
            <a:avLst/>
          </a:prstGeom>
          <a:noFill/>
        </p:spPr>
        <p:txBody>
          <a:bodyPr wrap="square" rtlCol="0">
            <a:spAutoFit/>
          </a:bodyPr>
          <a:lstStyle/>
          <a:p>
            <a:pPr algn="ctr"/>
            <a:r>
              <a:rPr lang="en-GB" sz="1600" b="0" noProof="0" dirty="0">
                <a:solidFill>
                  <a:schemeClr val="accent5"/>
                </a:solidFill>
              </a:rPr>
              <a:t>Keep all content in this area</a:t>
            </a:r>
          </a:p>
        </p:txBody>
      </p:sp>
      <p:sp>
        <p:nvSpPr>
          <p:cNvPr id="28" name="TextBox 27"/>
          <p:cNvSpPr txBox="1"/>
          <p:nvPr userDrawn="1"/>
        </p:nvSpPr>
        <p:spPr>
          <a:xfrm>
            <a:off x="425094" y="1749632"/>
            <a:ext cx="11357500" cy="461665"/>
          </a:xfrm>
          <a:prstGeom prst="rect">
            <a:avLst/>
          </a:prstGeom>
          <a:noFill/>
        </p:spPr>
        <p:txBody>
          <a:bodyPr wrap="square" rtlCol="0">
            <a:spAutoFit/>
          </a:bodyPr>
          <a:lstStyle/>
          <a:p>
            <a:endParaRPr lang="en-GB" sz="2400" noProof="0" dirty="0"/>
          </a:p>
        </p:txBody>
      </p:sp>
      <p:sp>
        <p:nvSpPr>
          <p:cNvPr id="30" name="Rectangle 29"/>
          <p:cNvSpPr/>
          <p:nvPr userDrawn="1"/>
        </p:nvSpPr>
        <p:spPr bwMode="auto">
          <a:xfrm>
            <a:off x="422401" y="1749630"/>
            <a:ext cx="11347201" cy="3941052"/>
          </a:xfrm>
          <a:prstGeom prst="rect">
            <a:avLst/>
          </a:prstGeom>
          <a:noFill/>
          <a:ln w="3175" cap="flat" cmpd="sng" algn="ctr">
            <a:solidFill>
              <a:schemeClr val="accent5"/>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359824" marR="0" indent="-359824" algn="l" defTabSz="1625559" rtl="0" eaLnBrk="1" fontAlgn="base" latinLnBrk="0" hangingPunct="1">
              <a:lnSpc>
                <a:spcPct val="100000"/>
              </a:lnSpc>
              <a:spcBef>
                <a:spcPct val="50000"/>
              </a:spcBef>
              <a:spcAft>
                <a:spcPct val="0"/>
              </a:spcAft>
              <a:buClr>
                <a:schemeClr val="accent1"/>
              </a:buClr>
              <a:buSzTx/>
              <a:buFont typeface="Arial" pitchFamily="34" charset="0"/>
              <a:buChar char="•"/>
              <a:tabLst/>
            </a:pPr>
            <a:r>
              <a:rPr kumimoji="0" lang="en-GB" sz="2400" b="0" i="0" u="none" strike="noStrike" cap="none" normalizeH="0" baseline="0" noProof="0" dirty="0">
                <a:ln>
                  <a:noFill/>
                </a:ln>
                <a:solidFill>
                  <a:srgbClr val="001965"/>
                </a:solidFill>
                <a:effectLst/>
                <a:latin typeface="Verdana" pitchFamily="34" charset="0"/>
              </a:rPr>
              <a:t>Content area</a:t>
            </a:r>
          </a:p>
        </p:txBody>
      </p:sp>
      <p:sp>
        <p:nvSpPr>
          <p:cNvPr id="31" name="TextBox 30"/>
          <p:cNvSpPr txBox="1"/>
          <p:nvPr userDrawn="1"/>
        </p:nvSpPr>
        <p:spPr>
          <a:xfrm>
            <a:off x="422400" y="1285946"/>
            <a:ext cx="6096011" cy="338554"/>
          </a:xfrm>
          <a:prstGeom prst="rect">
            <a:avLst/>
          </a:prstGeom>
          <a:noFill/>
        </p:spPr>
        <p:txBody>
          <a:bodyPr wrap="square" rtlCol="0">
            <a:spAutoFit/>
          </a:bodyPr>
          <a:lstStyle/>
          <a:p>
            <a:pPr algn="l"/>
            <a:r>
              <a:rPr lang="en-GB" sz="1600" b="0" noProof="0" dirty="0">
                <a:solidFill>
                  <a:schemeClr val="accent5"/>
                </a:solidFill>
              </a:rPr>
              <a:t>Keep</a:t>
            </a:r>
            <a:r>
              <a:rPr lang="en-GB" sz="1600" b="0" baseline="0" noProof="0" dirty="0">
                <a:solidFill>
                  <a:schemeClr val="accent5"/>
                </a:solidFill>
              </a:rPr>
              <a:t> all titles, </a:t>
            </a:r>
            <a:r>
              <a:rPr lang="en-GB" sz="1600" b="0" baseline="0" noProof="0" dirty="0" err="1">
                <a:solidFill>
                  <a:schemeClr val="accent5"/>
                </a:solidFill>
              </a:rPr>
              <a:t>trompets</a:t>
            </a:r>
            <a:r>
              <a:rPr lang="en-GB" sz="1600" b="0" baseline="0" noProof="0" dirty="0">
                <a:solidFill>
                  <a:schemeClr val="accent5"/>
                </a:solidFill>
              </a:rPr>
              <a:t> and subtitles in this area</a:t>
            </a:r>
            <a:endParaRPr lang="en-GB" sz="1600" b="0" noProof="0" dirty="0">
              <a:solidFill>
                <a:schemeClr val="accent5"/>
              </a:solidFill>
            </a:endParaRPr>
          </a:p>
        </p:txBody>
      </p:sp>
      <p:sp>
        <p:nvSpPr>
          <p:cNvPr id="32" name="TextBox 31"/>
          <p:cNvSpPr txBox="1"/>
          <p:nvPr userDrawn="1"/>
        </p:nvSpPr>
        <p:spPr>
          <a:xfrm>
            <a:off x="6559750" y="439654"/>
            <a:ext cx="5212253" cy="338554"/>
          </a:xfrm>
          <a:prstGeom prst="rect">
            <a:avLst/>
          </a:prstGeom>
          <a:noFill/>
        </p:spPr>
        <p:txBody>
          <a:bodyPr wrap="square" rtlCol="0">
            <a:spAutoFit/>
          </a:bodyPr>
          <a:lstStyle/>
          <a:p>
            <a:pPr algn="r"/>
            <a:r>
              <a:rPr lang="en-GB" sz="1600" b="0" noProof="0" dirty="0">
                <a:solidFill>
                  <a:schemeClr val="accent5"/>
                </a:solidFill>
              </a:rPr>
              <a:t>Never</a:t>
            </a:r>
            <a:r>
              <a:rPr lang="en-GB" sz="1600" b="0" baseline="0" noProof="0" dirty="0">
                <a:solidFill>
                  <a:schemeClr val="accent5"/>
                </a:solidFill>
              </a:rPr>
              <a:t> move Footer, Date and No placeholders</a:t>
            </a:r>
            <a:endParaRPr lang="en-GB" sz="1600" b="0" noProof="0" dirty="0">
              <a:solidFill>
                <a:schemeClr val="accent5"/>
              </a:solidFill>
            </a:endParaRPr>
          </a:p>
        </p:txBody>
      </p:sp>
      <p:sp>
        <p:nvSpPr>
          <p:cNvPr id="16"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7"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sp>
        <p:nvSpPr>
          <p:cNvPr id="18"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40711772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7_Image middle squar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C31636-37D2-49D6-8599-2C13891E8044}"/>
              </a:ext>
            </a:extLst>
          </p:cNvPr>
          <p:cNvGraphicFramePr>
            <a:graphicFrameLocks noChangeAspect="1"/>
          </p:cNvGraphicFramePr>
          <p:nvPr userDrawn="1">
            <p:custDataLst>
              <p:tags r:id="rId2"/>
            </p:custDataLst>
            <p:extLst>
              <p:ext uri="{D42A27DB-BD31-4B8C-83A1-F6EECF244321}">
                <p14:modId xmlns:p14="http://schemas.microsoft.com/office/powerpoint/2010/main" val="252560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BBC31636-37D2-49D6-8599-2C13891E80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EADC7B0-834D-4785-BBBC-51ED0B91190D}"/>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800" b="1" i="0" baseline="0" dirty="0">
              <a:latin typeface="Verdana" panose="020B0604030504040204" pitchFamily="34" charset="0"/>
              <a:ea typeface="+mj-ea"/>
              <a:cs typeface="+mj-cs"/>
              <a:sym typeface="Verdana" panose="020B0604030504040204" pitchFamily="34" charset="0"/>
            </a:endParaRPr>
          </a:p>
        </p:txBody>
      </p:sp>
      <p:sp>
        <p:nvSpPr>
          <p:cNvPr id="2" name="Rectangle 1">
            <a:extLst>
              <a:ext uri="{FF2B5EF4-FFF2-40B4-BE49-F238E27FC236}">
                <a16:creationId xmlns:a16="http://schemas.microsoft.com/office/drawing/2014/main" id="{C2071DB1-E441-934E-9760-D7995C3742AD}"/>
              </a:ext>
            </a:extLst>
          </p:cNvPr>
          <p:cNvSpPr/>
          <p:nvPr userDrawn="1"/>
        </p:nvSpPr>
        <p:spPr>
          <a:xfrm>
            <a:off x="0" y="0"/>
            <a:ext cx="12192000" cy="5350933"/>
          </a:xfrm>
          <a:prstGeom prst="rect">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3" name="Title 1"/>
          <p:cNvSpPr>
            <a:spLocks noGrp="1"/>
          </p:cNvSpPr>
          <p:nvPr>
            <p:ph type="title"/>
          </p:nvPr>
        </p:nvSpPr>
        <p:spPr>
          <a:xfrm>
            <a:off x="422400" y="687227"/>
            <a:ext cx="11347200" cy="2850605"/>
          </a:xfrm>
        </p:spPr>
        <p:txBody>
          <a:bodyPr anchor="ctr" anchorCtr="0"/>
          <a:lstStyle>
            <a:lvl1pPr algn="ctr">
              <a:defRPr sz="4800">
                <a:solidFill>
                  <a:schemeClr val="bg1"/>
                </a:solidFill>
              </a:defRPr>
            </a:lvl1pPr>
          </a:lstStyle>
          <a:p>
            <a:r>
              <a:rPr lang="en-GB" noProof="0" dirty="0"/>
              <a:t>Click to edit Master title style</a:t>
            </a:r>
          </a:p>
        </p:txBody>
      </p:sp>
      <p:pic>
        <p:nvPicPr>
          <p:cNvPr id="4" name="Picture 3">
            <a:extLst>
              <a:ext uri="{FF2B5EF4-FFF2-40B4-BE49-F238E27FC236}">
                <a16:creationId xmlns:a16="http://schemas.microsoft.com/office/drawing/2014/main" id="{990E0B7B-1DE7-3F45-81BE-B67DAA5DFB63}"/>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13656"/>
          <a:stretch/>
        </p:blipFill>
        <p:spPr>
          <a:xfrm>
            <a:off x="0" y="5350933"/>
            <a:ext cx="10526973" cy="1507067"/>
          </a:xfrm>
          <a:prstGeom prst="rect">
            <a:avLst/>
          </a:prstGeom>
        </p:spPr>
      </p:pic>
      <p:sp>
        <p:nvSpPr>
          <p:cNvPr id="9" name="Rectangle 3">
            <a:extLst>
              <a:ext uri="{FF2B5EF4-FFF2-40B4-BE49-F238E27FC236}">
                <a16:creationId xmlns:a16="http://schemas.microsoft.com/office/drawing/2014/main" id="{CD8D9631-8021-E743-8BE9-DB268364CC03}"/>
              </a:ext>
            </a:extLst>
          </p:cNvPr>
          <p:cNvSpPr>
            <a:spLocks noGrp="1" noChangeArrowheads="1"/>
          </p:cNvSpPr>
          <p:nvPr>
            <p:ph type="subTitle" idx="1"/>
          </p:nvPr>
        </p:nvSpPr>
        <p:spPr>
          <a:xfrm>
            <a:off x="3733788" y="3834975"/>
            <a:ext cx="4724425" cy="912781"/>
          </a:xfrm>
          <a:extLst>
            <a:ext uri="{909E8E84-426E-40DD-AFC4-6F175D3DCCD1}">
              <a14:hiddenFill xmlns:a14="http://schemas.microsoft.com/office/drawing/2010/main">
                <a:solidFill>
                  <a:schemeClr val="accent1"/>
                </a:solidFill>
              </a14:hiddenFill>
            </a:ext>
          </a:extLst>
        </p:spPr>
        <p:txBody>
          <a:bodyPr rIns="0"/>
          <a:lstStyle>
            <a:lvl1pPr marL="0" indent="0" algn="ctr">
              <a:buFontTx/>
              <a:buNone/>
              <a:defRPr sz="1867" b="1">
                <a:solidFill>
                  <a:schemeClr val="bg1"/>
                </a:solidFill>
              </a:defRPr>
            </a:lvl1pPr>
          </a:lstStyle>
          <a:p>
            <a:pPr lvl="0"/>
            <a:r>
              <a:rPr lang="en-GB" noProof="0" dirty="0"/>
              <a:t>Click to edit Master subtitle style</a:t>
            </a:r>
          </a:p>
        </p:txBody>
      </p:sp>
    </p:spTree>
    <p:extLst>
      <p:ext uri="{BB962C8B-B14F-4D97-AF65-F5344CB8AC3E}">
        <p14:creationId xmlns:p14="http://schemas.microsoft.com/office/powerpoint/2010/main" val="31012789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42915C4-4EF6-4156-A5A7-53F072CF3F1F}"/>
              </a:ext>
            </a:extLst>
          </p:cNvPr>
          <p:cNvGraphicFramePr>
            <a:graphicFrameLocks noChangeAspect="1"/>
          </p:cNvGraphicFramePr>
          <p:nvPr userDrawn="1">
            <p:custDataLst>
              <p:tags r:id="rId2"/>
            </p:custDataLst>
            <p:extLst>
              <p:ext uri="{D42A27DB-BD31-4B8C-83A1-F6EECF244321}">
                <p14:modId xmlns:p14="http://schemas.microsoft.com/office/powerpoint/2010/main" val="4104938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B42915C4-4EF6-4156-A5A7-53F072CF3F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51960BC-EA0D-41B2-8757-FAC507E8FCF8}"/>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Text Placeholder 2"/>
          <p:cNvSpPr>
            <a:spLocks noGrp="1"/>
          </p:cNvSpPr>
          <p:nvPr>
            <p:ph type="body"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Slide Number Placeholder 3"/>
          <p:cNvSpPr>
            <a:spLocks noGrp="1"/>
          </p:cNvSpPr>
          <p:nvPr>
            <p:ph type="sldNum" sz="quarter" idx="10"/>
          </p:nvPr>
        </p:nvSpPr>
        <p:spPr/>
        <p:txBody>
          <a:bodyPr/>
          <a:lstStyle/>
          <a:p>
            <a:pPr>
              <a:defRPr/>
            </a:pPr>
            <a:fld id="{4B01E8EF-57E8-4F85-90EB-163CEE512F88}" type="slidenum">
              <a:rPr lang="en-GB" smtClean="0">
                <a:solidFill>
                  <a:srgbClr val="82786F"/>
                </a:solidFill>
              </a:rPr>
              <a:pPr>
                <a:defRPr/>
              </a:pPr>
              <a:t>‹#›</a:t>
            </a:fld>
            <a:endParaRPr lang="en-GB" dirty="0">
              <a:solidFill>
                <a:srgbClr val="82786F"/>
              </a:solidFill>
            </a:endParaRPr>
          </a:p>
        </p:txBody>
      </p:sp>
      <p:sp>
        <p:nvSpPr>
          <p:cNvPr id="5" name="Footer Placeholder 4"/>
          <p:cNvSpPr>
            <a:spLocks noGrp="1"/>
          </p:cNvSpPr>
          <p:nvPr>
            <p:ph type="ftr" sz="quarter" idx="11"/>
          </p:nvPr>
        </p:nvSpPr>
        <p:spPr>
          <a:xfrm>
            <a:off x="5563942" y="138543"/>
            <a:ext cx="3867151" cy="135467"/>
          </a:xfrm>
          <a:prstGeom prst="rect">
            <a:avLst/>
          </a:prstGeom>
        </p:spPr>
        <p:txBody>
          <a:bodyPr/>
          <a:lstStyle/>
          <a:p>
            <a:pPr>
              <a:defRPr/>
            </a:pPr>
            <a:r>
              <a:rPr lang="en-GB" dirty="0">
                <a:solidFill>
                  <a:srgbClr val="82786F"/>
                </a:solidFill>
              </a:rPr>
              <a:t>Graduate Programmes Presentation</a:t>
            </a:r>
          </a:p>
        </p:txBody>
      </p:sp>
      <p:sp>
        <p:nvSpPr>
          <p:cNvPr id="6" name="Date Placeholder 5"/>
          <p:cNvSpPr>
            <a:spLocks noGrp="1"/>
          </p:cNvSpPr>
          <p:nvPr>
            <p:ph type="dt" sz="half" idx="12"/>
          </p:nvPr>
        </p:nvSpPr>
        <p:spPr>
          <a:xfrm>
            <a:off x="9582871" y="138543"/>
            <a:ext cx="1602317" cy="135467"/>
          </a:xfrm>
          <a:prstGeom prst="rect">
            <a:avLst/>
          </a:prstGeom>
        </p:spPr>
        <p:txBody>
          <a:bodyPr/>
          <a:lstStyle/>
          <a:p>
            <a:pPr>
              <a:defRPr/>
            </a:pPr>
            <a:r>
              <a:rPr lang="en-GB" dirty="0">
                <a:solidFill>
                  <a:srgbClr val="82786F"/>
                </a:solidFill>
              </a:rPr>
              <a:t>November 2018</a:t>
            </a:r>
          </a:p>
        </p:txBody>
      </p:sp>
    </p:spTree>
    <p:extLst>
      <p:ext uri="{BB962C8B-B14F-4D97-AF65-F5344CB8AC3E}">
        <p14:creationId xmlns:p14="http://schemas.microsoft.com/office/powerpoint/2010/main" val="36056862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 Agenda">
    <p:bg>
      <p:bgPr>
        <a:solidFill>
          <a:srgbClr val="F7F6F5"/>
        </a:solidFill>
        <a:effectLst/>
      </p:bgPr>
    </p:bg>
    <p:spTree>
      <p:nvGrpSpPr>
        <p:cNvPr id="1" name=""/>
        <p:cNvGrpSpPr/>
        <p:nvPr/>
      </p:nvGrpSpPr>
      <p:grpSpPr>
        <a:xfrm>
          <a:off x="0" y="0"/>
          <a:ext cx="0" cy="0"/>
          <a:chOff x="0" y="0"/>
          <a:chExt cx="0" cy="0"/>
        </a:xfrm>
      </p:grpSpPr>
      <p:sp>
        <p:nvSpPr>
          <p:cNvPr id="26" name="TextBox 25">
            <a:extLst>
              <a:ext uri="{FF2B5EF4-FFF2-40B4-BE49-F238E27FC236}">
                <a16:creationId xmlns:a16="http://schemas.microsoft.com/office/drawing/2014/main" id="{AF03571F-1311-4339-AB3F-F6A3026DE701}"/>
              </a:ext>
            </a:extLst>
          </p:cNvPr>
          <p:cNvSpPr txBox="1"/>
          <p:nvPr userDrawn="1"/>
        </p:nvSpPr>
        <p:spPr>
          <a:xfrm>
            <a:off x="324000" y="1795422"/>
            <a:ext cx="11220000" cy="3062377"/>
          </a:xfrm>
          <a:prstGeom prst="rect">
            <a:avLst/>
          </a:prstGeom>
          <a:noFill/>
        </p:spPr>
        <p:txBody>
          <a:bodyPr wrap="square" lIns="0" tIns="0" rIns="0" bIns="0" rtlCol="0">
            <a:spAutoFit/>
          </a:bodyPr>
          <a:lstStyle/>
          <a:p>
            <a:r>
              <a:rPr lang="en-GB" sz="19900" b="1">
                <a:solidFill>
                  <a:srgbClr val="EBE8E5"/>
                </a:solidFill>
              </a:rPr>
              <a:t>Agenda</a:t>
            </a:r>
          </a:p>
        </p:txBody>
      </p:sp>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US" dirty="0"/>
              <a:t>09.00-09.30</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nb-NO"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3CAE355F-5316-4890-BC02-E2CC0C013C73}" type="datetime3">
              <a:rPr lang="en-US" smtClean="0"/>
              <a:t>6 November 2020</a:t>
            </a:fld>
            <a:endParaRPr lang="en-GB"/>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a:t>Novo Nordisk company presenta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a:p>
        </p:txBody>
      </p:sp>
    </p:spTree>
    <p:extLst>
      <p:ext uri="{BB962C8B-B14F-4D97-AF65-F5344CB8AC3E}">
        <p14:creationId xmlns:p14="http://schemas.microsoft.com/office/powerpoint/2010/main" val="36840844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C55D44-ABDA-4E04-8DAD-C7E84EAD02E4}"/>
              </a:ext>
            </a:extLst>
          </p:cNvPr>
          <p:cNvGraphicFramePr>
            <a:graphicFrameLocks noChangeAspect="1"/>
          </p:cNvGraphicFramePr>
          <p:nvPr userDrawn="1">
            <p:custDataLst>
              <p:tags r:id="rId2"/>
            </p:custDataLst>
            <p:extLst>
              <p:ext uri="{D42A27DB-BD31-4B8C-83A1-F6EECF244321}">
                <p14:modId xmlns:p14="http://schemas.microsoft.com/office/powerpoint/2010/main" val="3989651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F5C55D44-ABDA-4E04-8DAD-C7E84EAD02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8174A6F-6EC1-4D9B-B912-35C114667DFD}"/>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en-GB" dirty="0"/>
              <a:t>Click to edit Master title style</a:t>
            </a:r>
          </a:p>
        </p:txBody>
      </p:sp>
      <p:sp>
        <p:nvSpPr>
          <p:cNvPr id="3" name="Slide Number Placeholder 2"/>
          <p:cNvSpPr>
            <a:spLocks noGrp="1"/>
          </p:cNvSpPr>
          <p:nvPr>
            <p:ph type="sldNum" sz="quarter" idx="10"/>
          </p:nvPr>
        </p:nvSpPr>
        <p:spPr/>
        <p:txBody>
          <a:bodyPr/>
          <a:lstStyle/>
          <a:p>
            <a:pPr>
              <a:defRPr/>
            </a:pPr>
            <a:fld id="{4B01E8EF-57E8-4F85-90EB-163CEE512F88}" type="slidenum">
              <a:rPr lang="en-GB" noProof="0" smtClean="0"/>
              <a:pPr>
                <a:defRPr/>
              </a:pPr>
              <a:t>‹#›</a:t>
            </a:fld>
            <a:endParaRPr lang="en-GB" noProof="0" dirty="0"/>
          </a:p>
        </p:txBody>
      </p:sp>
      <p:sp>
        <p:nvSpPr>
          <p:cNvPr id="4" name="Footer Placeholder 3"/>
          <p:cNvSpPr>
            <a:spLocks noGrp="1"/>
          </p:cNvSpPr>
          <p:nvPr>
            <p:ph type="ftr" sz="quarter" idx="11"/>
          </p:nvPr>
        </p:nvSpPr>
        <p:spPr/>
        <p:txBody>
          <a:bodyPr/>
          <a:lstStyle/>
          <a:p>
            <a:pPr>
              <a:defRPr/>
            </a:pPr>
            <a:r>
              <a:rPr lang="en-GB" noProof="0" dirty="0"/>
              <a:t>Graduate Programmes Presentation</a:t>
            </a:r>
          </a:p>
        </p:txBody>
      </p:sp>
      <p:sp>
        <p:nvSpPr>
          <p:cNvPr id="5" name="Date Placeholder 4"/>
          <p:cNvSpPr>
            <a:spLocks noGrp="1"/>
          </p:cNvSpPr>
          <p:nvPr>
            <p:ph type="dt" sz="half" idx="12"/>
          </p:nvPr>
        </p:nvSpPr>
        <p:spPr/>
        <p:txBody>
          <a:bodyPr/>
          <a:lstStyle/>
          <a:p>
            <a:pPr>
              <a:defRPr/>
            </a:pPr>
            <a:r>
              <a:rPr lang="en-GB" noProof="0" dirty="0"/>
              <a:t>November 2018</a:t>
            </a:r>
          </a:p>
        </p:txBody>
      </p:sp>
    </p:spTree>
    <p:extLst>
      <p:ext uri="{BB962C8B-B14F-4D97-AF65-F5344CB8AC3E}">
        <p14:creationId xmlns:p14="http://schemas.microsoft.com/office/powerpoint/2010/main" val="26897434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B49CC3-0B44-4336-937F-CB4CE0AECB96}"/>
              </a:ext>
            </a:extLst>
          </p:cNvPr>
          <p:cNvGraphicFramePr>
            <a:graphicFrameLocks noChangeAspect="1"/>
          </p:cNvGraphicFramePr>
          <p:nvPr userDrawn="1">
            <p:custDataLst>
              <p:tags r:id="rId2"/>
            </p:custDataLst>
            <p:extLst>
              <p:ext uri="{D42A27DB-BD31-4B8C-83A1-F6EECF244321}">
                <p14:modId xmlns:p14="http://schemas.microsoft.com/office/powerpoint/2010/main" val="1412495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22B49CC3-0B44-4336-937F-CB4CE0AECB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6"/>
          <p:cNvSpPr>
            <a:spLocks noGrp="1" noChangeArrowheads="1"/>
          </p:cNvSpPr>
          <p:nvPr>
            <p:ph type="ftr" sz="quarter" idx="10"/>
          </p:nvPr>
        </p:nvSpPr>
        <p:spPr>
          <a:ln/>
        </p:spPr>
        <p:txBody>
          <a:bodyPr/>
          <a:lstStyle>
            <a:lvl1pPr>
              <a:defRPr/>
            </a:lvl1pPr>
          </a:lstStyle>
          <a:p>
            <a:pPr>
              <a:defRPr/>
            </a:pPr>
            <a:r>
              <a:rPr lang="en-GB" dirty="0"/>
              <a:t>Graduate Programmes Presentation</a:t>
            </a:r>
          </a:p>
        </p:txBody>
      </p:sp>
      <p:sp>
        <p:nvSpPr>
          <p:cNvPr id="3" name="Rectangle 7"/>
          <p:cNvSpPr>
            <a:spLocks noGrp="1" noChangeArrowheads="1"/>
          </p:cNvSpPr>
          <p:nvPr>
            <p:ph type="sldNum" sz="quarter" idx="11"/>
          </p:nvPr>
        </p:nvSpPr>
        <p:spPr>
          <a:ln/>
        </p:spPr>
        <p:txBody>
          <a:bodyPr/>
          <a:lstStyle>
            <a:lvl1pPr>
              <a:defRPr/>
            </a:lvl1pPr>
          </a:lstStyle>
          <a:p>
            <a:pPr>
              <a:defRPr/>
            </a:pPr>
            <a:r>
              <a:rPr lang="en-GB" dirty="0"/>
              <a:t>Slide no </a:t>
            </a:r>
            <a:fld id="{15E9B380-1843-4A3C-AD1D-6FEC1E49695B}" type="slidenum">
              <a:rPr lang="en-GB"/>
              <a:pPr>
                <a:defRPr/>
              </a:pPr>
              <a:t>‹#›</a:t>
            </a:fld>
            <a:endParaRPr lang="en-GB" dirty="0"/>
          </a:p>
        </p:txBody>
      </p:sp>
      <p:sp>
        <p:nvSpPr>
          <p:cNvPr id="4" name="Rectangle 8"/>
          <p:cNvSpPr>
            <a:spLocks noGrp="1" noChangeArrowheads="1"/>
          </p:cNvSpPr>
          <p:nvPr>
            <p:ph type="dt" sz="half" idx="12"/>
          </p:nvPr>
        </p:nvSpPr>
        <p:spPr>
          <a:ln/>
        </p:spPr>
        <p:txBody>
          <a:bodyPr/>
          <a:lstStyle>
            <a:lvl1pPr>
              <a:defRPr/>
            </a:lvl1pPr>
          </a:lstStyle>
          <a:p>
            <a:pPr>
              <a:defRPr/>
            </a:pPr>
            <a:r>
              <a:rPr lang="en-GB" dirty="0"/>
              <a:t>November 2018</a:t>
            </a:r>
          </a:p>
        </p:txBody>
      </p:sp>
    </p:spTree>
    <p:extLst>
      <p:ext uri="{BB962C8B-B14F-4D97-AF65-F5344CB8AC3E}">
        <p14:creationId xmlns:p14="http://schemas.microsoft.com/office/powerpoint/2010/main" val="179352718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_Norma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33CC01-C1D5-4218-B122-9C055C74FB91}"/>
              </a:ext>
            </a:extLst>
          </p:cNvPr>
          <p:cNvGraphicFramePr>
            <a:graphicFrameLocks noChangeAspect="1"/>
          </p:cNvGraphicFramePr>
          <p:nvPr userDrawn="1">
            <p:custDataLst>
              <p:tags r:id="rId2"/>
            </p:custDataLst>
            <p:extLst>
              <p:ext uri="{D42A27DB-BD31-4B8C-83A1-F6EECF244321}">
                <p14:modId xmlns:p14="http://schemas.microsoft.com/office/powerpoint/2010/main" val="355221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7633CC01-C1D5-4218-B122-9C055C74FB9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8B1A2A5-0C68-4CBA-BE7E-257FEB62CDFA}"/>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pic>
        <p:nvPicPr>
          <p:cNvPr id="3" name="Picture 2">
            <a:extLst>
              <a:ext uri="{FF2B5EF4-FFF2-40B4-BE49-F238E27FC236}">
                <a16:creationId xmlns:a16="http://schemas.microsoft.com/office/drawing/2014/main" id="{0F0DFC77-DACD-2043-8B24-FAFBB63CD605}"/>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20000"/>
          <a:stretch/>
        </p:blipFill>
        <p:spPr>
          <a:xfrm>
            <a:off x="0" y="5350933"/>
            <a:ext cx="9753600" cy="1507067"/>
          </a:xfrm>
          <a:prstGeom prst="rect">
            <a:avLst/>
          </a:prstGeom>
        </p:spPr>
      </p:pic>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GB" noProof="0" dirty="0"/>
              <a:t>Click to edit Master title style</a:t>
            </a:r>
          </a:p>
        </p:txBody>
      </p:sp>
      <p:sp>
        <p:nvSpPr>
          <p:cNvPr id="7"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Presentation title</a:t>
            </a:r>
          </a:p>
        </p:txBody>
      </p:sp>
      <p:sp>
        <p:nvSpPr>
          <p:cNvPr id="8"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Date</a:t>
            </a:r>
          </a:p>
        </p:txBody>
      </p:sp>
      <p:sp>
        <p:nvSpPr>
          <p:cNvPr id="9" name="Slide Number Placeholder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4852304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7C5CA9A-401C-4A24-9B41-24631D48BC2E}"/>
              </a:ext>
            </a:extLst>
          </p:cNvPr>
          <p:cNvGraphicFramePr>
            <a:graphicFrameLocks noChangeAspect="1"/>
          </p:cNvGraphicFramePr>
          <p:nvPr userDrawn="1">
            <p:custDataLst>
              <p:tags r:id="rId2"/>
            </p:custDataLst>
            <p:extLst>
              <p:ext uri="{D42A27DB-BD31-4B8C-83A1-F6EECF244321}">
                <p14:modId xmlns:p14="http://schemas.microsoft.com/office/powerpoint/2010/main" val="3195603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C7C5CA9A-401C-4A24-9B41-24631D48BC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CA05CC3-1921-43B2-96C9-9BF8156A2BDE}"/>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pic>
        <p:nvPicPr>
          <p:cNvPr id="9" name="Picture 8">
            <a:extLst>
              <a:ext uri="{FF2B5EF4-FFF2-40B4-BE49-F238E27FC236}">
                <a16:creationId xmlns:a16="http://schemas.microsoft.com/office/drawing/2014/main" id="{D8633291-9CC0-F94B-8D53-8EBDC9F778E9}"/>
              </a:ext>
            </a:extLst>
          </p:cNvPr>
          <p:cNvPicPr>
            <a:picLocks noChangeAspect="1"/>
          </p:cNvPicPr>
          <p:nvPr userDrawn="1"/>
        </p:nvPicPr>
        <p:blipFill>
          <a:blip r:embed="rId7"/>
          <a:stretch>
            <a:fillRect/>
          </a:stretch>
        </p:blipFill>
        <p:spPr>
          <a:xfrm rot="4876825">
            <a:off x="-128706" y="-90638"/>
            <a:ext cx="6699540" cy="7228977"/>
          </a:xfrm>
          <a:prstGeom prst="rect">
            <a:avLst/>
          </a:prstGeom>
        </p:spPr>
      </p:pic>
      <p:sp>
        <p:nvSpPr>
          <p:cNvPr id="2" name="Title 1">
            <a:extLst>
              <a:ext uri="{FF2B5EF4-FFF2-40B4-BE49-F238E27FC236}">
                <a16:creationId xmlns:a16="http://schemas.microsoft.com/office/drawing/2014/main" id="{5EF0D04B-202A-184D-888C-7F762B44E1DE}"/>
              </a:ext>
            </a:extLst>
          </p:cNvPr>
          <p:cNvSpPr>
            <a:spLocks noGrp="1"/>
          </p:cNvSpPr>
          <p:nvPr>
            <p:ph type="title"/>
          </p:nvPr>
        </p:nvSpPr>
        <p:spPr>
          <a:xfrm>
            <a:off x="6473002" y="687227"/>
            <a:ext cx="5928781" cy="521883"/>
          </a:xfrm>
        </p:spPr>
        <p:txBody>
          <a:bodyPr/>
          <a:lstStyle/>
          <a:p>
            <a:r>
              <a:rPr lang="en-GB" dirty="0"/>
              <a:t>Click to edit Master title style</a:t>
            </a:r>
          </a:p>
        </p:txBody>
      </p:sp>
      <p:sp>
        <p:nvSpPr>
          <p:cNvPr id="3" name="Slide Number Placeholder 2">
            <a:extLst>
              <a:ext uri="{FF2B5EF4-FFF2-40B4-BE49-F238E27FC236}">
                <a16:creationId xmlns:a16="http://schemas.microsoft.com/office/drawing/2014/main" id="{6E429F75-9736-964F-9250-B3589385369A}"/>
              </a:ext>
            </a:extLst>
          </p:cNvPr>
          <p:cNvSpPr>
            <a:spLocks noGrp="1"/>
          </p:cNvSpPr>
          <p:nvPr>
            <p:ph type="sldNum" sz="quarter" idx="10"/>
          </p:nvPr>
        </p:nvSpPr>
        <p:spPr/>
        <p:txBody>
          <a:bodyPr/>
          <a:lstStyle/>
          <a:p>
            <a:pPr>
              <a:defRPr/>
            </a:pPr>
            <a:fld id="{4B01E8EF-57E8-4F85-90EB-163CEE512F88}" type="slidenum">
              <a:rPr lang="en-GB" noProof="0" smtClean="0"/>
              <a:pPr>
                <a:defRPr/>
              </a:pPr>
              <a:t>‹#›</a:t>
            </a:fld>
            <a:endParaRPr lang="en-GB" noProof="0" dirty="0"/>
          </a:p>
        </p:txBody>
      </p:sp>
      <p:sp>
        <p:nvSpPr>
          <p:cNvPr id="4" name="Footer Placeholder 3">
            <a:extLst>
              <a:ext uri="{FF2B5EF4-FFF2-40B4-BE49-F238E27FC236}">
                <a16:creationId xmlns:a16="http://schemas.microsoft.com/office/drawing/2014/main" id="{FA68978E-941D-A341-92CC-BF03A4F1A75C}"/>
              </a:ext>
            </a:extLst>
          </p:cNvPr>
          <p:cNvSpPr>
            <a:spLocks noGrp="1"/>
          </p:cNvSpPr>
          <p:nvPr>
            <p:ph type="ftr" sz="quarter" idx="11"/>
          </p:nvPr>
        </p:nvSpPr>
        <p:spPr/>
        <p:txBody>
          <a:bodyPr/>
          <a:lstStyle/>
          <a:p>
            <a:pPr>
              <a:defRPr/>
            </a:pPr>
            <a:r>
              <a:rPr lang="en-GB" noProof="0" dirty="0"/>
              <a:t>Graduate introduction day</a:t>
            </a:r>
          </a:p>
        </p:txBody>
      </p:sp>
      <p:sp>
        <p:nvSpPr>
          <p:cNvPr id="5" name="Date Placeholder 4">
            <a:extLst>
              <a:ext uri="{FF2B5EF4-FFF2-40B4-BE49-F238E27FC236}">
                <a16:creationId xmlns:a16="http://schemas.microsoft.com/office/drawing/2014/main" id="{913B0811-FACB-FC47-ABC3-9648A91DC118}"/>
              </a:ext>
            </a:extLst>
          </p:cNvPr>
          <p:cNvSpPr>
            <a:spLocks noGrp="1"/>
          </p:cNvSpPr>
          <p:nvPr>
            <p:ph type="dt" sz="half" idx="12"/>
          </p:nvPr>
        </p:nvSpPr>
        <p:spPr/>
        <p:txBody>
          <a:bodyPr/>
          <a:lstStyle/>
          <a:p>
            <a:pPr>
              <a:defRPr/>
            </a:pPr>
            <a:r>
              <a:rPr lang="en-GB" noProof="0" dirty="0"/>
              <a:t>1 September 2016</a:t>
            </a:r>
          </a:p>
        </p:txBody>
      </p:sp>
      <p:sp>
        <p:nvSpPr>
          <p:cNvPr id="10" name="Picture Placeholder 6">
            <a:extLst>
              <a:ext uri="{FF2B5EF4-FFF2-40B4-BE49-F238E27FC236}">
                <a16:creationId xmlns:a16="http://schemas.microsoft.com/office/drawing/2014/main" id="{42A107D5-33CC-8447-9603-0C6FBBEE7B5B}"/>
              </a:ext>
            </a:extLst>
          </p:cNvPr>
          <p:cNvSpPr>
            <a:spLocks noGrp="1"/>
          </p:cNvSpPr>
          <p:nvPr>
            <p:ph type="pic" sz="quarter" idx="13"/>
          </p:nvPr>
        </p:nvSpPr>
        <p:spPr>
          <a:xfrm>
            <a:off x="-243906" y="411125"/>
            <a:ext cx="6104039" cy="6100828"/>
          </a:xfrm>
          <a:prstGeom prst="ellipse">
            <a:avLst/>
          </a:prstGeom>
          <a:solidFill>
            <a:schemeClr val="accent6"/>
          </a:solidFill>
        </p:spPr>
        <p:txBody>
          <a:bodyPr/>
          <a:lstStyle/>
          <a:p>
            <a:r>
              <a:rPr lang="en-GB" dirty="0"/>
              <a:t>Click icon to add picture</a:t>
            </a:r>
          </a:p>
        </p:txBody>
      </p:sp>
      <p:sp>
        <p:nvSpPr>
          <p:cNvPr id="11" name="Content Placeholder 2">
            <a:extLst>
              <a:ext uri="{FF2B5EF4-FFF2-40B4-BE49-F238E27FC236}">
                <a16:creationId xmlns:a16="http://schemas.microsoft.com/office/drawing/2014/main" id="{8E295474-27D0-DB4C-9819-8190295312A2}"/>
              </a:ext>
            </a:extLst>
          </p:cNvPr>
          <p:cNvSpPr>
            <a:spLocks noGrp="1"/>
          </p:cNvSpPr>
          <p:nvPr>
            <p:ph idx="24"/>
          </p:nvPr>
        </p:nvSpPr>
        <p:spPr>
          <a:xfrm>
            <a:off x="6475696" y="1749631"/>
            <a:ext cx="5443461"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27274357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5EEB48-628D-443B-833C-6F7CFA62C4C0}"/>
              </a:ext>
            </a:extLst>
          </p:cNvPr>
          <p:cNvGraphicFramePr>
            <a:graphicFrameLocks noChangeAspect="1"/>
          </p:cNvGraphicFramePr>
          <p:nvPr userDrawn="1">
            <p:custDataLst>
              <p:tags r:id="rId2"/>
            </p:custDataLst>
            <p:extLst>
              <p:ext uri="{D42A27DB-BD31-4B8C-83A1-F6EECF244321}">
                <p14:modId xmlns:p14="http://schemas.microsoft.com/office/powerpoint/2010/main" val="363415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475EEB48-628D-443B-833C-6F7CFA62C4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2277E14-7877-4205-A326-25B6E5CD6905}"/>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2" name="Title 1">
            <a:extLst>
              <a:ext uri="{FF2B5EF4-FFF2-40B4-BE49-F238E27FC236}">
                <a16:creationId xmlns:a16="http://schemas.microsoft.com/office/drawing/2014/main" id="{5EF0D04B-202A-184D-888C-7F762B44E1DE}"/>
              </a:ext>
            </a:extLst>
          </p:cNvPr>
          <p:cNvSpPr>
            <a:spLocks noGrp="1"/>
          </p:cNvSpPr>
          <p:nvPr>
            <p:ph type="title"/>
          </p:nvPr>
        </p:nvSpPr>
        <p:spPr/>
        <p:txBody>
          <a:bodyPr/>
          <a:lstStyle/>
          <a:p>
            <a:r>
              <a:rPr lang="en-GB" dirty="0"/>
              <a:t>Click to edit Master title style</a:t>
            </a:r>
          </a:p>
        </p:txBody>
      </p:sp>
      <p:sp>
        <p:nvSpPr>
          <p:cNvPr id="3" name="Slide Number Placeholder 2">
            <a:extLst>
              <a:ext uri="{FF2B5EF4-FFF2-40B4-BE49-F238E27FC236}">
                <a16:creationId xmlns:a16="http://schemas.microsoft.com/office/drawing/2014/main" id="{6E429F75-9736-964F-9250-B3589385369A}"/>
              </a:ext>
            </a:extLst>
          </p:cNvPr>
          <p:cNvSpPr>
            <a:spLocks noGrp="1"/>
          </p:cNvSpPr>
          <p:nvPr>
            <p:ph type="sldNum" sz="quarter" idx="10"/>
          </p:nvPr>
        </p:nvSpPr>
        <p:spPr/>
        <p:txBody>
          <a:bodyPr/>
          <a:lstStyle/>
          <a:p>
            <a:pPr>
              <a:defRPr/>
            </a:pPr>
            <a:fld id="{4B01E8EF-57E8-4F85-90EB-163CEE512F88}" type="slidenum">
              <a:rPr lang="en-GB" noProof="0" smtClean="0"/>
              <a:pPr>
                <a:defRPr/>
              </a:pPr>
              <a:t>‹#›</a:t>
            </a:fld>
            <a:endParaRPr lang="en-GB" noProof="0" dirty="0"/>
          </a:p>
        </p:txBody>
      </p:sp>
      <p:sp>
        <p:nvSpPr>
          <p:cNvPr id="4" name="Footer Placeholder 3">
            <a:extLst>
              <a:ext uri="{FF2B5EF4-FFF2-40B4-BE49-F238E27FC236}">
                <a16:creationId xmlns:a16="http://schemas.microsoft.com/office/drawing/2014/main" id="{FA68978E-941D-A341-92CC-BF03A4F1A75C}"/>
              </a:ext>
            </a:extLst>
          </p:cNvPr>
          <p:cNvSpPr>
            <a:spLocks noGrp="1"/>
          </p:cNvSpPr>
          <p:nvPr>
            <p:ph type="ftr" sz="quarter" idx="11"/>
          </p:nvPr>
        </p:nvSpPr>
        <p:spPr/>
        <p:txBody>
          <a:bodyPr/>
          <a:lstStyle/>
          <a:p>
            <a:pPr>
              <a:defRPr/>
            </a:pPr>
            <a:r>
              <a:rPr lang="en-GB" noProof="0" dirty="0"/>
              <a:t>Novo Nordisk Company presentation</a:t>
            </a:r>
          </a:p>
        </p:txBody>
      </p:sp>
      <p:sp>
        <p:nvSpPr>
          <p:cNvPr id="5" name="Date Placeholder 4">
            <a:extLst>
              <a:ext uri="{FF2B5EF4-FFF2-40B4-BE49-F238E27FC236}">
                <a16:creationId xmlns:a16="http://schemas.microsoft.com/office/drawing/2014/main" id="{913B0811-FACB-FC47-ABC3-9648A91DC118}"/>
              </a:ext>
            </a:extLst>
          </p:cNvPr>
          <p:cNvSpPr>
            <a:spLocks noGrp="1"/>
          </p:cNvSpPr>
          <p:nvPr>
            <p:ph type="dt" sz="half" idx="12"/>
          </p:nvPr>
        </p:nvSpPr>
        <p:spPr/>
        <p:txBody>
          <a:bodyPr/>
          <a:lstStyle/>
          <a:p>
            <a:pPr>
              <a:defRPr/>
            </a:pPr>
            <a:endParaRPr lang="en-GB" noProof="0" dirty="0"/>
          </a:p>
        </p:txBody>
      </p:sp>
      <p:pic>
        <p:nvPicPr>
          <p:cNvPr id="9" name="Picture 8">
            <a:extLst>
              <a:ext uri="{FF2B5EF4-FFF2-40B4-BE49-F238E27FC236}">
                <a16:creationId xmlns:a16="http://schemas.microsoft.com/office/drawing/2014/main" id="{3F15172C-475C-5E45-B323-5287A1F23EC8}"/>
              </a:ext>
            </a:extLst>
          </p:cNvPr>
          <p:cNvPicPr>
            <a:picLocks noChangeAspect="1"/>
          </p:cNvPicPr>
          <p:nvPr userDrawn="1"/>
        </p:nvPicPr>
        <p:blipFill>
          <a:blip r:embed="rId7"/>
          <a:stretch>
            <a:fillRect/>
          </a:stretch>
        </p:blipFill>
        <p:spPr>
          <a:xfrm>
            <a:off x="5268446" y="138543"/>
            <a:ext cx="6366873" cy="6870021"/>
          </a:xfrm>
          <a:prstGeom prst="rect">
            <a:avLst/>
          </a:prstGeom>
        </p:spPr>
      </p:pic>
      <p:sp>
        <p:nvSpPr>
          <p:cNvPr id="7" name="Picture Placeholder 6">
            <a:extLst>
              <a:ext uri="{FF2B5EF4-FFF2-40B4-BE49-F238E27FC236}">
                <a16:creationId xmlns:a16="http://schemas.microsoft.com/office/drawing/2014/main" id="{9268736A-26D8-9F49-9E6C-EB45F869A194}"/>
              </a:ext>
            </a:extLst>
          </p:cNvPr>
          <p:cNvSpPr>
            <a:spLocks noGrp="1"/>
          </p:cNvSpPr>
          <p:nvPr>
            <p:ph type="pic" sz="quarter" idx="13"/>
          </p:nvPr>
        </p:nvSpPr>
        <p:spPr>
          <a:xfrm>
            <a:off x="5445922" y="1082674"/>
            <a:ext cx="5770361" cy="5767325"/>
          </a:xfrm>
          <a:prstGeom prst="ellipse">
            <a:avLst/>
          </a:prstGeom>
          <a:solidFill>
            <a:schemeClr val="accent6"/>
          </a:solidFill>
        </p:spPr>
        <p:txBody>
          <a:bodyPr/>
          <a:lstStyle/>
          <a:p>
            <a:endParaRPr lang="da-DK"/>
          </a:p>
        </p:txBody>
      </p:sp>
    </p:spTree>
    <p:extLst>
      <p:ext uri="{BB962C8B-B14F-4D97-AF65-F5344CB8AC3E}">
        <p14:creationId xmlns:p14="http://schemas.microsoft.com/office/powerpoint/2010/main" val="19318992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11_Custom Layout">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006F67FA-E537-4226-9111-AFAC3564E295}"/>
              </a:ext>
            </a:extLst>
          </p:cNvPr>
          <p:cNvGraphicFramePr>
            <a:graphicFrameLocks noChangeAspect="1"/>
          </p:cNvGraphicFramePr>
          <p:nvPr userDrawn="1">
            <p:custDataLst>
              <p:tags r:id="rId2"/>
            </p:custDataLst>
            <p:extLst>
              <p:ext uri="{D42A27DB-BD31-4B8C-83A1-F6EECF244321}">
                <p14:modId xmlns:p14="http://schemas.microsoft.com/office/powerpoint/2010/main" val="187929508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7893" name="think-cell Slide" r:id="rId5" imgW="360" imgH="360" progId="TCLayout.ActiveDocument.1">
                  <p:embed/>
                </p:oleObj>
              </mc:Choice>
              <mc:Fallback>
                <p:oleObj name="think-cell Slide" r:id="rId5" imgW="360" imgH="360" progId="TCLayout.ActiveDocument.1">
                  <p:embed/>
                  <p:pic>
                    <p:nvPicPr>
                      <p:cNvPr id="4" name="Object 1" hidden="1">
                        <a:extLst>
                          <a:ext uri="{FF2B5EF4-FFF2-40B4-BE49-F238E27FC236}">
                            <a16:creationId xmlns:a16="http://schemas.microsoft.com/office/drawing/2014/main" id="{006F67FA-E537-4226-9111-AFAC3564E2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738D1607-AD51-42FF-AEEF-B1A5E918708F}"/>
              </a:ext>
            </a:extLst>
          </p:cNvPr>
          <p:cNvSpPr/>
          <p:nvPr userDrawn="1">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pic>
        <p:nvPicPr>
          <p:cNvPr id="5" name="Picture 11" descr="NN_m_2c_RGB">
            <a:extLst>
              <a:ext uri="{FF2B5EF4-FFF2-40B4-BE49-F238E27FC236}">
                <a16:creationId xmlns:a16="http://schemas.microsoft.com/office/drawing/2014/main" id="{E6FC53F3-96DA-40C6-93EB-29DE0E1A8394}"/>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822517" y="5715000"/>
            <a:ext cx="1066800"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3" descr="NN_m_2c_RGB">
            <a:extLst>
              <a:ext uri="{FF2B5EF4-FFF2-40B4-BE49-F238E27FC236}">
                <a16:creationId xmlns:a16="http://schemas.microsoft.com/office/drawing/2014/main" id="{9B1348FA-7F6D-4EB0-A4EA-BDD498EEAEF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09817" y="5715000"/>
            <a:ext cx="1081616" cy="891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2" descr="CD_Stacked_BIG®_RGB">
            <a:extLst>
              <a:ext uri="{FF2B5EF4-FFF2-40B4-BE49-F238E27FC236}">
                <a16:creationId xmlns:a16="http://schemas.microsoft.com/office/drawing/2014/main" id="{80DAE4F5-B0DB-4015-B8ED-AE97583AE8F4}"/>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36034" y="6028268"/>
            <a:ext cx="637117" cy="385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
            <a:extLst>
              <a:ext uri="{FF2B5EF4-FFF2-40B4-BE49-F238E27FC236}">
                <a16:creationId xmlns:a16="http://schemas.microsoft.com/office/drawing/2014/main" id="{6518F9AC-7D8F-46F8-BEBC-1DB8B96D4201}"/>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rot="3922649">
            <a:off x="-1323975" y="1027642"/>
            <a:ext cx="4783667" cy="5162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5EF0D04B-202A-184D-888C-7F762B44E1DE}"/>
              </a:ext>
            </a:extLst>
          </p:cNvPr>
          <p:cNvSpPr>
            <a:spLocks noGrp="1"/>
          </p:cNvSpPr>
          <p:nvPr>
            <p:ph type="title"/>
          </p:nvPr>
        </p:nvSpPr>
        <p:spPr/>
        <p:txBody>
          <a:bodyPr/>
          <a:lstStyle>
            <a:lvl1pPr algn="l">
              <a:defRPr/>
            </a:lvl1pPr>
          </a:lstStyle>
          <a:p>
            <a:r>
              <a:rPr lang="en-GB" dirty="0"/>
              <a:t>Click to edit Master title style</a:t>
            </a:r>
          </a:p>
        </p:txBody>
      </p:sp>
      <p:sp>
        <p:nvSpPr>
          <p:cNvPr id="7" name="Picture Placeholder 6">
            <a:extLst>
              <a:ext uri="{FF2B5EF4-FFF2-40B4-BE49-F238E27FC236}">
                <a16:creationId xmlns:a16="http://schemas.microsoft.com/office/drawing/2014/main" id="{9268736A-26D8-9F49-9E6C-EB45F869A194}"/>
              </a:ext>
            </a:extLst>
          </p:cNvPr>
          <p:cNvSpPr>
            <a:spLocks noGrp="1"/>
          </p:cNvSpPr>
          <p:nvPr>
            <p:ph type="pic" sz="quarter" idx="13"/>
          </p:nvPr>
        </p:nvSpPr>
        <p:spPr>
          <a:xfrm>
            <a:off x="-1415679" y="1445739"/>
            <a:ext cx="4327731" cy="4325453"/>
          </a:xfrm>
          <a:prstGeom prst="ellipse">
            <a:avLst/>
          </a:prstGeom>
          <a:solidFill>
            <a:schemeClr val="accent6"/>
          </a:solidFill>
        </p:spPr>
        <p:txBody>
          <a:bodyPr/>
          <a:lstStyle/>
          <a:p>
            <a:pPr lvl="0"/>
            <a:endParaRPr lang="da-DK" noProof="0"/>
          </a:p>
        </p:txBody>
      </p:sp>
      <p:sp>
        <p:nvSpPr>
          <p:cNvPr id="10" name="Slide Number Placeholder 2">
            <a:extLst>
              <a:ext uri="{FF2B5EF4-FFF2-40B4-BE49-F238E27FC236}">
                <a16:creationId xmlns:a16="http://schemas.microsoft.com/office/drawing/2014/main" id="{77F8BD59-7822-440D-BE06-F83572F42683}"/>
              </a:ext>
            </a:extLst>
          </p:cNvPr>
          <p:cNvSpPr>
            <a:spLocks noGrp="1"/>
          </p:cNvSpPr>
          <p:nvPr>
            <p:ph type="sldNum" sz="quarter" idx="14"/>
          </p:nvPr>
        </p:nvSpPr>
        <p:spPr/>
        <p:txBody>
          <a:bodyPr/>
          <a:lstStyle>
            <a:lvl1pPr>
              <a:defRPr/>
            </a:lvl1pPr>
          </a:lstStyle>
          <a:p>
            <a:pPr>
              <a:defRPr/>
            </a:pPr>
            <a:fld id="{CF3D743C-D6E7-4A3C-82C8-527E14AF9D1D}" type="slidenum">
              <a:rPr lang="en-GB"/>
              <a:pPr>
                <a:defRPr/>
              </a:pPr>
              <a:t>‹#›</a:t>
            </a:fld>
            <a:endParaRPr lang="en-GB" dirty="0"/>
          </a:p>
        </p:txBody>
      </p:sp>
      <p:sp>
        <p:nvSpPr>
          <p:cNvPr id="11" name="Footer Placeholder 3">
            <a:extLst>
              <a:ext uri="{FF2B5EF4-FFF2-40B4-BE49-F238E27FC236}">
                <a16:creationId xmlns:a16="http://schemas.microsoft.com/office/drawing/2014/main" id="{C449D45A-FA27-42F5-BC8A-86F8585280DF}"/>
              </a:ext>
            </a:extLst>
          </p:cNvPr>
          <p:cNvSpPr>
            <a:spLocks noGrp="1"/>
          </p:cNvSpPr>
          <p:nvPr>
            <p:ph type="ftr" sz="quarter" idx="15"/>
          </p:nvPr>
        </p:nvSpPr>
        <p:spPr/>
        <p:txBody>
          <a:bodyPr/>
          <a:lstStyle>
            <a:lvl1pPr>
              <a:defRPr/>
            </a:lvl1pPr>
          </a:lstStyle>
          <a:p>
            <a:pPr>
              <a:defRPr/>
            </a:pPr>
            <a:r>
              <a:rPr lang="en-GB" dirty="0"/>
              <a:t>Presentation title</a:t>
            </a:r>
          </a:p>
        </p:txBody>
      </p:sp>
      <p:sp>
        <p:nvSpPr>
          <p:cNvPr id="12" name="Date Placeholder 4">
            <a:extLst>
              <a:ext uri="{FF2B5EF4-FFF2-40B4-BE49-F238E27FC236}">
                <a16:creationId xmlns:a16="http://schemas.microsoft.com/office/drawing/2014/main" id="{366E4B82-B4E7-4D06-80FF-BF16ACEB0F18}"/>
              </a:ext>
            </a:extLst>
          </p:cNvPr>
          <p:cNvSpPr>
            <a:spLocks noGrp="1"/>
          </p:cNvSpPr>
          <p:nvPr>
            <p:ph type="dt" sz="half" idx="16"/>
          </p:nvPr>
        </p:nvSpPr>
        <p:spPr/>
        <p:txBody>
          <a:bodyPr/>
          <a:lstStyle>
            <a:lvl1pPr>
              <a:defRPr/>
            </a:lvl1pPr>
          </a:lstStyle>
          <a:p>
            <a:pPr>
              <a:defRPr/>
            </a:pPr>
            <a:r>
              <a:rPr lang="en-GB" dirty="0"/>
              <a:t>Date</a:t>
            </a:r>
          </a:p>
        </p:txBody>
      </p:sp>
    </p:spTree>
    <p:extLst>
      <p:ext uri="{BB962C8B-B14F-4D97-AF65-F5344CB8AC3E}">
        <p14:creationId xmlns:p14="http://schemas.microsoft.com/office/powerpoint/2010/main" val="4207567595"/>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Pres_Cov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A04418-5DFD-4D91-BF46-66AB8CE5355C}"/>
              </a:ext>
            </a:extLst>
          </p:cNvPr>
          <p:cNvGraphicFramePr>
            <a:graphicFrameLocks noChangeAspect="1"/>
          </p:cNvGraphicFramePr>
          <p:nvPr userDrawn="1">
            <p:custDataLst>
              <p:tags r:id="rId2"/>
            </p:custDataLst>
            <p:extLst>
              <p:ext uri="{D42A27DB-BD31-4B8C-83A1-F6EECF244321}">
                <p14:modId xmlns:p14="http://schemas.microsoft.com/office/powerpoint/2010/main" val="636176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7"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F9A04418-5DFD-4D91-BF46-66AB8CE535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Billede 7" descr="Et billede, der indeholder person, foto, mand, skærm&#10;&#10;Beskrivelse, der er oprettet med høj sikkerhed">
            <a:extLst>
              <a:ext uri="{FF2B5EF4-FFF2-40B4-BE49-F238E27FC236}">
                <a16:creationId xmlns:a16="http://schemas.microsoft.com/office/drawing/2014/main" id="{DE67C893-CD4B-4E5D-A2B2-971052A805E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ektangel 1">
            <a:extLst>
              <a:ext uri="{FF2B5EF4-FFF2-40B4-BE49-F238E27FC236}">
                <a16:creationId xmlns:a16="http://schemas.microsoft.com/office/drawing/2014/main" id="{6CF34230-6734-4BA5-8CCF-0B838934711F}"/>
              </a:ext>
            </a:extLst>
          </p:cNvPr>
          <p:cNvSpPr/>
          <p:nvPr userDrawn="1"/>
        </p:nvSpPr>
        <p:spPr>
          <a:xfrm>
            <a:off x="228600" y="5562600"/>
            <a:ext cx="1533525" cy="120967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rgbClr val="FFFFFF"/>
              </a:solidFill>
            </a:endParaRPr>
          </a:p>
        </p:txBody>
      </p:sp>
      <p:pic>
        <p:nvPicPr>
          <p:cNvPr id="7" name="Billede 6" descr="Et billede, der indeholder objekt&#10;&#10;Beskrivelse, der er oprettet med meget høj sikkerhed">
            <a:extLst>
              <a:ext uri="{FF2B5EF4-FFF2-40B4-BE49-F238E27FC236}">
                <a16:creationId xmlns:a16="http://schemas.microsoft.com/office/drawing/2014/main" id="{FECE073C-88C3-454D-A8E6-2499DB492F7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221325" y="3068108"/>
            <a:ext cx="2645832" cy="1423485"/>
          </a:xfrm>
          <a:prstGeom prst="rect">
            <a:avLst/>
          </a:prstGeom>
        </p:spPr>
      </p:pic>
    </p:spTree>
    <p:extLst>
      <p:ext uri="{BB962C8B-B14F-4D97-AF65-F5344CB8AC3E}">
        <p14:creationId xmlns:p14="http://schemas.microsoft.com/office/powerpoint/2010/main" val="3567271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Half_break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419E0B9-435C-4945-880F-9FF1BCCF0CA2}"/>
              </a:ext>
            </a:extLst>
          </p:cNvPr>
          <p:cNvGraphicFramePr>
            <a:graphicFrameLocks noChangeAspect="1"/>
          </p:cNvGraphicFramePr>
          <p:nvPr userDrawn="1">
            <p:custDataLst>
              <p:tags r:id="rId2"/>
            </p:custDataLst>
            <p:extLst>
              <p:ext uri="{D42A27DB-BD31-4B8C-83A1-F6EECF244321}">
                <p14:modId xmlns:p14="http://schemas.microsoft.com/office/powerpoint/2010/main" val="3923303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8419E0B9-435C-4945-880F-9FF1BCCF0C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Billede 2" descr="Et billede, der indeholder person, indendørs, mand, væg&#10;&#10;Beskrivelse, der er oprettet med meget høj sikkerhed">
            <a:extLst>
              <a:ext uri="{FF2B5EF4-FFF2-40B4-BE49-F238E27FC236}">
                <a16:creationId xmlns:a16="http://schemas.microsoft.com/office/drawing/2014/main" id="{DA436AA8-D98F-4450-8563-C25B1A435C4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33" descr="NN_m_2c_RGB">
            <a:extLst>
              <a:ext uri="{FF2B5EF4-FFF2-40B4-BE49-F238E27FC236}">
                <a16:creationId xmlns:a16="http://schemas.microsoft.com/office/drawing/2014/main" id="{4259EC19-DB3D-46E5-980F-DA570FC52FCE}"/>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810431" y="5714738"/>
            <a:ext cx="1080128" cy="8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lede 8" descr="Et billede, der indeholder objekt&#10;&#10;Beskrivelse, der er oprettet med meget høj sikkerhed">
            <a:extLst>
              <a:ext uri="{FF2B5EF4-FFF2-40B4-BE49-F238E27FC236}">
                <a16:creationId xmlns:a16="http://schemas.microsoft.com/office/drawing/2014/main" id="{7A735535-B5EF-4338-A4A8-452EB6154FD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387043" y="5858934"/>
            <a:ext cx="1096271" cy="589805"/>
          </a:xfrm>
          <a:prstGeom prst="rect">
            <a:avLst/>
          </a:prstGeom>
        </p:spPr>
      </p:pic>
      <p:sp>
        <p:nvSpPr>
          <p:cNvPr id="13" name="Content Placeholder 2">
            <a:extLst>
              <a:ext uri="{FF2B5EF4-FFF2-40B4-BE49-F238E27FC236}">
                <a16:creationId xmlns:a16="http://schemas.microsoft.com/office/drawing/2014/main" id="{BB3AC0B3-D4B4-4CA5-962D-F1E7785E43E8}"/>
              </a:ext>
            </a:extLst>
          </p:cNvPr>
          <p:cNvSpPr>
            <a:spLocks noGrp="1"/>
          </p:cNvSpPr>
          <p:nvPr>
            <p:ph idx="1"/>
          </p:nvPr>
        </p:nvSpPr>
        <p:spPr>
          <a:xfrm>
            <a:off x="6387043" y="1509107"/>
            <a:ext cx="5673600" cy="3941052"/>
          </a:xfrm>
          <a:prstGeom prst="rect">
            <a:avLst/>
          </a:prstGeom>
        </p:spPr>
        <p:txBody>
          <a:bodyPr>
            <a:normAutofit/>
          </a:bodyPr>
          <a:lstStyle>
            <a:lvl1pPr marL="0" indent="0">
              <a:buClr>
                <a:srgbClr val="009FDA"/>
              </a:buClr>
              <a:buFont typeface="+mj-lt"/>
              <a:buNone/>
              <a:defRPr sz="1467">
                <a:solidFill>
                  <a:srgbClr val="001423"/>
                </a:solidFill>
                <a:latin typeface="Verdana" panose="020B0604030504040204" pitchFamily="34" charset="0"/>
                <a:ea typeface="Verdana" panose="020B0604030504040204" pitchFamily="34" charset="0"/>
                <a:cs typeface="Verdana" panose="020B0604030504040204" pitchFamily="34" charset="0"/>
              </a:defRPr>
            </a:lvl1pPr>
            <a:lvl2pPr>
              <a:buClr>
                <a:srgbClr val="009FDA"/>
              </a:buClr>
              <a:defRPr sz="2133">
                <a:solidFill>
                  <a:srgbClr val="001423"/>
                </a:solidFill>
                <a:latin typeface="Verdana" panose="020B0604030504040204" pitchFamily="34" charset="0"/>
                <a:ea typeface="Verdana" panose="020B0604030504040204" pitchFamily="34" charset="0"/>
                <a:cs typeface="Verdana" panose="020B0604030504040204" pitchFamily="34" charset="0"/>
              </a:defRPr>
            </a:lvl2pPr>
            <a:lvl3pPr>
              <a:buClr>
                <a:srgbClr val="009FDA"/>
              </a:buClr>
              <a:defRPr sz="1867">
                <a:solidFill>
                  <a:srgbClr val="001423"/>
                </a:solidFill>
                <a:latin typeface="Verdana" panose="020B0604030504040204" pitchFamily="34" charset="0"/>
                <a:ea typeface="Verdana" panose="020B0604030504040204" pitchFamily="34" charset="0"/>
                <a:cs typeface="Verdana" panose="020B0604030504040204" pitchFamily="34" charset="0"/>
              </a:defRPr>
            </a:lvl3pPr>
            <a:lvl4pPr>
              <a:buClr>
                <a:srgbClr val="009FDA"/>
              </a:buClr>
              <a:defRPr sz="1600">
                <a:solidFill>
                  <a:srgbClr val="001423"/>
                </a:solidFill>
                <a:latin typeface="Verdana" panose="020B0604030504040204" pitchFamily="34" charset="0"/>
                <a:ea typeface="Verdana" panose="020B0604030504040204" pitchFamily="34" charset="0"/>
                <a:cs typeface="Verdana" panose="020B0604030504040204" pitchFamily="34" charset="0"/>
              </a:defRPr>
            </a:lvl4pPr>
            <a:lvl5pPr>
              <a:buClr>
                <a:srgbClr val="009FDA"/>
              </a:buClr>
              <a:defRPr sz="1600">
                <a:solidFill>
                  <a:srgbClr val="001423"/>
                </a:solidFill>
                <a:latin typeface="Verdana" panose="020B0604030504040204" pitchFamily="34" charset="0"/>
                <a:ea typeface="Verdana" panose="020B0604030504040204" pitchFamily="34" charset="0"/>
                <a:cs typeface="Verdana" panose="020B0604030504040204" pitchFamily="34" charset="0"/>
              </a:defRPr>
            </a:lvl5pPr>
          </a:lstStyle>
          <a:p>
            <a:pPr lvl="0"/>
            <a:r>
              <a:rPr lang="en-GB" noProof="0" dirty="0"/>
              <a:t>Click to edit Master text styles</a:t>
            </a:r>
          </a:p>
        </p:txBody>
      </p:sp>
      <p:sp>
        <p:nvSpPr>
          <p:cNvPr id="10" name="Tekstfelt 9">
            <a:extLst>
              <a:ext uri="{FF2B5EF4-FFF2-40B4-BE49-F238E27FC236}">
                <a16:creationId xmlns:a16="http://schemas.microsoft.com/office/drawing/2014/main" id="{3E568EC6-2557-4080-A73D-41D3932BD1E8}"/>
              </a:ext>
            </a:extLst>
          </p:cNvPr>
          <p:cNvSpPr txBox="1"/>
          <p:nvPr userDrawn="1"/>
        </p:nvSpPr>
        <p:spPr>
          <a:xfrm>
            <a:off x="0" y="1"/>
            <a:ext cx="3371851" cy="523028"/>
          </a:xfrm>
          <a:prstGeom prst="rect">
            <a:avLst/>
          </a:prstGeom>
          <a:noFill/>
        </p:spPr>
        <p:txBody>
          <a:bodyPr wrap="square" rtlCol="0">
            <a:spAutoFit/>
          </a:bodyPr>
          <a:lstStyle/>
          <a:p>
            <a:r>
              <a:rPr lang="en-GB" sz="933" dirty="0">
                <a:solidFill>
                  <a:srgbClr val="001423"/>
                </a:solidFill>
              </a:rPr>
              <a:t>GITA KAMPEN, JOHAN F PAULSSON </a:t>
            </a:r>
            <a:br>
              <a:rPr lang="en-GB" sz="933" dirty="0">
                <a:solidFill>
                  <a:srgbClr val="001423"/>
                </a:solidFill>
              </a:rPr>
            </a:br>
            <a:r>
              <a:rPr lang="en-GB" sz="933" dirty="0">
                <a:solidFill>
                  <a:srgbClr val="001423"/>
                </a:solidFill>
              </a:rPr>
              <a:t>and KARIN HAMBORG ALBRECHTSEN</a:t>
            </a:r>
          </a:p>
          <a:p>
            <a:r>
              <a:rPr lang="en-GB" sz="933" dirty="0">
                <a:solidFill>
                  <a:srgbClr val="001423"/>
                </a:solidFill>
              </a:rPr>
              <a:t>working in Global Research in Denmark</a:t>
            </a:r>
          </a:p>
        </p:txBody>
      </p:sp>
    </p:spTree>
    <p:extLst>
      <p:ext uri="{BB962C8B-B14F-4D97-AF65-F5344CB8AC3E}">
        <p14:creationId xmlns:p14="http://schemas.microsoft.com/office/powerpoint/2010/main" val="17951348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049">
          <p15:clr>
            <a:srgbClr val="FBAE40"/>
          </p15:clr>
        </p15:guide>
        <p15:guide id="2" pos="2880">
          <p15:clr>
            <a:srgbClr val="FBAE40"/>
          </p15:clr>
        </p15:guide>
        <p15:guide id="3" orient="horz" pos="277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 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7B3FB6-6446-4040-BDAF-186327E4213C}"/>
              </a:ext>
            </a:extLst>
          </p:cNvPr>
          <p:cNvGraphicFramePr>
            <a:graphicFrameLocks noChangeAspect="1"/>
          </p:cNvGraphicFramePr>
          <p:nvPr userDrawn="1">
            <p:custDataLst>
              <p:tags r:id="rId2"/>
            </p:custDataLst>
            <p:extLst>
              <p:ext uri="{D42A27DB-BD31-4B8C-83A1-F6EECF244321}">
                <p14:modId xmlns:p14="http://schemas.microsoft.com/office/powerpoint/2010/main" val="1769354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9"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067B3FB6-6446-4040-BDAF-186327E421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72C1F08-D77F-4733-95F9-5422787A8E3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15" name="Picture Placeholder 14">
            <a:extLst>
              <a:ext uri="{FF2B5EF4-FFF2-40B4-BE49-F238E27FC236}">
                <a16:creationId xmlns:a16="http://schemas.microsoft.com/office/drawing/2014/main" id="{880DF523-34A7-40E1-AE82-7A0D3594680C}"/>
              </a:ext>
            </a:extLst>
          </p:cNvPr>
          <p:cNvSpPr>
            <a:spLocks noGrp="1"/>
          </p:cNvSpPr>
          <p:nvPr>
            <p:ph type="pic" sz="quarter" idx="13" hasCustomPrompt="1"/>
          </p:nvPr>
        </p:nvSpPr>
        <p:spPr>
          <a:xfrm>
            <a:off x="0" y="0"/>
            <a:ext cx="12191999" cy="6858000"/>
          </a:xfrm>
          <a:custGeom>
            <a:avLst/>
            <a:gdLst>
              <a:gd name="connsiteX0" fmla="*/ 11666200 w 12191999"/>
              <a:gd name="connsiteY0" fmla="*/ 756760 h 6858000"/>
              <a:gd name="connsiteX1" fmla="*/ 11678975 w 12191999"/>
              <a:gd name="connsiteY1" fmla="*/ 761119 h 6858000"/>
              <a:gd name="connsiteX2" fmla="*/ 11678975 w 12191999"/>
              <a:gd name="connsiteY2" fmla="*/ 808195 h 6858000"/>
              <a:gd name="connsiteX3" fmla="*/ 11678845 w 12191999"/>
              <a:gd name="connsiteY3" fmla="*/ 808195 h 6858000"/>
              <a:gd name="connsiteX4" fmla="*/ 11667095 w 12191999"/>
              <a:gd name="connsiteY4" fmla="*/ 813579 h 6858000"/>
              <a:gd name="connsiteX5" fmla="*/ 11644998 w 12191999"/>
              <a:gd name="connsiteY5" fmla="*/ 784080 h 6858000"/>
              <a:gd name="connsiteX6" fmla="*/ 11666200 w 12191999"/>
              <a:gd name="connsiteY6" fmla="*/ 756760 h 6858000"/>
              <a:gd name="connsiteX7" fmla="*/ 11553608 w 12191999"/>
              <a:gd name="connsiteY7" fmla="*/ 755951 h 6858000"/>
              <a:gd name="connsiteX8" fmla="*/ 11565369 w 12191999"/>
              <a:gd name="connsiteY8" fmla="*/ 760439 h 6858000"/>
              <a:gd name="connsiteX9" fmla="*/ 11571638 w 12191999"/>
              <a:gd name="connsiteY9" fmla="*/ 784954 h 6858000"/>
              <a:gd name="connsiteX10" fmla="*/ 11565369 w 12191999"/>
              <a:gd name="connsiteY10" fmla="*/ 809339 h 6858000"/>
              <a:gd name="connsiteX11" fmla="*/ 11553608 w 12191999"/>
              <a:gd name="connsiteY11" fmla="*/ 813698 h 6858000"/>
              <a:gd name="connsiteX12" fmla="*/ 11542106 w 12191999"/>
              <a:gd name="connsiteY12" fmla="*/ 809339 h 6858000"/>
              <a:gd name="connsiteX13" fmla="*/ 11535837 w 12191999"/>
              <a:gd name="connsiteY13" fmla="*/ 784954 h 6858000"/>
              <a:gd name="connsiteX14" fmla="*/ 11542106 w 12191999"/>
              <a:gd name="connsiteY14" fmla="*/ 760439 h 6858000"/>
              <a:gd name="connsiteX15" fmla="*/ 11553608 w 12191999"/>
              <a:gd name="connsiteY15" fmla="*/ 755951 h 6858000"/>
              <a:gd name="connsiteX16" fmla="*/ 11389948 w 12191999"/>
              <a:gd name="connsiteY16" fmla="*/ 755951 h 6858000"/>
              <a:gd name="connsiteX17" fmla="*/ 11401504 w 12191999"/>
              <a:gd name="connsiteY17" fmla="*/ 760439 h 6858000"/>
              <a:gd name="connsiteX18" fmla="*/ 11407795 w 12191999"/>
              <a:gd name="connsiteY18" fmla="*/ 784954 h 6858000"/>
              <a:gd name="connsiteX19" fmla="*/ 11401504 w 12191999"/>
              <a:gd name="connsiteY19" fmla="*/ 809339 h 6858000"/>
              <a:gd name="connsiteX20" fmla="*/ 11389948 w 12191999"/>
              <a:gd name="connsiteY20" fmla="*/ 813698 h 6858000"/>
              <a:gd name="connsiteX21" fmla="*/ 11378133 w 12191999"/>
              <a:gd name="connsiteY21" fmla="*/ 809339 h 6858000"/>
              <a:gd name="connsiteX22" fmla="*/ 11371843 w 12191999"/>
              <a:gd name="connsiteY22" fmla="*/ 784954 h 6858000"/>
              <a:gd name="connsiteX23" fmla="*/ 11378133 w 12191999"/>
              <a:gd name="connsiteY23" fmla="*/ 760439 h 6858000"/>
              <a:gd name="connsiteX24" fmla="*/ 11389948 w 12191999"/>
              <a:gd name="connsiteY24" fmla="*/ 755951 h 6858000"/>
              <a:gd name="connsiteX25" fmla="*/ 11267462 w 12191999"/>
              <a:gd name="connsiteY25" fmla="*/ 755951 h 6858000"/>
              <a:gd name="connsiteX26" fmla="*/ 11279148 w 12191999"/>
              <a:gd name="connsiteY26" fmla="*/ 760439 h 6858000"/>
              <a:gd name="connsiteX27" fmla="*/ 11285438 w 12191999"/>
              <a:gd name="connsiteY27" fmla="*/ 784954 h 6858000"/>
              <a:gd name="connsiteX28" fmla="*/ 11279148 w 12191999"/>
              <a:gd name="connsiteY28" fmla="*/ 809339 h 6858000"/>
              <a:gd name="connsiteX29" fmla="*/ 11267462 w 12191999"/>
              <a:gd name="connsiteY29" fmla="*/ 813698 h 6858000"/>
              <a:gd name="connsiteX30" fmla="*/ 11255907 w 12191999"/>
              <a:gd name="connsiteY30" fmla="*/ 809339 h 6858000"/>
              <a:gd name="connsiteX31" fmla="*/ 11249616 w 12191999"/>
              <a:gd name="connsiteY31" fmla="*/ 784954 h 6858000"/>
              <a:gd name="connsiteX32" fmla="*/ 11255907 w 12191999"/>
              <a:gd name="connsiteY32" fmla="*/ 760439 h 6858000"/>
              <a:gd name="connsiteX33" fmla="*/ 11267462 w 12191999"/>
              <a:gd name="connsiteY33" fmla="*/ 755951 h 6858000"/>
              <a:gd name="connsiteX34" fmla="*/ 11708668 w 12191999"/>
              <a:gd name="connsiteY34" fmla="*/ 750005 h 6858000"/>
              <a:gd name="connsiteX35" fmla="*/ 11706381 w 12191999"/>
              <a:gd name="connsiteY35" fmla="*/ 752433 h 6858000"/>
              <a:gd name="connsiteX36" fmla="*/ 11706381 w 12191999"/>
              <a:gd name="connsiteY36" fmla="*/ 817032 h 6858000"/>
              <a:gd name="connsiteX37" fmla="*/ 11708420 w 12191999"/>
              <a:gd name="connsiteY37" fmla="*/ 819459 h 6858000"/>
              <a:gd name="connsiteX38" fmla="*/ 11715671 w 12191999"/>
              <a:gd name="connsiteY38" fmla="*/ 819459 h 6858000"/>
              <a:gd name="connsiteX39" fmla="*/ 11718206 w 12191999"/>
              <a:gd name="connsiteY39" fmla="*/ 817032 h 6858000"/>
              <a:gd name="connsiteX40" fmla="*/ 11718206 w 12191999"/>
              <a:gd name="connsiteY40" fmla="*/ 752433 h 6858000"/>
              <a:gd name="connsiteX41" fmla="*/ 11715660 w 12191999"/>
              <a:gd name="connsiteY41" fmla="*/ 750005 h 6858000"/>
              <a:gd name="connsiteX42" fmla="*/ 11708668 w 12191999"/>
              <a:gd name="connsiteY42" fmla="*/ 750005 h 6858000"/>
              <a:gd name="connsiteX43" fmla="*/ 11826514 w 12191999"/>
              <a:gd name="connsiteY43" fmla="*/ 749671 h 6858000"/>
              <a:gd name="connsiteX44" fmla="*/ 11822404 w 12191999"/>
              <a:gd name="connsiteY44" fmla="*/ 751851 h 6858000"/>
              <a:gd name="connsiteX45" fmla="*/ 11798623 w 12191999"/>
              <a:gd name="connsiteY45" fmla="*/ 781695 h 6858000"/>
              <a:gd name="connsiteX46" fmla="*/ 11798105 w 12191999"/>
              <a:gd name="connsiteY46" fmla="*/ 782461 h 6858000"/>
              <a:gd name="connsiteX47" fmla="*/ 11798234 w 12191999"/>
              <a:gd name="connsiteY47" fmla="*/ 783227 h 6858000"/>
              <a:gd name="connsiteX48" fmla="*/ 11822145 w 12191999"/>
              <a:gd name="connsiteY48" fmla="*/ 817420 h 6858000"/>
              <a:gd name="connsiteX49" fmla="*/ 11826126 w 12191999"/>
              <a:gd name="connsiteY49" fmla="*/ 819470 h 6858000"/>
              <a:gd name="connsiteX50" fmla="*/ 11835254 w 12191999"/>
              <a:gd name="connsiteY50" fmla="*/ 819470 h 6858000"/>
              <a:gd name="connsiteX51" fmla="*/ 11837175 w 12191999"/>
              <a:gd name="connsiteY51" fmla="*/ 817798 h 6858000"/>
              <a:gd name="connsiteX52" fmla="*/ 11836279 w 12191999"/>
              <a:gd name="connsiteY52" fmla="*/ 816136 h 6858000"/>
              <a:gd name="connsiteX53" fmla="*/ 11810826 w 12191999"/>
              <a:gd name="connsiteY53" fmla="*/ 782450 h 6858000"/>
              <a:gd name="connsiteX54" fmla="*/ 11810567 w 12191999"/>
              <a:gd name="connsiteY54" fmla="*/ 782192 h 6858000"/>
              <a:gd name="connsiteX55" fmla="*/ 11834607 w 12191999"/>
              <a:gd name="connsiteY55" fmla="*/ 753890 h 6858000"/>
              <a:gd name="connsiteX56" fmla="*/ 11835254 w 12191999"/>
              <a:gd name="connsiteY56" fmla="*/ 751203 h 6858000"/>
              <a:gd name="connsiteX57" fmla="*/ 11832816 w 12191999"/>
              <a:gd name="connsiteY57" fmla="*/ 749671 h 6858000"/>
              <a:gd name="connsiteX58" fmla="*/ 11826514 w 12191999"/>
              <a:gd name="connsiteY58" fmla="*/ 749671 h 6858000"/>
              <a:gd name="connsiteX59" fmla="*/ 11301634 w 12191999"/>
              <a:gd name="connsiteY59" fmla="*/ 749671 h 6858000"/>
              <a:gd name="connsiteX60" fmla="*/ 11299832 w 12191999"/>
              <a:gd name="connsiteY60" fmla="*/ 751462 h 6858000"/>
              <a:gd name="connsiteX61" fmla="*/ 11300350 w 12191999"/>
              <a:gd name="connsiteY61" fmla="*/ 753383 h 6858000"/>
              <a:gd name="connsiteX62" fmla="*/ 11324605 w 12191999"/>
              <a:gd name="connsiteY62" fmla="*/ 817399 h 6858000"/>
              <a:gd name="connsiteX63" fmla="*/ 11326785 w 12191999"/>
              <a:gd name="connsiteY63" fmla="*/ 819449 h 6858000"/>
              <a:gd name="connsiteX64" fmla="*/ 11332050 w 12191999"/>
              <a:gd name="connsiteY64" fmla="*/ 819449 h 6858000"/>
              <a:gd name="connsiteX65" fmla="*/ 11334489 w 12191999"/>
              <a:gd name="connsiteY65" fmla="*/ 817399 h 6858000"/>
              <a:gd name="connsiteX66" fmla="*/ 11358108 w 12191999"/>
              <a:gd name="connsiteY66" fmla="*/ 753135 h 6858000"/>
              <a:gd name="connsiteX67" fmla="*/ 11358366 w 12191999"/>
              <a:gd name="connsiteY67" fmla="*/ 751085 h 6858000"/>
              <a:gd name="connsiteX68" fmla="*/ 11356694 w 12191999"/>
              <a:gd name="connsiteY68" fmla="*/ 749671 h 6858000"/>
              <a:gd name="connsiteX69" fmla="*/ 11350015 w 12191999"/>
              <a:gd name="connsiteY69" fmla="*/ 749671 h 6858000"/>
              <a:gd name="connsiteX70" fmla="*/ 11348343 w 12191999"/>
              <a:gd name="connsiteY70" fmla="*/ 751592 h 6858000"/>
              <a:gd name="connsiteX71" fmla="*/ 11330885 w 12191999"/>
              <a:gd name="connsiteY71" fmla="*/ 802908 h 6858000"/>
              <a:gd name="connsiteX72" fmla="*/ 11312920 w 12191999"/>
              <a:gd name="connsiteY72" fmla="*/ 751851 h 6858000"/>
              <a:gd name="connsiteX73" fmla="*/ 11309845 w 12191999"/>
              <a:gd name="connsiteY73" fmla="*/ 749671 h 6858000"/>
              <a:gd name="connsiteX74" fmla="*/ 11301634 w 12191999"/>
              <a:gd name="connsiteY74" fmla="*/ 749671 h 6858000"/>
              <a:gd name="connsiteX75" fmla="*/ 11754223 w 12191999"/>
              <a:gd name="connsiteY75" fmla="*/ 748506 h 6858000"/>
              <a:gd name="connsiteX76" fmla="*/ 11731241 w 12191999"/>
              <a:gd name="connsiteY76" fmla="*/ 767625 h 6858000"/>
              <a:gd name="connsiteX77" fmla="*/ 11749346 w 12191999"/>
              <a:gd name="connsiteY77" fmla="*/ 788417 h 6858000"/>
              <a:gd name="connsiteX78" fmla="*/ 11764236 w 12191999"/>
              <a:gd name="connsiteY78" fmla="*/ 801894 h 6858000"/>
              <a:gd name="connsiteX79" fmla="*/ 11750500 w 12191999"/>
              <a:gd name="connsiteY79" fmla="*/ 813698 h 6858000"/>
              <a:gd name="connsiteX80" fmla="*/ 11733679 w 12191999"/>
              <a:gd name="connsiteY80" fmla="*/ 806641 h 6858000"/>
              <a:gd name="connsiteX81" fmla="*/ 11728673 w 12191999"/>
              <a:gd name="connsiteY81" fmla="*/ 811130 h 6858000"/>
              <a:gd name="connsiteX82" fmla="*/ 11750241 w 12191999"/>
              <a:gd name="connsiteY82" fmla="*/ 821402 h 6858000"/>
              <a:gd name="connsiteX83" fmla="*/ 11774896 w 12191999"/>
              <a:gd name="connsiteY83" fmla="*/ 800610 h 6858000"/>
              <a:gd name="connsiteX84" fmla="*/ 11741901 w 12191999"/>
              <a:gd name="connsiteY84" fmla="*/ 766471 h 6858000"/>
              <a:gd name="connsiteX85" fmla="*/ 11753457 w 12191999"/>
              <a:gd name="connsiteY85" fmla="*/ 756199 h 6858000"/>
              <a:gd name="connsiteX86" fmla="*/ 11767322 w 12191999"/>
              <a:gd name="connsiteY86" fmla="*/ 761335 h 6858000"/>
              <a:gd name="connsiteX87" fmla="*/ 11772328 w 12191999"/>
              <a:gd name="connsiteY87" fmla="*/ 756587 h 6858000"/>
              <a:gd name="connsiteX88" fmla="*/ 11754223 w 12191999"/>
              <a:gd name="connsiteY88" fmla="*/ 748506 h 6858000"/>
              <a:gd name="connsiteX89" fmla="*/ 11614257 w 12191999"/>
              <a:gd name="connsiteY89" fmla="*/ 748117 h 6858000"/>
              <a:gd name="connsiteX90" fmla="*/ 11599001 w 12191999"/>
              <a:gd name="connsiteY90" fmla="*/ 750167 h 6858000"/>
              <a:gd name="connsiteX91" fmla="*/ 11592721 w 12191999"/>
              <a:gd name="connsiteY91" fmla="*/ 755659 h 6858000"/>
              <a:gd name="connsiteX92" fmla="*/ 11592721 w 12191999"/>
              <a:gd name="connsiteY92" fmla="*/ 816902 h 6858000"/>
              <a:gd name="connsiteX93" fmla="*/ 11595418 w 12191999"/>
              <a:gd name="connsiteY93" fmla="*/ 819071 h 6858000"/>
              <a:gd name="connsiteX94" fmla="*/ 11602216 w 12191999"/>
              <a:gd name="connsiteY94" fmla="*/ 819071 h 6858000"/>
              <a:gd name="connsiteX95" fmla="*/ 11604654 w 12191999"/>
              <a:gd name="connsiteY95" fmla="*/ 816902 h 6858000"/>
              <a:gd name="connsiteX96" fmla="*/ 11604654 w 12191999"/>
              <a:gd name="connsiteY96" fmla="*/ 760774 h 6858000"/>
              <a:gd name="connsiteX97" fmla="*/ 11611452 w 12191999"/>
              <a:gd name="connsiteY97" fmla="*/ 754764 h 6858000"/>
              <a:gd name="connsiteX98" fmla="*/ 11625943 w 12191999"/>
              <a:gd name="connsiteY98" fmla="*/ 761033 h 6858000"/>
              <a:gd name="connsiteX99" fmla="*/ 11631823 w 12191999"/>
              <a:gd name="connsiteY99" fmla="*/ 755152 h 6858000"/>
              <a:gd name="connsiteX100" fmla="*/ 11614257 w 12191999"/>
              <a:gd name="connsiteY100" fmla="*/ 748117 h 6858000"/>
              <a:gd name="connsiteX101" fmla="*/ 11553619 w 12191999"/>
              <a:gd name="connsiteY101" fmla="*/ 748117 h 6858000"/>
              <a:gd name="connsiteX102" fmla="*/ 11536236 w 12191999"/>
              <a:gd name="connsiteY102" fmla="*/ 753124 h 6858000"/>
              <a:gd name="connsiteX103" fmla="*/ 11523450 w 12191999"/>
              <a:gd name="connsiteY103" fmla="*/ 784954 h 6858000"/>
              <a:gd name="connsiteX104" fmla="*/ 11536236 w 12191999"/>
              <a:gd name="connsiteY104" fmla="*/ 816654 h 6858000"/>
              <a:gd name="connsiteX105" fmla="*/ 11553619 w 12191999"/>
              <a:gd name="connsiteY105" fmla="*/ 821531 h 6858000"/>
              <a:gd name="connsiteX106" fmla="*/ 11571001 w 12191999"/>
              <a:gd name="connsiteY106" fmla="*/ 816654 h 6858000"/>
              <a:gd name="connsiteX107" fmla="*/ 11583917 w 12191999"/>
              <a:gd name="connsiteY107" fmla="*/ 784954 h 6858000"/>
              <a:gd name="connsiteX108" fmla="*/ 11571001 w 12191999"/>
              <a:gd name="connsiteY108" fmla="*/ 753124 h 6858000"/>
              <a:gd name="connsiteX109" fmla="*/ 11553619 w 12191999"/>
              <a:gd name="connsiteY109" fmla="*/ 748117 h 6858000"/>
              <a:gd name="connsiteX110" fmla="*/ 11486031 w 12191999"/>
              <a:gd name="connsiteY110" fmla="*/ 748117 h 6858000"/>
              <a:gd name="connsiteX111" fmla="*/ 11465229 w 12191999"/>
              <a:gd name="connsiteY111" fmla="*/ 751452 h 6858000"/>
              <a:gd name="connsiteX112" fmla="*/ 11459230 w 12191999"/>
              <a:gd name="connsiteY112" fmla="*/ 756965 h 6858000"/>
              <a:gd name="connsiteX113" fmla="*/ 11459230 w 12191999"/>
              <a:gd name="connsiteY113" fmla="*/ 817010 h 6858000"/>
              <a:gd name="connsiteX114" fmla="*/ 11461787 w 12191999"/>
              <a:gd name="connsiteY114" fmla="*/ 819449 h 6858000"/>
              <a:gd name="connsiteX115" fmla="*/ 11468422 w 12191999"/>
              <a:gd name="connsiteY115" fmla="*/ 819449 h 6858000"/>
              <a:gd name="connsiteX116" fmla="*/ 11471228 w 12191999"/>
              <a:gd name="connsiteY116" fmla="*/ 816751 h 6858000"/>
              <a:gd name="connsiteX117" fmla="*/ 11471228 w 12191999"/>
              <a:gd name="connsiteY117" fmla="*/ 761454 h 6858000"/>
              <a:gd name="connsiteX118" fmla="*/ 11485654 w 12191999"/>
              <a:gd name="connsiteY118" fmla="*/ 755422 h 6858000"/>
              <a:gd name="connsiteX119" fmla="*/ 11501223 w 12191999"/>
              <a:gd name="connsiteY119" fmla="*/ 771844 h 6858000"/>
              <a:gd name="connsiteX120" fmla="*/ 11501223 w 12191999"/>
              <a:gd name="connsiteY120" fmla="*/ 816751 h 6858000"/>
              <a:gd name="connsiteX121" fmla="*/ 11504288 w 12191999"/>
              <a:gd name="connsiteY121" fmla="*/ 819449 h 6858000"/>
              <a:gd name="connsiteX122" fmla="*/ 11511690 w 12191999"/>
              <a:gd name="connsiteY122" fmla="*/ 819449 h 6858000"/>
              <a:gd name="connsiteX123" fmla="*/ 11512963 w 12191999"/>
              <a:gd name="connsiteY123" fmla="*/ 816762 h 6858000"/>
              <a:gd name="connsiteX124" fmla="*/ 11512963 w 12191999"/>
              <a:gd name="connsiteY124" fmla="*/ 770312 h 6858000"/>
              <a:gd name="connsiteX125" fmla="*/ 11486031 w 12191999"/>
              <a:gd name="connsiteY125" fmla="*/ 748117 h 6858000"/>
              <a:gd name="connsiteX126" fmla="*/ 11389700 w 12191999"/>
              <a:gd name="connsiteY126" fmla="*/ 748117 h 6858000"/>
              <a:gd name="connsiteX127" fmla="*/ 11372242 w 12191999"/>
              <a:gd name="connsiteY127" fmla="*/ 753124 h 6858000"/>
              <a:gd name="connsiteX128" fmla="*/ 11359402 w 12191999"/>
              <a:gd name="connsiteY128" fmla="*/ 784954 h 6858000"/>
              <a:gd name="connsiteX129" fmla="*/ 11372242 w 12191999"/>
              <a:gd name="connsiteY129" fmla="*/ 816654 h 6858000"/>
              <a:gd name="connsiteX130" fmla="*/ 11389700 w 12191999"/>
              <a:gd name="connsiteY130" fmla="*/ 821531 h 6858000"/>
              <a:gd name="connsiteX131" fmla="*/ 11407158 w 12191999"/>
              <a:gd name="connsiteY131" fmla="*/ 816654 h 6858000"/>
              <a:gd name="connsiteX132" fmla="*/ 11420127 w 12191999"/>
              <a:gd name="connsiteY132" fmla="*/ 784954 h 6858000"/>
              <a:gd name="connsiteX133" fmla="*/ 11407158 w 12191999"/>
              <a:gd name="connsiteY133" fmla="*/ 753124 h 6858000"/>
              <a:gd name="connsiteX134" fmla="*/ 11389700 w 12191999"/>
              <a:gd name="connsiteY134" fmla="*/ 748117 h 6858000"/>
              <a:gd name="connsiteX135" fmla="*/ 11267473 w 12191999"/>
              <a:gd name="connsiteY135" fmla="*/ 748117 h 6858000"/>
              <a:gd name="connsiteX136" fmla="*/ 11250015 w 12191999"/>
              <a:gd name="connsiteY136" fmla="*/ 753124 h 6858000"/>
              <a:gd name="connsiteX137" fmla="*/ 11237046 w 12191999"/>
              <a:gd name="connsiteY137" fmla="*/ 784954 h 6858000"/>
              <a:gd name="connsiteX138" fmla="*/ 11250015 w 12191999"/>
              <a:gd name="connsiteY138" fmla="*/ 816654 h 6858000"/>
              <a:gd name="connsiteX139" fmla="*/ 11267473 w 12191999"/>
              <a:gd name="connsiteY139" fmla="*/ 821531 h 6858000"/>
              <a:gd name="connsiteX140" fmla="*/ 11284931 w 12191999"/>
              <a:gd name="connsiteY140" fmla="*/ 816654 h 6858000"/>
              <a:gd name="connsiteX141" fmla="*/ 11297771 w 12191999"/>
              <a:gd name="connsiteY141" fmla="*/ 784954 h 6858000"/>
              <a:gd name="connsiteX142" fmla="*/ 11284931 w 12191999"/>
              <a:gd name="connsiteY142" fmla="*/ 753124 h 6858000"/>
              <a:gd name="connsiteX143" fmla="*/ 11267473 w 12191999"/>
              <a:gd name="connsiteY143" fmla="*/ 748117 h 6858000"/>
              <a:gd name="connsiteX144" fmla="*/ 11199756 w 12191999"/>
              <a:gd name="connsiteY144" fmla="*/ 748117 h 6858000"/>
              <a:gd name="connsiteX145" fmla="*/ 11178857 w 12191999"/>
              <a:gd name="connsiteY145" fmla="*/ 751452 h 6858000"/>
              <a:gd name="connsiteX146" fmla="*/ 11172825 w 12191999"/>
              <a:gd name="connsiteY146" fmla="*/ 756965 h 6858000"/>
              <a:gd name="connsiteX147" fmla="*/ 11172825 w 12191999"/>
              <a:gd name="connsiteY147" fmla="*/ 817010 h 6858000"/>
              <a:gd name="connsiteX148" fmla="*/ 11175263 w 12191999"/>
              <a:gd name="connsiteY148" fmla="*/ 819449 h 6858000"/>
              <a:gd name="connsiteX149" fmla="*/ 11181932 w 12191999"/>
              <a:gd name="connsiteY149" fmla="*/ 819449 h 6858000"/>
              <a:gd name="connsiteX150" fmla="*/ 11184748 w 12191999"/>
              <a:gd name="connsiteY150" fmla="*/ 816751 h 6858000"/>
              <a:gd name="connsiteX151" fmla="*/ 11184748 w 12191999"/>
              <a:gd name="connsiteY151" fmla="*/ 761454 h 6858000"/>
              <a:gd name="connsiteX152" fmla="*/ 11199238 w 12191999"/>
              <a:gd name="connsiteY152" fmla="*/ 755422 h 6858000"/>
              <a:gd name="connsiteX153" fmla="*/ 11214884 w 12191999"/>
              <a:gd name="connsiteY153" fmla="*/ 771844 h 6858000"/>
              <a:gd name="connsiteX154" fmla="*/ 11214884 w 12191999"/>
              <a:gd name="connsiteY154" fmla="*/ 816751 h 6858000"/>
              <a:gd name="connsiteX155" fmla="*/ 11217959 w 12191999"/>
              <a:gd name="connsiteY155" fmla="*/ 819449 h 6858000"/>
              <a:gd name="connsiteX156" fmla="*/ 11225393 w 12191999"/>
              <a:gd name="connsiteY156" fmla="*/ 819449 h 6858000"/>
              <a:gd name="connsiteX157" fmla="*/ 11226817 w 12191999"/>
              <a:gd name="connsiteY157" fmla="*/ 816762 h 6858000"/>
              <a:gd name="connsiteX158" fmla="*/ 11226817 w 12191999"/>
              <a:gd name="connsiteY158" fmla="*/ 770312 h 6858000"/>
              <a:gd name="connsiteX159" fmla="*/ 11199756 w 12191999"/>
              <a:gd name="connsiteY159" fmla="*/ 748117 h 6858000"/>
              <a:gd name="connsiteX160" fmla="*/ 11681273 w 12191999"/>
              <a:gd name="connsiteY160" fmla="*/ 724801 h 6858000"/>
              <a:gd name="connsiteX161" fmla="*/ 11678845 w 12191999"/>
              <a:gd name="connsiteY161" fmla="*/ 727876 h 6858000"/>
              <a:gd name="connsiteX162" fmla="*/ 11678845 w 12191999"/>
              <a:gd name="connsiteY162" fmla="*/ 752250 h 6858000"/>
              <a:gd name="connsiteX163" fmla="*/ 11664279 w 12191999"/>
              <a:gd name="connsiteY163" fmla="*/ 748527 h 6858000"/>
              <a:gd name="connsiteX164" fmla="*/ 11632848 w 12191999"/>
              <a:gd name="connsiteY164" fmla="*/ 784954 h 6858000"/>
              <a:gd name="connsiteX165" fmla="*/ 11666707 w 12191999"/>
              <a:gd name="connsiteY165" fmla="*/ 821510 h 6858000"/>
              <a:gd name="connsiteX166" fmla="*/ 11690477 w 12191999"/>
              <a:gd name="connsiteY166" fmla="*/ 812036 h 6858000"/>
              <a:gd name="connsiteX167" fmla="*/ 11690477 w 12191999"/>
              <a:gd name="connsiteY167" fmla="*/ 727498 h 6858000"/>
              <a:gd name="connsiteX168" fmla="*/ 11687919 w 12191999"/>
              <a:gd name="connsiteY168" fmla="*/ 724801 h 6858000"/>
              <a:gd name="connsiteX169" fmla="*/ 11681273 w 12191999"/>
              <a:gd name="connsiteY169" fmla="*/ 724801 h 6858000"/>
              <a:gd name="connsiteX170" fmla="*/ 11786797 w 12191999"/>
              <a:gd name="connsiteY170" fmla="*/ 724552 h 6858000"/>
              <a:gd name="connsiteX171" fmla="*/ 11784607 w 12191999"/>
              <a:gd name="connsiteY171" fmla="*/ 726732 h 6858000"/>
              <a:gd name="connsiteX172" fmla="*/ 11784607 w 12191999"/>
              <a:gd name="connsiteY172" fmla="*/ 817280 h 6858000"/>
              <a:gd name="connsiteX173" fmla="*/ 11786797 w 12191999"/>
              <a:gd name="connsiteY173" fmla="*/ 819330 h 6858000"/>
              <a:gd name="connsiteX174" fmla="*/ 11793864 w 12191999"/>
              <a:gd name="connsiteY174" fmla="*/ 819330 h 6858000"/>
              <a:gd name="connsiteX175" fmla="*/ 11796303 w 12191999"/>
              <a:gd name="connsiteY175" fmla="*/ 817409 h 6858000"/>
              <a:gd name="connsiteX176" fmla="*/ 11796303 w 12191999"/>
              <a:gd name="connsiteY176" fmla="*/ 726473 h 6858000"/>
              <a:gd name="connsiteX177" fmla="*/ 11793864 w 12191999"/>
              <a:gd name="connsiteY177" fmla="*/ 724552 h 6858000"/>
              <a:gd name="connsiteX178" fmla="*/ 11786797 w 12191999"/>
              <a:gd name="connsiteY178" fmla="*/ 724552 h 6858000"/>
              <a:gd name="connsiteX179" fmla="*/ 11712617 w 12191999"/>
              <a:gd name="connsiteY179" fmla="*/ 723776 h 6858000"/>
              <a:gd name="connsiteX180" fmla="*/ 11705237 w 12191999"/>
              <a:gd name="connsiteY180" fmla="*/ 730940 h 6858000"/>
              <a:gd name="connsiteX181" fmla="*/ 11712358 w 12191999"/>
              <a:gd name="connsiteY181" fmla="*/ 737975 h 6858000"/>
              <a:gd name="connsiteX182" fmla="*/ 11719609 w 12191999"/>
              <a:gd name="connsiteY182" fmla="*/ 730433 h 6858000"/>
              <a:gd name="connsiteX183" fmla="*/ 11712617 w 12191999"/>
              <a:gd name="connsiteY183" fmla="*/ 723776 h 6858000"/>
              <a:gd name="connsiteX184" fmla="*/ 11855021 w 12191999"/>
              <a:gd name="connsiteY184" fmla="*/ 713601 h 6858000"/>
              <a:gd name="connsiteX185" fmla="*/ 11855284 w 12191999"/>
              <a:gd name="connsiteY185" fmla="*/ 713794 h 6858000"/>
              <a:gd name="connsiteX186" fmla="*/ 11855021 w 12191999"/>
              <a:gd name="connsiteY186" fmla="*/ 713860 h 6858000"/>
              <a:gd name="connsiteX187" fmla="*/ 11855021 w 12191999"/>
              <a:gd name="connsiteY187" fmla="*/ 713601 h 6858000"/>
              <a:gd name="connsiteX188" fmla="*/ 11847209 w 12191999"/>
              <a:gd name="connsiteY188" fmla="*/ 704235 h 6858000"/>
              <a:gd name="connsiteX189" fmla="*/ 11851428 w 12191999"/>
              <a:gd name="connsiteY189" fmla="*/ 704235 h 6858000"/>
              <a:gd name="connsiteX190" fmla="*/ 11857190 w 12191999"/>
              <a:gd name="connsiteY190" fmla="*/ 707699 h 6858000"/>
              <a:gd name="connsiteX191" fmla="*/ 11851817 w 12191999"/>
              <a:gd name="connsiteY191" fmla="*/ 711162 h 6858000"/>
              <a:gd name="connsiteX192" fmla="*/ 11847209 w 12191999"/>
              <a:gd name="connsiteY192" fmla="*/ 711162 h 6858000"/>
              <a:gd name="connsiteX193" fmla="*/ 11843627 w 12191999"/>
              <a:gd name="connsiteY193" fmla="*/ 701020 h 6858000"/>
              <a:gd name="connsiteX194" fmla="*/ 11843627 w 12191999"/>
              <a:gd name="connsiteY194" fmla="*/ 724250 h 6858000"/>
              <a:gd name="connsiteX195" fmla="*/ 11847468 w 12191999"/>
              <a:gd name="connsiteY195" fmla="*/ 724250 h 6858000"/>
              <a:gd name="connsiteX196" fmla="*/ 11847468 w 12191999"/>
              <a:gd name="connsiteY196" fmla="*/ 714367 h 6858000"/>
              <a:gd name="connsiteX197" fmla="*/ 11849648 w 12191999"/>
              <a:gd name="connsiteY197" fmla="*/ 714367 h 6858000"/>
              <a:gd name="connsiteX198" fmla="*/ 11856553 w 12191999"/>
              <a:gd name="connsiteY198" fmla="*/ 720528 h 6858000"/>
              <a:gd name="connsiteX199" fmla="*/ 11858603 w 12191999"/>
              <a:gd name="connsiteY199" fmla="*/ 724121 h 6858000"/>
              <a:gd name="connsiteX200" fmla="*/ 11863081 w 12191999"/>
              <a:gd name="connsiteY200" fmla="*/ 724121 h 6858000"/>
              <a:gd name="connsiteX201" fmla="*/ 11860265 w 12191999"/>
              <a:gd name="connsiteY201" fmla="*/ 719503 h 6858000"/>
              <a:gd name="connsiteX202" fmla="*/ 11857064 w 12191999"/>
              <a:gd name="connsiteY202" fmla="*/ 715107 h 6858000"/>
              <a:gd name="connsiteX203" fmla="*/ 11855284 w 12191999"/>
              <a:gd name="connsiteY203" fmla="*/ 713794 h 6858000"/>
              <a:gd name="connsiteX204" fmla="*/ 11858039 w 12191999"/>
              <a:gd name="connsiteY204" fmla="*/ 713107 h 6858000"/>
              <a:gd name="connsiteX205" fmla="*/ 11861549 w 12191999"/>
              <a:gd name="connsiteY205" fmla="*/ 707310 h 6858000"/>
              <a:gd name="connsiteX206" fmla="*/ 11859370 w 12191999"/>
              <a:gd name="connsiteY206" fmla="*/ 702822 h 6858000"/>
              <a:gd name="connsiteX207" fmla="*/ 11851817 w 12191999"/>
              <a:gd name="connsiteY207" fmla="*/ 701020 h 6858000"/>
              <a:gd name="connsiteX208" fmla="*/ 11843627 w 12191999"/>
              <a:gd name="connsiteY208" fmla="*/ 701020 h 6858000"/>
              <a:gd name="connsiteX209" fmla="*/ 11852712 w 12191999"/>
              <a:gd name="connsiteY209" fmla="*/ 694611 h 6858000"/>
              <a:gd name="connsiteX210" fmla="*/ 11870623 w 12191999"/>
              <a:gd name="connsiteY210" fmla="*/ 712446 h 6858000"/>
              <a:gd name="connsiteX211" fmla="*/ 11852712 w 12191999"/>
              <a:gd name="connsiteY211" fmla="*/ 730541 h 6858000"/>
              <a:gd name="connsiteX212" fmla="*/ 11834931 w 12191999"/>
              <a:gd name="connsiteY212" fmla="*/ 712446 h 6858000"/>
              <a:gd name="connsiteX213" fmla="*/ 11852712 w 12191999"/>
              <a:gd name="connsiteY213" fmla="*/ 694611 h 6858000"/>
              <a:gd name="connsiteX214" fmla="*/ 11852712 w 12191999"/>
              <a:gd name="connsiteY214" fmla="*/ 690888 h 6858000"/>
              <a:gd name="connsiteX215" fmla="*/ 11831348 w 12191999"/>
              <a:gd name="connsiteY215" fmla="*/ 712446 h 6858000"/>
              <a:gd name="connsiteX216" fmla="*/ 11852712 w 12191999"/>
              <a:gd name="connsiteY216" fmla="*/ 734004 h 6858000"/>
              <a:gd name="connsiteX217" fmla="*/ 11874076 w 12191999"/>
              <a:gd name="connsiteY217" fmla="*/ 712446 h 6858000"/>
              <a:gd name="connsiteX218" fmla="*/ 11852712 w 12191999"/>
              <a:gd name="connsiteY218" fmla="*/ 690888 h 6858000"/>
              <a:gd name="connsiteX219" fmla="*/ 11639380 w 12191999"/>
              <a:gd name="connsiteY219" fmla="*/ 551044 h 6858000"/>
              <a:gd name="connsiteX220" fmla="*/ 11641189 w 12191999"/>
              <a:gd name="connsiteY220" fmla="*/ 551862 h 6858000"/>
              <a:gd name="connsiteX221" fmla="*/ 11644652 w 12191999"/>
              <a:gd name="connsiteY221" fmla="*/ 634274 h 6858000"/>
              <a:gd name="connsiteX222" fmla="*/ 11640682 w 12191999"/>
              <a:gd name="connsiteY222" fmla="*/ 633508 h 6858000"/>
              <a:gd name="connsiteX223" fmla="*/ 11634273 w 12191999"/>
              <a:gd name="connsiteY223" fmla="*/ 599671 h 6858000"/>
              <a:gd name="connsiteX224" fmla="*/ 11638243 w 12191999"/>
              <a:gd name="connsiteY224" fmla="*/ 552250 h 6858000"/>
              <a:gd name="connsiteX225" fmla="*/ 11639380 w 12191999"/>
              <a:gd name="connsiteY225" fmla="*/ 551044 h 6858000"/>
              <a:gd name="connsiteX226" fmla="*/ 11490639 w 12191999"/>
              <a:gd name="connsiteY226" fmla="*/ 502002 h 6858000"/>
              <a:gd name="connsiteX227" fmla="*/ 11550015 w 12191999"/>
              <a:gd name="connsiteY227" fmla="*/ 504052 h 6858000"/>
              <a:gd name="connsiteX228" fmla="*/ 11548343 w 12191999"/>
              <a:gd name="connsiteY228" fmla="*/ 536605 h 6858000"/>
              <a:gd name="connsiteX229" fmla="*/ 11499486 w 12191999"/>
              <a:gd name="connsiteY229" fmla="*/ 541094 h 6858000"/>
              <a:gd name="connsiteX230" fmla="*/ 11492948 w 12191999"/>
              <a:gd name="connsiteY230" fmla="*/ 533659 h 6858000"/>
              <a:gd name="connsiteX231" fmla="*/ 11490639 w 12191999"/>
              <a:gd name="connsiteY231" fmla="*/ 502002 h 6858000"/>
              <a:gd name="connsiteX232" fmla="*/ 11594253 w 12191999"/>
              <a:gd name="connsiteY232" fmla="*/ 498797 h 6858000"/>
              <a:gd name="connsiteX233" fmla="*/ 11598612 w 12191999"/>
              <a:gd name="connsiteY233" fmla="*/ 520075 h 6858000"/>
              <a:gd name="connsiteX234" fmla="*/ 11588351 w 12191999"/>
              <a:gd name="connsiteY234" fmla="*/ 527509 h 6858000"/>
              <a:gd name="connsiteX235" fmla="*/ 11580011 w 12191999"/>
              <a:gd name="connsiteY235" fmla="*/ 500718 h 6858000"/>
              <a:gd name="connsiteX236" fmla="*/ 11594253 w 12191999"/>
              <a:gd name="connsiteY236" fmla="*/ 498797 h 6858000"/>
              <a:gd name="connsiteX237" fmla="*/ 11441405 w 12191999"/>
              <a:gd name="connsiteY237" fmla="*/ 491374 h 6858000"/>
              <a:gd name="connsiteX238" fmla="*/ 11460384 w 12191999"/>
              <a:gd name="connsiteY238" fmla="*/ 496499 h 6858000"/>
              <a:gd name="connsiteX239" fmla="*/ 11442948 w 12191999"/>
              <a:gd name="connsiteY239" fmla="*/ 533670 h 6858000"/>
              <a:gd name="connsiteX240" fmla="*/ 11434607 w 12191999"/>
              <a:gd name="connsiteY240" fmla="*/ 527132 h 6858000"/>
              <a:gd name="connsiteX241" fmla="*/ 11441405 w 12191999"/>
              <a:gd name="connsiteY241" fmla="*/ 491374 h 6858000"/>
              <a:gd name="connsiteX242" fmla="*/ 11419441 w 12191999"/>
              <a:gd name="connsiteY242" fmla="*/ 484343 h 6858000"/>
              <a:gd name="connsiteX243" fmla="*/ 11431543 w 12191999"/>
              <a:gd name="connsiteY243" fmla="*/ 488299 h 6858000"/>
              <a:gd name="connsiteX244" fmla="*/ 11423202 w 12191999"/>
              <a:gd name="connsiteY244" fmla="*/ 532257 h 6858000"/>
              <a:gd name="connsiteX245" fmla="*/ 11444102 w 12191999"/>
              <a:gd name="connsiteY245" fmla="*/ 543154 h 6858000"/>
              <a:gd name="connsiteX246" fmla="*/ 11469620 w 12191999"/>
              <a:gd name="connsiteY246" fmla="*/ 498549 h 6858000"/>
              <a:gd name="connsiteX247" fmla="*/ 11481672 w 12191999"/>
              <a:gd name="connsiteY247" fmla="*/ 500729 h 6858000"/>
              <a:gd name="connsiteX248" fmla="*/ 11485395 w 12191999"/>
              <a:gd name="connsiteY248" fmla="*/ 542507 h 6858000"/>
              <a:gd name="connsiteX249" fmla="*/ 11498472 w 12191999"/>
              <a:gd name="connsiteY249" fmla="*/ 550707 h 6858000"/>
              <a:gd name="connsiteX250" fmla="*/ 11555917 w 12191999"/>
              <a:gd name="connsiteY250" fmla="*/ 543532 h 6858000"/>
              <a:gd name="connsiteX251" fmla="*/ 11559122 w 12191999"/>
              <a:gd name="connsiteY251" fmla="*/ 503286 h 6858000"/>
              <a:gd name="connsiteX252" fmla="*/ 11570149 w 12191999"/>
              <a:gd name="connsiteY252" fmla="*/ 502002 h 6858000"/>
              <a:gd name="connsiteX253" fmla="*/ 11579385 w 12191999"/>
              <a:gd name="connsiteY253" fmla="*/ 528405 h 6858000"/>
              <a:gd name="connsiteX254" fmla="*/ 11598752 w 12191999"/>
              <a:gd name="connsiteY254" fmla="*/ 531739 h 6858000"/>
              <a:gd name="connsiteX255" fmla="*/ 11602723 w 12191999"/>
              <a:gd name="connsiteY255" fmla="*/ 497773 h 6858000"/>
              <a:gd name="connsiteX256" fmla="*/ 11625673 w 12191999"/>
              <a:gd name="connsiteY256" fmla="*/ 533282 h 6858000"/>
              <a:gd name="connsiteX257" fmla="*/ 11612855 w 12191999"/>
              <a:gd name="connsiteY257" fmla="*/ 586216 h 6858000"/>
              <a:gd name="connsiteX258" fmla="*/ 11537326 w 12191999"/>
              <a:gd name="connsiteY258" fmla="*/ 569428 h 6858000"/>
              <a:gd name="connsiteX259" fmla="*/ 11459488 w 12191999"/>
              <a:gd name="connsiteY259" fmla="*/ 611465 h 6858000"/>
              <a:gd name="connsiteX260" fmla="*/ 11456154 w 12191999"/>
              <a:gd name="connsiteY260" fmla="*/ 612360 h 6858000"/>
              <a:gd name="connsiteX261" fmla="*/ 11418325 w 12191999"/>
              <a:gd name="connsiteY261" fmla="*/ 585191 h 6858000"/>
              <a:gd name="connsiteX262" fmla="*/ 11388707 w 12191999"/>
              <a:gd name="connsiteY262" fmla="*/ 549434 h 6858000"/>
              <a:gd name="connsiteX263" fmla="*/ 11414743 w 12191999"/>
              <a:gd name="connsiteY263" fmla="*/ 487403 h 6858000"/>
              <a:gd name="connsiteX264" fmla="*/ 11419441 w 12191999"/>
              <a:gd name="connsiteY264" fmla="*/ 484343 h 6858000"/>
              <a:gd name="connsiteX265" fmla="*/ 11358173 w 12191999"/>
              <a:gd name="connsiteY265" fmla="*/ 469801 h 6858000"/>
              <a:gd name="connsiteX266" fmla="*/ 11346260 w 12191999"/>
              <a:gd name="connsiteY266" fmla="*/ 478275 h 6858000"/>
              <a:gd name="connsiteX267" fmla="*/ 11361744 w 12191999"/>
              <a:gd name="connsiteY267" fmla="*/ 470744 h 6858000"/>
              <a:gd name="connsiteX268" fmla="*/ 11358173 w 12191999"/>
              <a:gd name="connsiteY268" fmla="*/ 469801 h 6858000"/>
              <a:gd name="connsiteX269" fmla="*/ 11354455 w 12191999"/>
              <a:gd name="connsiteY269" fmla="*/ 453696 h 6858000"/>
              <a:gd name="connsiteX270" fmla="*/ 11379471 w 12191999"/>
              <a:gd name="connsiteY270" fmla="*/ 464453 h 6858000"/>
              <a:gd name="connsiteX271" fmla="*/ 11401267 w 12191999"/>
              <a:gd name="connsiteY271" fmla="*/ 487522 h 6858000"/>
              <a:gd name="connsiteX272" fmla="*/ 11376515 w 12191999"/>
              <a:gd name="connsiteY272" fmla="*/ 541611 h 6858000"/>
              <a:gd name="connsiteX273" fmla="*/ 11357665 w 12191999"/>
              <a:gd name="connsiteY273" fmla="*/ 511745 h 6858000"/>
              <a:gd name="connsiteX274" fmla="*/ 11330734 w 12191999"/>
              <a:gd name="connsiteY274" fmla="*/ 504052 h 6858000"/>
              <a:gd name="connsiteX275" fmla="*/ 11328166 w 12191999"/>
              <a:gd name="connsiteY275" fmla="*/ 491881 h 6858000"/>
              <a:gd name="connsiteX276" fmla="*/ 11335600 w 12191999"/>
              <a:gd name="connsiteY276" fmla="*/ 481879 h 6858000"/>
              <a:gd name="connsiteX277" fmla="*/ 11338297 w 12191999"/>
              <a:gd name="connsiteY277" fmla="*/ 470604 h 6858000"/>
              <a:gd name="connsiteX278" fmla="*/ 11349972 w 12191999"/>
              <a:gd name="connsiteY278" fmla="*/ 456124 h 6858000"/>
              <a:gd name="connsiteX279" fmla="*/ 11354455 w 12191999"/>
              <a:gd name="connsiteY279" fmla="*/ 453696 h 6858000"/>
              <a:gd name="connsiteX280" fmla="*/ 11324025 w 12191999"/>
              <a:gd name="connsiteY280" fmla="*/ 392924 h 6858000"/>
              <a:gd name="connsiteX281" fmla="*/ 11322134 w 12191999"/>
              <a:gd name="connsiteY281" fmla="*/ 400006 h 6858000"/>
              <a:gd name="connsiteX282" fmla="*/ 11335988 w 12191999"/>
              <a:gd name="connsiteY282" fmla="*/ 441536 h 6858000"/>
              <a:gd name="connsiteX283" fmla="*/ 11339193 w 12191999"/>
              <a:gd name="connsiteY283" fmla="*/ 451786 h 6858000"/>
              <a:gd name="connsiteX284" fmla="*/ 11328425 w 12191999"/>
              <a:gd name="connsiteY284" fmla="*/ 467162 h 6858000"/>
              <a:gd name="connsiteX285" fmla="*/ 11327270 w 12191999"/>
              <a:gd name="connsiteY285" fmla="*/ 474855 h 6858000"/>
              <a:gd name="connsiteX286" fmla="*/ 11315477 w 12191999"/>
              <a:gd name="connsiteY286" fmla="*/ 490748 h 6858000"/>
              <a:gd name="connsiteX287" fmla="*/ 11317268 w 12191999"/>
              <a:gd name="connsiteY287" fmla="*/ 503696 h 6858000"/>
              <a:gd name="connsiteX288" fmla="*/ 11327788 w 12191999"/>
              <a:gd name="connsiteY288" fmla="*/ 514594 h 6858000"/>
              <a:gd name="connsiteX289" fmla="*/ 11341890 w 12191999"/>
              <a:gd name="connsiteY289" fmla="*/ 516137 h 6858000"/>
              <a:gd name="connsiteX290" fmla="*/ 11358561 w 12191999"/>
              <a:gd name="connsiteY290" fmla="*/ 529214 h 6858000"/>
              <a:gd name="connsiteX291" fmla="*/ 11388308 w 12191999"/>
              <a:gd name="connsiteY291" fmla="*/ 580476 h 6858000"/>
              <a:gd name="connsiteX292" fmla="*/ 11394717 w 12191999"/>
              <a:gd name="connsiteY292" fmla="*/ 606490 h 6858000"/>
              <a:gd name="connsiteX293" fmla="*/ 11360611 w 12191999"/>
              <a:gd name="connsiteY293" fmla="*/ 709026 h 6858000"/>
              <a:gd name="connsiteX294" fmla="*/ 11362402 w 12191999"/>
              <a:gd name="connsiteY294" fmla="*/ 719406 h 6858000"/>
              <a:gd name="connsiteX295" fmla="*/ 11388567 w 12191999"/>
              <a:gd name="connsiteY295" fmla="*/ 719406 h 6858000"/>
              <a:gd name="connsiteX296" fmla="*/ 11394210 w 12191999"/>
              <a:gd name="connsiteY296" fmla="*/ 711972 h 6858000"/>
              <a:gd name="connsiteX297" fmla="*/ 11429094 w 12191999"/>
              <a:gd name="connsiteY297" fmla="*/ 608411 h 6858000"/>
              <a:gd name="connsiteX298" fmla="*/ 11464484 w 12191999"/>
              <a:gd name="connsiteY298" fmla="*/ 709921 h 6858000"/>
              <a:gd name="connsiteX299" fmla="*/ 11468207 w 12191999"/>
              <a:gd name="connsiteY299" fmla="*/ 719665 h 6858000"/>
              <a:gd name="connsiteX300" fmla="*/ 11490650 w 12191999"/>
              <a:gd name="connsiteY300" fmla="*/ 719665 h 6858000"/>
              <a:gd name="connsiteX301" fmla="*/ 11497954 w 12191999"/>
              <a:gd name="connsiteY301" fmla="*/ 713126 h 6858000"/>
              <a:gd name="connsiteX302" fmla="*/ 11473979 w 12191999"/>
              <a:gd name="connsiteY302" fmla="*/ 619309 h 6858000"/>
              <a:gd name="connsiteX303" fmla="*/ 11535276 w 12191999"/>
              <a:gd name="connsiteY303" fmla="*/ 595345 h 6858000"/>
              <a:gd name="connsiteX304" fmla="*/ 11569383 w 12191999"/>
              <a:gd name="connsiteY304" fmla="*/ 622136 h 6858000"/>
              <a:gd name="connsiteX305" fmla="*/ 11512315 w 12191999"/>
              <a:gd name="connsiteY305" fmla="*/ 709932 h 6858000"/>
              <a:gd name="connsiteX306" fmla="*/ 11514624 w 12191999"/>
              <a:gd name="connsiteY306" fmla="*/ 719417 h 6858000"/>
              <a:gd name="connsiteX307" fmla="*/ 11538351 w 12191999"/>
              <a:gd name="connsiteY307" fmla="*/ 719417 h 6858000"/>
              <a:gd name="connsiteX308" fmla="*/ 11547069 w 12191999"/>
              <a:gd name="connsiteY308" fmla="*/ 713903 h 6858000"/>
              <a:gd name="connsiteX309" fmla="*/ 11598623 w 12191999"/>
              <a:gd name="connsiteY309" fmla="*/ 630983 h 6858000"/>
              <a:gd name="connsiteX310" fmla="*/ 11608496 w 12191999"/>
              <a:gd name="connsiteY310" fmla="*/ 600869 h 6858000"/>
              <a:gd name="connsiteX311" fmla="*/ 11599130 w 12191999"/>
              <a:gd name="connsiteY311" fmla="*/ 710062 h 6858000"/>
              <a:gd name="connsiteX312" fmla="*/ 11601439 w 12191999"/>
              <a:gd name="connsiteY312" fmla="*/ 719287 h 6858000"/>
              <a:gd name="connsiteX313" fmla="*/ 11622857 w 12191999"/>
              <a:gd name="connsiteY313" fmla="*/ 719287 h 6858000"/>
              <a:gd name="connsiteX314" fmla="*/ 11629525 w 12191999"/>
              <a:gd name="connsiteY314" fmla="*/ 711087 h 6858000"/>
              <a:gd name="connsiteX315" fmla="*/ 11634650 w 12191999"/>
              <a:gd name="connsiteY315" fmla="*/ 693014 h 6858000"/>
              <a:gd name="connsiteX316" fmla="*/ 11654018 w 12191999"/>
              <a:gd name="connsiteY316" fmla="*/ 688018 h 6858000"/>
              <a:gd name="connsiteX317" fmla="*/ 11659024 w 12191999"/>
              <a:gd name="connsiteY317" fmla="*/ 680584 h 6858000"/>
              <a:gd name="connsiteX318" fmla="*/ 11654654 w 12191999"/>
              <a:gd name="connsiteY318" fmla="*/ 520852 h 6858000"/>
              <a:gd name="connsiteX319" fmla="*/ 11603360 w 12191999"/>
              <a:gd name="connsiteY319" fmla="*/ 487533 h 6858000"/>
              <a:gd name="connsiteX320" fmla="*/ 11526547 w 12191999"/>
              <a:gd name="connsiteY320" fmla="*/ 493424 h 6858000"/>
              <a:gd name="connsiteX321" fmla="*/ 11402033 w 12191999"/>
              <a:gd name="connsiteY321" fmla="*/ 464842 h 6858000"/>
              <a:gd name="connsiteX322" fmla="*/ 11401644 w 12191999"/>
              <a:gd name="connsiteY322" fmla="*/ 459199 h 6858000"/>
              <a:gd name="connsiteX323" fmla="*/ 11433960 w 12191999"/>
              <a:gd name="connsiteY323" fmla="*/ 433314 h 6858000"/>
              <a:gd name="connsiteX324" fmla="*/ 11431392 w 12191999"/>
              <a:gd name="connsiteY324" fmla="*/ 426398 h 6858000"/>
              <a:gd name="connsiteX325" fmla="*/ 11365995 w 12191999"/>
              <a:gd name="connsiteY325" fmla="*/ 438191 h 6858000"/>
              <a:gd name="connsiteX326" fmla="*/ 11327648 w 12191999"/>
              <a:gd name="connsiteY326" fmla="*/ 397567 h 6858000"/>
              <a:gd name="connsiteX327" fmla="*/ 11324025 w 12191999"/>
              <a:gd name="connsiteY327" fmla="*/ 392924 h 6858000"/>
              <a:gd name="connsiteX328" fmla="*/ 11391491 w 12191999"/>
              <a:gd name="connsiteY328" fmla="*/ 334037 h 6858000"/>
              <a:gd name="connsiteX329" fmla="*/ 11426364 w 12191999"/>
              <a:gd name="connsiteY329" fmla="*/ 368996 h 6858000"/>
              <a:gd name="connsiteX330" fmla="*/ 11391491 w 12191999"/>
              <a:gd name="connsiteY330" fmla="*/ 403955 h 6858000"/>
              <a:gd name="connsiteX331" fmla="*/ 11356360 w 12191999"/>
              <a:gd name="connsiteY331" fmla="*/ 368996 h 6858000"/>
              <a:gd name="connsiteX332" fmla="*/ 11391491 w 12191999"/>
              <a:gd name="connsiteY332" fmla="*/ 334037 h 6858000"/>
              <a:gd name="connsiteX333" fmla="*/ 11389959 w 12191999"/>
              <a:gd name="connsiteY333" fmla="*/ 321618 h 6858000"/>
              <a:gd name="connsiteX334" fmla="*/ 11337262 w 12191999"/>
              <a:gd name="connsiteY334" fmla="*/ 374510 h 6858000"/>
              <a:gd name="connsiteX335" fmla="*/ 11389959 w 12191999"/>
              <a:gd name="connsiteY335" fmla="*/ 427401 h 6858000"/>
              <a:gd name="connsiteX336" fmla="*/ 11442656 w 12191999"/>
              <a:gd name="connsiteY336" fmla="*/ 374510 h 6858000"/>
              <a:gd name="connsiteX337" fmla="*/ 11389959 w 12191999"/>
              <a:gd name="connsiteY337" fmla="*/ 321618 h 6858000"/>
              <a:gd name="connsiteX338" fmla="*/ 0 w 12191999"/>
              <a:gd name="connsiteY338" fmla="*/ 0 h 6858000"/>
              <a:gd name="connsiteX339" fmla="*/ 12191999 w 12191999"/>
              <a:gd name="connsiteY339" fmla="*/ 0 h 6858000"/>
              <a:gd name="connsiteX340" fmla="*/ 12191999 w 12191999"/>
              <a:gd name="connsiteY340" fmla="*/ 6858000 h 6858000"/>
              <a:gd name="connsiteX341" fmla="*/ 0 w 12191999"/>
              <a:gd name="connsiteY34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2191999" h="6858000">
                <a:moveTo>
                  <a:pt x="11666200" y="756760"/>
                </a:moveTo>
                <a:cubicBezTo>
                  <a:pt x="11673094" y="756760"/>
                  <a:pt x="11676288" y="758940"/>
                  <a:pt x="11678975" y="761119"/>
                </a:cubicBezTo>
                <a:cubicBezTo>
                  <a:pt x="11678975" y="808195"/>
                  <a:pt x="11678975" y="808195"/>
                  <a:pt x="11678975" y="808195"/>
                </a:cubicBezTo>
                <a:lnTo>
                  <a:pt x="11678845" y="808195"/>
                </a:lnTo>
                <a:cubicBezTo>
                  <a:pt x="11678845" y="811658"/>
                  <a:pt x="11673094" y="813579"/>
                  <a:pt x="11667095" y="813579"/>
                </a:cubicBezTo>
                <a:cubicBezTo>
                  <a:pt x="11654191" y="813579"/>
                  <a:pt x="11644998" y="802671"/>
                  <a:pt x="11644998" y="784080"/>
                </a:cubicBezTo>
                <a:cubicBezTo>
                  <a:pt x="11644998" y="767658"/>
                  <a:pt x="11653942" y="756760"/>
                  <a:pt x="11666200" y="756760"/>
                </a:cubicBezTo>
                <a:close/>
                <a:moveTo>
                  <a:pt x="11553608" y="755951"/>
                </a:moveTo>
                <a:cubicBezTo>
                  <a:pt x="11558334" y="755951"/>
                  <a:pt x="11561787" y="756976"/>
                  <a:pt x="11565369" y="760439"/>
                </a:cubicBezTo>
                <a:cubicBezTo>
                  <a:pt x="11569210" y="764032"/>
                  <a:pt x="11571638" y="771995"/>
                  <a:pt x="11571638" y="784954"/>
                </a:cubicBezTo>
                <a:cubicBezTo>
                  <a:pt x="11571638" y="797535"/>
                  <a:pt x="11569210" y="805746"/>
                  <a:pt x="11565369" y="809339"/>
                </a:cubicBezTo>
                <a:cubicBezTo>
                  <a:pt x="11561787" y="812802"/>
                  <a:pt x="11558334" y="813698"/>
                  <a:pt x="11553608" y="813698"/>
                </a:cubicBezTo>
                <a:cubicBezTo>
                  <a:pt x="11548882" y="813698"/>
                  <a:pt x="11545677" y="812802"/>
                  <a:pt x="11542106" y="809339"/>
                </a:cubicBezTo>
                <a:cubicBezTo>
                  <a:pt x="11538394" y="805746"/>
                  <a:pt x="11535837" y="797783"/>
                  <a:pt x="11535837" y="784954"/>
                </a:cubicBezTo>
                <a:cubicBezTo>
                  <a:pt x="11535837" y="772243"/>
                  <a:pt x="11538394" y="764032"/>
                  <a:pt x="11542106" y="760439"/>
                </a:cubicBezTo>
                <a:cubicBezTo>
                  <a:pt x="11545688" y="756976"/>
                  <a:pt x="11549141" y="755951"/>
                  <a:pt x="11553608" y="755951"/>
                </a:cubicBezTo>
                <a:close/>
                <a:moveTo>
                  <a:pt x="11389948" y="755951"/>
                </a:moveTo>
                <a:cubicBezTo>
                  <a:pt x="11394707" y="755951"/>
                  <a:pt x="11397911" y="756976"/>
                  <a:pt x="11401504" y="760439"/>
                </a:cubicBezTo>
                <a:cubicBezTo>
                  <a:pt x="11405356" y="764032"/>
                  <a:pt x="11407795" y="771995"/>
                  <a:pt x="11407795" y="784954"/>
                </a:cubicBezTo>
                <a:cubicBezTo>
                  <a:pt x="11407795" y="797535"/>
                  <a:pt x="11405356" y="805746"/>
                  <a:pt x="11401504" y="809339"/>
                </a:cubicBezTo>
                <a:cubicBezTo>
                  <a:pt x="11397911" y="812802"/>
                  <a:pt x="11394448" y="813698"/>
                  <a:pt x="11389948" y="813698"/>
                </a:cubicBezTo>
                <a:cubicBezTo>
                  <a:pt x="11385201" y="813698"/>
                  <a:pt x="11381985" y="812802"/>
                  <a:pt x="11378133" y="809339"/>
                </a:cubicBezTo>
                <a:cubicBezTo>
                  <a:pt x="11374411" y="805746"/>
                  <a:pt x="11371843" y="797783"/>
                  <a:pt x="11371843" y="784954"/>
                </a:cubicBezTo>
                <a:cubicBezTo>
                  <a:pt x="11371843" y="772243"/>
                  <a:pt x="11374411" y="764032"/>
                  <a:pt x="11378133" y="760439"/>
                </a:cubicBezTo>
                <a:cubicBezTo>
                  <a:pt x="11381726" y="756976"/>
                  <a:pt x="11385190" y="755951"/>
                  <a:pt x="11389948" y="755951"/>
                </a:cubicBezTo>
                <a:close/>
                <a:moveTo>
                  <a:pt x="11267462" y="755951"/>
                </a:moveTo>
                <a:cubicBezTo>
                  <a:pt x="11272210" y="755951"/>
                  <a:pt x="11275425" y="756976"/>
                  <a:pt x="11279148" y="760439"/>
                </a:cubicBezTo>
                <a:cubicBezTo>
                  <a:pt x="11282881" y="764032"/>
                  <a:pt x="11285438" y="771995"/>
                  <a:pt x="11285438" y="784954"/>
                </a:cubicBezTo>
                <a:cubicBezTo>
                  <a:pt x="11285438" y="797535"/>
                  <a:pt x="11283000" y="805746"/>
                  <a:pt x="11279148" y="809339"/>
                </a:cubicBezTo>
                <a:cubicBezTo>
                  <a:pt x="11275555" y="812802"/>
                  <a:pt x="11272210" y="813698"/>
                  <a:pt x="11267462" y="813698"/>
                </a:cubicBezTo>
                <a:cubicBezTo>
                  <a:pt x="11262715" y="813698"/>
                  <a:pt x="11259499" y="812802"/>
                  <a:pt x="11255907" y="809339"/>
                </a:cubicBezTo>
                <a:cubicBezTo>
                  <a:pt x="11252054" y="805746"/>
                  <a:pt x="11249616" y="797783"/>
                  <a:pt x="11249616" y="784954"/>
                </a:cubicBezTo>
                <a:cubicBezTo>
                  <a:pt x="11249616" y="772243"/>
                  <a:pt x="11252054" y="764032"/>
                  <a:pt x="11255907" y="760439"/>
                </a:cubicBezTo>
                <a:cubicBezTo>
                  <a:pt x="11259499" y="756976"/>
                  <a:pt x="11262844" y="755951"/>
                  <a:pt x="11267462" y="755951"/>
                </a:cubicBezTo>
                <a:close/>
                <a:moveTo>
                  <a:pt x="11708668" y="750005"/>
                </a:moveTo>
                <a:cubicBezTo>
                  <a:pt x="11706381" y="750005"/>
                  <a:pt x="11706381" y="750772"/>
                  <a:pt x="11706381" y="752433"/>
                </a:cubicBezTo>
                <a:cubicBezTo>
                  <a:pt x="11706381" y="817032"/>
                  <a:pt x="11706381" y="817032"/>
                  <a:pt x="11706381" y="817032"/>
                </a:cubicBezTo>
                <a:cubicBezTo>
                  <a:pt x="11706381" y="818952"/>
                  <a:pt x="11706381" y="819459"/>
                  <a:pt x="11708420" y="819459"/>
                </a:cubicBezTo>
                <a:cubicBezTo>
                  <a:pt x="11715671" y="819459"/>
                  <a:pt x="11715671" y="819459"/>
                  <a:pt x="11715671" y="819459"/>
                </a:cubicBezTo>
                <a:cubicBezTo>
                  <a:pt x="11717699" y="819330"/>
                  <a:pt x="11718206" y="819330"/>
                  <a:pt x="11718206" y="817032"/>
                </a:cubicBezTo>
                <a:cubicBezTo>
                  <a:pt x="11718206" y="752433"/>
                  <a:pt x="11718206" y="752433"/>
                  <a:pt x="11718206" y="752433"/>
                </a:cubicBezTo>
                <a:cubicBezTo>
                  <a:pt x="11718206" y="750383"/>
                  <a:pt x="11717699" y="750005"/>
                  <a:pt x="11715660" y="750005"/>
                </a:cubicBezTo>
                <a:cubicBezTo>
                  <a:pt x="11708668" y="750005"/>
                  <a:pt x="11708668" y="750005"/>
                  <a:pt x="11708668" y="750005"/>
                </a:cubicBezTo>
                <a:close/>
                <a:moveTo>
                  <a:pt x="11826514" y="749671"/>
                </a:moveTo>
                <a:cubicBezTo>
                  <a:pt x="11824076" y="749671"/>
                  <a:pt x="11823170" y="749542"/>
                  <a:pt x="11822404" y="751851"/>
                </a:cubicBezTo>
                <a:cubicBezTo>
                  <a:pt x="11818552" y="763374"/>
                  <a:pt x="11808647" y="775804"/>
                  <a:pt x="11798623" y="781695"/>
                </a:cubicBezTo>
                <a:cubicBezTo>
                  <a:pt x="11798234" y="782084"/>
                  <a:pt x="11798105" y="782461"/>
                  <a:pt x="11798105" y="782461"/>
                </a:cubicBezTo>
                <a:cubicBezTo>
                  <a:pt x="11798105" y="782591"/>
                  <a:pt x="11798234" y="782968"/>
                  <a:pt x="11798234" y="783227"/>
                </a:cubicBezTo>
                <a:cubicBezTo>
                  <a:pt x="11822145" y="817420"/>
                  <a:pt x="11822145" y="817420"/>
                  <a:pt x="11822145" y="817420"/>
                </a:cubicBezTo>
                <a:cubicBezTo>
                  <a:pt x="11823558" y="819470"/>
                  <a:pt x="11824076" y="819470"/>
                  <a:pt x="11826126" y="819470"/>
                </a:cubicBezTo>
                <a:cubicBezTo>
                  <a:pt x="11835254" y="819470"/>
                  <a:pt x="11835254" y="819470"/>
                  <a:pt x="11835254" y="819470"/>
                </a:cubicBezTo>
                <a:cubicBezTo>
                  <a:pt x="11835891" y="819330"/>
                  <a:pt x="11837175" y="819330"/>
                  <a:pt x="11837175" y="817798"/>
                </a:cubicBezTo>
                <a:cubicBezTo>
                  <a:pt x="11837175" y="817291"/>
                  <a:pt x="11836786" y="816643"/>
                  <a:pt x="11836279" y="816136"/>
                </a:cubicBezTo>
                <a:cubicBezTo>
                  <a:pt x="11810826" y="782450"/>
                  <a:pt x="11810826" y="782450"/>
                  <a:pt x="11810826" y="782450"/>
                </a:cubicBezTo>
                <a:cubicBezTo>
                  <a:pt x="11810567" y="782192"/>
                  <a:pt x="11810567" y="782192"/>
                  <a:pt x="11810567" y="782192"/>
                </a:cubicBezTo>
                <a:cubicBezTo>
                  <a:pt x="11819566" y="775534"/>
                  <a:pt x="11828824" y="765154"/>
                  <a:pt x="11834607" y="753890"/>
                </a:cubicBezTo>
                <a:cubicBezTo>
                  <a:pt x="11835125" y="752606"/>
                  <a:pt x="11835254" y="751969"/>
                  <a:pt x="11835254" y="751203"/>
                </a:cubicBezTo>
                <a:cubicBezTo>
                  <a:pt x="11835254" y="750049"/>
                  <a:pt x="11834607" y="749671"/>
                  <a:pt x="11832816" y="749671"/>
                </a:cubicBezTo>
                <a:cubicBezTo>
                  <a:pt x="11826514" y="749671"/>
                  <a:pt x="11826514" y="749671"/>
                  <a:pt x="11826514" y="749671"/>
                </a:cubicBezTo>
                <a:close/>
                <a:moveTo>
                  <a:pt x="11301634" y="749671"/>
                </a:moveTo>
                <a:cubicBezTo>
                  <a:pt x="11301116" y="749671"/>
                  <a:pt x="11299832" y="749671"/>
                  <a:pt x="11299832" y="751462"/>
                </a:cubicBezTo>
                <a:cubicBezTo>
                  <a:pt x="11299832" y="751980"/>
                  <a:pt x="11299961" y="752617"/>
                  <a:pt x="11300350" y="753383"/>
                </a:cubicBezTo>
                <a:cubicBezTo>
                  <a:pt x="11324605" y="817399"/>
                  <a:pt x="11324605" y="817399"/>
                  <a:pt x="11324605" y="817399"/>
                </a:cubicBezTo>
                <a:cubicBezTo>
                  <a:pt x="11325371" y="818941"/>
                  <a:pt x="11325630" y="819449"/>
                  <a:pt x="11326785" y="819449"/>
                </a:cubicBezTo>
                <a:cubicBezTo>
                  <a:pt x="11332050" y="819449"/>
                  <a:pt x="11332050" y="819449"/>
                  <a:pt x="11332050" y="819449"/>
                </a:cubicBezTo>
                <a:cubicBezTo>
                  <a:pt x="11333593" y="819449"/>
                  <a:pt x="11333971" y="819190"/>
                  <a:pt x="11334489" y="817399"/>
                </a:cubicBezTo>
                <a:cubicBezTo>
                  <a:pt x="11358108" y="753135"/>
                  <a:pt x="11358108" y="753135"/>
                  <a:pt x="11358108" y="753135"/>
                </a:cubicBezTo>
                <a:cubicBezTo>
                  <a:pt x="11358366" y="751592"/>
                  <a:pt x="11358366" y="751462"/>
                  <a:pt x="11358366" y="751085"/>
                </a:cubicBezTo>
                <a:cubicBezTo>
                  <a:pt x="11358366" y="749671"/>
                  <a:pt x="11357341" y="749671"/>
                  <a:pt x="11356694" y="749671"/>
                </a:cubicBezTo>
                <a:cubicBezTo>
                  <a:pt x="11350015" y="749671"/>
                  <a:pt x="11350015" y="749671"/>
                  <a:pt x="11350015" y="749671"/>
                </a:cubicBezTo>
                <a:cubicBezTo>
                  <a:pt x="11349120" y="749930"/>
                  <a:pt x="11348990" y="750308"/>
                  <a:pt x="11348343" y="751592"/>
                </a:cubicBezTo>
                <a:cubicBezTo>
                  <a:pt x="11330885" y="802908"/>
                  <a:pt x="11330885" y="802908"/>
                  <a:pt x="11330885" y="802908"/>
                </a:cubicBezTo>
                <a:cubicBezTo>
                  <a:pt x="11312920" y="751851"/>
                  <a:pt x="11312920" y="751851"/>
                  <a:pt x="11312920" y="751851"/>
                </a:cubicBezTo>
                <a:cubicBezTo>
                  <a:pt x="11312154" y="749930"/>
                  <a:pt x="11311895" y="749671"/>
                  <a:pt x="11309845" y="749671"/>
                </a:cubicBezTo>
                <a:cubicBezTo>
                  <a:pt x="11301634" y="749671"/>
                  <a:pt x="11301634" y="749671"/>
                  <a:pt x="11301634" y="749671"/>
                </a:cubicBezTo>
                <a:close/>
                <a:moveTo>
                  <a:pt x="11754223" y="748506"/>
                </a:moveTo>
                <a:cubicBezTo>
                  <a:pt x="11742149" y="748506"/>
                  <a:pt x="11731241" y="755185"/>
                  <a:pt x="11731241" y="767625"/>
                </a:cubicBezTo>
                <a:cubicBezTo>
                  <a:pt x="11731241" y="779300"/>
                  <a:pt x="11739462" y="784177"/>
                  <a:pt x="11749346" y="788417"/>
                </a:cubicBezTo>
                <a:cubicBezTo>
                  <a:pt x="11757050" y="791622"/>
                  <a:pt x="11764236" y="794708"/>
                  <a:pt x="11764236" y="801894"/>
                </a:cubicBezTo>
                <a:cubicBezTo>
                  <a:pt x="11764236" y="807407"/>
                  <a:pt x="11759866" y="813698"/>
                  <a:pt x="11750500" y="813698"/>
                </a:cubicBezTo>
                <a:cubicBezTo>
                  <a:pt x="11740995" y="813698"/>
                  <a:pt x="11738308" y="806641"/>
                  <a:pt x="11733679" y="806641"/>
                </a:cubicBezTo>
                <a:cubicBezTo>
                  <a:pt x="11731500" y="806641"/>
                  <a:pt x="11728673" y="807666"/>
                  <a:pt x="11728673" y="811130"/>
                </a:cubicBezTo>
                <a:cubicBezTo>
                  <a:pt x="11728673" y="816643"/>
                  <a:pt x="11739462" y="821402"/>
                  <a:pt x="11750241" y="821402"/>
                </a:cubicBezTo>
                <a:cubicBezTo>
                  <a:pt x="11762434" y="821531"/>
                  <a:pt x="11774896" y="815111"/>
                  <a:pt x="11774896" y="800610"/>
                </a:cubicBezTo>
                <a:cubicBezTo>
                  <a:pt x="11774896" y="777897"/>
                  <a:pt x="11741901" y="781490"/>
                  <a:pt x="11741901" y="766471"/>
                </a:cubicBezTo>
                <a:cubicBezTo>
                  <a:pt x="11741901" y="761335"/>
                  <a:pt x="11745882" y="756199"/>
                  <a:pt x="11753457" y="756199"/>
                </a:cubicBezTo>
                <a:cubicBezTo>
                  <a:pt x="11761290" y="756199"/>
                  <a:pt x="11763340" y="761335"/>
                  <a:pt x="11767322" y="761335"/>
                </a:cubicBezTo>
                <a:cubicBezTo>
                  <a:pt x="11769372" y="761335"/>
                  <a:pt x="11772328" y="760180"/>
                  <a:pt x="11772328" y="756587"/>
                </a:cubicBezTo>
                <a:cubicBezTo>
                  <a:pt x="11772328" y="751452"/>
                  <a:pt x="11763599" y="748506"/>
                  <a:pt x="11754223" y="748506"/>
                </a:cubicBezTo>
                <a:close/>
                <a:moveTo>
                  <a:pt x="11614257" y="748117"/>
                </a:moveTo>
                <a:cubicBezTo>
                  <a:pt x="11607082" y="748117"/>
                  <a:pt x="11602594" y="749272"/>
                  <a:pt x="11599001" y="750167"/>
                </a:cubicBezTo>
                <a:cubicBezTo>
                  <a:pt x="11594383" y="751322"/>
                  <a:pt x="11592721" y="753491"/>
                  <a:pt x="11592721" y="755659"/>
                </a:cubicBezTo>
                <a:cubicBezTo>
                  <a:pt x="11592721" y="816902"/>
                  <a:pt x="11592721" y="816902"/>
                  <a:pt x="11592721" y="816902"/>
                </a:cubicBezTo>
                <a:cubicBezTo>
                  <a:pt x="11592721" y="818952"/>
                  <a:pt x="11593487" y="819071"/>
                  <a:pt x="11595418" y="819071"/>
                </a:cubicBezTo>
                <a:cubicBezTo>
                  <a:pt x="11602216" y="819071"/>
                  <a:pt x="11602216" y="819071"/>
                  <a:pt x="11602216" y="819071"/>
                </a:cubicBezTo>
                <a:cubicBezTo>
                  <a:pt x="11603878" y="819071"/>
                  <a:pt x="11604654" y="818942"/>
                  <a:pt x="11604654" y="816902"/>
                </a:cubicBezTo>
                <a:cubicBezTo>
                  <a:pt x="11604654" y="760774"/>
                  <a:pt x="11604654" y="760774"/>
                  <a:pt x="11604654" y="760774"/>
                </a:cubicBezTo>
                <a:cubicBezTo>
                  <a:pt x="11604654" y="757192"/>
                  <a:pt x="11607471" y="754764"/>
                  <a:pt x="11611452" y="754764"/>
                </a:cubicBezTo>
                <a:cubicBezTo>
                  <a:pt x="11620041" y="754764"/>
                  <a:pt x="11621325" y="761033"/>
                  <a:pt x="11625943" y="761033"/>
                </a:cubicBezTo>
                <a:cubicBezTo>
                  <a:pt x="11629255" y="761162"/>
                  <a:pt x="11631823" y="759112"/>
                  <a:pt x="11631823" y="755152"/>
                </a:cubicBezTo>
                <a:cubicBezTo>
                  <a:pt x="11631823" y="750167"/>
                  <a:pt x="11623623" y="748117"/>
                  <a:pt x="11614257" y="748117"/>
                </a:cubicBezTo>
                <a:close/>
                <a:moveTo>
                  <a:pt x="11553619" y="748117"/>
                </a:moveTo>
                <a:cubicBezTo>
                  <a:pt x="11547609" y="748117"/>
                  <a:pt x="11541221" y="749919"/>
                  <a:pt x="11536236" y="753124"/>
                </a:cubicBezTo>
                <a:cubicBezTo>
                  <a:pt x="11528565" y="758519"/>
                  <a:pt x="11523450" y="768780"/>
                  <a:pt x="11523450" y="784954"/>
                </a:cubicBezTo>
                <a:cubicBezTo>
                  <a:pt x="11523450" y="800998"/>
                  <a:pt x="11528565" y="811270"/>
                  <a:pt x="11536236" y="816654"/>
                </a:cubicBezTo>
                <a:cubicBezTo>
                  <a:pt x="11540962" y="819988"/>
                  <a:pt x="11547490" y="821531"/>
                  <a:pt x="11553619" y="821531"/>
                </a:cubicBezTo>
                <a:cubicBezTo>
                  <a:pt x="11559888" y="821531"/>
                  <a:pt x="11566275" y="819859"/>
                  <a:pt x="11571001" y="816654"/>
                </a:cubicBezTo>
                <a:cubicBezTo>
                  <a:pt x="11578802" y="811259"/>
                  <a:pt x="11583917" y="800998"/>
                  <a:pt x="11583917" y="784954"/>
                </a:cubicBezTo>
                <a:cubicBezTo>
                  <a:pt x="11583917" y="768780"/>
                  <a:pt x="11578802" y="758519"/>
                  <a:pt x="11571001" y="753124"/>
                </a:cubicBezTo>
                <a:cubicBezTo>
                  <a:pt x="11566146" y="749660"/>
                  <a:pt x="11559747" y="748117"/>
                  <a:pt x="11553619" y="748117"/>
                </a:cubicBezTo>
                <a:close/>
                <a:moveTo>
                  <a:pt x="11486031" y="748117"/>
                </a:moveTo>
                <a:cubicBezTo>
                  <a:pt x="11475824" y="748117"/>
                  <a:pt x="11468930" y="750297"/>
                  <a:pt x="11465229" y="751452"/>
                </a:cubicBezTo>
                <a:cubicBezTo>
                  <a:pt x="11460632" y="752994"/>
                  <a:pt x="11459230" y="754656"/>
                  <a:pt x="11459230" y="756965"/>
                </a:cubicBezTo>
                <a:cubicBezTo>
                  <a:pt x="11459230" y="817010"/>
                  <a:pt x="11459230" y="817010"/>
                  <a:pt x="11459230" y="817010"/>
                </a:cubicBezTo>
                <a:cubicBezTo>
                  <a:pt x="11459230" y="819190"/>
                  <a:pt x="11459737" y="819449"/>
                  <a:pt x="11461787" y="819449"/>
                </a:cubicBezTo>
                <a:cubicBezTo>
                  <a:pt x="11468422" y="819449"/>
                  <a:pt x="11468422" y="819449"/>
                  <a:pt x="11468422" y="819449"/>
                </a:cubicBezTo>
                <a:cubicBezTo>
                  <a:pt x="11470332" y="819449"/>
                  <a:pt x="11471228" y="819190"/>
                  <a:pt x="11471228" y="816751"/>
                </a:cubicBezTo>
                <a:cubicBezTo>
                  <a:pt x="11471228" y="761454"/>
                  <a:pt x="11471228" y="761454"/>
                  <a:pt x="11471228" y="761454"/>
                </a:cubicBezTo>
                <a:cubicBezTo>
                  <a:pt x="11471228" y="758497"/>
                  <a:pt x="11476331" y="755422"/>
                  <a:pt x="11485654" y="755422"/>
                </a:cubicBezTo>
                <a:cubicBezTo>
                  <a:pt x="11501223" y="755422"/>
                  <a:pt x="11501223" y="765554"/>
                  <a:pt x="11501223" y="771844"/>
                </a:cubicBezTo>
                <a:cubicBezTo>
                  <a:pt x="11501223" y="816751"/>
                  <a:pt x="11501223" y="816751"/>
                  <a:pt x="11501223" y="816751"/>
                </a:cubicBezTo>
                <a:cubicBezTo>
                  <a:pt x="11501223" y="819190"/>
                  <a:pt x="11501990" y="819449"/>
                  <a:pt x="11504288" y="819449"/>
                </a:cubicBezTo>
                <a:cubicBezTo>
                  <a:pt x="11511690" y="819449"/>
                  <a:pt x="11511690" y="819449"/>
                  <a:pt x="11511690" y="819449"/>
                </a:cubicBezTo>
                <a:cubicBezTo>
                  <a:pt x="11512963" y="819201"/>
                  <a:pt x="11512963" y="817917"/>
                  <a:pt x="11512963" y="816762"/>
                </a:cubicBezTo>
                <a:cubicBezTo>
                  <a:pt x="11512963" y="770312"/>
                  <a:pt x="11512963" y="770312"/>
                  <a:pt x="11512963" y="770312"/>
                </a:cubicBezTo>
                <a:cubicBezTo>
                  <a:pt x="11512963" y="762230"/>
                  <a:pt x="11512704" y="748117"/>
                  <a:pt x="11486031" y="748117"/>
                </a:cubicBezTo>
                <a:close/>
                <a:moveTo>
                  <a:pt x="11389700" y="748117"/>
                </a:moveTo>
                <a:cubicBezTo>
                  <a:pt x="11383539" y="748117"/>
                  <a:pt x="11377249" y="749919"/>
                  <a:pt x="11372242" y="753124"/>
                </a:cubicBezTo>
                <a:cubicBezTo>
                  <a:pt x="11364538" y="758519"/>
                  <a:pt x="11359402" y="768780"/>
                  <a:pt x="11359402" y="784954"/>
                </a:cubicBezTo>
                <a:cubicBezTo>
                  <a:pt x="11359402" y="800998"/>
                  <a:pt x="11364538" y="811270"/>
                  <a:pt x="11372242" y="816654"/>
                </a:cubicBezTo>
                <a:cubicBezTo>
                  <a:pt x="11376990" y="819988"/>
                  <a:pt x="11383539" y="821531"/>
                  <a:pt x="11389700" y="821531"/>
                </a:cubicBezTo>
                <a:cubicBezTo>
                  <a:pt x="11395990" y="821531"/>
                  <a:pt x="11402281" y="819859"/>
                  <a:pt x="11407158" y="816654"/>
                </a:cubicBezTo>
                <a:cubicBezTo>
                  <a:pt x="11414991" y="811259"/>
                  <a:pt x="11420127" y="800998"/>
                  <a:pt x="11420127" y="784954"/>
                </a:cubicBezTo>
                <a:cubicBezTo>
                  <a:pt x="11420127" y="768780"/>
                  <a:pt x="11414991" y="758519"/>
                  <a:pt x="11407158" y="753124"/>
                </a:cubicBezTo>
                <a:cubicBezTo>
                  <a:pt x="11402540" y="749660"/>
                  <a:pt x="11395990" y="748117"/>
                  <a:pt x="11389700" y="748117"/>
                </a:cubicBezTo>
                <a:close/>
                <a:moveTo>
                  <a:pt x="11267473" y="748117"/>
                </a:moveTo>
                <a:cubicBezTo>
                  <a:pt x="11261312" y="748117"/>
                  <a:pt x="11254892" y="749919"/>
                  <a:pt x="11250015" y="753124"/>
                </a:cubicBezTo>
                <a:cubicBezTo>
                  <a:pt x="11242182" y="758519"/>
                  <a:pt x="11237046" y="768780"/>
                  <a:pt x="11237046" y="784954"/>
                </a:cubicBezTo>
                <a:cubicBezTo>
                  <a:pt x="11237046" y="800998"/>
                  <a:pt x="11242182" y="811270"/>
                  <a:pt x="11250015" y="816654"/>
                </a:cubicBezTo>
                <a:cubicBezTo>
                  <a:pt x="11254763" y="819988"/>
                  <a:pt x="11261183" y="821531"/>
                  <a:pt x="11267473" y="821531"/>
                </a:cubicBezTo>
                <a:cubicBezTo>
                  <a:pt x="11273764" y="821531"/>
                  <a:pt x="11279925" y="819859"/>
                  <a:pt x="11284931" y="816654"/>
                </a:cubicBezTo>
                <a:cubicBezTo>
                  <a:pt x="11292635" y="811259"/>
                  <a:pt x="11297771" y="800998"/>
                  <a:pt x="11297771" y="784954"/>
                </a:cubicBezTo>
                <a:cubicBezTo>
                  <a:pt x="11297771" y="768780"/>
                  <a:pt x="11292635" y="758519"/>
                  <a:pt x="11284931" y="753124"/>
                </a:cubicBezTo>
                <a:cubicBezTo>
                  <a:pt x="11279925" y="749660"/>
                  <a:pt x="11273764" y="748117"/>
                  <a:pt x="11267473" y="748117"/>
                </a:cubicBezTo>
                <a:close/>
                <a:moveTo>
                  <a:pt x="11199756" y="748117"/>
                </a:moveTo>
                <a:cubicBezTo>
                  <a:pt x="11189495" y="748117"/>
                  <a:pt x="11182698" y="750297"/>
                  <a:pt x="11178857" y="751452"/>
                </a:cubicBezTo>
                <a:cubicBezTo>
                  <a:pt x="11174368" y="752994"/>
                  <a:pt x="11172825" y="754656"/>
                  <a:pt x="11172825" y="756965"/>
                </a:cubicBezTo>
                <a:cubicBezTo>
                  <a:pt x="11172825" y="817010"/>
                  <a:pt x="11172825" y="817010"/>
                  <a:pt x="11172825" y="817010"/>
                </a:cubicBezTo>
                <a:cubicBezTo>
                  <a:pt x="11172825" y="819190"/>
                  <a:pt x="11173343" y="819449"/>
                  <a:pt x="11175263" y="819449"/>
                </a:cubicBezTo>
                <a:cubicBezTo>
                  <a:pt x="11181932" y="819449"/>
                  <a:pt x="11181932" y="819449"/>
                  <a:pt x="11181932" y="819449"/>
                </a:cubicBezTo>
                <a:cubicBezTo>
                  <a:pt x="11183852" y="819449"/>
                  <a:pt x="11184748" y="819190"/>
                  <a:pt x="11184748" y="816751"/>
                </a:cubicBezTo>
                <a:cubicBezTo>
                  <a:pt x="11184748" y="761454"/>
                  <a:pt x="11184748" y="761454"/>
                  <a:pt x="11184748" y="761454"/>
                </a:cubicBezTo>
                <a:cubicBezTo>
                  <a:pt x="11184748" y="758497"/>
                  <a:pt x="11189873" y="755422"/>
                  <a:pt x="11199238" y="755422"/>
                </a:cubicBezTo>
                <a:cubicBezTo>
                  <a:pt x="11214884" y="755422"/>
                  <a:pt x="11214884" y="765554"/>
                  <a:pt x="11214884" y="771844"/>
                </a:cubicBezTo>
                <a:cubicBezTo>
                  <a:pt x="11214884" y="816751"/>
                  <a:pt x="11214884" y="816751"/>
                  <a:pt x="11214884" y="816751"/>
                </a:cubicBezTo>
                <a:cubicBezTo>
                  <a:pt x="11214884" y="819190"/>
                  <a:pt x="11215650" y="819449"/>
                  <a:pt x="11217959" y="819449"/>
                </a:cubicBezTo>
                <a:cubicBezTo>
                  <a:pt x="11225393" y="819449"/>
                  <a:pt x="11225393" y="819449"/>
                  <a:pt x="11225393" y="819449"/>
                </a:cubicBezTo>
                <a:cubicBezTo>
                  <a:pt x="11226688" y="819201"/>
                  <a:pt x="11226817" y="817917"/>
                  <a:pt x="11226817" y="816762"/>
                </a:cubicBezTo>
                <a:cubicBezTo>
                  <a:pt x="11226817" y="770312"/>
                  <a:pt x="11226817" y="770312"/>
                  <a:pt x="11226817" y="770312"/>
                </a:cubicBezTo>
                <a:cubicBezTo>
                  <a:pt x="11226817" y="762230"/>
                  <a:pt x="11226688" y="748117"/>
                  <a:pt x="11199756" y="748117"/>
                </a:cubicBezTo>
                <a:close/>
                <a:moveTo>
                  <a:pt x="11681273" y="724801"/>
                </a:moveTo>
                <a:cubicBezTo>
                  <a:pt x="11678975" y="724801"/>
                  <a:pt x="11678845" y="725567"/>
                  <a:pt x="11678845" y="727876"/>
                </a:cubicBezTo>
                <a:cubicBezTo>
                  <a:pt x="11678845" y="752250"/>
                  <a:pt x="11678845" y="752250"/>
                  <a:pt x="11678845" y="752250"/>
                </a:cubicBezTo>
                <a:cubicBezTo>
                  <a:pt x="11674626" y="750070"/>
                  <a:pt x="11670537" y="748527"/>
                  <a:pt x="11664279" y="748527"/>
                </a:cubicBezTo>
                <a:cubicBezTo>
                  <a:pt x="11643455" y="748527"/>
                  <a:pt x="11632848" y="768413"/>
                  <a:pt x="11632848" y="784954"/>
                </a:cubicBezTo>
                <a:cubicBezTo>
                  <a:pt x="11632848" y="809587"/>
                  <a:pt x="11646260" y="821510"/>
                  <a:pt x="11666707" y="821510"/>
                </a:cubicBezTo>
                <a:cubicBezTo>
                  <a:pt x="11676547" y="821531"/>
                  <a:pt x="11690477" y="816654"/>
                  <a:pt x="11690477" y="812036"/>
                </a:cubicBezTo>
                <a:cubicBezTo>
                  <a:pt x="11690477" y="727498"/>
                  <a:pt x="11690477" y="727498"/>
                  <a:pt x="11690477" y="727498"/>
                </a:cubicBezTo>
                <a:cubicBezTo>
                  <a:pt x="11690477" y="724930"/>
                  <a:pt x="11689711" y="724801"/>
                  <a:pt x="11687919" y="724801"/>
                </a:cubicBezTo>
                <a:cubicBezTo>
                  <a:pt x="11681273" y="724801"/>
                  <a:pt x="11681273" y="724801"/>
                  <a:pt x="11681273" y="724801"/>
                </a:cubicBezTo>
                <a:close/>
                <a:moveTo>
                  <a:pt x="11786797" y="724552"/>
                </a:moveTo>
                <a:cubicBezTo>
                  <a:pt x="11785384" y="724552"/>
                  <a:pt x="11784607" y="724811"/>
                  <a:pt x="11784607" y="726732"/>
                </a:cubicBezTo>
                <a:cubicBezTo>
                  <a:pt x="11784607" y="817280"/>
                  <a:pt x="11784607" y="817280"/>
                  <a:pt x="11784607" y="817280"/>
                </a:cubicBezTo>
                <a:cubicBezTo>
                  <a:pt x="11784607" y="819071"/>
                  <a:pt x="11784995" y="819330"/>
                  <a:pt x="11786797" y="819330"/>
                </a:cubicBezTo>
                <a:cubicBezTo>
                  <a:pt x="11793864" y="819330"/>
                  <a:pt x="11793864" y="819330"/>
                  <a:pt x="11793864" y="819330"/>
                </a:cubicBezTo>
                <a:cubicBezTo>
                  <a:pt x="11795526" y="819330"/>
                  <a:pt x="11796303" y="819330"/>
                  <a:pt x="11796303" y="817409"/>
                </a:cubicBezTo>
                <a:cubicBezTo>
                  <a:pt x="11796303" y="726473"/>
                  <a:pt x="11796303" y="726473"/>
                  <a:pt x="11796303" y="726473"/>
                </a:cubicBezTo>
                <a:cubicBezTo>
                  <a:pt x="11796303" y="724552"/>
                  <a:pt x="11795407" y="724552"/>
                  <a:pt x="11793864" y="724552"/>
                </a:cubicBezTo>
                <a:cubicBezTo>
                  <a:pt x="11786797" y="724552"/>
                  <a:pt x="11786797" y="724552"/>
                  <a:pt x="11786797" y="724552"/>
                </a:cubicBezTo>
                <a:close/>
                <a:moveTo>
                  <a:pt x="11712617" y="723776"/>
                </a:moveTo>
                <a:cubicBezTo>
                  <a:pt x="11708291" y="723776"/>
                  <a:pt x="11705237" y="726851"/>
                  <a:pt x="11705237" y="730940"/>
                </a:cubicBezTo>
                <a:cubicBezTo>
                  <a:pt x="11705237" y="734781"/>
                  <a:pt x="11707913" y="737975"/>
                  <a:pt x="11712358" y="737975"/>
                </a:cubicBezTo>
                <a:cubicBezTo>
                  <a:pt x="11716933" y="737845"/>
                  <a:pt x="11719739" y="734263"/>
                  <a:pt x="11719609" y="730433"/>
                </a:cubicBezTo>
                <a:cubicBezTo>
                  <a:pt x="11719350" y="726462"/>
                  <a:pt x="11716178" y="723776"/>
                  <a:pt x="11712617" y="723776"/>
                </a:cubicBezTo>
                <a:close/>
                <a:moveTo>
                  <a:pt x="11855021" y="713601"/>
                </a:moveTo>
                <a:lnTo>
                  <a:pt x="11855284" y="713794"/>
                </a:lnTo>
                <a:lnTo>
                  <a:pt x="11855021" y="713860"/>
                </a:lnTo>
                <a:cubicBezTo>
                  <a:pt x="11855021" y="713860"/>
                  <a:pt x="11855021" y="713860"/>
                  <a:pt x="11855021" y="713601"/>
                </a:cubicBezTo>
                <a:close/>
                <a:moveTo>
                  <a:pt x="11847209" y="704235"/>
                </a:moveTo>
                <a:cubicBezTo>
                  <a:pt x="11851428" y="704235"/>
                  <a:pt x="11851428" y="704235"/>
                  <a:pt x="11851428" y="704235"/>
                </a:cubicBezTo>
                <a:cubicBezTo>
                  <a:pt x="11853608" y="704235"/>
                  <a:pt x="11857190" y="704235"/>
                  <a:pt x="11857190" y="707699"/>
                </a:cubicBezTo>
                <a:cubicBezTo>
                  <a:pt x="11857190" y="711162"/>
                  <a:pt x="11853478" y="711162"/>
                  <a:pt x="11851817" y="711162"/>
                </a:cubicBezTo>
                <a:cubicBezTo>
                  <a:pt x="11847209" y="711162"/>
                  <a:pt x="11847209" y="711162"/>
                  <a:pt x="11847209" y="711162"/>
                </a:cubicBezTo>
                <a:close/>
                <a:moveTo>
                  <a:pt x="11843627" y="701020"/>
                </a:moveTo>
                <a:lnTo>
                  <a:pt x="11843627" y="724250"/>
                </a:lnTo>
                <a:cubicBezTo>
                  <a:pt x="11847468" y="724250"/>
                  <a:pt x="11847468" y="724250"/>
                  <a:pt x="11847468" y="724250"/>
                </a:cubicBezTo>
                <a:cubicBezTo>
                  <a:pt x="11847468" y="714367"/>
                  <a:pt x="11847468" y="714367"/>
                  <a:pt x="11847468" y="714367"/>
                </a:cubicBezTo>
                <a:cubicBezTo>
                  <a:pt x="11849648" y="714367"/>
                  <a:pt x="11849648" y="714367"/>
                  <a:pt x="11849648" y="714367"/>
                </a:cubicBezTo>
                <a:cubicBezTo>
                  <a:pt x="11852723" y="714367"/>
                  <a:pt x="11853867" y="715521"/>
                  <a:pt x="11856553" y="720528"/>
                </a:cubicBezTo>
                <a:cubicBezTo>
                  <a:pt x="11858603" y="724121"/>
                  <a:pt x="11858603" y="724121"/>
                  <a:pt x="11858603" y="724121"/>
                </a:cubicBezTo>
                <a:cubicBezTo>
                  <a:pt x="11863081" y="724121"/>
                  <a:pt x="11863081" y="724121"/>
                  <a:pt x="11863081" y="724121"/>
                </a:cubicBezTo>
                <a:cubicBezTo>
                  <a:pt x="11860265" y="719503"/>
                  <a:pt x="11860265" y="719503"/>
                  <a:pt x="11860265" y="719503"/>
                </a:cubicBezTo>
                <a:cubicBezTo>
                  <a:pt x="11858857" y="717258"/>
                  <a:pt x="11857864" y="715942"/>
                  <a:pt x="11857064" y="715107"/>
                </a:cubicBezTo>
                <a:lnTo>
                  <a:pt x="11855284" y="713794"/>
                </a:lnTo>
                <a:lnTo>
                  <a:pt x="11858039" y="713107"/>
                </a:lnTo>
                <a:cubicBezTo>
                  <a:pt x="11860542" y="711860"/>
                  <a:pt x="11861549" y="709333"/>
                  <a:pt x="11861549" y="707310"/>
                </a:cubicBezTo>
                <a:cubicBezTo>
                  <a:pt x="11861549" y="705390"/>
                  <a:pt x="11860653" y="703717"/>
                  <a:pt x="11859370" y="702822"/>
                </a:cubicBezTo>
                <a:cubicBezTo>
                  <a:pt x="11857449" y="701020"/>
                  <a:pt x="11854385" y="701020"/>
                  <a:pt x="11851817" y="701020"/>
                </a:cubicBezTo>
                <a:cubicBezTo>
                  <a:pt x="11843627" y="701020"/>
                  <a:pt x="11843627" y="701020"/>
                  <a:pt x="11843627" y="701020"/>
                </a:cubicBezTo>
                <a:close/>
                <a:moveTo>
                  <a:pt x="11852712" y="694611"/>
                </a:moveTo>
                <a:cubicBezTo>
                  <a:pt x="11862563" y="694611"/>
                  <a:pt x="11870623" y="702563"/>
                  <a:pt x="11870623" y="712446"/>
                </a:cubicBezTo>
                <a:cubicBezTo>
                  <a:pt x="11870623" y="722330"/>
                  <a:pt x="11862693" y="730541"/>
                  <a:pt x="11852712" y="730541"/>
                </a:cubicBezTo>
                <a:cubicBezTo>
                  <a:pt x="11842861" y="730541"/>
                  <a:pt x="11834931" y="722330"/>
                  <a:pt x="11834931" y="712446"/>
                </a:cubicBezTo>
                <a:cubicBezTo>
                  <a:pt x="11834801" y="702563"/>
                  <a:pt x="11842732" y="694611"/>
                  <a:pt x="11852712" y="694611"/>
                </a:cubicBezTo>
                <a:close/>
                <a:moveTo>
                  <a:pt x="11852712" y="690888"/>
                </a:moveTo>
                <a:cubicBezTo>
                  <a:pt x="11840940" y="690888"/>
                  <a:pt x="11831348" y="700513"/>
                  <a:pt x="11831348" y="712446"/>
                </a:cubicBezTo>
                <a:cubicBezTo>
                  <a:pt x="11831348" y="724509"/>
                  <a:pt x="11840940" y="734004"/>
                  <a:pt x="11852712" y="734004"/>
                </a:cubicBezTo>
                <a:cubicBezTo>
                  <a:pt x="11864613" y="734004"/>
                  <a:pt x="11874076" y="724250"/>
                  <a:pt x="11874076" y="712446"/>
                </a:cubicBezTo>
                <a:cubicBezTo>
                  <a:pt x="11874076" y="700642"/>
                  <a:pt x="11864484" y="690888"/>
                  <a:pt x="11852712" y="690888"/>
                </a:cubicBezTo>
                <a:close/>
                <a:moveTo>
                  <a:pt x="11639380" y="551044"/>
                </a:moveTo>
                <a:cubicBezTo>
                  <a:pt x="11639972" y="550996"/>
                  <a:pt x="11640676" y="551285"/>
                  <a:pt x="11641189" y="551862"/>
                </a:cubicBezTo>
                <a:cubicBezTo>
                  <a:pt x="11649011" y="560062"/>
                  <a:pt x="11646325" y="621974"/>
                  <a:pt x="11644652" y="634274"/>
                </a:cubicBezTo>
                <a:cubicBezTo>
                  <a:pt x="11644264" y="637349"/>
                  <a:pt x="11641448" y="639788"/>
                  <a:pt x="11640682" y="633508"/>
                </a:cubicBezTo>
                <a:cubicBezTo>
                  <a:pt x="11639786" y="625567"/>
                  <a:pt x="11635557" y="607235"/>
                  <a:pt x="11634273" y="599671"/>
                </a:cubicBezTo>
                <a:cubicBezTo>
                  <a:pt x="11632859" y="592496"/>
                  <a:pt x="11636841" y="570582"/>
                  <a:pt x="11638243" y="552250"/>
                </a:cubicBezTo>
                <a:cubicBezTo>
                  <a:pt x="11638308" y="551479"/>
                  <a:pt x="11638788" y="551093"/>
                  <a:pt x="11639380" y="551044"/>
                </a:cubicBezTo>
                <a:close/>
                <a:moveTo>
                  <a:pt x="11490639" y="502002"/>
                </a:moveTo>
                <a:cubicBezTo>
                  <a:pt x="11510395" y="504700"/>
                  <a:pt x="11530399" y="505207"/>
                  <a:pt x="11550015" y="504052"/>
                </a:cubicBezTo>
                <a:cubicBezTo>
                  <a:pt x="11553220" y="516223"/>
                  <a:pt x="11552831" y="532116"/>
                  <a:pt x="11548343" y="536605"/>
                </a:cubicBezTo>
                <a:cubicBezTo>
                  <a:pt x="11541157" y="543910"/>
                  <a:pt x="11508722" y="542496"/>
                  <a:pt x="11499486" y="541094"/>
                </a:cubicBezTo>
                <a:cubicBezTo>
                  <a:pt x="11496918" y="540705"/>
                  <a:pt x="11494361" y="540327"/>
                  <a:pt x="11492948" y="533659"/>
                </a:cubicBezTo>
                <a:cubicBezTo>
                  <a:pt x="11491405" y="525837"/>
                  <a:pt x="11491275" y="511486"/>
                  <a:pt x="11490639" y="502002"/>
                </a:cubicBezTo>
                <a:close/>
                <a:moveTo>
                  <a:pt x="11594253" y="498797"/>
                </a:moveTo>
                <a:cubicBezTo>
                  <a:pt x="11599767" y="509048"/>
                  <a:pt x="11600155" y="514950"/>
                  <a:pt x="11598612" y="520075"/>
                </a:cubicBezTo>
                <a:cubicBezTo>
                  <a:pt x="11597069" y="525200"/>
                  <a:pt x="11589894" y="528146"/>
                  <a:pt x="11588351" y="527509"/>
                </a:cubicBezTo>
                <a:cubicBezTo>
                  <a:pt x="11588092" y="516482"/>
                  <a:pt x="11585147" y="508152"/>
                  <a:pt x="11580011" y="500718"/>
                </a:cubicBezTo>
                <a:cubicBezTo>
                  <a:pt x="11584510" y="499952"/>
                  <a:pt x="11589257" y="499315"/>
                  <a:pt x="11594253" y="498797"/>
                </a:cubicBezTo>
                <a:close/>
                <a:moveTo>
                  <a:pt x="11441405" y="491374"/>
                </a:moveTo>
                <a:cubicBezTo>
                  <a:pt x="11447684" y="493295"/>
                  <a:pt x="11454104" y="494967"/>
                  <a:pt x="11460384" y="496499"/>
                </a:cubicBezTo>
                <a:cubicBezTo>
                  <a:pt x="11456025" y="524056"/>
                  <a:pt x="11447436" y="531868"/>
                  <a:pt x="11442948" y="533670"/>
                </a:cubicBezTo>
                <a:cubicBezTo>
                  <a:pt x="11439473" y="535073"/>
                  <a:pt x="11431910" y="535839"/>
                  <a:pt x="11434607" y="527132"/>
                </a:cubicBezTo>
                <a:cubicBezTo>
                  <a:pt x="11437305" y="518413"/>
                  <a:pt x="11439862" y="503545"/>
                  <a:pt x="11441405" y="491374"/>
                </a:cubicBezTo>
                <a:close/>
                <a:moveTo>
                  <a:pt x="11419441" y="484343"/>
                </a:moveTo>
                <a:cubicBezTo>
                  <a:pt x="11421606" y="484488"/>
                  <a:pt x="11425004" y="485801"/>
                  <a:pt x="11431543" y="488299"/>
                </a:cubicBezTo>
                <a:cubicBezTo>
                  <a:pt x="11430647" y="509447"/>
                  <a:pt x="11425263" y="521499"/>
                  <a:pt x="11423202" y="532257"/>
                </a:cubicBezTo>
                <a:cubicBezTo>
                  <a:pt x="11420893" y="543284"/>
                  <a:pt x="11433204" y="545841"/>
                  <a:pt x="11444102" y="543154"/>
                </a:cubicBezTo>
                <a:cubicBezTo>
                  <a:pt x="11454870" y="540468"/>
                  <a:pt x="11465132" y="529182"/>
                  <a:pt x="11469620" y="498549"/>
                </a:cubicBezTo>
                <a:cubicBezTo>
                  <a:pt x="11473850" y="499574"/>
                  <a:pt x="11477313" y="500092"/>
                  <a:pt x="11481672" y="500729"/>
                </a:cubicBezTo>
                <a:cubicBezTo>
                  <a:pt x="11482190" y="532516"/>
                  <a:pt x="11484111" y="539691"/>
                  <a:pt x="11485395" y="542507"/>
                </a:cubicBezTo>
                <a:cubicBezTo>
                  <a:pt x="11487833" y="548398"/>
                  <a:pt x="11493735" y="550329"/>
                  <a:pt x="11498472" y="550707"/>
                </a:cubicBezTo>
                <a:cubicBezTo>
                  <a:pt x="11523353" y="552628"/>
                  <a:pt x="11547458" y="551862"/>
                  <a:pt x="11555917" y="543532"/>
                </a:cubicBezTo>
                <a:cubicBezTo>
                  <a:pt x="11564506" y="535073"/>
                  <a:pt x="11561560" y="514443"/>
                  <a:pt x="11559122" y="503286"/>
                </a:cubicBezTo>
                <a:cubicBezTo>
                  <a:pt x="11563092" y="502898"/>
                  <a:pt x="11566308" y="502520"/>
                  <a:pt x="11570149" y="502002"/>
                </a:cubicBezTo>
                <a:cubicBezTo>
                  <a:pt x="11578360" y="511486"/>
                  <a:pt x="11579385" y="521866"/>
                  <a:pt x="11579385" y="528405"/>
                </a:cubicBezTo>
                <a:cubicBezTo>
                  <a:pt x="11579385" y="535709"/>
                  <a:pt x="11587466" y="539551"/>
                  <a:pt x="11598752" y="531739"/>
                </a:cubicBezTo>
                <a:cubicBezTo>
                  <a:pt x="11609909" y="523916"/>
                  <a:pt x="11608884" y="510202"/>
                  <a:pt x="11602723" y="497773"/>
                </a:cubicBezTo>
                <a:cubicBezTo>
                  <a:pt x="11628371" y="495722"/>
                  <a:pt x="11627086" y="512511"/>
                  <a:pt x="11625673" y="533282"/>
                </a:cubicBezTo>
                <a:cubicBezTo>
                  <a:pt x="11624389" y="553793"/>
                  <a:pt x="11619771" y="582882"/>
                  <a:pt x="11612855" y="586216"/>
                </a:cubicBezTo>
                <a:cubicBezTo>
                  <a:pt x="11605798" y="589162"/>
                  <a:pt x="11594771" y="570323"/>
                  <a:pt x="11537326" y="569428"/>
                </a:cubicBezTo>
                <a:cubicBezTo>
                  <a:pt x="11496551" y="568661"/>
                  <a:pt x="11465261" y="574175"/>
                  <a:pt x="11459488" y="611465"/>
                </a:cubicBezTo>
                <a:cubicBezTo>
                  <a:pt x="11459100" y="614151"/>
                  <a:pt x="11457568" y="613774"/>
                  <a:pt x="11456154" y="612360"/>
                </a:cubicBezTo>
                <a:cubicBezTo>
                  <a:pt x="11444998" y="600189"/>
                  <a:pt x="11434737" y="594676"/>
                  <a:pt x="11418325" y="585191"/>
                </a:cubicBezTo>
                <a:cubicBezTo>
                  <a:pt x="11401785" y="575448"/>
                  <a:pt x="11390757" y="562382"/>
                  <a:pt x="11388707" y="549434"/>
                </a:cubicBezTo>
                <a:cubicBezTo>
                  <a:pt x="11386657" y="536486"/>
                  <a:pt x="11391405" y="519190"/>
                  <a:pt x="11414743" y="487403"/>
                </a:cubicBezTo>
                <a:cubicBezTo>
                  <a:pt x="11416346" y="485224"/>
                  <a:pt x="11417276" y="484199"/>
                  <a:pt x="11419441" y="484343"/>
                </a:cubicBezTo>
                <a:close/>
                <a:moveTo>
                  <a:pt x="11358173" y="469801"/>
                </a:moveTo>
                <a:cubicBezTo>
                  <a:pt x="11352402" y="469752"/>
                  <a:pt x="11342133" y="472433"/>
                  <a:pt x="11346260" y="478275"/>
                </a:cubicBezTo>
                <a:cubicBezTo>
                  <a:pt x="11351763" y="486314"/>
                  <a:pt x="11362639" y="473042"/>
                  <a:pt x="11361744" y="470744"/>
                </a:cubicBezTo>
                <a:cubicBezTo>
                  <a:pt x="11361520" y="470137"/>
                  <a:pt x="11360096" y="469817"/>
                  <a:pt x="11358173" y="469801"/>
                </a:cubicBezTo>
                <a:close/>
                <a:moveTo>
                  <a:pt x="11354455" y="453696"/>
                </a:moveTo>
                <a:cubicBezTo>
                  <a:pt x="11359222" y="452705"/>
                  <a:pt x="11365520" y="456094"/>
                  <a:pt x="11379471" y="464453"/>
                </a:cubicBezTo>
                <a:cubicBezTo>
                  <a:pt x="11402044" y="478167"/>
                  <a:pt x="11408971" y="475351"/>
                  <a:pt x="11401267" y="487522"/>
                </a:cubicBezTo>
                <a:cubicBezTo>
                  <a:pt x="11396519" y="495345"/>
                  <a:pt x="11380486" y="516104"/>
                  <a:pt x="11376515" y="541611"/>
                </a:cubicBezTo>
                <a:cubicBezTo>
                  <a:pt x="11371131" y="534436"/>
                  <a:pt x="11363815" y="516622"/>
                  <a:pt x="11357665" y="511745"/>
                </a:cubicBezTo>
                <a:cubicBezTo>
                  <a:pt x="11345613" y="502261"/>
                  <a:pt x="11335222" y="509566"/>
                  <a:pt x="11330734" y="504052"/>
                </a:cubicBezTo>
                <a:cubicBezTo>
                  <a:pt x="11325727" y="498031"/>
                  <a:pt x="11323677" y="497643"/>
                  <a:pt x="11328166" y="491881"/>
                </a:cubicBezTo>
                <a:cubicBezTo>
                  <a:pt x="11328166" y="491881"/>
                  <a:pt x="11333550" y="484835"/>
                  <a:pt x="11335600" y="481879"/>
                </a:cubicBezTo>
                <a:cubicBezTo>
                  <a:pt x="11337909" y="478804"/>
                  <a:pt x="11337272" y="473031"/>
                  <a:pt x="11338297" y="470604"/>
                </a:cubicBezTo>
                <a:cubicBezTo>
                  <a:pt x="11339193" y="468165"/>
                  <a:pt x="11344707" y="460861"/>
                  <a:pt x="11349972" y="456124"/>
                </a:cubicBezTo>
                <a:cubicBezTo>
                  <a:pt x="11351448" y="454843"/>
                  <a:pt x="11352866" y="454026"/>
                  <a:pt x="11354455" y="453696"/>
                </a:cubicBezTo>
                <a:close/>
                <a:moveTo>
                  <a:pt x="11324025" y="392924"/>
                </a:moveTo>
                <a:cubicBezTo>
                  <a:pt x="11322935" y="393149"/>
                  <a:pt x="11322134" y="395329"/>
                  <a:pt x="11322134" y="400006"/>
                </a:cubicBezTo>
                <a:cubicBezTo>
                  <a:pt x="11322134" y="423463"/>
                  <a:pt x="11332395" y="437555"/>
                  <a:pt x="11335988" y="441536"/>
                </a:cubicBezTo>
                <a:cubicBezTo>
                  <a:pt x="11339452" y="445507"/>
                  <a:pt x="11341114" y="449477"/>
                  <a:pt x="11339193" y="451786"/>
                </a:cubicBezTo>
                <a:cubicBezTo>
                  <a:pt x="11334068" y="457807"/>
                  <a:pt x="11328554" y="464475"/>
                  <a:pt x="11328425" y="467162"/>
                </a:cubicBezTo>
                <a:cubicBezTo>
                  <a:pt x="11328166" y="470107"/>
                  <a:pt x="11328425" y="471521"/>
                  <a:pt x="11327270" y="474855"/>
                </a:cubicBezTo>
                <a:cubicBezTo>
                  <a:pt x="11326116" y="478059"/>
                  <a:pt x="11322016" y="482796"/>
                  <a:pt x="11315477" y="490748"/>
                </a:cubicBezTo>
                <a:cubicBezTo>
                  <a:pt x="11311884" y="495366"/>
                  <a:pt x="11314193" y="500362"/>
                  <a:pt x="11317268" y="503696"/>
                </a:cubicBezTo>
                <a:cubicBezTo>
                  <a:pt x="11320861" y="507796"/>
                  <a:pt x="11323300" y="512544"/>
                  <a:pt x="11327788" y="514594"/>
                </a:cubicBezTo>
                <a:cubicBezTo>
                  <a:pt x="11332406" y="516644"/>
                  <a:pt x="11336506" y="515230"/>
                  <a:pt x="11341890" y="516137"/>
                </a:cubicBezTo>
                <a:cubicBezTo>
                  <a:pt x="11347016" y="517032"/>
                  <a:pt x="11353436" y="520107"/>
                  <a:pt x="11358561" y="529214"/>
                </a:cubicBezTo>
                <a:cubicBezTo>
                  <a:pt x="11365995" y="542539"/>
                  <a:pt x="11373947" y="563310"/>
                  <a:pt x="11388308" y="580476"/>
                </a:cubicBezTo>
                <a:cubicBezTo>
                  <a:pt x="11394717" y="588040"/>
                  <a:pt x="11394717" y="602013"/>
                  <a:pt x="11394717" y="606490"/>
                </a:cubicBezTo>
                <a:cubicBezTo>
                  <a:pt x="11395106" y="646736"/>
                  <a:pt x="11374076" y="684803"/>
                  <a:pt x="11360611" y="709026"/>
                </a:cubicBezTo>
                <a:cubicBezTo>
                  <a:pt x="11357406" y="714669"/>
                  <a:pt x="11358172" y="719406"/>
                  <a:pt x="11362402" y="719406"/>
                </a:cubicBezTo>
                <a:cubicBezTo>
                  <a:pt x="11367279" y="719406"/>
                  <a:pt x="11385481" y="719406"/>
                  <a:pt x="11388567" y="719406"/>
                </a:cubicBezTo>
                <a:cubicBezTo>
                  <a:pt x="11391901" y="719406"/>
                  <a:pt x="11393951" y="715813"/>
                  <a:pt x="11394210" y="711972"/>
                </a:cubicBezTo>
                <a:cubicBezTo>
                  <a:pt x="11396519" y="679030"/>
                  <a:pt x="11415110" y="618661"/>
                  <a:pt x="11429094" y="608411"/>
                </a:cubicBezTo>
                <a:cubicBezTo>
                  <a:pt x="11452561" y="623150"/>
                  <a:pt x="11475900" y="654678"/>
                  <a:pt x="11464484" y="709921"/>
                </a:cubicBezTo>
                <a:cubicBezTo>
                  <a:pt x="11463966" y="712996"/>
                  <a:pt x="11461150" y="719665"/>
                  <a:pt x="11468207" y="719665"/>
                </a:cubicBezTo>
                <a:cubicBezTo>
                  <a:pt x="11468207" y="719665"/>
                  <a:pt x="11488082" y="719665"/>
                  <a:pt x="11490650" y="719665"/>
                </a:cubicBezTo>
                <a:cubicBezTo>
                  <a:pt x="11493595" y="719665"/>
                  <a:pt x="11498343" y="718510"/>
                  <a:pt x="11497954" y="713126"/>
                </a:cubicBezTo>
                <a:cubicBezTo>
                  <a:pt x="11496800" y="691590"/>
                  <a:pt x="11478716" y="646100"/>
                  <a:pt x="11473979" y="619309"/>
                </a:cubicBezTo>
                <a:cubicBezTo>
                  <a:pt x="11471034" y="602390"/>
                  <a:pt x="11484499" y="572146"/>
                  <a:pt x="11535276" y="595345"/>
                </a:cubicBezTo>
                <a:cubicBezTo>
                  <a:pt x="11554773" y="577790"/>
                  <a:pt x="11580421" y="588428"/>
                  <a:pt x="11569383" y="622136"/>
                </a:cubicBezTo>
                <a:cubicBezTo>
                  <a:pt x="11558614" y="655713"/>
                  <a:pt x="11549249" y="670452"/>
                  <a:pt x="11512315" y="709932"/>
                </a:cubicBezTo>
                <a:cubicBezTo>
                  <a:pt x="11508215" y="714550"/>
                  <a:pt x="11507827" y="719417"/>
                  <a:pt x="11514624" y="719417"/>
                </a:cubicBezTo>
                <a:cubicBezTo>
                  <a:pt x="11517958" y="719417"/>
                  <a:pt x="11534888" y="719417"/>
                  <a:pt x="11538351" y="719417"/>
                </a:cubicBezTo>
                <a:cubicBezTo>
                  <a:pt x="11543476" y="719417"/>
                  <a:pt x="11545537" y="717874"/>
                  <a:pt x="11547069" y="713903"/>
                </a:cubicBezTo>
                <a:cubicBezTo>
                  <a:pt x="11548483" y="709673"/>
                  <a:pt x="11565412" y="656102"/>
                  <a:pt x="11598623" y="630983"/>
                </a:cubicBezTo>
                <a:cubicBezTo>
                  <a:pt x="11601191" y="629063"/>
                  <a:pt x="11603371" y="620474"/>
                  <a:pt x="11608496" y="600869"/>
                </a:cubicBezTo>
                <a:cubicBezTo>
                  <a:pt x="11624529" y="622017"/>
                  <a:pt x="11626709" y="660461"/>
                  <a:pt x="11599130" y="710062"/>
                </a:cubicBezTo>
                <a:cubicBezTo>
                  <a:pt x="11596314" y="715316"/>
                  <a:pt x="11597976" y="719287"/>
                  <a:pt x="11601439" y="719287"/>
                </a:cubicBezTo>
                <a:cubicBezTo>
                  <a:pt x="11603360" y="719287"/>
                  <a:pt x="11618368" y="719287"/>
                  <a:pt x="11622857" y="719287"/>
                </a:cubicBezTo>
                <a:cubicBezTo>
                  <a:pt x="11626828" y="719287"/>
                  <a:pt x="11627982" y="717107"/>
                  <a:pt x="11629525" y="711087"/>
                </a:cubicBezTo>
                <a:cubicBezTo>
                  <a:pt x="11631446" y="703653"/>
                  <a:pt x="11632093" y="700060"/>
                  <a:pt x="11634650" y="693014"/>
                </a:cubicBezTo>
                <a:cubicBezTo>
                  <a:pt x="11636193" y="688655"/>
                  <a:pt x="11636830" y="687889"/>
                  <a:pt x="11654018" y="688018"/>
                </a:cubicBezTo>
                <a:cubicBezTo>
                  <a:pt x="11659402" y="688018"/>
                  <a:pt x="11659024" y="685202"/>
                  <a:pt x="11659024" y="680584"/>
                </a:cubicBezTo>
                <a:cubicBezTo>
                  <a:pt x="11659272" y="614151"/>
                  <a:pt x="11659661" y="544687"/>
                  <a:pt x="11654654" y="520852"/>
                </a:cubicBezTo>
                <a:cubicBezTo>
                  <a:pt x="11647727" y="487403"/>
                  <a:pt x="11618617" y="486378"/>
                  <a:pt x="11603360" y="487533"/>
                </a:cubicBezTo>
                <a:cubicBezTo>
                  <a:pt x="11587456" y="488688"/>
                  <a:pt x="11557449" y="493424"/>
                  <a:pt x="11526547" y="493424"/>
                </a:cubicBezTo>
                <a:cubicBezTo>
                  <a:pt x="11484866" y="493424"/>
                  <a:pt x="11437930" y="481631"/>
                  <a:pt x="11402033" y="464842"/>
                </a:cubicBezTo>
                <a:cubicBezTo>
                  <a:pt x="11395753" y="462026"/>
                  <a:pt x="11398958" y="460742"/>
                  <a:pt x="11401644" y="459199"/>
                </a:cubicBezTo>
                <a:cubicBezTo>
                  <a:pt x="11415110" y="451765"/>
                  <a:pt x="11426774" y="445097"/>
                  <a:pt x="11433960" y="433314"/>
                </a:cubicBezTo>
                <a:cubicBezTo>
                  <a:pt x="11439473" y="424348"/>
                  <a:pt x="11437423" y="421521"/>
                  <a:pt x="11431392" y="426398"/>
                </a:cubicBezTo>
                <a:cubicBezTo>
                  <a:pt x="11415110" y="439982"/>
                  <a:pt x="11391890" y="447546"/>
                  <a:pt x="11365995" y="438191"/>
                </a:cubicBezTo>
                <a:cubicBezTo>
                  <a:pt x="11339959" y="428966"/>
                  <a:pt x="11329957" y="403847"/>
                  <a:pt x="11327648" y="397567"/>
                </a:cubicBezTo>
                <a:cubicBezTo>
                  <a:pt x="11326493" y="394428"/>
                  <a:pt x="11325115" y="392699"/>
                  <a:pt x="11324025" y="392924"/>
                </a:cubicBezTo>
                <a:close/>
                <a:moveTo>
                  <a:pt x="11391491" y="334037"/>
                </a:moveTo>
                <a:cubicBezTo>
                  <a:pt x="11410848" y="334037"/>
                  <a:pt x="11426364" y="349790"/>
                  <a:pt x="11426364" y="368996"/>
                </a:cubicBezTo>
                <a:cubicBezTo>
                  <a:pt x="11426364" y="388331"/>
                  <a:pt x="11410848" y="403955"/>
                  <a:pt x="11391491" y="403955"/>
                </a:cubicBezTo>
                <a:cubicBezTo>
                  <a:pt x="11372134" y="403955"/>
                  <a:pt x="11356360" y="388331"/>
                  <a:pt x="11356360" y="368996"/>
                </a:cubicBezTo>
                <a:cubicBezTo>
                  <a:pt x="11356360" y="349542"/>
                  <a:pt x="11372134" y="334037"/>
                  <a:pt x="11391491" y="334037"/>
                </a:cubicBezTo>
                <a:close/>
                <a:moveTo>
                  <a:pt x="11389959" y="321618"/>
                </a:moveTo>
                <a:cubicBezTo>
                  <a:pt x="11360729" y="321618"/>
                  <a:pt x="11337262" y="345442"/>
                  <a:pt x="11337262" y="374510"/>
                </a:cubicBezTo>
                <a:cubicBezTo>
                  <a:pt x="11337262" y="403836"/>
                  <a:pt x="11360978" y="427401"/>
                  <a:pt x="11389959" y="427401"/>
                </a:cubicBezTo>
                <a:cubicBezTo>
                  <a:pt x="11419189" y="427401"/>
                  <a:pt x="11442656" y="403577"/>
                  <a:pt x="11442656" y="374510"/>
                </a:cubicBezTo>
                <a:cubicBezTo>
                  <a:pt x="11442656" y="345183"/>
                  <a:pt x="11419189" y="321618"/>
                  <a:pt x="11389959" y="321618"/>
                </a:cubicBezTo>
                <a:close/>
                <a:moveTo>
                  <a:pt x="0" y="0"/>
                </a:moveTo>
                <a:lnTo>
                  <a:pt x="12191999" y="0"/>
                </a:lnTo>
                <a:lnTo>
                  <a:pt x="12191999" y="6858000"/>
                </a:lnTo>
                <a:lnTo>
                  <a:pt x="0" y="6858000"/>
                </a:lnTo>
                <a:close/>
              </a:path>
            </a:pathLst>
          </a:custGeom>
          <a:solidFill>
            <a:srgbClr val="D4D7DC"/>
          </a:solidFill>
        </p:spPr>
        <p:txBody>
          <a:bodyPr wrap="square" tIns="72000">
            <a:noAutofit/>
          </a:bodyPr>
          <a:lstStyle>
            <a:lvl1pPr marL="0" indent="0" algn="ctr">
              <a:buNone/>
              <a:defRPr sz="1400">
                <a:solidFill>
                  <a:schemeClr val="bg1"/>
                </a:solidFill>
              </a:defRPr>
            </a:lvl1pPr>
          </a:lstStyle>
          <a:p>
            <a:r>
              <a:rPr lang="en-GB" dirty="0"/>
              <a:t>Click here and insert picture via Templafy</a:t>
            </a:r>
          </a:p>
        </p:txBody>
      </p:sp>
      <p:sp>
        <p:nvSpPr>
          <p:cNvPr id="2" name="Title 1"/>
          <p:cNvSpPr>
            <a:spLocks noGrp="1"/>
          </p:cNvSpPr>
          <p:nvPr>
            <p:ph type="ctrTitle" hasCustomPrompt="1"/>
          </p:nvPr>
        </p:nvSpPr>
        <p:spPr bwMode="auto">
          <a:xfrm>
            <a:off x="648000" y="648000"/>
            <a:ext cx="8652000" cy="5562000"/>
          </a:xfrm>
        </p:spPr>
        <p:txBody>
          <a:bodyPr bIns="144000" anchor="ctr"/>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1D7B928B-C3E7-4734-A6B6-D3F89845C0CF}" type="datetime3">
              <a:rPr lang="en-GB" smtClean="0"/>
              <a:t>6 November, 2020</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r>
              <a:rPr lang="en-GB" dirty="0"/>
              <a:t>Graduate Programme Introduction</a:t>
            </a:r>
          </a:p>
        </p:txBody>
      </p:sp>
      <p:sp>
        <p:nvSpPr>
          <p:cNvPr id="13" name="TextBox 12">
            <a:extLst>
              <a:ext uri="{FF2B5EF4-FFF2-40B4-BE49-F238E27FC236}">
                <a16:creationId xmlns:a16="http://schemas.microsoft.com/office/drawing/2014/main" id="{14189875-0661-4E2F-8DC6-9F8850F63BE8}"/>
              </a:ext>
            </a:extLst>
          </p:cNvPr>
          <p:cNvSpPr txBox="1"/>
          <p:nvPr userDrawn="1"/>
        </p:nvSpPr>
        <p:spPr>
          <a:xfrm>
            <a:off x="23812" y="-33912"/>
            <a:ext cx="36000" cy="17184"/>
          </a:xfrm>
          <a:prstGeom prst="rect">
            <a:avLst/>
          </a:prstGeom>
          <a:noFill/>
        </p:spPr>
        <p:txBody>
          <a:bodyPr wrap="square" lIns="0" tIns="0" rIns="0" bIns="0" rtlCol="0">
            <a:spAutoFit/>
          </a:bodyPr>
          <a:lstStyle/>
          <a:p>
            <a:pPr algn="l">
              <a:lnSpc>
                <a:spcPct val="120000"/>
              </a:lnSpc>
            </a:pPr>
            <a:r>
              <a:rPr lang="en-GB" sz="100" dirty="0">
                <a:solidFill>
                  <a:srgbClr val="666666"/>
                </a:solidFill>
                <a:latin typeface="Apis For Office Light" panose="020B0404010101010104" pitchFamily="34" charset="0"/>
                <a:ea typeface="Apis For Office Light" panose="020B0404010101010104" pitchFamily="34" charset="0"/>
                <a:cs typeface="Apis For Office Light" panose="020B0404010101010104" pitchFamily="34" charset="0"/>
              </a:rPr>
              <a:t>Light</a:t>
            </a:r>
          </a:p>
        </p:txBody>
      </p:sp>
      <p:sp>
        <p:nvSpPr>
          <p:cNvPr id="16" name="Slide Number Placeholder 8">
            <a:extLst>
              <a:ext uri="{FF2B5EF4-FFF2-40B4-BE49-F238E27FC236}">
                <a16:creationId xmlns:a16="http://schemas.microsoft.com/office/drawing/2014/main" id="{A65E5DCA-65B0-489C-8954-F5C4AA22ACA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CC218D6D-FEFB-46D0-8813-C99976F4CA1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84012773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 Cov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BF2AB43-F65D-4F3A-81F3-CF6686B03C2F}"/>
              </a:ext>
            </a:extLst>
          </p:cNvPr>
          <p:cNvGraphicFramePr>
            <a:graphicFrameLocks noChangeAspect="1"/>
          </p:cNvGraphicFramePr>
          <p:nvPr userDrawn="1">
            <p:custDataLst>
              <p:tags r:id="rId2"/>
            </p:custDataLst>
            <p:extLst>
              <p:ext uri="{D42A27DB-BD31-4B8C-83A1-F6EECF244321}">
                <p14:modId xmlns:p14="http://schemas.microsoft.com/office/powerpoint/2010/main" val="3878746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3"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CBF2AB43-F65D-4F3A-81F3-CF6686B03C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1957412-2AD9-49E7-ADFF-862967049C79}"/>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3" name="Rectangle 2">
            <a:extLst>
              <a:ext uri="{FF2B5EF4-FFF2-40B4-BE49-F238E27FC236}">
                <a16:creationId xmlns:a16="http://schemas.microsoft.com/office/drawing/2014/main" id="{3980C894-9D8D-4E84-92B9-6EA4ECCC00D1}"/>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ctrTitle" hasCustomPrompt="1"/>
          </p:nvPr>
        </p:nvSpPr>
        <p:spPr>
          <a:xfrm>
            <a:off x="647999" y="648000"/>
            <a:ext cx="8652001" cy="5562000"/>
          </a:xfrm>
        </p:spPr>
        <p:txBody>
          <a:bodyPr bIns="144000" anchor="ctr"/>
          <a:lstStyle>
            <a:lvl1pPr algn="l">
              <a:lnSpc>
                <a:spcPct val="100000"/>
              </a:lnSpc>
              <a:defRPr sz="4400">
                <a:solidFill>
                  <a:schemeClr val="bg1"/>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bg1"/>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bg1"/>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bg1"/>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bg1"/>
                </a:solidFill>
              </a:defRPr>
            </a:lvl1pPr>
          </a:lstStyle>
          <a:p>
            <a:fld id="{37188A09-683A-4A73-AA8F-56D1F23AC7BC}" type="datetime3">
              <a:rPr lang="en-GB" smtClean="0"/>
              <a:t>6 November, 2020</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bg1"/>
                </a:solidFill>
              </a:defRPr>
            </a:lvl1pPr>
          </a:lstStyle>
          <a:p>
            <a:r>
              <a:rPr lang="en-GB" dirty="0"/>
              <a:t>Graduate Programme Introduction</a:t>
            </a:r>
          </a:p>
        </p:txBody>
      </p:sp>
      <p:sp>
        <p:nvSpPr>
          <p:cNvPr id="13" name="Freeform: Shape 12">
            <a:extLst>
              <a:ext uri="{FF2B5EF4-FFF2-40B4-BE49-F238E27FC236}">
                <a16:creationId xmlns:a16="http://schemas.microsoft.com/office/drawing/2014/main" id="{7FDF5EDE-8F7F-4DF3-B844-7C0C4E6AC641}"/>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14" name="Slide Number Placeholder 8">
            <a:extLst>
              <a:ext uri="{FF2B5EF4-FFF2-40B4-BE49-F238E27FC236}">
                <a16:creationId xmlns:a16="http://schemas.microsoft.com/office/drawing/2014/main" id="{4589B76A-6F33-43A1-BEAC-5DD74727BCF8}"/>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bg1"/>
                </a:solidFill>
              </a:defRPr>
            </a:lvl1pPr>
          </a:lstStyle>
          <a:p>
            <a:fld id="{23AA811B-2EBD-4900-905E-5BE206449611}" type="slidenum">
              <a:rPr lang="en-GB" smtClean="0"/>
              <a:pPr/>
              <a:t>‹#›</a:t>
            </a:fld>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9CE848CF-6894-4564-ABE3-C9ED24818DC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0612418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2A196581-1653-4FF5-9457-AA6134243C9A}" type="datetime3">
              <a:rPr lang="en-US" smtClean="0"/>
              <a:t>6 November 2020</a:t>
            </a:fld>
            <a:endParaRPr lang="en-GB"/>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a:t>Novo Nordisk company presenta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6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Tree>
    <p:extLst>
      <p:ext uri="{BB962C8B-B14F-4D97-AF65-F5344CB8AC3E}">
        <p14:creationId xmlns:p14="http://schemas.microsoft.com/office/powerpoint/2010/main" val="19713822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 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E741C9-DA95-4EC4-A542-690C548FF16E}"/>
              </a:ext>
            </a:extLst>
          </p:cNvPr>
          <p:cNvGraphicFramePr>
            <a:graphicFrameLocks noChangeAspect="1"/>
          </p:cNvGraphicFramePr>
          <p:nvPr userDrawn="1">
            <p:custDataLst>
              <p:tags r:id="rId2"/>
            </p:custDataLst>
            <p:extLst>
              <p:ext uri="{D42A27DB-BD31-4B8C-83A1-F6EECF244321}">
                <p14:modId xmlns:p14="http://schemas.microsoft.com/office/powerpoint/2010/main" val="44019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7"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86E741C9-DA95-4EC4-A542-690C548FF1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F4CFEEC-F4B7-40DE-878B-CCCC8E32B458}"/>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ctrTitle" hasCustomPrompt="1"/>
          </p:nvPr>
        </p:nvSpPr>
        <p:spPr>
          <a:xfrm>
            <a:off x="647999" y="648000"/>
            <a:ext cx="8652001" cy="5562000"/>
          </a:xfrm>
        </p:spPr>
        <p:txBody>
          <a:bodyPr bIns="144000" anchor="ctr"/>
          <a:lstStyle>
            <a:lvl1pPr algn="l">
              <a:lnSpc>
                <a:spcPct val="100000"/>
              </a:lnSpc>
              <a:defRPr sz="4400">
                <a:solidFill>
                  <a:schemeClr val="tx2"/>
                </a:solidFill>
              </a:defRPr>
            </a:lvl1pPr>
          </a:lstStyle>
          <a:p>
            <a:r>
              <a:rPr lang="en-GB" dirty="0"/>
              <a:t>Click to add title</a:t>
            </a:r>
          </a:p>
        </p:txBody>
      </p:sp>
      <p:sp>
        <p:nvSpPr>
          <p:cNvPr id="10" name="Text Placeholder 9">
            <a:extLst>
              <a:ext uri="{FF2B5EF4-FFF2-40B4-BE49-F238E27FC236}">
                <a16:creationId xmlns:a16="http://schemas.microsoft.com/office/drawing/2014/main" id="{A1A5C54D-D165-4BAA-A95A-6DA40BFC1373}"/>
              </a:ext>
            </a:extLst>
          </p:cNvPr>
          <p:cNvSpPr>
            <a:spLocks noGrp="1"/>
          </p:cNvSpPr>
          <p:nvPr>
            <p:ph type="body" sz="quarter" idx="14" hasCustomPrompt="1"/>
          </p:nvPr>
        </p:nvSpPr>
        <p:spPr>
          <a:xfrm>
            <a:off x="648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11" name="Text Placeholder 9">
            <a:extLst>
              <a:ext uri="{FF2B5EF4-FFF2-40B4-BE49-F238E27FC236}">
                <a16:creationId xmlns:a16="http://schemas.microsoft.com/office/drawing/2014/main" id="{8DBC0D27-79CE-4CB8-9819-041246B9212D}"/>
              </a:ext>
            </a:extLst>
          </p:cNvPr>
          <p:cNvSpPr>
            <a:spLocks noGrp="1"/>
          </p:cNvSpPr>
          <p:nvPr>
            <p:ph type="body" sz="quarter" idx="15" hasCustomPrompt="1"/>
          </p:nvPr>
        </p:nvSpPr>
        <p:spPr>
          <a:xfrm>
            <a:off x="648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12" name="Text Placeholder 9">
            <a:extLst>
              <a:ext uri="{FF2B5EF4-FFF2-40B4-BE49-F238E27FC236}">
                <a16:creationId xmlns:a16="http://schemas.microsoft.com/office/drawing/2014/main" id="{9F363458-92CB-4BC5-8F81-D4DBE7047329}"/>
              </a:ext>
            </a:extLst>
          </p:cNvPr>
          <p:cNvSpPr>
            <a:spLocks noGrp="1"/>
          </p:cNvSpPr>
          <p:nvPr>
            <p:ph type="body" sz="quarter" idx="16" hasCustomPrompt="1"/>
          </p:nvPr>
        </p:nvSpPr>
        <p:spPr>
          <a:xfrm>
            <a:off x="2891999"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7" name="Date Placeholder 6">
            <a:extLst>
              <a:ext uri="{FF2B5EF4-FFF2-40B4-BE49-F238E27FC236}">
                <a16:creationId xmlns:a16="http://schemas.microsoft.com/office/drawing/2014/main" id="{CBA17B31-6DBC-46E7-9036-7C3041DA54A9}"/>
              </a:ext>
            </a:extLst>
          </p:cNvPr>
          <p:cNvSpPr>
            <a:spLocks noGrp="1"/>
          </p:cNvSpPr>
          <p:nvPr>
            <p:ph type="dt" sz="half" idx="10"/>
          </p:nvPr>
        </p:nvSpPr>
        <p:spPr>
          <a:xfrm>
            <a:off x="2891998" y="5652000"/>
            <a:ext cx="1920001" cy="154800"/>
          </a:xfrm>
        </p:spPr>
        <p:txBody>
          <a:bodyPr/>
          <a:lstStyle>
            <a:lvl1pPr>
              <a:defRPr sz="1000" b="1">
                <a:solidFill>
                  <a:schemeClr val="tx2"/>
                </a:solidFill>
              </a:defRPr>
            </a:lvl1pPr>
          </a:lstStyle>
          <a:p>
            <a:fld id="{13B3C43D-4956-4357-A6A8-7FD3C44E59D4}" type="datetime3">
              <a:rPr lang="en-GB" smtClean="0"/>
              <a:t>6 November, 2020</a:t>
            </a:fld>
            <a:endParaRPr lang="en-GB" dirty="0"/>
          </a:p>
        </p:txBody>
      </p:sp>
      <p:sp>
        <p:nvSpPr>
          <p:cNvPr id="8" name="Footer Placeholder 7">
            <a:extLst>
              <a:ext uri="{FF2B5EF4-FFF2-40B4-BE49-F238E27FC236}">
                <a16:creationId xmlns:a16="http://schemas.microsoft.com/office/drawing/2014/main" id="{1883084E-2481-4E6B-8DE9-0CFD902BC8B0}"/>
              </a:ext>
            </a:extLst>
          </p:cNvPr>
          <p:cNvSpPr>
            <a:spLocks noGrp="1"/>
          </p:cNvSpPr>
          <p:nvPr>
            <p:ph type="ftr" sz="quarter" idx="11"/>
          </p:nvPr>
        </p:nvSpPr>
        <p:spPr>
          <a:xfrm>
            <a:off x="324000" y="324000"/>
            <a:ext cx="4488000" cy="324000"/>
          </a:xfrm>
        </p:spPr>
        <p:txBody>
          <a:bodyPr/>
          <a:lstStyle>
            <a:lvl1pPr algn="l">
              <a:defRPr>
                <a:solidFill>
                  <a:schemeClr val="tx2"/>
                </a:solidFill>
              </a:defRPr>
            </a:lvl1pPr>
          </a:lstStyle>
          <a:p>
            <a:r>
              <a:rPr lang="en-GB" dirty="0"/>
              <a:t>Graduate Programme Introduction</a:t>
            </a:r>
          </a:p>
        </p:txBody>
      </p:sp>
      <p:sp>
        <p:nvSpPr>
          <p:cNvPr id="14" name="Freeform: Shape 13">
            <a:extLst>
              <a:ext uri="{FF2B5EF4-FFF2-40B4-BE49-F238E27FC236}">
                <a16:creationId xmlns:a16="http://schemas.microsoft.com/office/drawing/2014/main" id="{471420AF-1268-4AE1-84DA-164DB71C2C14}"/>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13" name="Slide Number Placeholder 8">
            <a:extLst>
              <a:ext uri="{FF2B5EF4-FFF2-40B4-BE49-F238E27FC236}">
                <a16:creationId xmlns:a16="http://schemas.microsoft.com/office/drawing/2014/main" id="{7CC7667B-71FE-473D-AE19-E08F2682BD44}"/>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AE78219-5CBB-4760-B800-636AFE0A99A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68418732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Cov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A8445D0-CD95-4A06-9080-92870B82FDE4}"/>
              </a:ext>
            </a:extLst>
          </p:cNvPr>
          <p:cNvGraphicFramePr>
            <a:graphicFrameLocks noChangeAspect="1"/>
          </p:cNvGraphicFramePr>
          <p:nvPr userDrawn="1">
            <p:custDataLst>
              <p:tags r:id="rId2"/>
            </p:custDataLst>
            <p:extLst>
              <p:ext uri="{D42A27DB-BD31-4B8C-83A1-F6EECF244321}">
                <p14:modId xmlns:p14="http://schemas.microsoft.com/office/powerpoint/2010/main" val="2248412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1"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7A8445D0-CD95-4A06-9080-92870B82FD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0E3A12-DADF-4DF7-9356-9953AC9F2545}"/>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ctrTitle" hasCustomPrompt="1"/>
          </p:nvPr>
        </p:nvSpPr>
        <p:spPr>
          <a:xfrm>
            <a:off x="5136356" y="2163600"/>
            <a:ext cx="6408844" cy="2379600"/>
          </a:xfrm>
        </p:spPr>
        <p:txBody>
          <a:bodyPr anchor="ctr"/>
          <a:lstStyle>
            <a:lvl1pPr algn="l">
              <a:lnSpc>
                <a:spcPct val="100000"/>
              </a:lnSpc>
              <a:defRPr sz="4400">
                <a:solidFill>
                  <a:schemeClr val="tx2"/>
                </a:solidFill>
              </a:defRPr>
            </a:lvl1pPr>
          </a:lstStyle>
          <a:p>
            <a:r>
              <a:rPr lang="en-GB" dirty="0"/>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5136000" y="5644800"/>
            <a:ext cx="1920000" cy="154800"/>
          </a:xfrm>
        </p:spPr>
        <p:txBody>
          <a:bodyPr/>
          <a:lstStyle>
            <a:lvl1pPr marL="0" indent="0">
              <a:buNone/>
              <a:defRPr sz="1000" b="1">
                <a:solidFill>
                  <a:schemeClr val="tx2"/>
                </a:solidFill>
              </a:defRPr>
            </a:lvl1pPr>
          </a:lstStyle>
          <a:p>
            <a:pPr lvl="0"/>
            <a:r>
              <a:rPr lang="en-GB" dirty="0"/>
              <a:t>Insert name</a:t>
            </a:r>
          </a:p>
        </p:txBody>
      </p:sp>
      <p:sp>
        <p:nvSpPr>
          <p:cNvPr id="29" name="Text Placeholder 9">
            <a:extLst>
              <a:ext uri="{FF2B5EF4-FFF2-40B4-BE49-F238E27FC236}">
                <a16:creationId xmlns:a16="http://schemas.microsoft.com/office/drawing/2014/main" id="{2BFF97BE-94AD-42AA-A3DB-5B131AB35A60}"/>
              </a:ext>
            </a:extLst>
          </p:cNvPr>
          <p:cNvSpPr>
            <a:spLocks noGrp="1"/>
          </p:cNvSpPr>
          <p:nvPr>
            <p:ph type="body" sz="quarter" idx="15" hasCustomPrompt="1"/>
          </p:nvPr>
        </p:nvSpPr>
        <p:spPr>
          <a:xfrm>
            <a:off x="5136000" y="5900400"/>
            <a:ext cx="1920000" cy="309600"/>
          </a:xfrm>
        </p:spPr>
        <p:txBody>
          <a:bodyPr/>
          <a:lstStyle>
            <a:lvl1pPr marL="0" indent="0">
              <a:buNone/>
              <a:defRPr sz="1000" b="0">
                <a:solidFill>
                  <a:schemeClr val="tx2"/>
                </a:solidFill>
              </a:defRPr>
            </a:lvl1pPr>
          </a:lstStyle>
          <a:p>
            <a:pPr lvl="0"/>
            <a:r>
              <a:rPr lang="en-GB" dirty="0"/>
              <a:t>Insert title</a:t>
            </a:r>
          </a:p>
        </p:txBody>
      </p:sp>
      <p:sp>
        <p:nvSpPr>
          <p:cNvPr id="30" name="Text Placeholder 9">
            <a:extLst>
              <a:ext uri="{FF2B5EF4-FFF2-40B4-BE49-F238E27FC236}">
                <a16:creationId xmlns:a16="http://schemas.microsoft.com/office/drawing/2014/main" id="{1A1E9AD3-ADA1-4763-9893-4057C2CF93B6}"/>
              </a:ext>
            </a:extLst>
          </p:cNvPr>
          <p:cNvSpPr>
            <a:spLocks noGrp="1"/>
          </p:cNvSpPr>
          <p:nvPr>
            <p:ph type="body" sz="quarter" idx="17" hasCustomPrompt="1"/>
          </p:nvPr>
        </p:nvSpPr>
        <p:spPr>
          <a:xfrm>
            <a:off x="7380355" y="5900400"/>
            <a:ext cx="1920000" cy="309600"/>
          </a:xfrm>
        </p:spPr>
        <p:txBody>
          <a:bodyPr/>
          <a:lstStyle>
            <a:lvl1pPr marL="0" indent="0">
              <a:buNone/>
              <a:defRPr sz="1000" b="0">
                <a:solidFill>
                  <a:schemeClr val="tx2"/>
                </a:solidFill>
              </a:defRPr>
            </a:lvl1pPr>
          </a:lstStyle>
          <a:p>
            <a:pPr lvl="0"/>
            <a:r>
              <a:rPr lang="en-GB" dirty="0"/>
              <a:t>Insert plac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7380354" y="5644800"/>
            <a:ext cx="1920001" cy="154800"/>
          </a:xfrm>
        </p:spPr>
        <p:txBody>
          <a:bodyPr/>
          <a:lstStyle>
            <a:lvl1pPr>
              <a:defRPr sz="1000" b="1">
                <a:solidFill>
                  <a:schemeClr val="tx2"/>
                </a:solidFill>
              </a:defRPr>
            </a:lvl1pPr>
          </a:lstStyle>
          <a:p>
            <a:fld id="{5FB0A2D2-439A-42B6-896F-11616203E9AE}" type="datetime3">
              <a:rPr lang="en-GB" smtClean="0"/>
              <a:t>6 November, 2020</a:t>
            </a:fld>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324000" y="324000"/>
            <a:ext cx="4488000" cy="6210000"/>
          </a:xfrm>
        </p:spPr>
        <p:txBody>
          <a:bodyPr tIns="72000"/>
          <a:lstStyle>
            <a:lvl1pPr marL="0" indent="0" algn="ctr">
              <a:buNone/>
              <a:defRPr sz="1400"/>
            </a:lvl1pPr>
          </a:lstStyle>
          <a:p>
            <a:pPr marL="0" marR="0" lvl="0" indent="0" algn="ctr" defTabSz="914400" rtl="0" eaLnBrk="1" fontAlgn="auto" latinLnBrk="0" hangingPunct="1">
              <a:lnSpc>
                <a:spcPct val="120000"/>
              </a:lnSpc>
              <a:spcBef>
                <a:spcPts val="300"/>
              </a:spcBef>
              <a:spcAft>
                <a:spcPts val="60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11" name="Footer Placeholder 7">
            <a:extLst>
              <a:ext uri="{FF2B5EF4-FFF2-40B4-BE49-F238E27FC236}">
                <a16:creationId xmlns:a16="http://schemas.microsoft.com/office/drawing/2014/main" id="{3619EDAC-4320-41F5-B9CB-6CF8C3F2CC13}"/>
              </a:ext>
            </a:extLst>
          </p:cNvPr>
          <p:cNvSpPr>
            <a:spLocks noGrp="1"/>
          </p:cNvSpPr>
          <p:nvPr>
            <p:ph type="ftr" sz="quarter" idx="3"/>
          </p:nvPr>
        </p:nvSpPr>
        <p:spPr>
          <a:xfrm>
            <a:off x="9625912" y="5900399"/>
            <a:ext cx="1919288" cy="308313"/>
          </a:xfrm>
          <a:prstGeom prst="rect">
            <a:avLst/>
          </a:prstGeom>
        </p:spPr>
        <p:txBody>
          <a:bodyPr vert="horz" lIns="0" tIns="0" rIns="0" bIns="0" rtlCol="0" anchor="t"/>
          <a:lstStyle>
            <a:lvl1pPr algn="l">
              <a:defRPr sz="1000">
                <a:solidFill>
                  <a:schemeClr val="tx2"/>
                </a:solidFill>
              </a:defRPr>
            </a:lvl1pPr>
          </a:lstStyle>
          <a:p>
            <a:r>
              <a:rPr lang="en-GB" dirty="0"/>
              <a:t>Graduate Programme Introduction</a:t>
            </a:r>
          </a:p>
        </p:txBody>
      </p:sp>
      <p:sp>
        <p:nvSpPr>
          <p:cNvPr id="12" name="Slide Number Placeholder 8">
            <a:extLst>
              <a:ext uri="{FF2B5EF4-FFF2-40B4-BE49-F238E27FC236}">
                <a16:creationId xmlns:a16="http://schemas.microsoft.com/office/drawing/2014/main" id="{6EC1ABD1-7336-4768-9B10-EE224AA916BA}"/>
              </a:ext>
            </a:extLst>
          </p:cNvPr>
          <p:cNvSpPr>
            <a:spLocks noGrp="1"/>
          </p:cNvSpPr>
          <p:nvPr>
            <p:ph type="sldNum" sz="quarter" idx="4"/>
          </p:nvPr>
        </p:nvSpPr>
        <p:spPr>
          <a:xfrm>
            <a:off x="324000" y="6210000"/>
            <a:ext cx="324000" cy="324000"/>
          </a:xfrm>
          <a:prstGeom prst="rect">
            <a:avLst/>
          </a:prstGeom>
        </p:spPr>
        <p:txBody>
          <a:bodyPr vert="horz" lIns="0" tIns="0" rIns="0" bIns="0" rtlCol="0" anchor="b"/>
          <a:lstStyle>
            <a:lvl1pPr algn="l">
              <a:defRPr sz="700">
                <a:solidFill>
                  <a:schemeClr val="tx2"/>
                </a:solidFill>
              </a:defRPr>
            </a:lvl1pPr>
          </a:lstStyle>
          <a:p>
            <a:fld id="{23AA811B-2EBD-4900-905E-5BE206449611}" type="slidenum">
              <a:rPr lang="en-GB" smtClean="0"/>
              <a:pPr/>
              <a:t>‹#›</a:t>
            </a:fld>
            <a:endParaRPr lang="en-GB"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CFCDB02C-C393-45D0-9339-45B1931BD426}"/>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08787398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A. Agend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99CA43-D176-476A-B540-37AD132B9AF8}"/>
              </a:ext>
            </a:extLst>
          </p:cNvPr>
          <p:cNvGraphicFramePr>
            <a:graphicFrameLocks noChangeAspect="1"/>
          </p:cNvGraphicFramePr>
          <p:nvPr userDrawn="1">
            <p:custDataLst>
              <p:tags r:id="rId2"/>
            </p:custDataLst>
            <p:extLst>
              <p:ext uri="{D42A27DB-BD31-4B8C-83A1-F6EECF244321}">
                <p14:modId xmlns:p14="http://schemas.microsoft.com/office/powerpoint/2010/main" val="2400880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5"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4799CA43-D176-476A-B540-37AD132B9A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6EF3B750-FD0B-4117-8CF8-02751916C1F8}"/>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 name="Text Placeholder 2"/>
          <p:cNvSpPr>
            <a:spLocks noGrp="1"/>
          </p:cNvSpPr>
          <p:nvPr>
            <p:ph type="body" sz="quarter" idx="13" hasCustomPrompt="1"/>
          </p:nvPr>
        </p:nvSpPr>
        <p:spPr>
          <a:xfrm>
            <a:off x="648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bg1"/>
                </a:solidFill>
              </a:defRPr>
            </a:lvl1pPr>
            <a:lvl2pPr marL="0" indent="0">
              <a:spcBef>
                <a:spcPts val="300"/>
              </a:spcBef>
              <a:spcAft>
                <a:spcPts val="600"/>
              </a:spcAft>
              <a:buFont typeface="Arial" panose="020B0604020202020204" pitchFamily="34" charset="0"/>
              <a:buChar char="​"/>
              <a:defRPr sz="2000" b="1">
                <a:solidFill>
                  <a:schemeClr val="bg1"/>
                </a:solidFill>
              </a:defRPr>
            </a:lvl2pPr>
            <a:lvl3pPr marL="0" indent="0">
              <a:spcBef>
                <a:spcPts val="300"/>
              </a:spcBef>
              <a:spcAft>
                <a:spcPts val="600"/>
              </a:spcAft>
              <a:buFont typeface="Arial" panose="020B0604020202020204" pitchFamily="34" charset="0"/>
              <a:buChar char="​"/>
              <a:defRPr sz="2000">
                <a:solidFill>
                  <a:schemeClr val="bg1"/>
                </a:solidFill>
              </a:defRPr>
            </a:lvl3pPr>
            <a:lvl4pPr marL="0" indent="0">
              <a:spcBef>
                <a:spcPts val="300"/>
              </a:spcBef>
              <a:spcAft>
                <a:spcPts val="600"/>
              </a:spcAft>
              <a:buFont typeface="Arial" panose="020B0604020202020204" pitchFamily="34" charset="0"/>
              <a:buChar char="​"/>
              <a:defRPr sz="2000">
                <a:solidFill>
                  <a:schemeClr val="bg1"/>
                </a:solidFill>
              </a:defRPr>
            </a:lvl4pPr>
            <a:lvl5pPr marL="0" indent="0">
              <a:spcBef>
                <a:spcPts val="300"/>
              </a:spcBef>
              <a:spcAft>
                <a:spcPts val="600"/>
              </a:spcAft>
              <a:buFont typeface="Arial" panose="020B0604020202020204" pitchFamily="34" charset="0"/>
              <a:buChar char="​"/>
              <a:defRPr sz="2000">
                <a:solidFill>
                  <a:schemeClr val="bg1"/>
                </a:solidFill>
              </a:defRPr>
            </a:lvl5pPr>
            <a:lvl6pPr marL="0" indent="0">
              <a:spcBef>
                <a:spcPts val="300"/>
              </a:spcBef>
              <a:spcAft>
                <a:spcPts val="600"/>
              </a:spcAft>
              <a:buFont typeface="Arial" panose="020B0604020202020204" pitchFamily="34" charset="0"/>
              <a:buChar char="​"/>
              <a:defRPr sz="2000">
                <a:solidFill>
                  <a:schemeClr val="bg1"/>
                </a:solidFill>
              </a:defRPr>
            </a:lvl6pPr>
            <a:lvl7pPr marL="0" indent="0">
              <a:spcBef>
                <a:spcPts val="300"/>
              </a:spcBef>
              <a:spcAft>
                <a:spcPts val="600"/>
              </a:spcAft>
              <a:buFont typeface="Arial" panose="020B0604020202020204" pitchFamily="34" charset="0"/>
              <a:buChar char="​"/>
              <a:defRPr sz="2000">
                <a:solidFill>
                  <a:schemeClr val="bg1"/>
                </a:solidFill>
              </a:defRPr>
            </a:lvl7pPr>
            <a:lvl8pPr marL="0" indent="0">
              <a:spcBef>
                <a:spcPts val="300"/>
              </a:spcBef>
              <a:spcAft>
                <a:spcPts val="600"/>
              </a:spcAft>
              <a:buFont typeface="Arial" panose="020B0604020202020204" pitchFamily="34" charset="0"/>
              <a:buChar char="​"/>
              <a:defRPr sz="2000">
                <a:solidFill>
                  <a:schemeClr val="bg1"/>
                </a:solidFill>
              </a:defRPr>
            </a:lvl8pPr>
            <a:lvl9pPr marL="0" indent="0">
              <a:spcBef>
                <a:spcPts val="300"/>
              </a:spcBef>
              <a:spcAft>
                <a:spcPts val="600"/>
              </a:spcAft>
              <a:buFont typeface="Arial" panose="020B0604020202020204" pitchFamily="34" charset="0"/>
              <a:buChar char="​"/>
              <a:defRPr sz="2000">
                <a:solidFill>
                  <a:schemeClr val="bg1"/>
                </a:solidFill>
              </a:defRPr>
            </a:lvl9pPr>
          </a:lstStyle>
          <a:p>
            <a:pPr lvl="0"/>
            <a:r>
              <a:rPr lang="en-GB" noProof="0" dirty="0"/>
              <a:t>01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fld id="{6373D161-C47F-41E7-8BBE-8BE77F904FE3}" type="datetime3">
              <a:rPr lang="en-GB" smtClean="0"/>
              <a:t>6 November, 2020</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r>
              <a:rPr lang="en-GB" dirty="0"/>
              <a:t>Graduate Programme Introduc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3" name="TextBox 2">
            <a:extLst>
              <a:ext uri="{FF2B5EF4-FFF2-40B4-BE49-F238E27FC236}">
                <a16:creationId xmlns:a16="http://schemas.microsoft.com/office/drawing/2014/main" id="{B5A42DB6-37C7-4655-8383-4D4C615303B7}"/>
              </a:ext>
            </a:extLst>
          </p:cNvPr>
          <p:cNvSpPr txBox="1"/>
          <p:nvPr userDrawn="1"/>
        </p:nvSpPr>
        <p:spPr>
          <a:xfrm>
            <a:off x="7381875" y="2819981"/>
            <a:ext cx="4162126" cy="1107996"/>
          </a:xfrm>
          <a:prstGeom prst="rect">
            <a:avLst/>
          </a:prstGeom>
          <a:noFill/>
        </p:spPr>
        <p:txBody>
          <a:bodyPr wrap="square" lIns="0" tIns="0" rIns="0" bIns="0" rtlCol="0">
            <a:spAutoFit/>
          </a:bodyPr>
          <a:lstStyle/>
          <a:p>
            <a:pPr algn="r"/>
            <a:r>
              <a:rPr lang="en-GB" sz="7200" dirty="0">
                <a:solidFill>
                  <a:schemeClr val="bg1"/>
                </a:solidFill>
              </a:rPr>
              <a:t>Agenda</a:t>
            </a:r>
          </a:p>
        </p:txBody>
      </p:sp>
      <p:sp>
        <p:nvSpPr>
          <p:cNvPr id="26" name="Freeform: Shape 25">
            <a:extLst>
              <a:ext uri="{FF2B5EF4-FFF2-40B4-BE49-F238E27FC236}">
                <a16:creationId xmlns:a16="http://schemas.microsoft.com/office/drawing/2014/main" id="{E4BBEEFE-FD1C-41BE-8701-C445D2EB12C0}"/>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5"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3EF1636C-932C-4747-B37D-D0B1E2D9AB18}"/>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93074483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 Agenda">
    <p:bg bwMode="grayWhite">
      <p:bgPr>
        <a:solidFill>
          <a:srgbClr val="F7F6F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0A0F35-3C55-4ED5-A0F0-E46F0F2F9AC6}"/>
              </a:ext>
            </a:extLst>
          </p:cNvPr>
          <p:cNvGraphicFramePr>
            <a:graphicFrameLocks noChangeAspect="1"/>
          </p:cNvGraphicFramePr>
          <p:nvPr userDrawn="1">
            <p:custDataLst>
              <p:tags r:id="rId2"/>
            </p:custDataLst>
            <p:extLst>
              <p:ext uri="{D42A27DB-BD31-4B8C-83A1-F6EECF244321}">
                <p14:modId xmlns:p14="http://schemas.microsoft.com/office/powerpoint/2010/main" val="886615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9"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510A0F35-3C55-4ED5-A0F0-E46F0F2F9A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94AFEEA-94E5-4AC9-A1E0-1C0A39ED59BF}"/>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pic>
        <p:nvPicPr>
          <p:cNvPr id="17" name="Graphic 16">
            <a:extLst>
              <a:ext uri="{FF2B5EF4-FFF2-40B4-BE49-F238E27FC236}">
                <a16:creationId xmlns:a16="http://schemas.microsoft.com/office/drawing/2014/main" id="{E04617A3-773E-4D38-A193-F8C5B6A520CE}"/>
              </a:ext>
            </a:extLst>
          </p:cNvPr>
          <p:cNvPicPr>
            <a:picLocks noChangeAspect="1"/>
          </p:cNvPicPr>
          <p:nvPr userDrawn="1"/>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1082" t="20310" r="8216" b="23549"/>
          <a:stretch/>
        </p:blipFill>
        <p:spPr>
          <a:xfrm>
            <a:off x="190500" y="2105535"/>
            <a:ext cx="10292105" cy="2989020"/>
          </a:xfrm>
          <a:prstGeom prst="rect">
            <a:avLst/>
          </a:prstGeom>
        </p:spPr>
      </p:pic>
      <p:sp>
        <p:nvSpPr>
          <p:cNvPr id="25" name="Text Placeholder 2">
            <a:extLst>
              <a:ext uri="{FF2B5EF4-FFF2-40B4-BE49-F238E27FC236}">
                <a16:creationId xmlns:a16="http://schemas.microsoft.com/office/drawing/2014/main" id="{A2A3BC1C-0A3F-4D46-8A19-9812D28C2BA4}"/>
              </a:ext>
            </a:extLst>
          </p:cNvPr>
          <p:cNvSpPr>
            <a:spLocks noGrp="1"/>
          </p:cNvSpPr>
          <p:nvPr>
            <p:ph type="body" sz="quarter" idx="17" hasCustomPrompt="1"/>
          </p:nvPr>
        </p:nvSpPr>
        <p:spPr bwMode="gray">
          <a:xfrm>
            <a:off x="2892000" y="648000"/>
            <a:ext cx="6408000" cy="5562000"/>
          </a:xfrm>
        </p:spPr>
        <p:txBody>
          <a:bodyPr anchor="ctr"/>
          <a:lstStyle>
            <a:lvl1pPr marL="0" indent="0">
              <a:spcBef>
                <a:spcPts val="300"/>
              </a:spcBef>
              <a:spcAft>
                <a:spcPts val="600"/>
              </a:spcAft>
              <a:buFont typeface="Arial" panose="020B0604020202020204" pitchFamily="34" charset="0"/>
              <a:buChar char="​"/>
              <a:defRPr>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noProof="0" dirty="0"/>
              <a:t>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0">
            <a:extLst>
              <a:ext uri="{FF2B5EF4-FFF2-40B4-BE49-F238E27FC236}">
                <a16:creationId xmlns:a16="http://schemas.microsoft.com/office/drawing/2014/main" id="{7E35705F-E398-47AC-9EC0-7584A114B9A2}"/>
              </a:ext>
            </a:extLst>
          </p:cNvPr>
          <p:cNvSpPr>
            <a:spLocks noGrp="1"/>
          </p:cNvSpPr>
          <p:nvPr>
            <p:ph type="body" sz="quarter" idx="20" hasCustomPrompt="1"/>
          </p:nvPr>
        </p:nvSpPr>
        <p:spPr bwMode="gray">
          <a:xfrm>
            <a:off x="647999" y="648000"/>
            <a:ext cx="1920001" cy="5562000"/>
          </a:xfrm>
        </p:spPr>
        <p:txBody>
          <a:bodyPr anchor="ctr"/>
          <a:lstStyle>
            <a:lvl1pPr marL="0" indent="0">
              <a:spcBef>
                <a:spcPts val="300"/>
              </a:spcBef>
              <a:spcAft>
                <a:spcPts val="600"/>
              </a:spcAft>
              <a:buFont typeface="Arial" panose="020B0604020202020204" pitchFamily="34" charset="0"/>
              <a:buChar char="​"/>
              <a:defRPr sz="2000">
                <a:solidFill>
                  <a:schemeClr val="tx2"/>
                </a:solidFill>
              </a:defRPr>
            </a:lvl1pPr>
            <a:lvl2pPr marL="0" indent="0">
              <a:spcBef>
                <a:spcPts val="300"/>
              </a:spcBef>
              <a:spcAft>
                <a:spcPts val="600"/>
              </a:spcAft>
              <a:buFont typeface="Arial" panose="020B0604020202020204" pitchFamily="34" charset="0"/>
              <a:buChar char="​"/>
              <a:defRPr sz="2000" b="1">
                <a:solidFill>
                  <a:schemeClr val="tx2"/>
                </a:solidFill>
              </a:defRPr>
            </a:lvl2pPr>
            <a:lvl3pPr marL="0" indent="0">
              <a:spcBef>
                <a:spcPts val="300"/>
              </a:spcBef>
              <a:spcAft>
                <a:spcPts val="600"/>
              </a:spcAft>
              <a:buFont typeface="Arial" panose="020B0604020202020204" pitchFamily="34" charset="0"/>
              <a:buChar char="​"/>
              <a:defRPr sz="2000">
                <a:solidFill>
                  <a:schemeClr val="tx2"/>
                </a:solidFill>
              </a:defRPr>
            </a:lvl3pPr>
            <a:lvl4pPr marL="0" indent="0">
              <a:spcBef>
                <a:spcPts val="300"/>
              </a:spcBef>
              <a:spcAft>
                <a:spcPts val="600"/>
              </a:spcAft>
              <a:buFont typeface="Arial" panose="020B0604020202020204" pitchFamily="34" charset="0"/>
              <a:buChar char="​"/>
              <a:defRPr sz="2000">
                <a:solidFill>
                  <a:schemeClr val="tx2"/>
                </a:solidFill>
              </a:defRPr>
            </a:lvl4pPr>
            <a:lvl5pPr marL="0" indent="0">
              <a:spcBef>
                <a:spcPts val="300"/>
              </a:spcBef>
              <a:spcAft>
                <a:spcPts val="600"/>
              </a:spcAft>
              <a:buFont typeface="Arial" panose="020B0604020202020204" pitchFamily="34" charset="0"/>
              <a:buChar char="​"/>
              <a:defRPr sz="2000">
                <a:solidFill>
                  <a:schemeClr val="tx2"/>
                </a:solidFill>
              </a:defRPr>
            </a:lvl5pPr>
            <a:lvl6pPr marL="0" indent="0">
              <a:spcBef>
                <a:spcPts val="300"/>
              </a:spcBef>
              <a:spcAft>
                <a:spcPts val="600"/>
              </a:spcAft>
              <a:buFont typeface="Arial" panose="020B0604020202020204" pitchFamily="34" charset="0"/>
              <a:buChar char="​"/>
              <a:defRPr sz="2000">
                <a:solidFill>
                  <a:schemeClr val="tx2"/>
                </a:solidFill>
              </a:defRPr>
            </a:lvl6pPr>
            <a:lvl7pPr marL="0" indent="0">
              <a:spcBef>
                <a:spcPts val="300"/>
              </a:spcBef>
              <a:spcAft>
                <a:spcPts val="600"/>
              </a:spcAft>
              <a:buFont typeface="Arial" panose="020B0604020202020204" pitchFamily="34" charset="0"/>
              <a:buChar char="​"/>
              <a:defRPr sz="2000">
                <a:solidFill>
                  <a:schemeClr val="tx2"/>
                </a:solidFill>
              </a:defRPr>
            </a:lvl7pPr>
            <a:lvl8pPr marL="0" indent="0">
              <a:spcBef>
                <a:spcPts val="300"/>
              </a:spcBef>
              <a:spcAft>
                <a:spcPts val="600"/>
              </a:spcAft>
              <a:buFont typeface="Arial" panose="020B0604020202020204" pitchFamily="34" charset="0"/>
              <a:buChar char="​"/>
              <a:defRPr sz="2000">
                <a:solidFill>
                  <a:schemeClr val="tx2"/>
                </a:solidFill>
              </a:defRPr>
            </a:lvl8pPr>
            <a:lvl9pPr marL="0" indent="0">
              <a:spcBef>
                <a:spcPts val="300"/>
              </a:spcBef>
              <a:spcAft>
                <a:spcPts val="600"/>
              </a:spcAft>
              <a:buFont typeface="Arial" panose="020B0604020202020204" pitchFamily="34" charset="0"/>
              <a:buChar char="​"/>
              <a:defRPr sz="2000">
                <a:solidFill>
                  <a:schemeClr val="tx2"/>
                </a:solidFill>
              </a:defRPr>
            </a:lvl9pPr>
          </a:lstStyle>
          <a:p>
            <a:pPr lvl="0"/>
            <a:r>
              <a:rPr lang="en-GB" dirty="0"/>
              <a:t>09.00-09.30</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bwMode="gray"/>
        <p:txBody>
          <a:bodyPr/>
          <a:lstStyle>
            <a:lvl1pPr>
              <a:defRPr>
                <a:solidFill>
                  <a:schemeClr val="tx2"/>
                </a:solidFill>
              </a:defRPr>
            </a:lvl1pPr>
          </a:lstStyle>
          <a:p>
            <a:fld id="{696DAF88-793E-4D51-9025-7DED844CE5A3}" type="datetime3">
              <a:rPr lang="en-GB" smtClean="0"/>
              <a:t>6 November, 2020</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bwMode="gray"/>
        <p:txBody>
          <a:bodyPr/>
          <a:lstStyle>
            <a:lvl1pPr>
              <a:defRPr>
                <a:solidFill>
                  <a:schemeClr val="tx2"/>
                </a:solidFill>
              </a:defRPr>
            </a:lvl1pPr>
          </a:lstStyle>
          <a:p>
            <a:r>
              <a:rPr lang="en-GB" dirty="0"/>
              <a:t>Graduate Programme Introduc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bwMode="gray"/>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bwMode="gray">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2"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B3C1CADE-9463-4A8D-B4E6-273C0EC9AFF5}"/>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458292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Layout">
    <p:bg>
      <p:bgPr>
        <a:solidFill>
          <a:srgbClr val="F7F6F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481766-8EBA-4DA6-81C1-21059B7526E9}"/>
              </a:ext>
            </a:extLst>
          </p:cNvPr>
          <p:cNvGraphicFramePr>
            <a:graphicFrameLocks noChangeAspect="1"/>
          </p:cNvGraphicFramePr>
          <p:nvPr userDrawn="1">
            <p:custDataLst>
              <p:tags r:id="rId2"/>
            </p:custDataLst>
            <p:extLst>
              <p:ext uri="{D42A27DB-BD31-4B8C-83A1-F6EECF244321}">
                <p14:modId xmlns:p14="http://schemas.microsoft.com/office/powerpoint/2010/main" val="4225865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3"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8E481766-8EBA-4DA6-81C1-21059B7526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AA02891-9B5C-45AF-8221-7F98276EA462}"/>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tx2"/>
                </a:solidFill>
              </a:defRPr>
            </a:lvl1pPr>
          </a:lstStyle>
          <a:p>
            <a:fld id="{AE56669E-5532-4649-A54B-EE8B879D7777}" type="datetime3">
              <a:rPr lang="en-GB" smtClean="0"/>
              <a:t>6 November, 2020</a:t>
            </a:fld>
            <a:endParaRPr lang="en-GB" dirty="0"/>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tx2"/>
                </a:solidFill>
              </a:defRPr>
            </a:lvl1pPr>
          </a:lstStyle>
          <a:p>
            <a:r>
              <a:rPr lang="en-GB" dirty="0"/>
              <a:t>Graduate Programme Introduction</a:t>
            </a: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43" name="Freeform: Shape 42">
            <a:extLst>
              <a:ext uri="{FF2B5EF4-FFF2-40B4-BE49-F238E27FC236}">
                <a16:creationId xmlns:a16="http://schemas.microsoft.com/office/drawing/2014/main" id="{5058A511-E7D3-48F5-9E56-C90D4AEF433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pic>
        <p:nvPicPr>
          <p:cNvPr id="2" name="Graphic 1">
            <a:extLst>
              <a:ext uri="{FF2B5EF4-FFF2-40B4-BE49-F238E27FC236}">
                <a16:creationId xmlns:a16="http://schemas.microsoft.com/office/drawing/2014/main" id="{00884CB1-C89E-483F-AD92-A451F60F1CF3}"/>
              </a:ext>
            </a:extLst>
          </p:cNvPr>
          <p:cNvPicPr>
            <a:picLocks noChangeAspect="1"/>
          </p:cNvPicPr>
          <p:nvPr userDrawn="1"/>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1082" t="20310" r="8216" b="23549"/>
          <a:stretch/>
        </p:blipFill>
        <p:spPr>
          <a:xfrm>
            <a:off x="190500" y="2105535"/>
            <a:ext cx="10292105" cy="2989020"/>
          </a:xfrm>
          <a:prstGeom prst="rect">
            <a:avLst/>
          </a:prstGeom>
        </p:spPr>
      </p:pic>
      <p:sp>
        <p:nvSpPr>
          <p:cNvPr id="3"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2AD425B-83E9-4675-A5F8-3B70DC855783}"/>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28685605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 Divider">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58697E-C7F5-45AB-B147-AEFFEF160D53}"/>
              </a:ext>
            </a:extLst>
          </p:cNvPr>
          <p:cNvGraphicFramePr>
            <a:graphicFrameLocks noChangeAspect="1"/>
          </p:cNvGraphicFramePr>
          <p:nvPr userDrawn="1">
            <p:custDataLst>
              <p:tags r:id="rId2"/>
            </p:custDataLst>
            <p:extLst>
              <p:ext uri="{D42A27DB-BD31-4B8C-83A1-F6EECF244321}">
                <p14:modId xmlns:p14="http://schemas.microsoft.com/office/powerpoint/2010/main" val="14920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7"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3458697E-C7F5-45AB-B147-AEFFEF160D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6C8C5F5-4FAE-43E8-8F91-18FC639DF538}"/>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1" i="0" baseline="0" noProof="0" dirty="0">
              <a:latin typeface="Apis For Office" panose="020B0504010101010104" pitchFamily="34" charset="0"/>
              <a:ea typeface="+mj-ea"/>
              <a:cs typeface="+mj-cs"/>
              <a:sym typeface="Apis For Office" panose="020B0504010101010104" pitchFamily="34" charset="0"/>
            </a:endParaRPr>
          </a:p>
        </p:txBody>
      </p:sp>
      <p:sp>
        <p:nvSpPr>
          <p:cNvPr id="3" name="Rectangle 2">
            <a:extLst>
              <a:ext uri="{FF2B5EF4-FFF2-40B4-BE49-F238E27FC236}">
                <a16:creationId xmlns:a16="http://schemas.microsoft.com/office/drawing/2014/main" id="{97E7C513-B1CD-4706-976C-28D5F1922773}"/>
              </a:ext>
            </a:extLst>
          </p:cNvPr>
          <p:cNvSpPr/>
          <p:nvPr userDrawn="1"/>
        </p:nvSpPr>
        <p:spPr bwMode="invGray">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 name="Title 1"/>
          <p:cNvSpPr>
            <a:spLocks noGrp="1"/>
          </p:cNvSpPr>
          <p:nvPr>
            <p:ph type="ctrTitle" hasCustomPrompt="1"/>
          </p:nvPr>
        </p:nvSpPr>
        <p:spPr>
          <a:xfrm>
            <a:off x="647999" y="648000"/>
            <a:ext cx="8652001" cy="5562000"/>
          </a:xfrm>
        </p:spPr>
        <p:txBody>
          <a:bodyPr anchor="ctr"/>
          <a:lstStyle>
            <a:lvl1pPr algn="l">
              <a:defRPr sz="4400" b="1">
                <a:solidFill>
                  <a:schemeClr val="bg1"/>
                </a:solidFill>
              </a:defRPr>
            </a:lvl1pPr>
          </a:lstStyle>
          <a:p>
            <a:r>
              <a:rPr lang="en-GB" noProof="0" dirty="0"/>
              <a:t>Click to add title</a:t>
            </a:r>
            <a:endParaRPr lang="en-GB" dirty="0"/>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bg1"/>
                </a:solidFill>
              </a:defRPr>
            </a:lvl1pPr>
          </a:lstStyle>
          <a:p>
            <a:fld id="{F6198C7F-7E3D-4DD3-88A4-56E1DCEAA2BE}" type="datetime3">
              <a:rPr lang="en-GB" smtClean="0"/>
              <a:t>6 November, 2020</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bg1"/>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700" i="1">
                <a:solidFill>
                  <a:schemeClr val="bg1"/>
                </a:solidFill>
              </a:defRPr>
            </a:lvl1pPr>
          </a:lstStyle>
          <a:p>
            <a:pPr lvl="0"/>
            <a:r>
              <a:rPr lang="en-GB" dirty="0"/>
              <a:t>Insert notes</a:t>
            </a:r>
          </a:p>
        </p:txBody>
      </p:sp>
      <p:sp>
        <p:nvSpPr>
          <p:cNvPr id="27" name="Freeform: Shape 26">
            <a:extLst>
              <a:ext uri="{FF2B5EF4-FFF2-40B4-BE49-F238E27FC236}">
                <a16:creationId xmlns:a16="http://schemas.microsoft.com/office/drawing/2014/main" id="{3602F927-C35A-415E-909F-7517AD1B0FFA}"/>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dirty="0"/>
          </a:p>
        </p:txBody>
      </p:sp>
      <p:sp>
        <p:nvSpPr>
          <p:cNvPr id="6" name="Tagline" descr="{&quot;templafy&quot;:{&quot;type&quot;:&quot;image&quot;,&quot;inheritDimensions&quot;:&quot;inheritNone&quot;,&quot;width&quot;:&quot;7.67 cm&quot;,&quot;binding&quot;:&quot;Form.PLogoChoice.PLogoInsertionWhite&quot;}}" title="Form.PLogoChoice.PLogoInsertionWhite">
            <a:extLst>
              <a:ext uri="{FF2B5EF4-FFF2-40B4-BE49-F238E27FC236}">
                <a16:creationId xmlns:a16="http://schemas.microsoft.com/office/drawing/2014/main" id="{D9E9F619-DDA7-4396-BEF5-E42E21A0A600}"/>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634558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 Divider">
    <p:bg bwMode="ltGray">
      <p:bgPr>
        <a:solidFill>
          <a:srgbClr val="F7F6F5"/>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98AC961-E119-403C-8293-7F132DC7FB62}"/>
              </a:ext>
            </a:extLst>
          </p:cNvPr>
          <p:cNvGraphicFramePr>
            <a:graphicFrameLocks noChangeAspect="1"/>
          </p:cNvGraphicFramePr>
          <p:nvPr userDrawn="1">
            <p:custDataLst>
              <p:tags r:id="rId2"/>
            </p:custDataLst>
            <p:extLst>
              <p:ext uri="{D42A27DB-BD31-4B8C-83A1-F6EECF244321}">
                <p14:modId xmlns:p14="http://schemas.microsoft.com/office/powerpoint/2010/main" val="3644288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1"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698AC961-E119-403C-8293-7F132DC7FB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118078C-B9CC-4708-94BA-A3B3C50BE5BA}"/>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400" b="1" i="0" baseline="0" noProof="0" dirty="0">
              <a:latin typeface="Apis For Office" panose="020B0504010101010104" pitchFamily="34" charset="0"/>
              <a:ea typeface="+mj-ea"/>
              <a:cs typeface="+mj-cs"/>
              <a:sym typeface="Apis For Office" panose="020B0504010101010104" pitchFamily="34" charset="0"/>
            </a:endParaRPr>
          </a:p>
        </p:txBody>
      </p:sp>
      <p:sp>
        <p:nvSpPr>
          <p:cNvPr id="3" name="Rectangle 2">
            <a:extLst>
              <a:ext uri="{FF2B5EF4-FFF2-40B4-BE49-F238E27FC236}">
                <a16:creationId xmlns:a16="http://schemas.microsoft.com/office/drawing/2014/main" id="{AE495F4B-43C9-4BD0-8BB8-4942406D920E}"/>
              </a:ext>
            </a:extLst>
          </p:cNvPr>
          <p:cNvSpPr/>
          <p:nvPr userDrawn="1"/>
        </p:nvSpPr>
        <p:spPr>
          <a:xfrm>
            <a:off x="0" y="0"/>
            <a:ext cx="12192000" cy="6858000"/>
          </a:xfrm>
          <a:prstGeom prst="rect">
            <a:avLst/>
          </a:prstGeom>
          <a:solidFill>
            <a:srgbClr val="F5F3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 name="Text Placeholder 3">
            <a:extLst>
              <a:ext uri="{FF2B5EF4-FFF2-40B4-BE49-F238E27FC236}">
                <a16:creationId xmlns:a16="http://schemas.microsoft.com/office/drawing/2014/main" id="{A78766DD-9A06-4EF8-BC56-88FAB7304027}"/>
              </a:ext>
            </a:extLst>
          </p:cNvPr>
          <p:cNvSpPr>
            <a:spLocks noGrp="1"/>
          </p:cNvSpPr>
          <p:nvPr>
            <p:ph type="body" sz="quarter" idx="14" hasCustomPrompt="1"/>
          </p:nvPr>
        </p:nvSpPr>
        <p:spPr bwMode="gray">
          <a:xfrm>
            <a:off x="397164" y="647700"/>
            <a:ext cx="8902835" cy="5562300"/>
          </a:xfrm>
        </p:spPr>
        <p:txBody>
          <a:bodyPr anchor="ctr">
            <a:noAutofit/>
          </a:bodyPr>
          <a:lstStyle>
            <a:lvl1pPr marL="0" indent="0">
              <a:buNone/>
              <a:defRPr sz="41300">
                <a:solidFill>
                  <a:srgbClr val="EBE8E5"/>
                </a:solidFill>
              </a:defRPr>
            </a:lvl1pPr>
          </a:lstStyle>
          <a:p>
            <a:pPr lvl="0"/>
            <a:r>
              <a:rPr lang="en-GB" dirty="0"/>
              <a:t>01</a:t>
            </a:r>
          </a:p>
        </p:txBody>
      </p:sp>
      <p:sp>
        <p:nvSpPr>
          <p:cNvPr id="2" name="Title 1"/>
          <p:cNvSpPr>
            <a:spLocks noGrp="1"/>
          </p:cNvSpPr>
          <p:nvPr>
            <p:ph type="ctrTitle" hasCustomPrompt="1"/>
          </p:nvPr>
        </p:nvSpPr>
        <p:spPr>
          <a:xfrm>
            <a:off x="1623601" y="648000"/>
            <a:ext cx="7675974" cy="5562000"/>
          </a:xfrm>
        </p:spPr>
        <p:txBody>
          <a:bodyPr anchor="ctr"/>
          <a:lstStyle>
            <a:lvl1pPr algn="l">
              <a:defRPr sz="4400" b="1">
                <a:solidFill>
                  <a:schemeClr val="tx2"/>
                </a:solidFill>
              </a:defRPr>
            </a:lvl1pPr>
          </a:lstStyle>
          <a:p>
            <a:r>
              <a:rPr lang="en-GB" noProof="0" dirty="0"/>
              <a:t>Click to add title</a:t>
            </a:r>
            <a:endParaRPr lang="en-GB" dirty="0"/>
          </a:p>
        </p:txBody>
      </p:sp>
      <p:sp>
        <p:nvSpPr>
          <p:cNvPr id="5" name="Text Placeholder 4">
            <a:extLst>
              <a:ext uri="{FF2B5EF4-FFF2-40B4-BE49-F238E27FC236}">
                <a16:creationId xmlns:a16="http://schemas.microsoft.com/office/drawing/2014/main" id="{5C4AEF0E-2F4C-4353-B6DB-EE5157B00646}"/>
              </a:ext>
            </a:extLst>
          </p:cNvPr>
          <p:cNvSpPr>
            <a:spLocks noGrp="1"/>
          </p:cNvSpPr>
          <p:nvPr>
            <p:ph type="body" sz="quarter" idx="13" hasCustomPrompt="1"/>
          </p:nvPr>
        </p:nvSpPr>
        <p:spPr>
          <a:xfrm>
            <a:off x="648000" y="6210000"/>
            <a:ext cx="8652000" cy="324000"/>
          </a:xfrm>
        </p:spPr>
        <p:txBody>
          <a:bodyPr anchor="b"/>
          <a:lstStyle>
            <a:lvl1pPr marL="0" indent="0">
              <a:buNone/>
              <a:defRPr sz="700" i="1">
                <a:solidFill>
                  <a:schemeClr val="tx2"/>
                </a:solidFill>
              </a:defRPr>
            </a:lvl1pPr>
          </a:lstStyle>
          <a:p>
            <a:pPr lvl="0"/>
            <a:r>
              <a:rPr lang="en-GB" dirty="0"/>
              <a:t>Insert notes</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tx2"/>
                </a:solidFill>
              </a:defRPr>
            </a:lvl1pPr>
          </a:lstStyle>
          <a:p>
            <a:fld id="{C70CD8B3-8E93-4AF3-A07B-49D861CA1E4D}" type="datetime3">
              <a:rPr lang="en-GB" smtClean="0"/>
              <a:t>6 November, 2020</a:t>
            </a:fld>
            <a:endParaRPr lang="en-GB" dirty="0"/>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tx2"/>
                </a:solidFill>
              </a:defRPr>
            </a:lvl1pPr>
          </a:lstStyle>
          <a:p>
            <a:r>
              <a:rPr lang="en-GB" dirty="0"/>
              <a:t>Graduate Programme Introduction</a:t>
            </a: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tx2"/>
                </a:solidFill>
              </a:defRPr>
            </a:lvl1pPr>
          </a:lstStyle>
          <a:p>
            <a:fld id="{23AA811B-2EBD-4900-905E-5BE206449611}" type="slidenum">
              <a:rPr lang="en-GB" smtClean="0"/>
              <a:pPr/>
              <a:t>‹#›</a:t>
            </a:fld>
            <a:endParaRPr lang="en-GB" dirty="0"/>
          </a:p>
        </p:txBody>
      </p:sp>
      <p:sp>
        <p:nvSpPr>
          <p:cNvPr id="24" name="Freeform: Shape 23">
            <a:extLst>
              <a:ext uri="{FF2B5EF4-FFF2-40B4-BE49-F238E27FC236}">
                <a16:creationId xmlns:a16="http://schemas.microsoft.com/office/drawing/2014/main" id="{CFC03F98-43D5-4866-9EED-B1724A421DE5}"/>
              </a:ext>
            </a:extLst>
          </p:cNvPr>
          <p:cNvSpPr/>
          <p:nvPr userDrawn="1"/>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dirty="0"/>
          </a:p>
        </p:txBody>
      </p:sp>
      <p:sp>
        <p:nvSpPr>
          <p:cNvPr id="6" name="imag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8C259898-72ED-48AD-B8DB-354C87B7C69D}"/>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03433451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 Content Trumpe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9DC105-866B-4684-841D-85F3673958B2}"/>
              </a:ext>
            </a:extLst>
          </p:cNvPr>
          <p:cNvGraphicFramePr>
            <a:graphicFrameLocks noChangeAspect="1"/>
          </p:cNvGraphicFramePr>
          <p:nvPr userDrawn="1">
            <p:custDataLst>
              <p:tags r:id="rId2"/>
            </p:custDataLst>
            <p:extLst>
              <p:ext uri="{D42A27DB-BD31-4B8C-83A1-F6EECF244321}">
                <p14:modId xmlns:p14="http://schemas.microsoft.com/office/powerpoint/2010/main" val="3911068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5"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639DC105-866B-4684-841D-85F3673958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789859-74FE-4116-9AAF-9AF74337A8D7}"/>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a:xfrm>
            <a:off x="648000" y="972000"/>
            <a:ext cx="10896000" cy="972000"/>
          </a:xfrm>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4">
            <a:extLst>
              <a:ext uri="{FF2B5EF4-FFF2-40B4-BE49-F238E27FC236}">
                <a16:creationId xmlns:a16="http://schemas.microsoft.com/office/drawing/2014/main" id="{BEE9CAB8-E41D-4FCF-AC14-48AEBE341F5A}"/>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9DFB4AD8-9510-41BF-A43C-9DAF6DA6FF78}"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5" name="Text Placeholder 4">
            <a:extLst>
              <a:ext uri="{FF2B5EF4-FFF2-40B4-BE49-F238E27FC236}">
                <a16:creationId xmlns:a16="http://schemas.microsoft.com/office/drawing/2014/main" id="{ACA7DD42-50DC-4727-B3D6-62052EA9E55F}"/>
              </a:ext>
            </a:extLst>
          </p:cNvPr>
          <p:cNvSpPr>
            <a:spLocks noGrp="1"/>
          </p:cNvSpPr>
          <p:nvPr>
            <p:ph type="body" sz="quarter" idx="14" hasCustomPrompt="1"/>
          </p:nvPr>
        </p:nvSpPr>
        <p:spPr>
          <a:xfrm>
            <a:off x="647999" y="648000"/>
            <a:ext cx="10896001" cy="324000"/>
          </a:xfrm>
        </p:spPr>
        <p:txBody>
          <a:bodyPr/>
          <a:lstStyle>
            <a:lvl1pPr marL="0" indent="0">
              <a:buNone/>
              <a:defRPr sz="1400" b="1" cap="all" baseline="0"/>
            </a:lvl1pPr>
          </a:lstStyle>
          <a:p>
            <a:pPr lvl="0"/>
            <a:r>
              <a:rPr lang="en-GB" dirty="0"/>
              <a:t>Click to add trumpet</a:t>
            </a:r>
          </a:p>
        </p:txBody>
      </p:sp>
    </p:spTree>
    <p:extLst>
      <p:ext uri="{BB962C8B-B14F-4D97-AF65-F5344CB8AC3E}">
        <p14:creationId xmlns:p14="http://schemas.microsoft.com/office/powerpoint/2010/main" val="387515496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A7D398-533C-40C2-8A9C-0C8649777977}"/>
              </a:ext>
            </a:extLst>
          </p:cNvPr>
          <p:cNvGraphicFramePr>
            <a:graphicFrameLocks noChangeAspect="1"/>
          </p:cNvGraphicFramePr>
          <p:nvPr userDrawn="1">
            <p:custDataLst>
              <p:tags r:id="rId2"/>
            </p:custDataLst>
            <p:extLst>
              <p:ext uri="{D42A27DB-BD31-4B8C-83A1-F6EECF244321}">
                <p14:modId xmlns:p14="http://schemas.microsoft.com/office/powerpoint/2010/main" val="2218492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9"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88A7D398-533C-40C2-8A9C-0C864977797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667B10A-1446-43B7-B16E-EC19458A0363}"/>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F9F529C2-0A97-44E0-9985-E67BE0D20613}"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37192883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BCFC11-E6AF-46C7-8C49-BC45E55335D3}"/>
              </a:ext>
            </a:extLst>
          </p:cNvPr>
          <p:cNvGraphicFramePr>
            <a:graphicFrameLocks noChangeAspect="1"/>
          </p:cNvGraphicFramePr>
          <p:nvPr userDrawn="1">
            <p:custDataLst>
              <p:tags r:id="rId2"/>
            </p:custDataLst>
            <p:extLst>
              <p:ext uri="{D42A27DB-BD31-4B8C-83A1-F6EECF244321}">
                <p14:modId xmlns:p14="http://schemas.microsoft.com/office/powerpoint/2010/main" val="2140768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3"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04BCFC11-E6AF-46C7-8C49-BC45E55335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CCA96ED-2D5E-4AC0-8D1B-7CD2BA351F1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a:xfrm>
            <a:off x="648000" y="1940566"/>
            <a:ext cx="6408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7380000" y="1940566"/>
            <a:ext cx="4164000" cy="42696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3CEEAE81-524E-49F9-B6C0-BE59B87A0D14}" type="datetime3">
              <a:rPr lang="en-GB" smtClean="0"/>
              <a:t>6 November, 2020</a:t>
            </a:fld>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Graduate Programme Introduction</a:t>
            </a:r>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06BE7D1E-8977-4FBA-BE12-1091DAF345CB}"/>
              </a:ext>
            </a:extLst>
          </p:cNvPr>
          <p:cNvSpPr>
            <a:spLocks noGrp="1"/>
          </p:cNvSpPr>
          <p:nvPr>
            <p:ph type="body" sz="quarter" idx="13" hasCustomPrompt="1"/>
          </p:nvPr>
        </p:nvSpPr>
        <p:spPr>
          <a:xfrm>
            <a:off x="647999" y="6210000"/>
            <a:ext cx="8652000" cy="324000"/>
          </a:xfrm>
        </p:spPr>
        <p:txBody>
          <a:bodyPr anchor="b"/>
          <a:lstStyle>
            <a:lvl1pPr marL="0" indent="0">
              <a:buNone/>
              <a:defRPr sz="700" i="1">
                <a:solidFill>
                  <a:schemeClr val="tx2"/>
                </a:solidFill>
              </a:defRPr>
            </a:lvl1pPr>
          </a:lstStyle>
          <a:p>
            <a:pPr lvl="0"/>
            <a:r>
              <a:rPr lang="en-GB" dirty="0"/>
              <a:t>Insert notes</a:t>
            </a:r>
          </a:p>
        </p:txBody>
      </p:sp>
    </p:spTree>
    <p:extLst>
      <p:ext uri="{BB962C8B-B14F-4D97-AF65-F5344CB8AC3E}">
        <p14:creationId xmlns:p14="http://schemas.microsoft.com/office/powerpoint/2010/main" val="192722857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tags" Target="../tags/tag64.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tags" Target="../tags/tag10.xml"/><Relationship Id="rId68" Type="http://schemas.openxmlformats.org/officeDocument/2006/relationships/tags" Target="../tags/tag15.xml"/><Relationship Id="rId84" Type="http://schemas.openxmlformats.org/officeDocument/2006/relationships/tags" Target="../tags/tag31.xml"/><Relationship Id="rId89" Type="http://schemas.openxmlformats.org/officeDocument/2006/relationships/tags" Target="../tags/tag36.xml"/><Relationship Id="rId112" Type="http://schemas.openxmlformats.org/officeDocument/2006/relationships/tags" Target="../tags/tag59.xml"/><Relationship Id="rId133" Type="http://schemas.openxmlformats.org/officeDocument/2006/relationships/tags" Target="../tags/tag80.xml"/><Relationship Id="rId138" Type="http://schemas.openxmlformats.org/officeDocument/2006/relationships/tags" Target="../tags/tag85.xml"/><Relationship Id="rId16" Type="http://schemas.openxmlformats.org/officeDocument/2006/relationships/slideLayout" Target="../slideLayouts/slideLayout16.xml"/><Relationship Id="rId107" Type="http://schemas.openxmlformats.org/officeDocument/2006/relationships/tags" Target="../tags/tag54.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theme" Target="../theme/theme1.xml"/><Relationship Id="rId58" Type="http://schemas.openxmlformats.org/officeDocument/2006/relationships/tags" Target="../tags/tag5.xml"/><Relationship Id="rId74" Type="http://schemas.openxmlformats.org/officeDocument/2006/relationships/tags" Target="../tags/tag21.xml"/><Relationship Id="rId79" Type="http://schemas.openxmlformats.org/officeDocument/2006/relationships/tags" Target="../tags/tag26.xml"/><Relationship Id="rId102" Type="http://schemas.openxmlformats.org/officeDocument/2006/relationships/tags" Target="../tags/tag49.xml"/><Relationship Id="rId123" Type="http://schemas.openxmlformats.org/officeDocument/2006/relationships/tags" Target="../tags/tag70.xml"/><Relationship Id="rId128" Type="http://schemas.openxmlformats.org/officeDocument/2006/relationships/tags" Target="../tags/tag75.xml"/><Relationship Id="rId144" Type="http://schemas.openxmlformats.org/officeDocument/2006/relationships/tags" Target="../tags/tag91.xml"/><Relationship Id="rId5" Type="http://schemas.openxmlformats.org/officeDocument/2006/relationships/slideLayout" Target="../slideLayouts/slideLayout5.xml"/><Relationship Id="rId90" Type="http://schemas.openxmlformats.org/officeDocument/2006/relationships/tags" Target="../tags/tag37.xml"/><Relationship Id="rId95" Type="http://schemas.openxmlformats.org/officeDocument/2006/relationships/tags" Target="../tags/tag42.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tags" Target="../tags/tag11.xml"/><Relationship Id="rId69" Type="http://schemas.openxmlformats.org/officeDocument/2006/relationships/tags" Target="../tags/tag16.xml"/><Relationship Id="rId113" Type="http://schemas.openxmlformats.org/officeDocument/2006/relationships/tags" Target="../tags/tag60.xml"/><Relationship Id="rId118" Type="http://schemas.openxmlformats.org/officeDocument/2006/relationships/tags" Target="../tags/tag65.xml"/><Relationship Id="rId134" Type="http://schemas.openxmlformats.org/officeDocument/2006/relationships/tags" Target="../tags/tag81.xml"/><Relationship Id="rId139" Type="http://schemas.openxmlformats.org/officeDocument/2006/relationships/tags" Target="../tags/tag86.xml"/><Relationship Id="rId80" Type="http://schemas.openxmlformats.org/officeDocument/2006/relationships/tags" Target="../tags/tag27.xml"/><Relationship Id="rId85" Type="http://schemas.openxmlformats.org/officeDocument/2006/relationships/tags" Target="../tags/tag3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6.xml"/><Relationship Id="rId67" Type="http://schemas.openxmlformats.org/officeDocument/2006/relationships/tags" Target="../tags/tag14.xml"/><Relationship Id="rId103" Type="http://schemas.openxmlformats.org/officeDocument/2006/relationships/tags" Target="../tags/tag50.xml"/><Relationship Id="rId108" Type="http://schemas.openxmlformats.org/officeDocument/2006/relationships/tags" Target="../tags/tag55.xml"/><Relationship Id="rId116" Type="http://schemas.openxmlformats.org/officeDocument/2006/relationships/tags" Target="../tags/tag63.xml"/><Relationship Id="rId124" Type="http://schemas.openxmlformats.org/officeDocument/2006/relationships/tags" Target="../tags/tag71.xml"/><Relationship Id="rId129" Type="http://schemas.openxmlformats.org/officeDocument/2006/relationships/tags" Target="../tags/tag76.xml"/><Relationship Id="rId137" Type="http://schemas.openxmlformats.org/officeDocument/2006/relationships/tags" Target="../tags/tag84.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vmlDrawing" Target="../drawings/vmlDrawing1.vml"/><Relationship Id="rId62" Type="http://schemas.openxmlformats.org/officeDocument/2006/relationships/tags" Target="../tags/tag9.xml"/><Relationship Id="rId70" Type="http://schemas.openxmlformats.org/officeDocument/2006/relationships/tags" Target="../tags/tag17.xml"/><Relationship Id="rId75" Type="http://schemas.openxmlformats.org/officeDocument/2006/relationships/tags" Target="../tags/tag22.xml"/><Relationship Id="rId83" Type="http://schemas.openxmlformats.org/officeDocument/2006/relationships/tags" Target="../tags/tag30.xml"/><Relationship Id="rId88" Type="http://schemas.openxmlformats.org/officeDocument/2006/relationships/tags" Target="../tags/tag35.xml"/><Relationship Id="rId91" Type="http://schemas.openxmlformats.org/officeDocument/2006/relationships/tags" Target="../tags/tag38.xml"/><Relationship Id="rId96" Type="http://schemas.openxmlformats.org/officeDocument/2006/relationships/tags" Target="../tags/tag43.xml"/><Relationship Id="rId111" Type="http://schemas.openxmlformats.org/officeDocument/2006/relationships/tags" Target="../tags/tag58.xml"/><Relationship Id="rId132" Type="http://schemas.openxmlformats.org/officeDocument/2006/relationships/tags" Target="../tags/tag79.xml"/><Relationship Id="rId140" Type="http://schemas.openxmlformats.org/officeDocument/2006/relationships/tags" Target="../tags/tag87.xml"/><Relationship Id="rId14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4.xml"/><Relationship Id="rId106" Type="http://schemas.openxmlformats.org/officeDocument/2006/relationships/tags" Target="../tags/tag53.xml"/><Relationship Id="rId114" Type="http://schemas.openxmlformats.org/officeDocument/2006/relationships/tags" Target="../tags/tag61.xml"/><Relationship Id="rId119" Type="http://schemas.openxmlformats.org/officeDocument/2006/relationships/tags" Target="../tags/tag66.xml"/><Relationship Id="rId127" Type="http://schemas.openxmlformats.org/officeDocument/2006/relationships/tags" Target="../tags/tag74.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7.xml"/><Relationship Id="rId65" Type="http://schemas.openxmlformats.org/officeDocument/2006/relationships/tags" Target="../tags/tag12.xml"/><Relationship Id="rId73" Type="http://schemas.openxmlformats.org/officeDocument/2006/relationships/tags" Target="../tags/tag20.xml"/><Relationship Id="rId78" Type="http://schemas.openxmlformats.org/officeDocument/2006/relationships/tags" Target="../tags/tag25.xml"/><Relationship Id="rId81" Type="http://schemas.openxmlformats.org/officeDocument/2006/relationships/tags" Target="../tags/tag28.xml"/><Relationship Id="rId86" Type="http://schemas.openxmlformats.org/officeDocument/2006/relationships/tags" Target="../tags/tag33.xml"/><Relationship Id="rId94" Type="http://schemas.openxmlformats.org/officeDocument/2006/relationships/tags" Target="../tags/tag41.xml"/><Relationship Id="rId99" Type="http://schemas.openxmlformats.org/officeDocument/2006/relationships/tags" Target="../tags/tag46.xml"/><Relationship Id="rId101" Type="http://schemas.openxmlformats.org/officeDocument/2006/relationships/tags" Target="../tags/tag48.xml"/><Relationship Id="rId122" Type="http://schemas.openxmlformats.org/officeDocument/2006/relationships/tags" Target="../tags/tag69.xml"/><Relationship Id="rId130" Type="http://schemas.openxmlformats.org/officeDocument/2006/relationships/tags" Target="../tags/tag77.xml"/><Relationship Id="rId135" Type="http://schemas.openxmlformats.org/officeDocument/2006/relationships/tags" Target="../tags/tag82.xml"/><Relationship Id="rId143" Type="http://schemas.openxmlformats.org/officeDocument/2006/relationships/tags" Target="../tags/tag90.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tags" Target="../tags/tag56.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tags" Target="../tags/tag2.xml"/><Relationship Id="rId76" Type="http://schemas.openxmlformats.org/officeDocument/2006/relationships/tags" Target="../tags/tag23.xml"/><Relationship Id="rId97" Type="http://schemas.openxmlformats.org/officeDocument/2006/relationships/tags" Target="../tags/tag44.xml"/><Relationship Id="rId104" Type="http://schemas.openxmlformats.org/officeDocument/2006/relationships/tags" Target="../tags/tag51.xml"/><Relationship Id="rId120" Type="http://schemas.openxmlformats.org/officeDocument/2006/relationships/tags" Target="../tags/tag67.xml"/><Relationship Id="rId125" Type="http://schemas.openxmlformats.org/officeDocument/2006/relationships/tags" Target="../tags/tag72.xml"/><Relationship Id="rId141" Type="http://schemas.openxmlformats.org/officeDocument/2006/relationships/tags" Target="../tags/tag88.xml"/><Relationship Id="rId146"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tags" Target="../tags/tag18.xml"/><Relationship Id="rId92" Type="http://schemas.openxmlformats.org/officeDocument/2006/relationships/tags" Target="../tags/tag39.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tags" Target="../tags/tag13.xml"/><Relationship Id="rId87" Type="http://schemas.openxmlformats.org/officeDocument/2006/relationships/tags" Target="../tags/tag34.xml"/><Relationship Id="rId110" Type="http://schemas.openxmlformats.org/officeDocument/2006/relationships/tags" Target="../tags/tag57.xml"/><Relationship Id="rId115" Type="http://schemas.openxmlformats.org/officeDocument/2006/relationships/tags" Target="../tags/tag62.xml"/><Relationship Id="rId131" Type="http://schemas.openxmlformats.org/officeDocument/2006/relationships/tags" Target="../tags/tag78.xml"/><Relationship Id="rId136" Type="http://schemas.openxmlformats.org/officeDocument/2006/relationships/tags" Target="../tags/tag83.xml"/><Relationship Id="rId61" Type="http://schemas.openxmlformats.org/officeDocument/2006/relationships/tags" Target="../tags/tag8.xml"/><Relationship Id="rId82" Type="http://schemas.openxmlformats.org/officeDocument/2006/relationships/tags" Target="../tags/tag29.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tags" Target="../tags/tag3.xml"/><Relationship Id="rId77" Type="http://schemas.openxmlformats.org/officeDocument/2006/relationships/tags" Target="../tags/tag24.xml"/><Relationship Id="rId100" Type="http://schemas.openxmlformats.org/officeDocument/2006/relationships/tags" Target="../tags/tag47.xml"/><Relationship Id="rId105" Type="http://schemas.openxmlformats.org/officeDocument/2006/relationships/tags" Target="../tags/tag52.xml"/><Relationship Id="rId126" Type="http://schemas.openxmlformats.org/officeDocument/2006/relationships/tags" Target="../tags/tag73.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9.xml"/><Relationship Id="rId93" Type="http://schemas.openxmlformats.org/officeDocument/2006/relationships/tags" Target="../tags/tag40.xml"/><Relationship Id="rId98" Type="http://schemas.openxmlformats.org/officeDocument/2006/relationships/tags" Target="../tags/tag45.xml"/><Relationship Id="rId121" Type="http://schemas.openxmlformats.org/officeDocument/2006/relationships/tags" Target="../tags/tag68.xml"/><Relationship Id="rId142" Type="http://schemas.openxmlformats.org/officeDocument/2006/relationships/tags" Target="../tags/tag8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tags" Target="../tags/tag97.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image" Target="../media/image14.jpeg"/><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tags" Target="../tags/tag96.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41" Type="http://schemas.openxmlformats.org/officeDocument/2006/relationships/image" Target="../media/image13.emf"/><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vmlDrawing" Target="../drawings/vmlDrawing4.vml"/><Relationship Id="rId40" Type="http://schemas.openxmlformats.org/officeDocument/2006/relationships/oleObject" Target="../embeddings/oleObject4.bin"/><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theme" Target="../theme/theme2.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image" Target="../media/image15.jpe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13.xml"/><Relationship Id="rId117" Type="http://schemas.openxmlformats.org/officeDocument/2006/relationships/tags" Target="../tags/tag233.xml"/><Relationship Id="rId21" Type="http://schemas.openxmlformats.org/officeDocument/2006/relationships/slideLayout" Target="../slideLayouts/slideLayout108.xml"/><Relationship Id="rId42" Type="http://schemas.openxmlformats.org/officeDocument/2006/relationships/slideLayout" Target="../slideLayouts/slideLayout129.xml"/><Relationship Id="rId47" Type="http://schemas.openxmlformats.org/officeDocument/2006/relationships/tags" Target="../tags/tag163.xml"/><Relationship Id="rId63" Type="http://schemas.openxmlformats.org/officeDocument/2006/relationships/tags" Target="../tags/tag179.xml"/><Relationship Id="rId68" Type="http://schemas.openxmlformats.org/officeDocument/2006/relationships/tags" Target="../tags/tag184.xml"/><Relationship Id="rId84" Type="http://schemas.openxmlformats.org/officeDocument/2006/relationships/tags" Target="../tags/tag200.xml"/><Relationship Id="rId89" Type="http://schemas.openxmlformats.org/officeDocument/2006/relationships/tags" Target="../tags/tag205.xml"/><Relationship Id="rId112" Type="http://schemas.openxmlformats.org/officeDocument/2006/relationships/tags" Target="../tags/tag228.xml"/><Relationship Id="rId133" Type="http://schemas.openxmlformats.org/officeDocument/2006/relationships/tags" Target="../tags/tag249.xml"/><Relationship Id="rId16" Type="http://schemas.openxmlformats.org/officeDocument/2006/relationships/slideLayout" Target="../slideLayouts/slideLayout103.xml"/><Relationship Id="rId107" Type="http://schemas.openxmlformats.org/officeDocument/2006/relationships/tags" Target="../tags/tag223.xml"/><Relationship Id="rId11" Type="http://schemas.openxmlformats.org/officeDocument/2006/relationships/slideLayout" Target="../slideLayouts/slideLayout98.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53" Type="http://schemas.openxmlformats.org/officeDocument/2006/relationships/tags" Target="../tags/tag169.xml"/><Relationship Id="rId58" Type="http://schemas.openxmlformats.org/officeDocument/2006/relationships/tags" Target="../tags/tag174.xml"/><Relationship Id="rId74" Type="http://schemas.openxmlformats.org/officeDocument/2006/relationships/tags" Target="../tags/tag190.xml"/><Relationship Id="rId79" Type="http://schemas.openxmlformats.org/officeDocument/2006/relationships/tags" Target="../tags/tag195.xml"/><Relationship Id="rId102" Type="http://schemas.openxmlformats.org/officeDocument/2006/relationships/tags" Target="../tags/tag218.xml"/><Relationship Id="rId123" Type="http://schemas.openxmlformats.org/officeDocument/2006/relationships/tags" Target="../tags/tag239.xml"/><Relationship Id="rId128" Type="http://schemas.openxmlformats.org/officeDocument/2006/relationships/tags" Target="../tags/tag244.xml"/><Relationship Id="rId5" Type="http://schemas.openxmlformats.org/officeDocument/2006/relationships/slideLayout" Target="../slideLayouts/slideLayout92.xml"/><Relationship Id="rId90" Type="http://schemas.openxmlformats.org/officeDocument/2006/relationships/tags" Target="../tags/tag206.xml"/><Relationship Id="rId95" Type="http://schemas.openxmlformats.org/officeDocument/2006/relationships/tags" Target="../tags/tag211.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theme" Target="../theme/theme3.xml"/><Relationship Id="rId48" Type="http://schemas.openxmlformats.org/officeDocument/2006/relationships/tags" Target="../tags/tag164.xml"/><Relationship Id="rId56" Type="http://schemas.openxmlformats.org/officeDocument/2006/relationships/tags" Target="../tags/tag172.xml"/><Relationship Id="rId64" Type="http://schemas.openxmlformats.org/officeDocument/2006/relationships/tags" Target="../tags/tag180.xml"/><Relationship Id="rId69" Type="http://schemas.openxmlformats.org/officeDocument/2006/relationships/tags" Target="../tags/tag185.xml"/><Relationship Id="rId77" Type="http://schemas.openxmlformats.org/officeDocument/2006/relationships/tags" Target="../tags/tag193.xml"/><Relationship Id="rId100" Type="http://schemas.openxmlformats.org/officeDocument/2006/relationships/tags" Target="../tags/tag216.xml"/><Relationship Id="rId105" Type="http://schemas.openxmlformats.org/officeDocument/2006/relationships/tags" Target="../tags/tag221.xml"/><Relationship Id="rId113" Type="http://schemas.openxmlformats.org/officeDocument/2006/relationships/tags" Target="../tags/tag229.xml"/><Relationship Id="rId118" Type="http://schemas.openxmlformats.org/officeDocument/2006/relationships/tags" Target="../tags/tag234.xml"/><Relationship Id="rId126" Type="http://schemas.openxmlformats.org/officeDocument/2006/relationships/tags" Target="../tags/tag242.xml"/><Relationship Id="rId134" Type="http://schemas.openxmlformats.org/officeDocument/2006/relationships/tags" Target="../tags/tag250.xml"/><Relationship Id="rId8" Type="http://schemas.openxmlformats.org/officeDocument/2006/relationships/slideLayout" Target="../slideLayouts/slideLayout95.xml"/><Relationship Id="rId51" Type="http://schemas.openxmlformats.org/officeDocument/2006/relationships/tags" Target="../tags/tag167.xml"/><Relationship Id="rId72" Type="http://schemas.openxmlformats.org/officeDocument/2006/relationships/tags" Target="../tags/tag188.xml"/><Relationship Id="rId80" Type="http://schemas.openxmlformats.org/officeDocument/2006/relationships/tags" Target="../tags/tag196.xml"/><Relationship Id="rId85" Type="http://schemas.openxmlformats.org/officeDocument/2006/relationships/tags" Target="../tags/tag201.xml"/><Relationship Id="rId93" Type="http://schemas.openxmlformats.org/officeDocument/2006/relationships/tags" Target="../tags/tag209.xml"/><Relationship Id="rId98" Type="http://schemas.openxmlformats.org/officeDocument/2006/relationships/tags" Target="../tags/tag214.xml"/><Relationship Id="rId121" Type="http://schemas.openxmlformats.org/officeDocument/2006/relationships/tags" Target="../tags/tag237.xml"/><Relationship Id="rId3" Type="http://schemas.openxmlformats.org/officeDocument/2006/relationships/slideLayout" Target="../slideLayouts/slideLayout90.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tags" Target="../tags/tag162.xml"/><Relationship Id="rId59" Type="http://schemas.openxmlformats.org/officeDocument/2006/relationships/tags" Target="../tags/tag175.xml"/><Relationship Id="rId67" Type="http://schemas.openxmlformats.org/officeDocument/2006/relationships/tags" Target="../tags/tag183.xml"/><Relationship Id="rId103" Type="http://schemas.openxmlformats.org/officeDocument/2006/relationships/tags" Target="../tags/tag219.xml"/><Relationship Id="rId108" Type="http://schemas.openxmlformats.org/officeDocument/2006/relationships/tags" Target="../tags/tag224.xml"/><Relationship Id="rId116" Type="http://schemas.openxmlformats.org/officeDocument/2006/relationships/tags" Target="../tags/tag232.xml"/><Relationship Id="rId124" Type="http://schemas.openxmlformats.org/officeDocument/2006/relationships/tags" Target="../tags/tag240.xml"/><Relationship Id="rId129" Type="http://schemas.openxmlformats.org/officeDocument/2006/relationships/tags" Target="../tags/tag245.xml"/><Relationship Id="rId20" Type="http://schemas.openxmlformats.org/officeDocument/2006/relationships/slideLayout" Target="../slideLayouts/slideLayout107.xml"/><Relationship Id="rId41" Type="http://schemas.openxmlformats.org/officeDocument/2006/relationships/slideLayout" Target="../slideLayouts/slideLayout128.xml"/><Relationship Id="rId54" Type="http://schemas.openxmlformats.org/officeDocument/2006/relationships/tags" Target="../tags/tag170.xml"/><Relationship Id="rId62" Type="http://schemas.openxmlformats.org/officeDocument/2006/relationships/tags" Target="../tags/tag178.xml"/><Relationship Id="rId70" Type="http://schemas.openxmlformats.org/officeDocument/2006/relationships/tags" Target="../tags/tag186.xml"/><Relationship Id="rId75" Type="http://schemas.openxmlformats.org/officeDocument/2006/relationships/tags" Target="../tags/tag191.xml"/><Relationship Id="rId83" Type="http://schemas.openxmlformats.org/officeDocument/2006/relationships/tags" Target="../tags/tag199.xml"/><Relationship Id="rId88" Type="http://schemas.openxmlformats.org/officeDocument/2006/relationships/tags" Target="../tags/tag204.xml"/><Relationship Id="rId91" Type="http://schemas.openxmlformats.org/officeDocument/2006/relationships/tags" Target="../tags/tag207.xml"/><Relationship Id="rId96" Type="http://schemas.openxmlformats.org/officeDocument/2006/relationships/tags" Target="../tags/tag212.xml"/><Relationship Id="rId111" Type="http://schemas.openxmlformats.org/officeDocument/2006/relationships/tags" Target="../tags/tag227.xml"/><Relationship Id="rId132" Type="http://schemas.openxmlformats.org/officeDocument/2006/relationships/tags" Target="../tags/tag248.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49" Type="http://schemas.openxmlformats.org/officeDocument/2006/relationships/tags" Target="../tags/tag165.xml"/><Relationship Id="rId57" Type="http://schemas.openxmlformats.org/officeDocument/2006/relationships/tags" Target="../tags/tag173.xml"/><Relationship Id="rId106" Type="http://schemas.openxmlformats.org/officeDocument/2006/relationships/tags" Target="../tags/tag222.xml"/><Relationship Id="rId114" Type="http://schemas.openxmlformats.org/officeDocument/2006/relationships/tags" Target="../tags/tag230.xml"/><Relationship Id="rId119" Type="http://schemas.openxmlformats.org/officeDocument/2006/relationships/tags" Target="../tags/tag235.xml"/><Relationship Id="rId127" Type="http://schemas.openxmlformats.org/officeDocument/2006/relationships/tags" Target="../tags/tag243.xml"/><Relationship Id="rId10" Type="http://schemas.openxmlformats.org/officeDocument/2006/relationships/slideLayout" Target="../slideLayouts/slideLayout97.xml"/><Relationship Id="rId31" Type="http://schemas.openxmlformats.org/officeDocument/2006/relationships/slideLayout" Target="../slideLayouts/slideLayout118.xml"/><Relationship Id="rId44" Type="http://schemas.openxmlformats.org/officeDocument/2006/relationships/vmlDrawing" Target="../drawings/vmlDrawing40.vml"/><Relationship Id="rId52" Type="http://schemas.openxmlformats.org/officeDocument/2006/relationships/tags" Target="../tags/tag168.xml"/><Relationship Id="rId60" Type="http://schemas.openxmlformats.org/officeDocument/2006/relationships/tags" Target="../tags/tag176.xml"/><Relationship Id="rId65" Type="http://schemas.openxmlformats.org/officeDocument/2006/relationships/tags" Target="../tags/tag181.xml"/><Relationship Id="rId73" Type="http://schemas.openxmlformats.org/officeDocument/2006/relationships/tags" Target="../tags/tag189.xml"/><Relationship Id="rId78" Type="http://schemas.openxmlformats.org/officeDocument/2006/relationships/tags" Target="../tags/tag194.xml"/><Relationship Id="rId81" Type="http://schemas.openxmlformats.org/officeDocument/2006/relationships/tags" Target="../tags/tag197.xml"/><Relationship Id="rId86" Type="http://schemas.openxmlformats.org/officeDocument/2006/relationships/tags" Target="../tags/tag202.xml"/><Relationship Id="rId94" Type="http://schemas.openxmlformats.org/officeDocument/2006/relationships/tags" Target="../tags/tag210.xml"/><Relationship Id="rId99" Type="http://schemas.openxmlformats.org/officeDocument/2006/relationships/tags" Target="../tags/tag215.xml"/><Relationship Id="rId101" Type="http://schemas.openxmlformats.org/officeDocument/2006/relationships/tags" Target="../tags/tag217.xml"/><Relationship Id="rId122" Type="http://schemas.openxmlformats.org/officeDocument/2006/relationships/tags" Target="../tags/tag238.xml"/><Relationship Id="rId130" Type="http://schemas.openxmlformats.org/officeDocument/2006/relationships/tags" Target="../tags/tag246.xml"/><Relationship Id="rId135" Type="http://schemas.openxmlformats.org/officeDocument/2006/relationships/oleObject" Target="../embeddings/oleObject40.bin"/><Relationship Id="rId4" Type="http://schemas.openxmlformats.org/officeDocument/2006/relationships/slideLayout" Target="../slideLayouts/slideLayout91.xml"/><Relationship Id="rId9" Type="http://schemas.openxmlformats.org/officeDocument/2006/relationships/slideLayout" Target="../slideLayouts/slideLayout96.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9" Type="http://schemas.openxmlformats.org/officeDocument/2006/relationships/slideLayout" Target="../slideLayouts/slideLayout126.xml"/><Relationship Id="rId109" Type="http://schemas.openxmlformats.org/officeDocument/2006/relationships/tags" Target="../tags/tag225.xml"/><Relationship Id="rId34" Type="http://schemas.openxmlformats.org/officeDocument/2006/relationships/slideLayout" Target="../slideLayouts/slideLayout121.xml"/><Relationship Id="rId50" Type="http://schemas.openxmlformats.org/officeDocument/2006/relationships/tags" Target="../tags/tag166.xml"/><Relationship Id="rId55" Type="http://schemas.openxmlformats.org/officeDocument/2006/relationships/tags" Target="../tags/tag171.xml"/><Relationship Id="rId76" Type="http://schemas.openxmlformats.org/officeDocument/2006/relationships/tags" Target="../tags/tag192.xml"/><Relationship Id="rId97" Type="http://schemas.openxmlformats.org/officeDocument/2006/relationships/tags" Target="../tags/tag213.xml"/><Relationship Id="rId104" Type="http://schemas.openxmlformats.org/officeDocument/2006/relationships/tags" Target="../tags/tag220.xml"/><Relationship Id="rId120" Type="http://schemas.openxmlformats.org/officeDocument/2006/relationships/tags" Target="../tags/tag236.xml"/><Relationship Id="rId125" Type="http://schemas.openxmlformats.org/officeDocument/2006/relationships/tags" Target="../tags/tag241.xml"/><Relationship Id="rId7" Type="http://schemas.openxmlformats.org/officeDocument/2006/relationships/slideLayout" Target="../slideLayouts/slideLayout94.xml"/><Relationship Id="rId71" Type="http://schemas.openxmlformats.org/officeDocument/2006/relationships/tags" Target="../tags/tag187.xml"/><Relationship Id="rId92" Type="http://schemas.openxmlformats.org/officeDocument/2006/relationships/tags" Target="../tags/tag208.xml"/><Relationship Id="rId2" Type="http://schemas.openxmlformats.org/officeDocument/2006/relationships/slideLayout" Target="../slideLayouts/slideLayout89.xml"/><Relationship Id="rId29" Type="http://schemas.openxmlformats.org/officeDocument/2006/relationships/slideLayout" Target="../slideLayouts/slideLayout116.xml"/><Relationship Id="rId24" Type="http://schemas.openxmlformats.org/officeDocument/2006/relationships/slideLayout" Target="../slideLayouts/slideLayout111.xml"/><Relationship Id="rId40" Type="http://schemas.openxmlformats.org/officeDocument/2006/relationships/slideLayout" Target="../slideLayouts/slideLayout127.xml"/><Relationship Id="rId45" Type="http://schemas.openxmlformats.org/officeDocument/2006/relationships/tags" Target="../tags/tag161.xml"/><Relationship Id="rId66" Type="http://schemas.openxmlformats.org/officeDocument/2006/relationships/tags" Target="../tags/tag182.xml"/><Relationship Id="rId87" Type="http://schemas.openxmlformats.org/officeDocument/2006/relationships/tags" Target="../tags/tag203.xml"/><Relationship Id="rId110" Type="http://schemas.openxmlformats.org/officeDocument/2006/relationships/tags" Target="../tags/tag226.xml"/><Relationship Id="rId115" Type="http://schemas.openxmlformats.org/officeDocument/2006/relationships/tags" Target="../tags/tag231.xml"/><Relationship Id="rId131" Type="http://schemas.openxmlformats.org/officeDocument/2006/relationships/tags" Target="../tags/tag247.xml"/><Relationship Id="rId136" Type="http://schemas.openxmlformats.org/officeDocument/2006/relationships/image" Target="../media/image13.emf"/><Relationship Id="rId61" Type="http://schemas.openxmlformats.org/officeDocument/2006/relationships/tags" Target="../tags/tag177.xml"/><Relationship Id="rId82" Type="http://schemas.openxmlformats.org/officeDocument/2006/relationships/tags" Target="../tags/tag198.xml"/><Relationship Id="rId19" Type="http://schemas.openxmlformats.org/officeDocument/2006/relationships/slideLayout" Target="../slideLayouts/slideLayout10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55.xml"/><Relationship Id="rId117" Type="http://schemas.openxmlformats.org/officeDocument/2006/relationships/tags" Target="../tags/tag398.xml"/><Relationship Id="rId21" Type="http://schemas.openxmlformats.org/officeDocument/2006/relationships/slideLayout" Target="../slideLayouts/slideLayout150.xml"/><Relationship Id="rId42" Type="http://schemas.openxmlformats.org/officeDocument/2006/relationships/slideLayout" Target="../slideLayouts/slideLayout171.xml"/><Relationship Id="rId47" Type="http://schemas.openxmlformats.org/officeDocument/2006/relationships/tags" Target="../tags/tag328.xml"/><Relationship Id="rId63" Type="http://schemas.openxmlformats.org/officeDocument/2006/relationships/tags" Target="../tags/tag344.xml"/><Relationship Id="rId68" Type="http://schemas.openxmlformats.org/officeDocument/2006/relationships/tags" Target="../tags/tag349.xml"/><Relationship Id="rId84" Type="http://schemas.openxmlformats.org/officeDocument/2006/relationships/tags" Target="../tags/tag365.xml"/><Relationship Id="rId89" Type="http://schemas.openxmlformats.org/officeDocument/2006/relationships/tags" Target="../tags/tag370.xml"/><Relationship Id="rId112" Type="http://schemas.openxmlformats.org/officeDocument/2006/relationships/tags" Target="../tags/tag393.xml"/><Relationship Id="rId133" Type="http://schemas.openxmlformats.org/officeDocument/2006/relationships/tags" Target="../tags/tag414.xml"/><Relationship Id="rId16" Type="http://schemas.openxmlformats.org/officeDocument/2006/relationships/slideLayout" Target="../slideLayouts/slideLayout145.xml"/><Relationship Id="rId107" Type="http://schemas.openxmlformats.org/officeDocument/2006/relationships/tags" Target="../tags/tag388.xml"/><Relationship Id="rId11" Type="http://schemas.openxmlformats.org/officeDocument/2006/relationships/slideLayout" Target="../slideLayouts/slideLayout140.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53" Type="http://schemas.openxmlformats.org/officeDocument/2006/relationships/tags" Target="../tags/tag334.xml"/><Relationship Id="rId58" Type="http://schemas.openxmlformats.org/officeDocument/2006/relationships/tags" Target="../tags/tag339.xml"/><Relationship Id="rId74" Type="http://schemas.openxmlformats.org/officeDocument/2006/relationships/tags" Target="../tags/tag355.xml"/><Relationship Id="rId79" Type="http://schemas.openxmlformats.org/officeDocument/2006/relationships/tags" Target="../tags/tag360.xml"/><Relationship Id="rId102" Type="http://schemas.openxmlformats.org/officeDocument/2006/relationships/tags" Target="../tags/tag383.xml"/><Relationship Id="rId123" Type="http://schemas.openxmlformats.org/officeDocument/2006/relationships/tags" Target="../tags/tag404.xml"/><Relationship Id="rId128" Type="http://schemas.openxmlformats.org/officeDocument/2006/relationships/tags" Target="../tags/tag409.xml"/><Relationship Id="rId5" Type="http://schemas.openxmlformats.org/officeDocument/2006/relationships/slideLayout" Target="../slideLayouts/slideLayout134.xml"/><Relationship Id="rId90" Type="http://schemas.openxmlformats.org/officeDocument/2006/relationships/tags" Target="../tags/tag371.xml"/><Relationship Id="rId95" Type="http://schemas.openxmlformats.org/officeDocument/2006/relationships/tags" Target="../tags/tag376.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theme" Target="../theme/theme4.xml"/><Relationship Id="rId48" Type="http://schemas.openxmlformats.org/officeDocument/2006/relationships/tags" Target="../tags/tag329.xml"/><Relationship Id="rId56" Type="http://schemas.openxmlformats.org/officeDocument/2006/relationships/tags" Target="../tags/tag337.xml"/><Relationship Id="rId64" Type="http://schemas.openxmlformats.org/officeDocument/2006/relationships/tags" Target="../tags/tag345.xml"/><Relationship Id="rId69" Type="http://schemas.openxmlformats.org/officeDocument/2006/relationships/tags" Target="../tags/tag350.xml"/><Relationship Id="rId77" Type="http://schemas.openxmlformats.org/officeDocument/2006/relationships/tags" Target="../tags/tag358.xml"/><Relationship Id="rId100" Type="http://schemas.openxmlformats.org/officeDocument/2006/relationships/tags" Target="../tags/tag381.xml"/><Relationship Id="rId105" Type="http://schemas.openxmlformats.org/officeDocument/2006/relationships/tags" Target="../tags/tag386.xml"/><Relationship Id="rId113" Type="http://schemas.openxmlformats.org/officeDocument/2006/relationships/tags" Target="../tags/tag394.xml"/><Relationship Id="rId118" Type="http://schemas.openxmlformats.org/officeDocument/2006/relationships/tags" Target="../tags/tag399.xml"/><Relationship Id="rId126" Type="http://schemas.openxmlformats.org/officeDocument/2006/relationships/tags" Target="../tags/tag407.xml"/><Relationship Id="rId134" Type="http://schemas.openxmlformats.org/officeDocument/2006/relationships/tags" Target="../tags/tag415.xml"/><Relationship Id="rId8" Type="http://schemas.openxmlformats.org/officeDocument/2006/relationships/slideLayout" Target="../slideLayouts/slideLayout137.xml"/><Relationship Id="rId51" Type="http://schemas.openxmlformats.org/officeDocument/2006/relationships/tags" Target="../tags/tag332.xml"/><Relationship Id="rId72" Type="http://schemas.openxmlformats.org/officeDocument/2006/relationships/tags" Target="../tags/tag353.xml"/><Relationship Id="rId80" Type="http://schemas.openxmlformats.org/officeDocument/2006/relationships/tags" Target="../tags/tag361.xml"/><Relationship Id="rId85" Type="http://schemas.openxmlformats.org/officeDocument/2006/relationships/tags" Target="../tags/tag366.xml"/><Relationship Id="rId93" Type="http://schemas.openxmlformats.org/officeDocument/2006/relationships/tags" Target="../tags/tag374.xml"/><Relationship Id="rId98" Type="http://schemas.openxmlformats.org/officeDocument/2006/relationships/tags" Target="../tags/tag379.xml"/><Relationship Id="rId121" Type="http://schemas.openxmlformats.org/officeDocument/2006/relationships/tags" Target="../tags/tag402.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tags" Target="../tags/tag327.xml"/><Relationship Id="rId59" Type="http://schemas.openxmlformats.org/officeDocument/2006/relationships/tags" Target="../tags/tag340.xml"/><Relationship Id="rId67" Type="http://schemas.openxmlformats.org/officeDocument/2006/relationships/tags" Target="../tags/tag348.xml"/><Relationship Id="rId103" Type="http://schemas.openxmlformats.org/officeDocument/2006/relationships/tags" Target="../tags/tag384.xml"/><Relationship Id="rId108" Type="http://schemas.openxmlformats.org/officeDocument/2006/relationships/tags" Target="../tags/tag389.xml"/><Relationship Id="rId116" Type="http://schemas.openxmlformats.org/officeDocument/2006/relationships/tags" Target="../tags/tag397.xml"/><Relationship Id="rId124" Type="http://schemas.openxmlformats.org/officeDocument/2006/relationships/tags" Target="../tags/tag405.xml"/><Relationship Id="rId129" Type="http://schemas.openxmlformats.org/officeDocument/2006/relationships/tags" Target="../tags/tag410.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54" Type="http://schemas.openxmlformats.org/officeDocument/2006/relationships/tags" Target="../tags/tag335.xml"/><Relationship Id="rId62" Type="http://schemas.openxmlformats.org/officeDocument/2006/relationships/tags" Target="../tags/tag343.xml"/><Relationship Id="rId70" Type="http://schemas.openxmlformats.org/officeDocument/2006/relationships/tags" Target="../tags/tag351.xml"/><Relationship Id="rId75" Type="http://schemas.openxmlformats.org/officeDocument/2006/relationships/tags" Target="../tags/tag356.xml"/><Relationship Id="rId83" Type="http://schemas.openxmlformats.org/officeDocument/2006/relationships/tags" Target="../tags/tag364.xml"/><Relationship Id="rId88" Type="http://schemas.openxmlformats.org/officeDocument/2006/relationships/tags" Target="../tags/tag369.xml"/><Relationship Id="rId91" Type="http://schemas.openxmlformats.org/officeDocument/2006/relationships/tags" Target="../tags/tag372.xml"/><Relationship Id="rId96" Type="http://schemas.openxmlformats.org/officeDocument/2006/relationships/tags" Target="../tags/tag377.xml"/><Relationship Id="rId111" Type="http://schemas.openxmlformats.org/officeDocument/2006/relationships/tags" Target="../tags/tag392.xml"/><Relationship Id="rId132" Type="http://schemas.openxmlformats.org/officeDocument/2006/relationships/tags" Target="../tags/tag413.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tags" Target="../tags/tag330.xml"/><Relationship Id="rId57" Type="http://schemas.openxmlformats.org/officeDocument/2006/relationships/tags" Target="../tags/tag338.xml"/><Relationship Id="rId106" Type="http://schemas.openxmlformats.org/officeDocument/2006/relationships/tags" Target="../tags/tag387.xml"/><Relationship Id="rId114" Type="http://schemas.openxmlformats.org/officeDocument/2006/relationships/tags" Target="../tags/tag395.xml"/><Relationship Id="rId119" Type="http://schemas.openxmlformats.org/officeDocument/2006/relationships/tags" Target="../tags/tag400.xml"/><Relationship Id="rId127" Type="http://schemas.openxmlformats.org/officeDocument/2006/relationships/tags" Target="../tags/tag408.xml"/><Relationship Id="rId10" Type="http://schemas.openxmlformats.org/officeDocument/2006/relationships/slideLayout" Target="../slideLayouts/slideLayout139.xml"/><Relationship Id="rId31" Type="http://schemas.openxmlformats.org/officeDocument/2006/relationships/slideLayout" Target="../slideLayouts/slideLayout160.xml"/><Relationship Id="rId44" Type="http://schemas.openxmlformats.org/officeDocument/2006/relationships/vmlDrawing" Target="../drawings/vmlDrawing82.vml"/><Relationship Id="rId52" Type="http://schemas.openxmlformats.org/officeDocument/2006/relationships/tags" Target="../tags/tag333.xml"/><Relationship Id="rId60" Type="http://schemas.openxmlformats.org/officeDocument/2006/relationships/tags" Target="../tags/tag341.xml"/><Relationship Id="rId65" Type="http://schemas.openxmlformats.org/officeDocument/2006/relationships/tags" Target="../tags/tag346.xml"/><Relationship Id="rId73" Type="http://schemas.openxmlformats.org/officeDocument/2006/relationships/tags" Target="../tags/tag354.xml"/><Relationship Id="rId78" Type="http://schemas.openxmlformats.org/officeDocument/2006/relationships/tags" Target="../tags/tag359.xml"/><Relationship Id="rId81" Type="http://schemas.openxmlformats.org/officeDocument/2006/relationships/tags" Target="../tags/tag362.xml"/><Relationship Id="rId86" Type="http://schemas.openxmlformats.org/officeDocument/2006/relationships/tags" Target="../tags/tag367.xml"/><Relationship Id="rId94" Type="http://schemas.openxmlformats.org/officeDocument/2006/relationships/tags" Target="../tags/tag375.xml"/><Relationship Id="rId99" Type="http://schemas.openxmlformats.org/officeDocument/2006/relationships/tags" Target="../tags/tag380.xml"/><Relationship Id="rId101" Type="http://schemas.openxmlformats.org/officeDocument/2006/relationships/tags" Target="../tags/tag382.xml"/><Relationship Id="rId122" Type="http://schemas.openxmlformats.org/officeDocument/2006/relationships/tags" Target="../tags/tag403.xml"/><Relationship Id="rId130" Type="http://schemas.openxmlformats.org/officeDocument/2006/relationships/tags" Target="../tags/tag411.xml"/><Relationship Id="rId135" Type="http://schemas.openxmlformats.org/officeDocument/2006/relationships/oleObject" Target="../embeddings/oleObject82.bin"/><Relationship Id="rId4" Type="http://schemas.openxmlformats.org/officeDocument/2006/relationships/slideLayout" Target="../slideLayouts/slideLayout133.xml"/><Relationship Id="rId9" Type="http://schemas.openxmlformats.org/officeDocument/2006/relationships/slideLayout" Target="../slideLayouts/slideLayout138.xml"/><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39" Type="http://schemas.openxmlformats.org/officeDocument/2006/relationships/slideLayout" Target="../slideLayouts/slideLayout168.xml"/><Relationship Id="rId109" Type="http://schemas.openxmlformats.org/officeDocument/2006/relationships/tags" Target="../tags/tag390.xml"/><Relationship Id="rId34" Type="http://schemas.openxmlformats.org/officeDocument/2006/relationships/slideLayout" Target="../slideLayouts/slideLayout163.xml"/><Relationship Id="rId50" Type="http://schemas.openxmlformats.org/officeDocument/2006/relationships/tags" Target="../tags/tag331.xml"/><Relationship Id="rId55" Type="http://schemas.openxmlformats.org/officeDocument/2006/relationships/tags" Target="../tags/tag336.xml"/><Relationship Id="rId76" Type="http://schemas.openxmlformats.org/officeDocument/2006/relationships/tags" Target="../tags/tag357.xml"/><Relationship Id="rId97" Type="http://schemas.openxmlformats.org/officeDocument/2006/relationships/tags" Target="../tags/tag378.xml"/><Relationship Id="rId104" Type="http://schemas.openxmlformats.org/officeDocument/2006/relationships/tags" Target="../tags/tag385.xml"/><Relationship Id="rId120" Type="http://schemas.openxmlformats.org/officeDocument/2006/relationships/tags" Target="../tags/tag401.xml"/><Relationship Id="rId125" Type="http://schemas.openxmlformats.org/officeDocument/2006/relationships/tags" Target="../tags/tag406.xml"/><Relationship Id="rId7" Type="http://schemas.openxmlformats.org/officeDocument/2006/relationships/slideLayout" Target="../slideLayouts/slideLayout136.xml"/><Relationship Id="rId71" Type="http://schemas.openxmlformats.org/officeDocument/2006/relationships/tags" Target="../tags/tag352.xml"/><Relationship Id="rId92" Type="http://schemas.openxmlformats.org/officeDocument/2006/relationships/tags" Target="../tags/tag373.xml"/><Relationship Id="rId2" Type="http://schemas.openxmlformats.org/officeDocument/2006/relationships/slideLayout" Target="../slideLayouts/slideLayout131.xml"/><Relationship Id="rId29" Type="http://schemas.openxmlformats.org/officeDocument/2006/relationships/slideLayout" Target="../slideLayouts/slideLayout158.xml"/><Relationship Id="rId24" Type="http://schemas.openxmlformats.org/officeDocument/2006/relationships/slideLayout" Target="../slideLayouts/slideLayout153.xml"/><Relationship Id="rId40" Type="http://schemas.openxmlformats.org/officeDocument/2006/relationships/slideLayout" Target="../slideLayouts/slideLayout169.xml"/><Relationship Id="rId45" Type="http://schemas.openxmlformats.org/officeDocument/2006/relationships/tags" Target="../tags/tag326.xml"/><Relationship Id="rId66" Type="http://schemas.openxmlformats.org/officeDocument/2006/relationships/tags" Target="../tags/tag347.xml"/><Relationship Id="rId87" Type="http://schemas.openxmlformats.org/officeDocument/2006/relationships/tags" Target="../tags/tag368.xml"/><Relationship Id="rId110" Type="http://schemas.openxmlformats.org/officeDocument/2006/relationships/tags" Target="../tags/tag391.xml"/><Relationship Id="rId115" Type="http://schemas.openxmlformats.org/officeDocument/2006/relationships/tags" Target="../tags/tag396.xml"/><Relationship Id="rId131" Type="http://schemas.openxmlformats.org/officeDocument/2006/relationships/tags" Target="../tags/tag412.xml"/><Relationship Id="rId136" Type="http://schemas.openxmlformats.org/officeDocument/2006/relationships/image" Target="../media/image13.emf"/><Relationship Id="rId61" Type="http://schemas.openxmlformats.org/officeDocument/2006/relationships/tags" Target="../tags/tag342.xml"/><Relationship Id="rId82" Type="http://schemas.openxmlformats.org/officeDocument/2006/relationships/tags" Target="../tags/tag363.xml"/><Relationship Id="rId19" Type="http://schemas.openxmlformats.org/officeDocument/2006/relationships/slideLayout" Target="../slideLayouts/slideLayout148.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97.xml"/><Relationship Id="rId117" Type="http://schemas.openxmlformats.org/officeDocument/2006/relationships/tags" Target="../tags/tag563.xml"/><Relationship Id="rId21" Type="http://schemas.openxmlformats.org/officeDocument/2006/relationships/slideLayout" Target="../slideLayouts/slideLayout192.xml"/><Relationship Id="rId42" Type="http://schemas.openxmlformats.org/officeDocument/2006/relationships/slideLayout" Target="../slideLayouts/slideLayout213.xml"/><Relationship Id="rId47" Type="http://schemas.openxmlformats.org/officeDocument/2006/relationships/tags" Target="../tags/tag493.xml"/><Relationship Id="rId63" Type="http://schemas.openxmlformats.org/officeDocument/2006/relationships/tags" Target="../tags/tag509.xml"/><Relationship Id="rId68" Type="http://schemas.openxmlformats.org/officeDocument/2006/relationships/tags" Target="../tags/tag514.xml"/><Relationship Id="rId84" Type="http://schemas.openxmlformats.org/officeDocument/2006/relationships/tags" Target="../tags/tag530.xml"/><Relationship Id="rId89" Type="http://schemas.openxmlformats.org/officeDocument/2006/relationships/tags" Target="../tags/tag535.xml"/><Relationship Id="rId112" Type="http://schemas.openxmlformats.org/officeDocument/2006/relationships/tags" Target="../tags/tag558.xml"/><Relationship Id="rId133" Type="http://schemas.openxmlformats.org/officeDocument/2006/relationships/tags" Target="../tags/tag579.xml"/><Relationship Id="rId16" Type="http://schemas.openxmlformats.org/officeDocument/2006/relationships/slideLayout" Target="../slideLayouts/slideLayout187.xml"/><Relationship Id="rId107" Type="http://schemas.openxmlformats.org/officeDocument/2006/relationships/tags" Target="../tags/tag553.xml"/><Relationship Id="rId11" Type="http://schemas.openxmlformats.org/officeDocument/2006/relationships/slideLayout" Target="../slideLayouts/slideLayout182.xml"/><Relationship Id="rId32" Type="http://schemas.openxmlformats.org/officeDocument/2006/relationships/slideLayout" Target="../slideLayouts/slideLayout203.xml"/><Relationship Id="rId37" Type="http://schemas.openxmlformats.org/officeDocument/2006/relationships/slideLayout" Target="../slideLayouts/slideLayout208.xml"/><Relationship Id="rId53" Type="http://schemas.openxmlformats.org/officeDocument/2006/relationships/tags" Target="../tags/tag499.xml"/><Relationship Id="rId58" Type="http://schemas.openxmlformats.org/officeDocument/2006/relationships/tags" Target="../tags/tag504.xml"/><Relationship Id="rId74" Type="http://schemas.openxmlformats.org/officeDocument/2006/relationships/tags" Target="../tags/tag520.xml"/><Relationship Id="rId79" Type="http://schemas.openxmlformats.org/officeDocument/2006/relationships/tags" Target="../tags/tag525.xml"/><Relationship Id="rId102" Type="http://schemas.openxmlformats.org/officeDocument/2006/relationships/tags" Target="../tags/tag548.xml"/><Relationship Id="rId123" Type="http://schemas.openxmlformats.org/officeDocument/2006/relationships/tags" Target="../tags/tag569.xml"/><Relationship Id="rId128" Type="http://schemas.openxmlformats.org/officeDocument/2006/relationships/tags" Target="../tags/tag574.xml"/><Relationship Id="rId5" Type="http://schemas.openxmlformats.org/officeDocument/2006/relationships/slideLayout" Target="../slideLayouts/slideLayout176.xml"/><Relationship Id="rId90" Type="http://schemas.openxmlformats.org/officeDocument/2006/relationships/tags" Target="../tags/tag536.xml"/><Relationship Id="rId95" Type="http://schemas.openxmlformats.org/officeDocument/2006/relationships/tags" Target="../tags/tag541.xml"/><Relationship Id="rId14" Type="http://schemas.openxmlformats.org/officeDocument/2006/relationships/slideLayout" Target="../slideLayouts/slideLayout185.xml"/><Relationship Id="rId22" Type="http://schemas.openxmlformats.org/officeDocument/2006/relationships/slideLayout" Target="../slideLayouts/slideLayout193.xml"/><Relationship Id="rId27" Type="http://schemas.openxmlformats.org/officeDocument/2006/relationships/slideLayout" Target="../slideLayouts/slideLayout198.xml"/><Relationship Id="rId30" Type="http://schemas.openxmlformats.org/officeDocument/2006/relationships/slideLayout" Target="../slideLayouts/slideLayout201.xml"/><Relationship Id="rId35" Type="http://schemas.openxmlformats.org/officeDocument/2006/relationships/slideLayout" Target="../slideLayouts/slideLayout206.xml"/><Relationship Id="rId43" Type="http://schemas.openxmlformats.org/officeDocument/2006/relationships/theme" Target="../theme/theme5.xml"/><Relationship Id="rId48" Type="http://schemas.openxmlformats.org/officeDocument/2006/relationships/tags" Target="../tags/tag494.xml"/><Relationship Id="rId56" Type="http://schemas.openxmlformats.org/officeDocument/2006/relationships/tags" Target="../tags/tag502.xml"/><Relationship Id="rId64" Type="http://schemas.openxmlformats.org/officeDocument/2006/relationships/tags" Target="../tags/tag510.xml"/><Relationship Id="rId69" Type="http://schemas.openxmlformats.org/officeDocument/2006/relationships/tags" Target="../tags/tag515.xml"/><Relationship Id="rId77" Type="http://schemas.openxmlformats.org/officeDocument/2006/relationships/tags" Target="../tags/tag523.xml"/><Relationship Id="rId100" Type="http://schemas.openxmlformats.org/officeDocument/2006/relationships/tags" Target="../tags/tag546.xml"/><Relationship Id="rId105" Type="http://schemas.openxmlformats.org/officeDocument/2006/relationships/tags" Target="../tags/tag551.xml"/><Relationship Id="rId113" Type="http://schemas.openxmlformats.org/officeDocument/2006/relationships/tags" Target="../tags/tag559.xml"/><Relationship Id="rId118" Type="http://schemas.openxmlformats.org/officeDocument/2006/relationships/tags" Target="../tags/tag564.xml"/><Relationship Id="rId126" Type="http://schemas.openxmlformats.org/officeDocument/2006/relationships/tags" Target="../tags/tag572.xml"/><Relationship Id="rId134" Type="http://schemas.openxmlformats.org/officeDocument/2006/relationships/tags" Target="../tags/tag580.xml"/><Relationship Id="rId8" Type="http://schemas.openxmlformats.org/officeDocument/2006/relationships/slideLayout" Target="../slideLayouts/slideLayout179.xml"/><Relationship Id="rId51" Type="http://schemas.openxmlformats.org/officeDocument/2006/relationships/tags" Target="../tags/tag497.xml"/><Relationship Id="rId72" Type="http://schemas.openxmlformats.org/officeDocument/2006/relationships/tags" Target="../tags/tag518.xml"/><Relationship Id="rId80" Type="http://schemas.openxmlformats.org/officeDocument/2006/relationships/tags" Target="../tags/tag526.xml"/><Relationship Id="rId85" Type="http://schemas.openxmlformats.org/officeDocument/2006/relationships/tags" Target="../tags/tag531.xml"/><Relationship Id="rId93" Type="http://schemas.openxmlformats.org/officeDocument/2006/relationships/tags" Target="../tags/tag539.xml"/><Relationship Id="rId98" Type="http://schemas.openxmlformats.org/officeDocument/2006/relationships/tags" Target="../tags/tag544.xml"/><Relationship Id="rId121" Type="http://schemas.openxmlformats.org/officeDocument/2006/relationships/tags" Target="../tags/tag567.xml"/><Relationship Id="rId3" Type="http://schemas.openxmlformats.org/officeDocument/2006/relationships/slideLayout" Target="../slideLayouts/slideLayout174.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slideLayout" Target="../slideLayouts/slideLayout196.xml"/><Relationship Id="rId33" Type="http://schemas.openxmlformats.org/officeDocument/2006/relationships/slideLayout" Target="../slideLayouts/slideLayout204.xml"/><Relationship Id="rId38" Type="http://schemas.openxmlformats.org/officeDocument/2006/relationships/slideLayout" Target="../slideLayouts/slideLayout209.xml"/><Relationship Id="rId46" Type="http://schemas.openxmlformats.org/officeDocument/2006/relationships/tags" Target="../tags/tag492.xml"/><Relationship Id="rId59" Type="http://schemas.openxmlformats.org/officeDocument/2006/relationships/tags" Target="../tags/tag505.xml"/><Relationship Id="rId67" Type="http://schemas.openxmlformats.org/officeDocument/2006/relationships/tags" Target="../tags/tag513.xml"/><Relationship Id="rId103" Type="http://schemas.openxmlformats.org/officeDocument/2006/relationships/tags" Target="../tags/tag549.xml"/><Relationship Id="rId108" Type="http://schemas.openxmlformats.org/officeDocument/2006/relationships/tags" Target="../tags/tag554.xml"/><Relationship Id="rId116" Type="http://schemas.openxmlformats.org/officeDocument/2006/relationships/tags" Target="../tags/tag562.xml"/><Relationship Id="rId124" Type="http://schemas.openxmlformats.org/officeDocument/2006/relationships/tags" Target="../tags/tag570.xml"/><Relationship Id="rId129" Type="http://schemas.openxmlformats.org/officeDocument/2006/relationships/tags" Target="../tags/tag575.xml"/><Relationship Id="rId20" Type="http://schemas.openxmlformats.org/officeDocument/2006/relationships/slideLayout" Target="../slideLayouts/slideLayout191.xml"/><Relationship Id="rId41" Type="http://schemas.openxmlformats.org/officeDocument/2006/relationships/slideLayout" Target="../slideLayouts/slideLayout212.xml"/><Relationship Id="rId54" Type="http://schemas.openxmlformats.org/officeDocument/2006/relationships/tags" Target="../tags/tag500.xml"/><Relationship Id="rId62" Type="http://schemas.openxmlformats.org/officeDocument/2006/relationships/tags" Target="../tags/tag508.xml"/><Relationship Id="rId70" Type="http://schemas.openxmlformats.org/officeDocument/2006/relationships/tags" Target="../tags/tag516.xml"/><Relationship Id="rId75" Type="http://schemas.openxmlformats.org/officeDocument/2006/relationships/tags" Target="../tags/tag521.xml"/><Relationship Id="rId83" Type="http://schemas.openxmlformats.org/officeDocument/2006/relationships/tags" Target="../tags/tag529.xml"/><Relationship Id="rId88" Type="http://schemas.openxmlformats.org/officeDocument/2006/relationships/tags" Target="../tags/tag534.xml"/><Relationship Id="rId91" Type="http://schemas.openxmlformats.org/officeDocument/2006/relationships/tags" Target="../tags/tag537.xml"/><Relationship Id="rId96" Type="http://schemas.openxmlformats.org/officeDocument/2006/relationships/tags" Target="../tags/tag542.xml"/><Relationship Id="rId111" Type="http://schemas.openxmlformats.org/officeDocument/2006/relationships/tags" Target="../tags/tag557.xml"/><Relationship Id="rId132" Type="http://schemas.openxmlformats.org/officeDocument/2006/relationships/tags" Target="../tags/tag578.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5" Type="http://schemas.openxmlformats.org/officeDocument/2006/relationships/slideLayout" Target="../slideLayouts/slideLayout186.xml"/><Relationship Id="rId23" Type="http://schemas.openxmlformats.org/officeDocument/2006/relationships/slideLayout" Target="../slideLayouts/slideLayout194.xml"/><Relationship Id="rId28" Type="http://schemas.openxmlformats.org/officeDocument/2006/relationships/slideLayout" Target="../slideLayouts/slideLayout199.xml"/><Relationship Id="rId36" Type="http://schemas.openxmlformats.org/officeDocument/2006/relationships/slideLayout" Target="../slideLayouts/slideLayout207.xml"/><Relationship Id="rId49" Type="http://schemas.openxmlformats.org/officeDocument/2006/relationships/tags" Target="../tags/tag495.xml"/><Relationship Id="rId57" Type="http://schemas.openxmlformats.org/officeDocument/2006/relationships/tags" Target="../tags/tag503.xml"/><Relationship Id="rId106" Type="http://schemas.openxmlformats.org/officeDocument/2006/relationships/tags" Target="../tags/tag552.xml"/><Relationship Id="rId114" Type="http://schemas.openxmlformats.org/officeDocument/2006/relationships/tags" Target="../tags/tag560.xml"/><Relationship Id="rId119" Type="http://schemas.openxmlformats.org/officeDocument/2006/relationships/tags" Target="../tags/tag565.xml"/><Relationship Id="rId127" Type="http://schemas.openxmlformats.org/officeDocument/2006/relationships/tags" Target="../tags/tag573.xml"/><Relationship Id="rId10" Type="http://schemas.openxmlformats.org/officeDocument/2006/relationships/slideLayout" Target="../slideLayouts/slideLayout181.xml"/><Relationship Id="rId31" Type="http://schemas.openxmlformats.org/officeDocument/2006/relationships/slideLayout" Target="../slideLayouts/slideLayout202.xml"/><Relationship Id="rId44" Type="http://schemas.openxmlformats.org/officeDocument/2006/relationships/vmlDrawing" Target="../drawings/vmlDrawing124.vml"/><Relationship Id="rId52" Type="http://schemas.openxmlformats.org/officeDocument/2006/relationships/tags" Target="../tags/tag498.xml"/><Relationship Id="rId60" Type="http://schemas.openxmlformats.org/officeDocument/2006/relationships/tags" Target="../tags/tag506.xml"/><Relationship Id="rId65" Type="http://schemas.openxmlformats.org/officeDocument/2006/relationships/tags" Target="../tags/tag511.xml"/><Relationship Id="rId73" Type="http://schemas.openxmlformats.org/officeDocument/2006/relationships/tags" Target="../tags/tag519.xml"/><Relationship Id="rId78" Type="http://schemas.openxmlformats.org/officeDocument/2006/relationships/tags" Target="../tags/tag524.xml"/><Relationship Id="rId81" Type="http://schemas.openxmlformats.org/officeDocument/2006/relationships/tags" Target="../tags/tag527.xml"/><Relationship Id="rId86" Type="http://schemas.openxmlformats.org/officeDocument/2006/relationships/tags" Target="../tags/tag532.xml"/><Relationship Id="rId94" Type="http://schemas.openxmlformats.org/officeDocument/2006/relationships/tags" Target="../tags/tag540.xml"/><Relationship Id="rId99" Type="http://schemas.openxmlformats.org/officeDocument/2006/relationships/tags" Target="../tags/tag545.xml"/><Relationship Id="rId101" Type="http://schemas.openxmlformats.org/officeDocument/2006/relationships/tags" Target="../tags/tag547.xml"/><Relationship Id="rId122" Type="http://schemas.openxmlformats.org/officeDocument/2006/relationships/tags" Target="../tags/tag568.xml"/><Relationship Id="rId130" Type="http://schemas.openxmlformats.org/officeDocument/2006/relationships/tags" Target="../tags/tag576.xml"/><Relationship Id="rId135" Type="http://schemas.openxmlformats.org/officeDocument/2006/relationships/oleObject" Target="../embeddings/oleObject124.bin"/><Relationship Id="rId4" Type="http://schemas.openxmlformats.org/officeDocument/2006/relationships/slideLayout" Target="../slideLayouts/slideLayout175.xml"/><Relationship Id="rId9" Type="http://schemas.openxmlformats.org/officeDocument/2006/relationships/slideLayout" Target="../slideLayouts/slideLayout180.xml"/><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39" Type="http://schemas.openxmlformats.org/officeDocument/2006/relationships/slideLayout" Target="../slideLayouts/slideLayout210.xml"/><Relationship Id="rId109" Type="http://schemas.openxmlformats.org/officeDocument/2006/relationships/tags" Target="../tags/tag555.xml"/><Relationship Id="rId34" Type="http://schemas.openxmlformats.org/officeDocument/2006/relationships/slideLayout" Target="../slideLayouts/slideLayout205.xml"/><Relationship Id="rId50" Type="http://schemas.openxmlformats.org/officeDocument/2006/relationships/tags" Target="../tags/tag496.xml"/><Relationship Id="rId55" Type="http://schemas.openxmlformats.org/officeDocument/2006/relationships/tags" Target="../tags/tag501.xml"/><Relationship Id="rId76" Type="http://schemas.openxmlformats.org/officeDocument/2006/relationships/tags" Target="../tags/tag522.xml"/><Relationship Id="rId97" Type="http://schemas.openxmlformats.org/officeDocument/2006/relationships/tags" Target="../tags/tag543.xml"/><Relationship Id="rId104" Type="http://schemas.openxmlformats.org/officeDocument/2006/relationships/tags" Target="../tags/tag550.xml"/><Relationship Id="rId120" Type="http://schemas.openxmlformats.org/officeDocument/2006/relationships/tags" Target="../tags/tag566.xml"/><Relationship Id="rId125" Type="http://schemas.openxmlformats.org/officeDocument/2006/relationships/tags" Target="../tags/tag571.xml"/><Relationship Id="rId7" Type="http://schemas.openxmlformats.org/officeDocument/2006/relationships/slideLayout" Target="../slideLayouts/slideLayout178.xml"/><Relationship Id="rId71" Type="http://schemas.openxmlformats.org/officeDocument/2006/relationships/tags" Target="../tags/tag517.xml"/><Relationship Id="rId92" Type="http://schemas.openxmlformats.org/officeDocument/2006/relationships/tags" Target="../tags/tag538.xml"/><Relationship Id="rId2" Type="http://schemas.openxmlformats.org/officeDocument/2006/relationships/slideLayout" Target="../slideLayouts/slideLayout173.xml"/><Relationship Id="rId29" Type="http://schemas.openxmlformats.org/officeDocument/2006/relationships/slideLayout" Target="../slideLayouts/slideLayout200.xml"/><Relationship Id="rId24" Type="http://schemas.openxmlformats.org/officeDocument/2006/relationships/slideLayout" Target="../slideLayouts/slideLayout195.xml"/><Relationship Id="rId40" Type="http://schemas.openxmlformats.org/officeDocument/2006/relationships/slideLayout" Target="../slideLayouts/slideLayout211.xml"/><Relationship Id="rId45" Type="http://schemas.openxmlformats.org/officeDocument/2006/relationships/tags" Target="../tags/tag491.xml"/><Relationship Id="rId66" Type="http://schemas.openxmlformats.org/officeDocument/2006/relationships/tags" Target="../tags/tag512.xml"/><Relationship Id="rId87" Type="http://schemas.openxmlformats.org/officeDocument/2006/relationships/tags" Target="../tags/tag533.xml"/><Relationship Id="rId110" Type="http://schemas.openxmlformats.org/officeDocument/2006/relationships/tags" Target="../tags/tag556.xml"/><Relationship Id="rId115" Type="http://schemas.openxmlformats.org/officeDocument/2006/relationships/tags" Target="../tags/tag561.xml"/><Relationship Id="rId131" Type="http://schemas.openxmlformats.org/officeDocument/2006/relationships/tags" Target="../tags/tag577.xml"/><Relationship Id="rId136" Type="http://schemas.openxmlformats.org/officeDocument/2006/relationships/image" Target="../media/image13.emf"/><Relationship Id="rId61" Type="http://schemas.openxmlformats.org/officeDocument/2006/relationships/tags" Target="../tags/tag507.xml"/><Relationship Id="rId82" Type="http://schemas.openxmlformats.org/officeDocument/2006/relationships/tags" Target="../tags/tag528.xml"/><Relationship Id="rId19" Type="http://schemas.openxmlformats.org/officeDocument/2006/relationships/slideLayout" Target="../slideLayouts/slideLayout1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BA97F12-EF66-4FAA-B50D-01D5EECBA757}"/>
              </a:ext>
            </a:extLst>
          </p:cNvPr>
          <p:cNvGraphicFramePr>
            <a:graphicFrameLocks noChangeAspect="1"/>
          </p:cNvGraphicFramePr>
          <p:nvPr userDrawn="1">
            <p:custDataLst>
              <p:tags r:id="rId55"/>
            </p:custDataLst>
            <p:extLst>
              <p:ext uri="{D42A27DB-BD31-4B8C-83A1-F6EECF244321}">
                <p14:modId xmlns:p14="http://schemas.microsoft.com/office/powerpoint/2010/main" val="1515412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45" imgW="416" imgH="416" progId="TCLayout.ActiveDocument.1">
                  <p:embed/>
                </p:oleObj>
              </mc:Choice>
              <mc:Fallback>
                <p:oleObj name="think-cell Slide" r:id="rId145" imgW="416" imgH="416" progId="TCLayout.ActiveDocument.1">
                  <p:embed/>
                  <p:pic>
                    <p:nvPicPr>
                      <p:cNvPr id="28" name="Object 27" hidden="1">
                        <a:extLst>
                          <a:ext uri="{FF2B5EF4-FFF2-40B4-BE49-F238E27FC236}">
                            <a16:creationId xmlns:a16="http://schemas.microsoft.com/office/drawing/2014/main" id="{0BA97F12-EF66-4FAA-B50D-01D5EECBA757}"/>
                          </a:ext>
                        </a:extLst>
                      </p:cNvPr>
                      <p:cNvPicPr/>
                      <p:nvPr/>
                    </p:nvPicPr>
                    <p:blipFill>
                      <a:blip r:embed="rId14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5BA724B1-5C60-46AD-85FE-761D3E28D1C0}"/>
              </a:ext>
            </a:extLst>
          </p:cNvPr>
          <p:cNvSpPr/>
          <p:nvPr userDrawn="1">
            <p:custDataLst>
              <p:tags r:id="rId56"/>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a-DK" sz="3600" b="0" i="0" baseline="0" noProof="0" dirty="0" err="1">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da-DK" dirty="0"/>
              <a:t>Klik for at redigere titeltypografien i masteren</a:t>
            </a:r>
            <a:endParaRPr lang="en-GB" dirty="0"/>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600">
                <a:solidFill>
                  <a:schemeClr val="tx2"/>
                </a:solidFill>
              </a:defRPr>
            </a:lvl1pPr>
          </a:lstStyle>
          <a:p>
            <a:fld id="{EFCF7EF8-FD42-450D-A19F-12DBF16FA954}" type="datetime3">
              <a:rPr lang="en-US" smtClean="0"/>
              <a:t>6 November 2020</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600">
                <a:solidFill>
                  <a:schemeClr val="tx2"/>
                </a:solidFill>
              </a:defRPr>
            </a:lvl1pPr>
          </a:lstStyle>
          <a:p>
            <a:r>
              <a:rPr lang="en-GB"/>
              <a:t>Novo Nordisk company presentation</a:t>
            </a:r>
            <a:endParaRPr lang="en-GB" dirty="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6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92333"/>
          </a:xfrm>
          <a:prstGeom prst="rect">
            <a:avLst/>
          </a:prstGeom>
          <a:noFill/>
        </p:spPr>
        <p:txBody>
          <a:bodyPr wrap="square" lIns="0" tIns="0" rIns="0" bIns="0" rtlCol="0">
            <a:spAutoFit/>
          </a:bodyPr>
          <a:lstStyle/>
          <a:p>
            <a:pPr algn="r"/>
            <a:r>
              <a:rPr lang="en-GB" sz="600" dirty="0">
                <a:solidFill>
                  <a:schemeClr val="tx2"/>
                </a:solidFill>
              </a:rPr>
              <a:t>Novo Nordisk</a:t>
            </a:r>
            <a:r>
              <a:rPr lang="en-GB" sz="6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57"/>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58"/>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59"/>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60"/>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61"/>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62"/>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63"/>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64"/>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65"/>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66"/>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67"/>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68"/>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69"/>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70"/>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71"/>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72"/>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73"/>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74"/>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75"/>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76"/>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77"/>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78"/>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79"/>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80"/>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81"/>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82"/>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83"/>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84"/>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85"/>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86"/>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87"/>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88"/>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89"/>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90"/>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91"/>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92"/>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93"/>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94"/>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95"/>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96"/>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97"/>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98"/>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99"/>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100"/>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101"/>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102"/>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103"/>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104"/>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105"/>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106"/>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107"/>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108"/>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109"/>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10"/>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11"/>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12"/>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13"/>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14"/>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15"/>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16"/>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17"/>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18"/>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19"/>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20"/>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21"/>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22"/>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23"/>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24"/>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25"/>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26"/>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27"/>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28"/>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29"/>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30"/>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31"/>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32"/>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33"/>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34"/>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35"/>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36"/>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37"/>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38"/>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39"/>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40"/>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41"/>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42"/>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43"/>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44"/>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96" r:id="rId2"/>
    <p:sldLayoutId id="2147483792" r:id="rId3"/>
    <p:sldLayoutId id="2147483730" r:id="rId4"/>
    <p:sldLayoutId id="2147483737" r:id="rId5"/>
    <p:sldLayoutId id="2147483763" r:id="rId6"/>
    <p:sldLayoutId id="2147483764" r:id="rId7"/>
    <p:sldLayoutId id="2147483765" r:id="rId8"/>
    <p:sldLayoutId id="2147483731" r:id="rId9"/>
    <p:sldLayoutId id="2147483766" r:id="rId10"/>
    <p:sldLayoutId id="2147483732" r:id="rId11"/>
    <p:sldLayoutId id="2147483767" r:id="rId12"/>
    <p:sldLayoutId id="2147483768" r:id="rId13"/>
    <p:sldLayoutId id="2147483769" r:id="rId14"/>
    <p:sldLayoutId id="2147483770" r:id="rId15"/>
    <p:sldLayoutId id="2147483771" r:id="rId16"/>
    <p:sldLayoutId id="2147483772" r:id="rId17"/>
    <p:sldLayoutId id="2147483773" r:id="rId18"/>
    <p:sldLayoutId id="2147483793" r:id="rId19"/>
    <p:sldLayoutId id="2147483794" r:id="rId20"/>
    <p:sldLayoutId id="2147483795" r:id="rId21"/>
    <p:sldLayoutId id="2147483774" r:id="rId22"/>
    <p:sldLayoutId id="2147483775" r:id="rId23"/>
    <p:sldLayoutId id="2147483776" r:id="rId24"/>
    <p:sldLayoutId id="2147483739" r:id="rId25"/>
    <p:sldLayoutId id="2147483777" r:id="rId26"/>
    <p:sldLayoutId id="2147483778" r:id="rId27"/>
    <p:sldLayoutId id="2147483779" r:id="rId28"/>
    <p:sldLayoutId id="2147483780" r:id="rId29"/>
    <p:sldLayoutId id="2147483781" r:id="rId30"/>
    <p:sldLayoutId id="2147483782" r:id="rId31"/>
    <p:sldLayoutId id="2147483783" r:id="rId32"/>
    <p:sldLayoutId id="2147483784" r:id="rId33"/>
    <p:sldLayoutId id="2147483785" r:id="rId34"/>
    <p:sldLayoutId id="2147483786" r:id="rId35"/>
    <p:sldLayoutId id="2147483787" r:id="rId36"/>
    <p:sldLayoutId id="2147483788" r:id="rId37"/>
    <p:sldLayoutId id="2147483789" r:id="rId38"/>
    <p:sldLayoutId id="2147483790" r:id="rId39"/>
    <p:sldLayoutId id="2147483791" r:id="rId40"/>
    <p:sldLayoutId id="2147483743" r:id="rId41"/>
    <p:sldLayoutId id="2147483744" r:id="rId42"/>
    <p:sldLayoutId id="2147483762" r:id="rId43"/>
    <p:sldLayoutId id="2147483751" r:id="rId44"/>
    <p:sldLayoutId id="2147483798" r:id="rId45"/>
    <p:sldLayoutId id="2147483800" r:id="rId46"/>
    <p:sldLayoutId id="2147483801" r:id="rId47"/>
    <p:sldLayoutId id="2147483802" r:id="rId48"/>
    <p:sldLayoutId id="2147483803" r:id="rId49"/>
    <p:sldLayoutId id="2147483805" r:id="rId50"/>
    <p:sldLayoutId id="2147483806" r:id="rId51"/>
    <p:sldLayoutId id="2147483807" r:id="rId52"/>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2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2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2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2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2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userDrawn="1">
          <p15:clr>
            <a:srgbClr val="F26B43"/>
          </p15:clr>
        </p15:guide>
        <p15:guide id="2" pos="1617" userDrawn="1">
          <p15:clr>
            <a:srgbClr val="F26B43"/>
          </p15:clr>
        </p15:guide>
        <p15:guide id="3" orient="horz" pos="2364" userDrawn="1">
          <p15:clr>
            <a:srgbClr val="F26B43"/>
          </p15:clr>
        </p15:guide>
        <p15:guide id="4" orient="horz" pos="2568" userDrawn="1">
          <p15:clr>
            <a:srgbClr val="F26B43"/>
          </p15:clr>
        </p15:guide>
        <p15:guide id="5" pos="3031" userDrawn="1">
          <p15:clr>
            <a:srgbClr val="F26B43"/>
          </p15:clr>
        </p15:guide>
        <p15:guide id="6" pos="3235" userDrawn="1">
          <p15:clr>
            <a:srgbClr val="F26B43"/>
          </p15:clr>
        </p15:guide>
        <p15:guide id="7" orient="horz" pos="3911" userDrawn="1">
          <p15:clr>
            <a:srgbClr val="F26B43"/>
          </p15:clr>
        </p15:guide>
        <p15:guide id="8" orient="horz" pos="4115" userDrawn="1">
          <p15:clr>
            <a:srgbClr val="F26B43"/>
          </p15:clr>
        </p15:guide>
        <p15:guide id="9" pos="6063" userDrawn="1">
          <p15:clr>
            <a:srgbClr val="F26B43"/>
          </p15:clr>
        </p15:guide>
        <p15:guide id="10" pos="7272" userDrawn="1">
          <p15:clr>
            <a:srgbClr val="F26B43"/>
          </p15:clr>
        </p15:guide>
        <p15:guide id="11" orient="horz" pos="2160" userDrawn="1">
          <p15:clr>
            <a:srgbClr val="F26B43"/>
          </p15:clr>
        </p15:guide>
        <p15:guide id="12" pos="4444" userDrawn="1">
          <p15:clr>
            <a:srgbClr val="F26B43"/>
          </p15:clr>
        </p15:guide>
        <p15:guide id="13" pos="4648" userDrawn="1">
          <p15:clr>
            <a:srgbClr val="F26B43"/>
          </p15:clr>
        </p15:guide>
        <p15:guide id="14" orient="horz" pos="204" userDrawn="1">
          <p15:clr>
            <a:srgbClr val="F26B43"/>
          </p15:clr>
        </p15:guide>
        <p15:guide id="15" orient="horz" pos="408" userDrawn="1">
          <p15:clr>
            <a:srgbClr val="F26B43"/>
          </p15:clr>
        </p15:guide>
        <p15:guide id="16" pos="1821" userDrawn="1">
          <p15:clr>
            <a:srgbClr val="F26B43"/>
          </p15:clr>
        </p15:guide>
        <p15:guide id="17" orient="horz" pos="1956" userDrawn="1">
          <p15:clr>
            <a:srgbClr val="F26B43"/>
          </p15:clr>
        </p15:guide>
        <p15:guide id="18" pos="5859" userDrawn="1">
          <p15:clr>
            <a:srgbClr val="F26B43"/>
          </p15:clr>
        </p15:guide>
        <p15:guide id="19" orient="horz" pos="1752" userDrawn="1">
          <p15:clr>
            <a:srgbClr val="F26B43"/>
          </p15:clr>
        </p15:guide>
        <p15:guide id="20" pos="7476" userDrawn="1">
          <p15:clr>
            <a:srgbClr val="F26B43"/>
          </p15:clr>
        </p15:guide>
        <p15:guide id="21" pos="20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2F519B-251F-4336-8BCE-D602AE15805A}"/>
              </a:ext>
            </a:extLst>
          </p:cNvPr>
          <p:cNvGraphicFramePr>
            <a:graphicFrameLocks noChangeAspect="1"/>
          </p:cNvGraphicFramePr>
          <p:nvPr userDrawn="1">
            <p:custDataLst>
              <p:tags r:id="rId38"/>
            </p:custDataLst>
            <p:extLst>
              <p:ext uri="{D42A27DB-BD31-4B8C-83A1-F6EECF244321}">
                <p14:modId xmlns:p14="http://schemas.microsoft.com/office/powerpoint/2010/main" val="318231750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101" name="think-cell Slide" r:id="rId40" imgW="421" imgH="423" progId="TCLayout.ActiveDocument.1">
                  <p:embed/>
                </p:oleObj>
              </mc:Choice>
              <mc:Fallback>
                <p:oleObj name="think-cell Slide" r:id="rId40" imgW="421" imgH="423" progId="TCLayout.ActiveDocument.1">
                  <p:embed/>
                  <p:pic>
                    <p:nvPicPr>
                      <p:cNvPr id="5" name="Object 4" hidden="1">
                        <a:extLst>
                          <a:ext uri="{FF2B5EF4-FFF2-40B4-BE49-F238E27FC236}">
                            <a16:creationId xmlns:a16="http://schemas.microsoft.com/office/drawing/2014/main" id="{C82F519B-251F-4336-8BCE-D602AE15805A}"/>
                          </a:ext>
                        </a:extLst>
                      </p:cNvPr>
                      <p:cNvPicPr/>
                      <p:nvPr/>
                    </p:nvPicPr>
                    <p:blipFill>
                      <a:blip r:embed="rId41"/>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1312C8A-4B7F-4525-9797-ACA53F580D4D}"/>
              </a:ext>
            </a:extLst>
          </p:cNvPr>
          <p:cNvSpPr/>
          <p:nvPr userDrawn="1">
            <p:custDataLst>
              <p:tags r:id="rId39"/>
            </p:custDataLst>
          </p:nvPr>
        </p:nvSpPr>
        <p:spPr>
          <a:xfrm>
            <a:off x="0" y="0"/>
            <a:ext cx="211667" cy="211667"/>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dirty="0">
              <a:latin typeface="Verdana" panose="020B0604030504040204" pitchFamily="34" charset="0"/>
              <a:ea typeface="+mj-ea"/>
              <a:cs typeface="+mj-cs"/>
              <a:sym typeface="Verdana" panose="020B0604030504040204" pitchFamily="34" charset="0"/>
            </a:endParaRPr>
          </a:p>
        </p:txBody>
      </p:sp>
      <p:sp>
        <p:nvSpPr>
          <p:cNvPr id="14" name="Rectangle 23"/>
          <p:cNvSpPr>
            <a:spLocks noGrp="1" noChangeArrowheads="1"/>
          </p:cNvSpPr>
          <p:nvPr>
            <p:ph type="sldNum" sz="quarter" idx="4"/>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
        <p:nvSpPr>
          <p:cNvPr id="3" name="Text Placeholder 2"/>
          <p:cNvSpPr>
            <a:spLocks noGrp="1"/>
          </p:cNvSpPr>
          <p:nvPr>
            <p:ph type="body" idx="1"/>
          </p:nvPr>
        </p:nvSpPr>
        <p:spPr>
          <a:xfrm>
            <a:off x="422400" y="1749630"/>
            <a:ext cx="11347200" cy="3941053"/>
          </a:xfrm>
          <a:prstGeom prst="rect">
            <a:avLst/>
          </a:prstGeom>
        </p:spPr>
        <p:txBody>
          <a:bodyPr vert="horz" lIns="0" tIns="0" rIns="216000" bIns="0" rtlCol="0">
            <a:norm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Placeholder 1"/>
          <p:cNvSpPr>
            <a:spLocks noGrp="1"/>
          </p:cNvSpPr>
          <p:nvPr>
            <p:ph type="title"/>
          </p:nvPr>
        </p:nvSpPr>
        <p:spPr>
          <a:xfrm>
            <a:off x="422400" y="687227"/>
            <a:ext cx="11347200" cy="521883"/>
          </a:xfrm>
          <a:prstGeom prst="rect">
            <a:avLst/>
          </a:prstGeom>
        </p:spPr>
        <p:txBody>
          <a:bodyPr vert="horz" lIns="0" tIns="0" rIns="0" bIns="0" rtlCol="0" anchor="ctr" anchorCtr="0">
            <a:noAutofit/>
          </a:bodyPr>
          <a:lstStyle/>
          <a:p>
            <a:r>
              <a:rPr lang="en-GB" noProof="0" dirty="0"/>
              <a:t>Click to edit Master title style</a:t>
            </a:r>
          </a:p>
        </p:txBody>
      </p:sp>
      <p:sp>
        <p:nvSpPr>
          <p:cNvPr id="13" name="Rectangle 5"/>
          <p:cNvSpPr>
            <a:spLocks noGrp="1" noChangeArrowheads="1"/>
          </p:cNvSpPr>
          <p:nvPr>
            <p:ph type="ftr" sz="quarter" idx="3"/>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Graduate Programmes Presentation</a:t>
            </a:r>
          </a:p>
        </p:txBody>
      </p:sp>
      <p:sp>
        <p:nvSpPr>
          <p:cNvPr id="15" name="Rectangle 81"/>
          <p:cNvSpPr>
            <a:spLocks noGrp="1" noChangeArrowheads="1"/>
          </p:cNvSpPr>
          <p:nvPr>
            <p:ph type="dt" sz="half" idx="2"/>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dirty="0"/>
              <a:t>November 2018</a:t>
            </a:r>
          </a:p>
        </p:txBody>
      </p:sp>
      <p:pic>
        <p:nvPicPr>
          <p:cNvPr id="16" name="Picture 11" descr="NN_m_2c_RGB"/>
          <p:cNvPicPr>
            <a:picLocks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10822624" y="5714737"/>
            <a:ext cx="1066696" cy="889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3" descr="NN_m_2c_RGB"/>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0810431" y="5714738"/>
            <a:ext cx="1080128" cy="8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11774259"/>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 id="2147483841" r:id="rId33"/>
    <p:sldLayoutId id="2147483842" r:id="rId34"/>
    <p:sldLayoutId id="2147483843" r:id="rId35"/>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l" defTabSz="1219170" rtl="0" eaLnBrk="1" latinLnBrk="0" hangingPunct="1">
        <a:spcBef>
          <a:spcPct val="0"/>
        </a:spcBef>
        <a:buNone/>
        <a:defRPr sz="3200" b="1" kern="1200">
          <a:solidFill>
            <a:schemeClr val="accent2"/>
          </a:solidFill>
          <a:latin typeface="+mj-lt"/>
          <a:ea typeface="+mj-ea"/>
          <a:cs typeface="+mj-cs"/>
        </a:defRPr>
      </a:lvl1pPr>
    </p:titleStyle>
    <p:bodyStyle>
      <a:lvl1pPr marL="353475" indent="-353475" algn="l" defTabSz="1219170" rtl="0" eaLnBrk="1" latinLnBrk="0" hangingPunct="1">
        <a:spcBef>
          <a:spcPct val="20000"/>
        </a:spcBef>
        <a:buClr>
          <a:schemeClr val="accent1"/>
        </a:buClr>
        <a:buFont typeface="Verdana" pitchFamily="34" charset="0"/>
        <a:buChar char="•"/>
        <a:defRPr sz="2400" kern="1200">
          <a:solidFill>
            <a:schemeClr val="accent2"/>
          </a:solidFill>
          <a:latin typeface="+mn-lt"/>
          <a:ea typeface="+mn-ea"/>
          <a:cs typeface="+mn-cs"/>
        </a:defRPr>
      </a:lvl1pPr>
      <a:lvl2pPr marL="715415" indent="-361942" algn="l" defTabSz="1219170" rtl="0" eaLnBrk="1" latinLnBrk="0" hangingPunct="1">
        <a:spcBef>
          <a:spcPct val="20000"/>
        </a:spcBef>
        <a:buClr>
          <a:schemeClr val="tx2"/>
        </a:buClr>
        <a:buFont typeface="Verdana" pitchFamily="34" charset="0"/>
        <a:buChar char="•"/>
        <a:defRPr sz="2133" kern="1200">
          <a:solidFill>
            <a:schemeClr val="accent2"/>
          </a:solidFill>
          <a:latin typeface="+mn-lt"/>
          <a:ea typeface="+mn-ea"/>
          <a:cs typeface="+mn-cs"/>
        </a:defRPr>
      </a:lvl2pPr>
      <a:lvl3pPr marL="1077357" indent="-361942" algn="l" defTabSz="1219170" rtl="0" eaLnBrk="1" latinLnBrk="0" hangingPunct="1">
        <a:spcBef>
          <a:spcPct val="20000"/>
        </a:spcBef>
        <a:buClr>
          <a:schemeClr val="accent5"/>
        </a:buClr>
        <a:buFont typeface="Verdana" pitchFamily="34" charset="0"/>
        <a:buChar char="•"/>
        <a:defRPr sz="1867" kern="1200">
          <a:solidFill>
            <a:schemeClr val="accent2"/>
          </a:solidFill>
          <a:latin typeface="+mn-lt"/>
          <a:ea typeface="+mn-ea"/>
          <a:cs typeface="+mn-cs"/>
        </a:defRPr>
      </a:lvl3pPr>
      <a:lvl4pPr marL="1314418" indent="-237061" algn="l" defTabSz="1219170" rtl="0" eaLnBrk="1" latinLnBrk="0" hangingPunct="1">
        <a:spcBef>
          <a:spcPct val="20000"/>
        </a:spcBef>
        <a:buClr>
          <a:schemeClr val="accent3"/>
        </a:buClr>
        <a:buFont typeface="Verdana" pitchFamily="34" charset="0"/>
        <a:buChar char="•"/>
        <a:defRPr sz="1600" kern="1200">
          <a:solidFill>
            <a:schemeClr val="accent2"/>
          </a:solidFill>
          <a:latin typeface="+mn-lt"/>
          <a:ea typeface="+mn-ea"/>
          <a:cs typeface="+mn-cs"/>
        </a:defRPr>
      </a:lvl4pPr>
      <a:lvl5pPr marL="1676358" indent="-245527" algn="l" defTabSz="1219170" rtl="0" eaLnBrk="1" latinLnBrk="0" hangingPunct="1">
        <a:spcBef>
          <a:spcPct val="20000"/>
        </a:spcBef>
        <a:buClr>
          <a:srgbClr val="001423"/>
        </a:buClr>
        <a:buFont typeface="Verdana" pitchFamily="34" charset="0"/>
        <a:buChar char="•"/>
        <a:defRPr sz="1467" kern="1200">
          <a:solidFill>
            <a:schemeClr val="accent2"/>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CF53A3B8-704C-4A98-8218-95E55CE92C5F}"/>
              </a:ext>
            </a:extLst>
          </p:cNvPr>
          <p:cNvGraphicFramePr>
            <a:graphicFrameLocks noChangeAspect="1"/>
          </p:cNvGraphicFramePr>
          <p:nvPr userDrawn="1">
            <p:custDataLst>
              <p:tags r:id="rId45"/>
            </p:custDataLst>
            <p:extLst>
              <p:ext uri="{D42A27DB-BD31-4B8C-83A1-F6EECF244321}">
                <p14:modId xmlns:p14="http://schemas.microsoft.com/office/powerpoint/2010/main" val="2490576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5" name="think-cell Slide" r:id="rId135" imgW="421" imgH="423" progId="TCLayout.ActiveDocument.1">
                  <p:embed/>
                </p:oleObj>
              </mc:Choice>
              <mc:Fallback>
                <p:oleObj name="think-cell Slide" r:id="rId135" imgW="421" imgH="423" progId="TCLayout.ActiveDocument.1">
                  <p:embed/>
                  <p:pic>
                    <p:nvPicPr>
                      <p:cNvPr id="28" name="Object 27" hidden="1">
                        <a:extLst>
                          <a:ext uri="{FF2B5EF4-FFF2-40B4-BE49-F238E27FC236}">
                            <a16:creationId xmlns:a16="http://schemas.microsoft.com/office/drawing/2014/main" id="{CF53A3B8-704C-4A98-8218-95E55CE92C5F}"/>
                          </a:ext>
                        </a:extLst>
                      </p:cNvPr>
                      <p:cNvPicPr/>
                      <p:nvPr/>
                    </p:nvPicPr>
                    <p:blipFill>
                      <a:blip r:embed="rId13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5554AD2B-F2C2-4B90-B3F3-18CC85E9C398}"/>
              </a:ext>
            </a:extLst>
          </p:cNvPr>
          <p:cNvSpPr/>
          <p:nvPr userDrawn="1">
            <p:custDataLst>
              <p:tags r:id="rId46"/>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GB" dirty="0"/>
              <a:t>Click to edit Master title style</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700">
                <a:solidFill>
                  <a:schemeClr val="tx2"/>
                </a:solidFill>
              </a:defRPr>
            </a:lvl1pPr>
          </a:lstStyle>
          <a:p>
            <a:fld id="{176BE55F-FD9F-4E17-9752-44E374A42BE7}" type="datetime3">
              <a:rPr lang="en-GB" smtClean="0"/>
              <a:t>6 November, 2020</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700">
                <a:solidFill>
                  <a:schemeClr val="tx2"/>
                </a:solidFill>
              </a:defRPr>
            </a:lvl1pPr>
          </a:lstStyle>
          <a:p>
            <a:r>
              <a:rPr lang="en-GB" dirty="0"/>
              <a:t>Graduate Programme Introduction</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7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107722"/>
          </a:xfrm>
          <a:prstGeom prst="rect">
            <a:avLst/>
          </a:prstGeom>
          <a:noFill/>
        </p:spPr>
        <p:txBody>
          <a:bodyPr wrap="square" lIns="0" tIns="0" rIns="0" bIns="0" rtlCol="0">
            <a:spAutoFit/>
          </a:bodyPr>
          <a:lstStyle/>
          <a:p>
            <a:pPr algn="r"/>
            <a:r>
              <a:rPr lang="en-GB" sz="700" dirty="0">
                <a:solidFill>
                  <a:schemeClr val="tx2"/>
                </a:solidFill>
              </a:rPr>
              <a:t>Novo Nordisk</a:t>
            </a:r>
            <a:r>
              <a:rPr lang="en-GB" sz="7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47"/>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48"/>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49"/>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0"/>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1"/>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52"/>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53"/>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54"/>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55"/>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56"/>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57"/>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58"/>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59"/>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0"/>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1"/>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62"/>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63"/>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64"/>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65"/>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66"/>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67"/>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68"/>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69"/>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0"/>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1"/>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72"/>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73"/>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74"/>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75"/>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76"/>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77"/>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78"/>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79"/>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0"/>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1"/>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82"/>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83"/>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84"/>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85"/>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86"/>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87"/>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88"/>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89"/>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0"/>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1"/>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92"/>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93"/>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94"/>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95"/>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96"/>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97"/>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98"/>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99"/>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0"/>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1"/>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02"/>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03"/>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04"/>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05"/>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06"/>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07"/>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08"/>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09"/>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0"/>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1"/>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12"/>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13"/>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14"/>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15"/>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16"/>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17"/>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18"/>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19"/>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0"/>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1"/>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22"/>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23"/>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24"/>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25"/>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26"/>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27"/>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28"/>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29"/>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0"/>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1"/>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32"/>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33"/>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34"/>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5"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1090779A-FA30-4EF9-809F-763A92C81AB1}"/>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4232807738"/>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 id="2147483869" r:id="rId25"/>
    <p:sldLayoutId id="2147483870" r:id="rId26"/>
    <p:sldLayoutId id="2147483871" r:id="rId27"/>
    <p:sldLayoutId id="2147483872" r:id="rId28"/>
    <p:sldLayoutId id="2147483873" r:id="rId29"/>
    <p:sldLayoutId id="2147483874" r:id="rId30"/>
    <p:sldLayoutId id="2147483875" r:id="rId31"/>
    <p:sldLayoutId id="2147483876" r:id="rId32"/>
    <p:sldLayoutId id="2147483877" r:id="rId33"/>
    <p:sldLayoutId id="2147483878" r:id="rId34"/>
    <p:sldLayoutId id="2147483879" r:id="rId35"/>
    <p:sldLayoutId id="2147483880" r:id="rId36"/>
    <p:sldLayoutId id="2147483881" r:id="rId37"/>
    <p:sldLayoutId id="2147483882" r:id="rId38"/>
    <p:sldLayoutId id="2147483883" r:id="rId39"/>
    <p:sldLayoutId id="2147483884" r:id="rId40"/>
    <p:sldLayoutId id="2147483885" r:id="rId41"/>
    <p:sldLayoutId id="2147483886" r:id="rId42"/>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CF53A3B8-704C-4A98-8218-95E55CE92C5F}"/>
              </a:ext>
            </a:extLst>
          </p:cNvPr>
          <p:cNvGraphicFramePr>
            <a:graphicFrameLocks noChangeAspect="1"/>
          </p:cNvGraphicFramePr>
          <p:nvPr userDrawn="1">
            <p:custDataLst>
              <p:tags r:id="rId45"/>
            </p:custDataLst>
            <p:extLst>
              <p:ext uri="{D42A27DB-BD31-4B8C-83A1-F6EECF244321}">
                <p14:modId xmlns:p14="http://schemas.microsoft.com/office/powerpoint/2010/main" val="2877165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3" name="think-cell Slide" r:id="rId135" imgW="421" imgH="423" progId="TCLayout.ActiveDocument.1">
                  <p:embed/>
                </p:oleObj>
              </mc:Choice>
              <mc:Fallback>
                <p:oleObj name="think-cell Slide" r:id="rId135" imgW="421" imgH="423" progId="TCLayout.ActiveDocument.1">
                  <p:embed/>
                  <p:pic>
                    <p:nvPicPr>
                      <p:cNvPr id="28" name="Object 27" hidden="1">
                        <a:extLst>
                          <a:ext uri="{FF2B5EF4-FFF2-40B4-BE49-F238E27FC236}">
                            <a16:creationId xmlns:a16="http://schemas.microsoft.com/office/drawing/2014/main" id="{CF53A3B8-704C-4A98-8218-95E55CE92C5F}"/>
                          </a:ext>
                        </a:extLst>
                      </p:cNvPr>
                      <p:cNvPicPr/>
                      <p:nvPr/>
                    </p:nvPicPr>
                    <p:blipFill>
                      <a:blip r:embed="rId13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5554AD2B-F2C2-4B90-B3F3-18CC85E9C398}"/>
              </a:ext>
            </a:extLst>
          </p:cNvPr>
          <p:cNvSpPr/>
          <p:nvPr userDrawn="1">
            <p:custDataLst>
              <p:tags r:id="rId46"/>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GB" dirty="0"/>
              <a:t>Click to edit Master title style</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700">
                <a:solidFill>
                  <a:schemeClr val="tx2"/>
                </a:solidFill>
              </a:defRPr>
            </a:lvl1pPr>
          </a:lstStyle>
          <a:p>
            <a:fld id="{176BE55F-FD9F-4E17-9752-44E374A42BE7}" type="datetime3">
              <a:rPr lang="en-GB" smtClean="0"/>
              <a:t>6 November, 2020</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700">
                <a:solidFill>
                  <a:schemeClr val="tx2"/>
                </a:solidFill>
              </a:defRPr>
            </a:lvl1pPr>
          </a:lstStyle>
          <a:p>
            <a:r>
              <a:rPr lang="en-GB" dirty="0"/>
              <a:t>Graduate Programme Introduction</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7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107722"/>
          </a:xfrm>
          <a:prstGeom prst="rect">
            <a:avLst/>
          </a:prstGeom>
          <a:noFill/>
        </p:spPr>
        <p:txBody>
          <a:bodyPr wrap="square" lIns="0" tIns="0" rIns="0" bIns="0" rtlCol="0">
            <a:spAutoFit/>
          </a:bodyPr>
          <a:lstStyle/>
          <a:p>
            <a:pPr algn="r"/>
            <a:r>
              <a:rPr lang="en-GB" sz="700" dirty="0">
                <a:solidFill>
                  <a:schemeClr val="tx2"/>
                </a:solidFill>
              </a:rPr>
              <a:t>Novo Nordisk</a:t>
            </a:r>
            <a:r>
              <a:rPr lang="en-GB" sz="7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47"/>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48"/>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49"/>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0"/>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1"/>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52"/>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53"/>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54"/>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55"/>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56"/>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57"/>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58"/>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59"/>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0"/>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1"/>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62"/>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63"/>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64"/>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65"/>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66"/>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67"/>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68"/>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69"/>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0"/>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1"/>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72"/>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73"/>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74"/>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75"/>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76"/>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77"/>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78"/>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79"/>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0"/>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1"/>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82"/>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83"/>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84"/>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85"/>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86"/>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87"/>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88"/>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89"/>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0"/>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1"/>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92"/>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93"/>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94"/>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95"/>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96"/>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97"/>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98"/>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99"/>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0"/>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1"/>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02"/>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03"/>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04"/>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05"/>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06"/>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07"/>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08"/>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09"/>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0"/>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1"/>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12"/>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13"/>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14"/>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15"/>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16"/>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17"/>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18"/>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19"/>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0"/>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1"/>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22"/>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23"/>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24"/>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25"/>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26"/>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27"/>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28"/>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29"/>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0"/>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1"/>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32"/>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33"/>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34"/>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5"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1090779A-FA30-4EF9-809F-763A92C81AB1}"/>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935014034"/>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 id="2147483913" r:id="rId26"/>
    <p:sldLayoutId id="2147483914" r:id="rId27"/>
    <p:sldLayoutId id="2147483915" r:id="rId28"/>
    <p:sldLayoutId id="2147483916" r:id="rId29"/>
    <p:sldLayoutId id="2147483917" r:id="rId30"/>
    <p:sldLayoutId id="2147483918" r:id="rId31"/>
    <p:sldLayoutId id="2147483919" r:id="rId32"/>
    <p:sldLayoutId id="2147483920" r:id="rId33"/>
    <p:sldLayoutId id="2147483921" r:id="rId34"/>
    <p:sldLayoutId id="2147483922" r:id="rId35"/>
    <p:sldLayoutId id="2147483923" r:id="rId36"/>
    <p:sldLayoutId id="2147483924" r:id="rId37"/>
    <p:sldLayoutId id="2147483925" r:id="rId38"/>
    <p:sldLayoutId id="2147483926" r:id="rId39"/>
    <p:sldLayoutId id="2147483927" r:id="rId40"/>
    <p:sldLayoutId id="2147483928" r:id="rId41"/>
    <p:sldLayoutId id="2147483929" r:id="rId42"/>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CF53A3B8-704C-4A98-8218-95E55CE92C5F}"/>
              </a:ext>
            </a:extLst>
          </p:cNvPr>
          <p:cNvGraphicFramePr>
            <a:graphicFrameLocks noChangeAspect="1"/>
          </p:cNvGraphicFramePr>
          <p:nvPr userDrawn="1">
            <p:custDataLst>
              <p:tags r:id="rId45"/>
            </p:custDataLst>
            <p:extLst>
              <p:ext uri="{D42A27DB-BD31-4B8C-83A1-F6EECF244321}">
                <p14:modId xmlns:p14="http://schemas.microsoft.com/office/powerpoint/2010/main" val="1562048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1" name="think-cell Slide" r:id="rId135" imgW="421" imgH="423" progId="TCLayout.ActiveDocument.1">
                  <p:embed/>
                </p:oleObj>
              </mc:Choice>
              <mc:Fallback>
                <p:oleObj name="think-cell Slide" r:id="rId135" imgW="421" imgH="423" progId="TCLayout.ActiveDocument.1">
                  <p:embed/>
                  <p:pic>
                    <p:nvPicPr>
                      <p:cNvPr id="28" name="Object 27" hidden="1">
                        <a:extLst>
                          <a:ext uri="{FF2B5EF4-FFF2-40B4-BE49-F238E27FC236}">
                            <a16:creationId xmlns:a16="http://schemas.microsoft.com/office/drawing/2014/main" id="{CF53A3B8-704C-4A98-8218-95E55CE92C5F}"/>
                          </a:ext>
                        </a:extLst>
                      </p:cNvPr>
                      <p:cNvPicPr/>
                      <p:nvPr/>
                    </p:nvPicPr>
                    <p:blipFill>
                      <a:blip r:embed="rId136"/>
                      <a:stretch>
                        <a:fillRect/>
                      </a:stretch>
                    </p:blipFill>
                    <p:spPr>
                      <a:xfrm>
                        <a:off x="1588" y="1588"/>
                        <a:ext cx="1588" cy="1588"/>
                      </a:xfrm>
                      <a:prstGeom prst="rect">
                        <a:avLst/>
                      </a:prstGeom>
                    </p:spPr>
                  </p:pic>
                </p:oleObj>
              </mc:Fallback>
            </mc:AlternateContent>
          </a:graphicData>
        </a:graphic>
      </p:graphicFrame>
      <p:sp>
        <p:nvSpPr>
          <p:cNvPr id="27" name="Rectangle 26" hidden="1">
            <a:extLst>
              <a:ext uri="{FF2B5EF4-FFF2-40B4-BE49-F238E27FC236}">
                <a16:creationId xmlns:a16="http://schemas.microsoft.com/office/drawing/2014/main" id="{5554AD2B-F2C2-4B90-B3F3-18CC85E9C398}"/>
              </a:ext>
            </a:extLst>
          </p:cNvPr>
          <p:cNvSpPr/>
          <p:nvPr userDrawn="1">
            <p:custDataLst>
              <p:tags r:id="rId46"/>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600" b="0" i="0" baseline="0" noProof="0" dirty="0">
              <a:latin typeface="Apis For Office" panose="020B0504010101010104" pitchFamily="34" charset="0"/>
              <a:ea typeface="+mj-ea"/>
              <a:cs typeface="+mj-cs"/>
              <a:sym typeface="Apis For Office" panose="020B0504010101010104" pitchFamily="34" charset="0"/>
            </a:endParaRPr>
          </a:p>
        </p:txBody>
      </p:sp>
      <p:sp>
        <p:nvSpPr>
          <p:cNvPr id="3" name="Text Placeholder 2"/>
          <p:cNvSpPr>
            <a:spLocks noGrp="1"/>
          </p:cNvSpPr>
          <p:nvPr>
            <p:ph type="body" idx="1"/>
          </p:nvPr>
        </p:nvSpPr>
        <p:spPr>
          <a:xfrm>
            <a:off x="648000" y="1944000"/>
            <a:ext cx="10896000" cy="4266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 Small Header</a:t>
            </a:r>
          </a:p>
          <a:p>
            <a:pPr lvl="7"/>
            <a:r>
              <a:rPr lang="en-GB" noProof="0" dirty="0"/>
              <a:t>Level 8, Small Body</a:t>
            </a:r>
          </a:p>
          <a:p>
            <a:pPr lvl="8"/>
            <a:r>
              <a:rPr lang="en-GB" noProof="0" dirty="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296000"/>
          </a:xfrm>
          <a:prstGeom prst="rect">
            <a:avLst/>
          </a:prstGeom>
        </p:spPr>
        <p:txBody>
          <a:bodyPr vert="horz" lIns="0" tIns="0" rIns="0" bIns="0" rtlCol="0" anchor="t" anchorCtr="0">
            <a:noAutofit/>
          </a:bodyPr>
          <a:lstStyle/>
          <a:p>
            <a:r>
              <a:rPr lang="en-GB" dirty="0"/>
              <a:t>Click to edit Master title style</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2892000" y="324000"/>
            <a:ext cx="1920000" cy="125850"/>
          </a:xfrm>
          <a:prstGeom prst="rect">
            <a:avLst/>
          </a:prstGeom>
        </p:spPr>
        <p:txBody>
          <a:bodyPr vert="horz" lIns="0" tIns="0" rIns="0" bIns="0" rtlCol="0" anchor="t"/>
          <a:lstStyle>
            <a:lvl1pPr algn="l">
              <a:defRPr sz="700">
                <a:solidFill>
                  <a:schemeClr val="tx2"/>
                </a:solidFill>
              </a:defRPr>
            </a:lvl1pPr>
          </a:lstStyle>
          <a:p>
            <a:fld id="{176BE55F-FD9F-4E17-9752-44E374A42BE7}" type="datetime3">
              <a:rPr lang="en-GB" smtClean="0"/>
              <a:t>6 November, 2020</a:t>
            </a:fld>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48000" y="323850"/>
            <a:ext cx="1919288" cy="126000"/>
          </a:xfrm>
          <a:prstGeom prst="rect">
            <a:avLst/>
          </a:prstGeom>
        </p:spPr>
        <p:txBody>
          <a:bodyPr vert="horz" lIns="0" tIns="0" rIns="0" bIns="0" rtlCol="0" anchor="t"/>
          <a:lstStyle>
            <a:lvl1pPr algn="l">
              <a:defRPr sz="700">
                <a:solidFill>
                  <a:schemeClr val="tx2"/>
                </a:solidFill>
              </a:defRPr>
            </a:lvl1pPr>
          </a:lstStyle>
          <a:p>
            <a:r>
              <a:rPr lang="en-GB" dirty="0"/>
              <a:t>Graduate Programme Introduction</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324000" y="324000"/>
            <a:ext cx="324000" cy="125850"/>
          </a:xfrm>
          <a:prstGeom prst="rect">
            <a:avLst/>
          </a:prstGeom>
        </p:spPr>
        <p:txBody>
          <a:bodyPr vert="horz" lIns="0" tIns="0" rIns="0" bIns="0" rtlCol="0" anchor="t"/>
          <a:lstStyle>
            <a:lvl1pPr algn="l">
              <a:defRPr sz="700">
                <a:solidFill>
                  <a:schemeClr val="tx2"/>
                </a:solidFill>
              </a:defRPr>
            </a:lvl1pPr>
          </a:lstStyle>
          <a:p>
            <a:fld id="{23AA811B-2EBD-4900-905E-5BE206449611}" type="slidenum">
              <a:rPr lang="en-GB" smtClean="0"/>
              <a:pPr/>
              <a:t>‹#›</a:t>
            </a:fld>
            <a:endParaRPr lang="en-GB" dirty="0"/>
          </a:p>
        </p:txBody>
      </p:sp>
      <p:sp>
        <p:nvSpPr>
          <p:cNvPr id="26" name="TextBox 25">
            <a:extLst>
              <a:ext uri="{FF2B5EF4-FFF2-40B4-BE49-F238E27FC236}">
                <a16:creationId xmlns:a16="http://schemas.microsoft.com/office/drawing/2014/main" id="{278D69B5-2783-4637-A949-A867EE4EFE6B}"/>
              </a:ext>
            </a:extLst>
          </p:cNvPr>
          <p:cNvSpPr txBox="1"/>
          <p:nvPr userDrawn="1"/>
        </p:nvSpPr>
        <p:spPr>
          <a:xfrm>
            <a:off x="11218069" y="324000"/>
            <a:ext cx="648494" cy="107722"/>
          </a:xfrm>
          <a:prstGeom prst="rect">
            <a:avLst/>
          </a:prstGeom>
          <a:noFill/>
        </p:spPr>
        <p:txBody>
          <a:bodyPr wrap="square" lIns="0" tIns="0" rIns="0" bIns="0" rtlCol="0">
            <a:spAutoFit/>
          </a:bodyPr>
          <a:lstStyle/>
          <a:p>
            <a:pPr algn="r"/>
            <a:r>
              <a:rPr lang="en-GB" sz="700" dirty="0">
                <a:solidFill>
                  <a:schemeClr val="tx2"/>
                </a:solidFill>
              </a:rPr>
              <a:t>Novo Nordisk</a:t>
            </a:r>
            <a:r>
              <a:rPr lang="en-GB" sz="700" baseline="30000" dirty="0">
                <a:solidFill>
                  <a:schemeClr val="tx2"/>
                </a:solidFill>
              </a:rPr>
              <a:t>®</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47"/>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48"/>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49"/>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50"/>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51"/>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52"/>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53"/>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54"/>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55"/>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56"/>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57"/>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58"/>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59"/>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60"/>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61"/>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62"/>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63"/>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64"/>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65"/>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66"/>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67"/>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68"/>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69"/>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70"/>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71"/>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72"/>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73"/>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74"/>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75"/>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76"/>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77"/>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78"/>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79"/>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80"/>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81"/>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82"/>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83"/>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84"/>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85"/>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86"/>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87"/>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88"/>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89"/>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90"/>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91"/>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92"/>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93"/>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94"/>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95"/>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96"/>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97"/>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98"/>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99"/>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100"/>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101"/>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102"/>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103"/>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104"/>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105"/>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106"/>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107"/>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108"/>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109"/>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110"/>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111"/>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112"/>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113"/>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114"/>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115"/>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116"/>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117"/>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118"/>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119"/>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120"/>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121"/>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122"/>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123"/>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124"/>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125"/>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126"/>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127"/>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128"/>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129"/>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30"/>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31"/>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32"/>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33"/>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34"/>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5"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1090779A-FA30-4EF9-809F-763A92C81AB1}"/>
              </a:ext>
            </a:extLst>
          </p:cNvPr>
          <p:cNvSpPr/>
          <p:nvPr userDrawn="1"/>
        </p:nvSpPr>
        <p:spPr>
          <a:xfrm>
            <a:off x="9240653" y="5336922"/>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Tree>
    <p:extLst>
      <p:ext uri="{BB962C8B-B14F-4D97-AF65-F5344CB8AC3E}">
        <p14:creationId xmlns:p14="http://schemas.microsoft.com/office/powerpoint/2010/main" val="3842233139"/>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 id="2147483947" r:id="rId17"/>
    <p:sldLayoutId id="2147483948" r:id="rId18"/>
    <p:sldLayoutId id="2147483949" r:id="rId19"/>
    <p:sldLayoutId id="2147483950" r:id="rId20"/>
    <p:sldLayoutId id="2147483951" r:id="rId21"/>
    <p:sldLayoutId id="2147483952" r:id="rId22"/>
    <p:sldLayoutId id="2147483953" r:id="rId23"/>
    <p:sldLayoutId id="2147483954" r:id="rId24"/>
    <p:sldLayoutId id="2147483955" r:id="rId25"/>
    <p:sldLayoutId id="2147483956" r:id="rId26"/>
    <p:sldLayoutId id="2147483957" r:id="rId27"/>
    <p:sldLayoutId id="2147483958" r:id="rId28"/>
    <p:sldLayoutId id="2147483959" r:id="rId29"/>
    <p:sldLayoutId id="2147483960" r:id="rId30"/>
    <p:sldLayoutId id="2147483961" r:id="rId31"/>
    <p:sldLayoutId id="2147483962" r:id="rId32"/>
    <p:sldLayoutId id="2147483963" r:id="rId33"/>
    <p:sldLayoutId id="2147483964" r:id="rId34"/>
    <p:sldLayoutId id="2147483965" r:id="rId35"/>
    <p:sldLayoutId id="2147483966" r:id="rId36"/>
    <p:sldLayoutId id="2147483967" r:id="rId37"/>
    <p:sldLayoutId id="2147483968" r:id="rId38"/>
    <p:sldLayoutId id="2147483969" r:id="rId39"/>
    <p:sldLayoutId id="2147483970" r:id="rId40"/>
    <p:sldLayoutId id="2147483971" r:id="rId41"/>
    <p:sldLayoutId id="2147483972" r:id="rId42"/>
  </p:sldLayoutIdLst>
  <p:hf hdr="0" dt="0"/>
  <p:txStyles>
    <p:title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p:titleStyle>
    <p:body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8">
          <p15:clr>
            <a:srgbClr val="F26B43"/>
          </p15:clr>
        </p15:guide>
        <p15:guide id="2" pos="1617">
          <p15:clr>
            <a:srgbClr val="F26B43"/>
          </p15:clr>
        </p15:guide>
        <p15:guide id="3" orient="horz" pos="2364">
          <p15:clr>
            <a:srgbClr val="F26B43"/>
          </p15:clr>
        </p15:guide>
        <p15:guide id="4" orient="horz" pos="2568">
          <p15:clr>
            <a:srgbClr val="F26B43"/>
          </p15:clr>
        </p15:guide>
        <p15:guide id="5" pos="3031">
          <p15:clr>
            <a:srgbClr val="F26B43"/>
          </p15:clr>
        </p15:guide>
        <p15:guide id="6" pos="3235">
          <p15:clr>
            <a:srgbClr val="F26B43"/>
          </p15:clr>
        </p15:guide>
        <p15:guide id="7" orient="horz" pos="3911">
          <p15:clr>
            <a:srgbClr val="F26B43"/>
          </p15:clr>
        </p15:guide>
        <p15:guide id="8" orient="horz" pos="4115">
          <p15:clr>
            <a:srgbClr val="F26B43"/>
          </p15:clr>
        </p15:guide>
        <p15:guide id="9" pos="6063">
          <p15:clr>
            <a:srgbClr val="F26B43"/>
          </p15:clr>
        </p15:guide>
        <p15:guide id="10" pos="7272">
          <p15:clr>
            <a:srgbClr val="F26B43"/>
          </p15:clr>
        </p15:guide>
        <p15:guide id="11" orient="horz" pos="2160">
          <p15:clr>
            <a:srgbClr val="F26B43"/>
          </p15:clr>
        </p15:guide>
        <p15:guide id="12" pos="4444">
          <p15:clr>
            <a:srgbClr val="F26B43"/>
          </p15:clr>
        </p15:guide>
        <p15:guide id="13" pos="4648">
          <p15:clr>
            <a:srgbClr val="F26B43"/>
          </p15:clr>
        </p15:guide>
        <p15:guide id="14" orient="horz" pos="204">
          <p15:clr>
            <a:srgbClr val="F26B43"/>
          </p15:clr>
        </p15:guide>
        <p15:guide id="15" orient="horz" pos="408">
          <p15:clr>
            <a:srgbClr val="F26B43"/>
          </p15:clr>
        </p15:guide>
        <p15:guide id="16" pos="1821">
          <p15:clr>
            <a:srgbClr val="F26B43"/>
          </p15:clr>
        </p15:guide>
        <p15:guide id="17" orient="horz" pos="1956">
          <p15:clr>
            <a:srgbClr val="F26B43"/>
          </p15:clr>
        </p15:guide>
        <p15:guide id="18" pos="5859">
          <p15:clr>
            <a:srgbClr val="F26B43"/>
          </p15:clr>
        </p15:guide>
        <p15:guide id="19" orient="horz" pos="1752">
          <p15:clr>
            <a:srgbClr val="F26B43"/>
          </p15:clr>
        </p15:guide>
        <p15:guide id="20" pos="7476">
          <p15:clr>
            <a:srgbClr val="F26B43"/>
          </p15:clr>
        </p15:guide>
        <p15:guide id="21" pos="20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customXml" Target="../../customXml/item1.xml"/><Relationship Id="rId7" Type="http://schemas.openxmlformats.org/officeDocument/2006/relationships/slideLayout" Target="../slideLayouts/slideLayout16.xml"/><Relationship Id="rId12" Type="http://schemas.openxmlformats.org/officeDocument/2006/relationships/image" Target="../media/image32.png"/><Relationship Id="rId2" Type="http://schemas.openxmlformats.org/officeDocument/2006/relationships/customXml" Target="../../customXml/item7.xml"/><Relationship Id="rId1" Type="http://schemas.openxmlformats.org/officeDocument/2006/relationships/vmlDrawing" Target="../drawings/vmlDrawing166.vml"/><Relationship Id="rId6" Type="http://schemas.openxmlformats.org/officeDocument/2006/relationships/tags" Target="../tags/tag658.xml"/><Relationship Id="rId11" Type="http://schemas.openxmlformats.org/officeDocument/2006/relationships/image" Target="../media/image31.jpeg"/><Relationship Id="rId5" Type="http://schemas.openxmlformats.org/officeDocument/2006/relationships/tags" Target="../tags/tag657.xml"/><Relationship Id="rId10" Type="http://schemas.openxmlformats.org/officeDocument/2006/relationships/image" Target="../media/image13.emf"/><Relationship Id="rId4" Type="http://schemas.openxmlformats.org/officeDocument/2006/relationships/tags" Target="../tags/tag656.xml"/><Relationship Id="rId9" Type="http://schemas.openxmlformats.org/officeDocument/2006/relationships/oleObject" Target="../embeddings/oleObject166.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672.xml"/><Relationship Id="rId5" Type="http://schemas.openxmlformats.org/officeDocument/2006/relationships/image" Target="../media/image37.emf"/><Relationship Id="rId4" Type="http://schemas.openxmlformats.org/officeDocument/2006/relationships/image" Target="../media/image45.jp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1.xml"/><Relationship Id="rId1" Type="http://schemas.openxmlformats.org/officeDocument/2006/relationships/tags" Target="../tags/tag67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1.xml"/><Relationship Id="rId1" Type="http://schemas.openxmlformats.org/officeDocument/2006/relationships/tags" Target="../tags/tag674.xml"/><Relationship Id="rId5" Type="http://schemas.openxmlformats.org/officeDocument/2006/relationships/image" Target="../media/image47.svg"/><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1.xml"/><Relationship Id="rId1" Type="http://schemas.openxmlformats.org/officeDocument/2006/relationships/tags" Target="../tags/tag675.xml"/><Relationship Id="rId5" Type="http://schemas.openxmlformats.org/officeDocument/2006/relationships/image" Target="../media/image49.emf"/><Relationship Id="rId4" Type="http://schemas.openxmlformats.org/officeDocument/2006/relationships/image" Target="../media/image48.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1.xml"/><Relationship Id="rId1" Type="http://schemas.openxmlformats.org/officeDocument/2006/relationships/tags" Target="../tags/tag676.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hyperlink" Target="http://www.who.int/mediacentre/factsheets/fs311/en/"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slideLayout" Target="../slideLayouts/slideLayout11.xml"/><Relationship Id="rId1" Type="http://schemas.openxmlformats.org/officeDocument/2006/relationships/tags" Target="../tags/tag677.xml"/><Relationship Id="rId6" Type="http://schemas.openxmlformats.org/officeDocument/2006/relationships/image" Target="../media/image55.jpg"/><Relationship Id="rId5" Type="http://schemas.openxmlformats.org/officeDocument/2006/relationships/image" Target="../media/image54.jpg"/><Relationship Id="rId4" Type="http://schemas.openxmlformats.org/officeDocument/2006/relationships/image" Target="../media/image53.jp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7.xml"/><Relationship Id="rId1" Type="http://schemas.openxmlformats.org/officeDocument/2006/relationships/tags" Target="../tags/tag678.xml"/><Relationship Id="rId4" Type="http://schemas.openxmlformats.org/officeDocument/2006/relationships/image" Target="../media/image56.jp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1.xml"/><Relationship Id="rId1" Type="http://schemas.openxmlformats.org/officeDocument/2006/relationships/tags" Target="../tags/tag679.xml"/><Relationship Id="rId4" Type="http://schemas.openxmlformats.org/officeDocument/2006/relationships/image" Target="../media/image57.png"/></Relationships>
</file>

<file path=ppt/slides/_rels/slide18.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681.xml"/><Relationship Id="rId7" Type="http://schemas.openxmlformats.org/officeDocument/2006/relationships/oleObject" Target="../embeddings/oleObject170.bin"/><Relationship Id="rId2" Type="http://schemas.openxmlformats.org/officeDocument/2006/relationships/tags" Target="../tags/tag680.xml"/><Relationship Id="rId1" Type="http://schemas.openxmlformats.org/officeDocument/2006/relationships/vmlDrawing" Target="../drawings/vmlDrawing170.vml"/><Relationship Id="rId6" Type="http://schemas.openxmlformats.org/officeDocument/2006/relationships/notesSlide" Target="../notesSlides/notesSlide17.xml"/><Relationship Id="rId5" Type="http://schemas.openxmlformats.org/officeDocument/2006/relationships/slideLayout" Target="../slideLayouts/slideLayout170.xml"/><Relationship Id="rId4" Type="http://schemas.openxmlformats.org/officeDocument/2006/relationships/tags" Target="../tags/tag682.xml"/><Relationship Id="rId9" Type="http://schemas.openxmlformats.org/officeDocument/2006/relationships/image" Target="../media/image58.jp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1.xml"/><Relationship Id="rId1" Type="http://schemas.openxmlformats.org/officeDocument/2006/relationships/tags" Target="../tags/tag683.xml"/></Relationships>
</file>

<file path=ppt/slides/_rels/slide2.xml.rels><?xml version="1.0" encoding="UTF-8" standalone="yes"?>
<Relationships xmlns="http://schemas.openxmlformats.org/package/2006/relationships"><Relationship Id="rId3" Type="http://schemas.openxmlformats.org/officeDocument/2006/relationships/tags" Target="../tags/tag660.xml"/><Relationship Id="rId7" Type="http://schemas.openxmlformats.org/officeDocument/2006/relationships/image" Target="../media/image13.emf"/><Relationship Id="rId2" Type="http://schemas.openxmlformats.org/officeDocument/2006/relationships/tags" Target="../tags/tag659.xml"/><Relationship Id="rId1" Type="http://schemas.openxmlformats.org/officeDocument/2006/relationships/vmlDrawing" Target="../drawings/vmlDrawing167.vml"/><Relationship Id="rId6" Type="http://schemas.openxmlformats.org/officeDocument/2006/relationships/oleObject" Target="../embeddings/oleObject167.bin"/><Relationship Id="rId5" Type="http://schemas.openxmlformats.org/officeDocument/2006/relationships/notesSlide" Target="../notesSlides/notesSlide2.xml"/><Relationship Id="rId4"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3" Type="http://schemas.openxmlformats.org/officeDocument/2006/relationships/notesSlide" Target="../notesSlides/notesSlide19.xml"/><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slideLayout" Target="../slideLayouts/slideLayout50.xml"/><Relationship Id="rId1" Type="http://schemas.openxmlformats.org/officeDocument/2006/relationships/tags" Target="../tags/tag684.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73.png"/><Relationship Id="rId2" Type="http://schemas.openxmlformats.org/officeDocument/2006/relationships/slideLayout" Target="../slideLayouts/slideLayout11.xml"/><Relationship Id="rId1" Type="http://schemas.openxmlformats.org/officeDocument/2006/relationships/tags" Target="../tags/tag685.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21.xml"/><Relationship Id="rId3" Type="http://schemas.openxmlformats.org/officeDocument/2006/relationships/customXml" Target="../../customXml/item6.xml"/><Relationship Id="rId7" Type="http://schemas.openxmlformats.org/officeDocument/2006/relationships/slideLayout" Target="../slideLayouts/slideLayout16.xml"/><Relationship Id="rId2" Type="http://schemas.openxmlformats.org/officeDocument/2006/relationships/customXml" Target="../../customXml/item8.xml"/><Relationship Id="rId1" Type="http://schemas.openxmlformats.org/officeDocument/2006/relationships/vmlDrawing" Target="../drawings/vmlDrawing171.vml"/><Relationship Id="rId6" Type="http://schemas.openxmlformats.org/officeDocument/2006/relationships/tags" Target="../tags/tag688.xml"/><Relationship Id="rId11" Type="http://schemas.openxmlformats.org/officeDocument/2006/relationships/image" Target="../media/image31.jpeg"/><Relationship Id="rId5" Type="http://schemas.openxmlformats.org/officeDocument/2006/relationships/tags" Target="../tags/tag687.xml"/><Relationship Id="rId10" Type="http://schemas.openxmlformats.org/officeDocument/2006/relationships/image" Target="../media/image13.emf"/><Relationship Id="rId4" Type="http://schemas.openxmlformats.org/officeDocument/2006/relationships/tags" Target="../tags/tag686.xml"/><Relationship Id="rId9" Type="http://schemas.openxmlformats.org/officeDocument/2006/relationships/oleObject" Target="../embeddings/oleObject171.bin"/></Relationships>
</file>

<file path=ppt/slides/_rels/slide23.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tags" Target="../tags/tag690.xml"/><Relationship Id="rId7" Type="http://schemas.openxmlformats.org/officeDocument/2006/relationships/image" Target="../media/image1.emf"/><Relationship Id="rId2" Type="http://schemas.openxmlformats.org/officeDocument/2006/relationships/tags" Target="../tags/tag689.xml"/><Relationship Id="rId1" Type="http://schemas.openxmlformats.org/officeDocument/2006/relationships/vmlDrawing" Target="../drawings/vmlDrawing172.vml"/><Relationship Id="rId6" Type="http://schemas.openxmlformats.org/officeDocument/2006/relationships/oleObject" Target="../embeddings/oleObject172.bin"/><Relationship Id="rId5" Type="http://schemas.openxmlformats.org/officeDocument/2006/relationships/notesSlide" Target="../notesSlides/notesSlide22.xml"/><Relationship Id="rId4"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23.xml"/><Relationship Id="rId7" Type="http://schemas.openxmlformats.org/officeDocument/2006/relationships/image" Target="../media/image78.svg"/><Relationship Id="rId2" Type="http://schemas.openxmlformats.org/officeDocument/2006/relationships/slideLayout" Target="../slideLayouts/slideLayout47.xml"/><Relationship Id="rId1" Type="http://schemas.openxmlformats.org/officeDocument/2006/relationships/tags" Target="../tags/tag691.xml"/><Relationship Id="rId6" Type="http://schemas.openxmlformats.org/officeDocument/2006/relationships/image" Target="../media/image77.png"/><Relationship Id="rId11" Type="http://schemas.openxmlformats.org/officeDocument/2006/relationships/image" Target="../media/image82.svg"/><Relationship Id="rId5" Type="http://schemas.openxmlformats.org/officeDocument/2006/relationships/image" Target="../media/image76.sv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svg"/></Relationships>
</file>

<file path=ppt/slides/_rels/slide25.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87.bin"/><Relationship Id="rId3" Type="http://schemas.openxmlformats.org/officeDocument/2006/relationships/tags" Target="../tags/tag693.xml"/><Relationship Id="rId7" Type="http://schemas.openxmlformats.org/officeDocument/2006/relationships/oleObject" Target="../embeddings/oleObject173.bin"/><Relationship Id="rId12" Type="http://schemas.openxmlformats.org/officeDocument/2006/relationships/image" Target="../media/image86.bin"/><Relationship Id="rId2" Type="http://schemas.openxmlformats.org/officeDocument/2006/relationships/tags" Target="../tags/tag692.xml"/><Relationship Id="rId16" Type="http://schemas.openxmlformats.org/officeDocument/2006/relationships/image" Target="../media/image90.svg"/><Relationship Id="rId1" Type="http://schemas.openxmlformats.org/officeDocument/2006/relationships/vmlDrawing" Target="../drawings/vmlDrawing173.vml"/><Relationship Id="rId6" Type="http://schemas.openxmlformats.org/officeDocument/2006/relationships/notesSlide" Target="../notesSlides/notesSlide24.xml"/><Relationship Id="rId11" Type="http://schemas.openxmlformats.org/officeDocument/2006/relationships/image" Target="../media/image85.bin"/><Relationship Id="rId5" Type="http://schemas.openxmlformats.org/officeDocument/2006/relationships/slideLayout" Target="../slideLayouts/slideLayout51.xml"/><Relationship Id="rId15" Type="http://schemas.openxmlformats.org/officeDocument/2006/relationships/image" Target="../media/image89.png"/><Relationship Id="rId10" Type="http://schemas.openxmlformats.org/officeDocument/2006/relationships/image" Target="../media/image84.bin"/><Relationship Id="rId4" Type="http://schemas.openxmlformats.org/officeDocument/2006/relationships/tags" Target="../tags/tag694.xml"/><Relationship Id="rId9" Type="http://schemas.openxmlformats.org/officeDocument/2006/relationships/image" Target="../media/image83.bin"/><Relationship Id="rId14" Type="http://schemas.openxmlformats.org/officeDocument/2006/relationships/image" Target="../media/image88.bin"/></Relationships>
</file>

<file path=ppt/slides/_rels/slide26.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5.bin"/><Relationship Id="rId3" Type="http://schemas.openxmlformats.org/officeDocument/2006/relationships/tags" Target="../tags/tag696.xml"/><Relationship Id="rId7" Type="http://schemas.openxmlformats.org/officeDocument/2006/relationships/image" Target="../media/image19.emf"/><Relationship Id="rId12" Type="http://schemas.openxmlformats.org/officeDocument/2006/relationships/image" Target="../media/image94.bin"/><Relationship Id="rId2" Type="http://schemas.openxmlformats.org/officeDocument/2006/relationships/tags" Target="../tags/tag695.xml"/><Relationship Id="rId1" Type="http://schemas.openxmlformats.org/officeDocument/2006/relationships/vmlDrawing" Target="../drawings/vmlDrawing174.vml"/><Relationship Id="rId6" Type="http://schemas.openxmlformats.org/officeDocument/2006/relationships/oleObject" Target="../embeddings/oleObject174.bin"/><Relationship Id="rId11" Type="http://schemas.openxmlformats.org/officeDocument/2006/relationships/image" Target="../media/image93.bin"/><Relationship Id="rId5" Type="http://schemas.openxmlformats.org/officeDocument/2006/relationships/notesSlide" Target="../notesSlides/notesSlide25.xml"/><Relationship Id="rId10" Type="http://schemas.openxmlformats.org/officeDocument/2006/relationships/image" Target="../media/image92.png"/><Relationship Id="rId4" Type="http://schemas.openxmlformats.org/officeDocument/2006/relationships/slideLayout" Target="../slideLayouts/slideLayout46.xml"/><Relationship Id="rId9" Type="http://schemas.microsoft.com/office/2007/relationships/hdphoto" Target="../media/hdphoto1.wdp"/><Relationship Id="rId14" Type="http://schemas.openxmlformats.org/officeDocument/2006/relationships/image" Target="../media/image96.bin"/></Relationships>
</file>

<file path=ppt/slides/_rels/slide27.xml.rels><?xml version="1.0" encoding="UTF-8" standalone="yes"?>
<Relationships xmlns="http://schemas.openxmlformats.org/package/2006/relationships"><Relationship Id="rId3" Type="http://schemas.openxmlformats.org/officeDocument/2006/relationships/tags" Target="../tags/tag698.xml"/><Relationship Id="rId7" Type="http://schemas.openxmlformats.org/officeDocument/2006/relationships/image" Target="../media/image19.emf"/><Relationship Id="rId2" Type="http://schemas.openxmlformats.org/officeDocument/2006/relationships/tags" Target="../tags/tag697.xml"/><Relationship Id="rId1" Type="http://schemas.openxmlformats.org/officeDocument/2006/relationships/vmlDrawing" Target="../drawings/vmlDrawing175.vml"/><Relationship Id="rId6" Type="http://schemas.openxmlformats.org/officeDocument/2006/relationships/oleObject" Target="../embeddings/oleObject175.bin"/><Relationship Id="rId5" Type="http://schemas.openxmlformats.org/officeDocument/2006/relationships/notesSlide" Target="../notesSlides/notesSlide26.xml"/><Relationship Id="rId4"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tags" Target="../tags/tag700.xml"/><Relationship Id="rId7" Type="http://schemas.openxmlformats.org/officeDocument/2006/relationships/image" Target="../media/image19.emf"/><Relationship Id="rId2" Type="http://schemas.openxmlformats.org/officeDocument/2006/relationships/tags" Target="../tags/tag699.xml"/><Relationship Id="rId1" Type="http://schemas.openxmlformats.org/officeDocument/2006/relationships/vmlDrawing" Target="../drawings/vmlDrawing176.vml"/><Relationship Id="rId6" Type="http://schemas.openxmlformats.org/officeDocument/2006/relationships/oleObject" Target="../embeddings/oleObject176.bin"/><Relationship Id="rId5" Type="http://schemas.openxmlformats.org/officeDocument/2006/relationships/notesSlide" Target="../notesSlides/notesSlide27.xml"/><Relationship Id="rId4"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3" Type="http://schemas.openxmlformats.org/officeDocument/2006/relationships/tags" Target="../tags/tag702.xml"/><Relationship Id="rId7" Type="http://schemas.openxmlformats.org/officeDocument/2006/relationships/image" Target="../media/image98.jpeg"/><Relationship Id="rId2" Type="http://schemas.openxmlformats.org/officeDocument/2006/relationships/tags" Target="../tags/tag701.xml"/><Relationship Id="rId1" Type="http://schemas.openxmlformats.org/officeDocument/2006/relationships/vmlDrawing" Target="../drawings/vmlDrawing177.vml"/><Relationship Id="rId6" Type="http://schemas.openxmlformats.org/officeDocument/2006/relationships/image" Target="../media/image13.emf"/><Relationship Id="rId5" Type="http://schemas.openxmlformats.org/officeDocument/2006/relationships/oleObject" Target="../embeddings/oleObject177.bin"/><Relationship Id="rId4"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tags" Target="../tags/tag661.xml"/><Relationship Id="rId2" Type="http://schemas.openxmlformats.org/officeDocument/2006/relationships/customXml" Target="../../customXml/item4.xml"/><Relationship Id="rId1" Type="http://schemas.openxmlformats.org/officeDocument/2006/relationships/customXml" Target="../../customXml/item10.xml"/><Relationship Id="rId6" Type="http://schemas.openxmlformats.org/officeDocument/2006/relationships/image" Target="../media/image33.bin"/><Relationship Id="rId5" Type="http://schemas.openxmlformats.org/officeDocument/2006/relationships/notesSlide" Target="../notesSlides/notesSlide3.xml"/><Relationship Id="rId4"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8" Type="http://schemas.openxmlformats.org/officeDocument/2006/relationships/tags" Target="../tags/tag709.xml"/><Relationship Id="rId13" Type="http://schemas.openxmlformats.org/officeDocument/2006/relationships/image" Target="../media/image99.bin"/><Relationship Id="rId18" Type="http://schemas.openxmlformats.org/officeDocument/2006/relationships/image" Target="../media/image104.svg"/><Relationship Id="rId3" Type="http://schemas.openxmlformats.org/officeDocument/2006/relationships/tags" Target="../tags/tag704.xml"/><Relationship Id="rId7" Type="http://schemas.openxmlformats.org/officeDocument/2006/relationships/tags" Target="../tags/tag708.xml"/><Relationship Id="rId12" Type="http://schemas.openxmlformats.org/officeDocument/2006/relationships/image" Target="../media/image13.emf"/><Relationship Id="rId17" Type="http://schemas.openxmlformats.org/officeDocument/2006/relationships/image" Target="../media/image103.png"/><Relationship Id="rId2" Type="http://schemas.openxmlformats.org/officeDocument/2006/relationships/tags" Target="../tags/tag703.xml"/><Relationship Id="rId16" Type="http://schemas.openxmlformats.org/officeDocument/2006/relationships/image" Target="../media/image102.bin"/><Relationship Id="rId20" Type="http://schemas.openxmlformats.org/officeDocument/2006/relationships/image" Target="../media/image106.svg"/><Relationship Id="rId1" Type="http://schemas.openxmlformats.org/officeDocument/2006/relationships/vmlDrawing" Target="../drawings/vmlDrawing178.vml"/><Relationship Id="rId6" Type="http://schemas.openxmlformats.org/officeDocument/2006/relationships/tags" Target="../tags/tag707.xml"/><Relationship Id="rId11" Type="http://schemas.openxmlformats.org/officeDocument/2006/relationships/oleObject" Target="../embeddings/oleObject178.bin"/><Relationship Id="rId5" Type="http://schemas.openxmlformats.org/officeDocument/2006/relationships/tags" Target="../tags/tag706.xml"/><Relationship Id="rId15" Type="http://schemas.openxmlformats.org/officeDocument/2006/relationships/image" Target="../media/image101.bin"/><Relationship Id="rId10" Type="http://schemas.openxmlformats.org/officeDocument/2006/relationships/notesSlide" Target="../notesSlides/notesSlide28.xml"/><Relationship Id="rId19" Type="http://schemas.openxmlformats.org/officeDocument/2006/relationships/image" Target="../media/image105.png"/><Relationship Id="rId4" Type="http://schemas.openxmlformats.org/officeDocument/2006/relationships/tags" Target="../tags/tag705.xml"/><Relationship Id="rId9" Type="http://schemas.openxmlformats.org/officeDocument/2006/relationships/slideLayout" Target="../slideLayouts/slideLayout11.xml"/><Relationship Id="rId14" Type="http://schemas.openxmlformats.org/officeDocument/2006/relationships/image" Target="../media/image100.bin"/></Relationships>
</file>

<file path=ppt/slides/_rels/slide31.xml.rels><?xml version="1.0" encoding="UTF-8" standalone="yes"?>
<Relationships xmlns="http://schemas.openxmlformats.org/package/2006/relationships"><Relationship Id="rId3" Type="http://schemas.openxmlformats.org/officeDocument/2006/relationships/tags" Target="../tags/tag711.xml"/><Relationship Id="rId7" Type="http://schemas.openxmlformats.org/officeDocument/2006/relationships/image" Target="../media/image107.jpeg"/><Relationship Id="rId2" Type="http://schemas.openxmlformats.org/officeDocument/2006/relationships/tags" Target="../tags/tag710.xml"/><Relationship Id="rId1" Type="http://schemas.openxmlformats.org/officeDocument/2006/relationships/vmlDrawing" Target="../drawings/vmlDrawing179.vml"/><Relationship Id="rId6" Type="http://schemas.openxmlformats.org/officeDocument/2006/relationships/image" Target="../media/image13.emf"/><Relationship Id="rId5" Type="http://schemas.openxmlformats.org/officeDocument/2006/relationships/oleObject" Target="../embeddings/oleObject179.bin"/><Relationship Id="rId4" Type="http://schemas.openxmlformats.org/officeDocument/2006/relationships/slideLayout" Target="../slideLayouts/slideLayout4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98.xml"/><Relationship Id="rId2" Type="http://schemas.openxmlformats.org/officeDocument/2006/relationships/tags" Target="../tags/tag712.xml"/><Relationship Id="rId1" Type="http://schemas.openxmlformats.org/officeDocument/2006/relationships/vmlDrawing" Target="../drawings/vmlDrawing180.vml"/><Relationship Id="rId6" Type="http://schemas.openxmlformats.org/officeDocument/2006/relationships/image" Target="../media/image12.emf"/><Relationship Id="rId5" Type="http://schemas.openxmlformats.org/officeDocument/2006/relationships/oleObject" Target="../embeddings/oleObject180.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714.xml"/><Relationship Id="rId7" Type="http://schemas.openxmlformats.org/officeDocument/2006/relationships/oleObject" Target="../embeddings/oleObject181.bin"/><Relationship Id="rId2" Type="http://schemas.openxmlformats.org/officeDocument/2006/relationships/tags" Target="../tags/tag713.xml"/><Relationship Id="rId1" Type="http://schemas.openxmlformats.org/officeDocument/2006/relationships/vmlDrawing" Target="../drawings/vmlDrawing181.vml"/><Relationship Id="rId6" Type="http://schemas.openxmlformats.org/officeDocument/2006/relationships/notesSlide" Target="../notesSlides/notesSlide30.xml"/><Relationship Id="rId5" Type="http://schemas.openxmlformats.org/officeDocument/2006/relationships/slideLayout" Target="../slideLayouts/slideLayout49.xml"/><Relationship Id="rId4" Type="http://schemas.openxmlformats.org/officeDocument/2006/relationships/tags" Target="../tags/tag715.xml"/><Relationship Id="rId9" Type="http://schemas.openxmlformats.org/officeDocument/2006/relationships/image" Target="../media/image108.png"/></Relationships>
</file>

<file path=ppt/slides/_rels/slide34.xml.rels><?xml version="1.0" encoding="UTF-8" standalone="yes"?>
<Relationships xmlns="http://schemas.openxmlformats.org/package/2006/relationships"><Relationship Id="rId8" Type="http://schemas.openxmlformats.org/officeDocument/2006/relationships/tags" Target="../tags/tag722.xml"/><Relationship Id="rId13" Type="http://schemas.openxmlformats.org/officeDocument/2006/relationships/tags" Target="../tags/tag727.xml"/><Relationship Id="rId18" Type="http://schemas.openxmlformats.org/officeDocument/2006/relationships/tags" Target="../tags/tag732.xml"/><Relationship Id="rId26" Type="http://schemas.openxmlformats.org/officeDocument/2006/relationships/image" Target="../media/image19.emf"/><Relationship Id="rId3" Type="http://schemas.openxmlformats.org/officeDocument/2006/relationships/tags" Target="../tags/tag717.xml"/><Relationship Id="rId21" Type="http://schemas.openxmlformats.org/officeDocument/2006/relationships/tags" Target="../tags/tag735.xml"/><Relationship Id="rId7" Type="http://schemas.openxmlformats.org/officeDocument/2006/relationships/tags" Target="../tags/tag721.xml"/><Relationship Id="rId12" Type="http://schemas.openxmlformats.org/officeDocument/2006/relationships/tags" Target="../tags/tag726.xml"/><Relationship Id="rId17" Type="http://schemas.openxmlformats.org/officeDocument/2006/relationships/tags" Target="../tags/tag731.xml"/><Relationship Id="rId25" Type="http://schemas.openxmlformats.org/officeDocument/2006/relationships/oleObject" Target="../embeddings/oleObject182.bin"/><Relationship Id="rId2" Type="http://schemas.openxmlformats.org/officeDocument/2006/relationships/tags" Target="../tags/tag716.xml"/><Relationship Id="rId16" Type="http://schemas.openxmlformats.org/officeDocument/2006/relationships/tags" Target="../tags/tag730.xml"/><Relationship Id="rId20" Type="http://schemas.openxmlformats.org/officeDocument/2006/relationships/tags" Target="../tags/tag734.xml"/><Relationship Id="rId1" Type="http://schemas.openxmlformats.org/officeDocument/2006/relationships/vmlDrawing" Target="../drawings/vmlDrawing182.vml"/><Relationship Id="rId6" Type="http://schemas.openxmlformats.org/officeDocument/2006/relationships/tags" Target="../tags/tag720.xml"/><Relationship Id="rId11" Type="http://schemas.openxmlformats.org/officeDocument/2006/relationships/tags" Target="../tags/tag725.xml"/><Relationship Id="rId24" Type="http://schemas.openxmlformats.org/officeDocument/2006/relationships/notesSlide" Target="../notesSlides/notesSlide31.xml"/><Relationship Id="rId5" Type="http://schemas.openxmlformats.org/officeDocument/2006/relationships/tags" Target="../tags/tag719.xml"/><Relationship Id="rId15" Type="http://schemas.openxmlformats.org/officeDocument/2006/relationships/tags" Target="../tags/tag729.xml"/><Relationship Id="rId23" Type="http://schemas.openxmlformats.org/officeDocument/2006/relationships/slideLayout" Target="../slideLayouts/slideLayout54.xml"/><Relationship Id="rId28" Type="http://schemas.openxmlformats.org/officeDocument/2006/relationships/image" Target="../media/image69.png"/><Relationship Id="rId10" Type="http://schemas.openxmlformats.org/officeDocument/2006/relationships/tags" Target="../tags/tag724.xml"/><Relationship Id="rId19" Type="http://schemas.openxmlformats.org/officeDocument/2006/relationships/tags" Target="../tags/tag733.xml"/><Relationship Id="rId4" Type="http://schemas.openxmlformats.org/officeDocument/2006/relationships/tags" Target="../tags/tag718.xml"/><Relationship Id="rId9" Type="http://schemas.openxmlformats.org/officeDocument/2006/relationships/tags" Target="../tags/tag723.xml"/><Relationship Id="rId14" Type="http://schemas.openxmlformats.org/officeDocument/2006/relationships/tags" Target="../tags/tag728.xml"/><Relationship Id="rId22" Type="http://schemas.openxmlformats.org/officeDocument/2006/relationships/tags" Target="../tags/tag736.xml"/><Relationship Id="rId27" Type="http://schemas.openxmlformats.org/officeDocument/2006/relationships/chart" Target="../charts/chart1.xml"/></Relationships>
</file>

<file path=ppt/slides/_rels/slide35.xml.rels><?xml version="1.0" encoding="UTF-8" standalone="yes"?>
<Relationships xmlns="http://schemas.openxmlformats.org/package/2006/relationships"><Relationship Id="rId8" Type="http://schemas.openxmlformats.org/officeDocument/2006/relationships/hyperlink" Target="https://lnkd.in/epYNtRf" TargetMode="External"/><Relationship Id="rId13" Type="http://schemas.openxmlformats.org/officeDocument/2006/relationships/image" Target="../media/image111.bin"/><Relationship Id="rId3" Type="http://schemas.openxmlformats.org/officeDocument/2006/relationships/tags" Target="../tags/tag738.xml"/><Relationship Id="rId7" Type="http://schemas.openxmlformats.org/officeDocument/2006/relationships/image" Target="../media/image1.emf"/><Relationship Id="rId12" Type="http://schemas.openxmlformats.org/officeDocument/2006/relationships/image" Target="../media/image110.bin"/><Relationship Id="rId2" Type="http://schemas.openxmlformats.org/officeDocument/2006/relationships/tags" Target="../tags/tag737.xml"/><Relationship Id="rId1" Type="http://schemas.openxmlformats.org/officeDocument/2006/relationships/vmlDrawing" Target="../drawings/vmlDrawing183.vml"/><Relationship Id="rId6" Type="http://schemas.openxmlformats.org/officeDocument/2006/relationships/oleObject" Target="../embeddings/oleObject183.bin"/><Relationship Id="rId11" Type="http://schemas.openxmlformats.org/officeDocument/2006/relationships/image" Target="../media/image109.png"/><Relationship Id="rId5" Type="http://schemas.openxmlformats.org/officeDocument/2006/relationships/notesSlide" Target="../notesSlides/notesSlide32.xml"/><Relationship Id="rId10" Type="http://schemas.openxmlformats.org/officeDocument/2006/relationships/hyperlink" Target="https://lnkd.in/ega-TBh" TargetMode="External"/><Relationship Id="rId4" Type="http://schemas.openxmlformats.org/officeDocument/2006/relationships/slideLayout" Target="../slideLayouts/slideLayout213.xml"/><Relationship Id="rId9" Type="http://schemas.openxmlformats.org/officeDocument/2006/relationships/hyperlink" Target="https://lnkd.in/epGdazd" TargetMode="External"/><Relationship Id="rId14" Type="http://schemas.openxmlformats.org/officeDocument/2006/relationships/image" Target="../media/image112.png"/></Relationships>
</file>

<file path=ppt/slides/_rels/slide36.xml.rels><?xml version="1.0" encoding="UTF-8" standalone="yes"?>
<Relationships xmlns="http://schemas.openxmlformats.org/package/2006/relationships"><Relationship Id="rId3" Type="http://schemas.openxmlformats.org/officeDocument/2006/relationships/tags" Target="../tags/tag739.xml"/><Relationship Id="rId7" Type="http://schemas.openxmlformats.org/officeDocument/2006/relationships/image" Target="../media/image114.bin"/><Relationship Id="rId2" Type="http://schemas.openxmlformats.org/officeDocument/2006/relationships/customXml" Target="../../customXml/item9.xml"/><Relationship Id="rId1" Type="http://schemas.openxmlformats.org/officeDocument/2006/relationships/customXml" Target="../../customXml/item11.xml"/><Relationship Id="rId6" Type="http://schemas.openxmlformats.org/officeDocument/2006/relationships/image" Target="../media/image113.bin"/><Relationship Id="rId5" Type="http://schemas.openxmlformats.org/officeDocument/2006/relationships/notesSlide" Target="../notesSlides/notesSlide33.xml"/><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3.xml"/><Relationship Id="rId7" Type="http://schemas.openxmlformats.org/officeDocument/2006/relationships/oleObject" Target="../embeddings/oleObject168.bin"/><Relationship Id="rId2" Type="http://schemas.openxmlformats.org/officeDocument/2006/relationships/tags" Target="../tags/tag662.xml"/><Relationship Id="rId1" Type="http://schemas.openxmlformats.org/officeDocument/2006/relationships/vmlDrawing" Target="../drawings/vmlDrawing168.vml"/><Relationship Id="rId6" Type="http://schemas.openxmlformats.org/officeDocument/2006/relationships/notesSlide" Target="../notesSlides/notesSlide4.xml"/><Relationship Id="rId5" Type="http://schemas.openxmlformats.org/officeDocument/2006/relationships/slideLayout" Target="../slideLayouts/slideLayout52.xml"/><Relationship Id="rId10" Type="http://schemas.openxmlformats.org/officeDocument/2006/relationships/image" Target="https://novonordisk.sharepoint.com/_layouts/15/userphoto.aspx?size=L&amp;username=VTMU@novonordisk.com" TargetMode="External"/><Relationship Id="rId4" Type="http://schemas.openxmlformats.org/officeDocument/2006/relationships/tags" Target="../tags/tag664.xml"/><Relationship Id="rId9" Type="http://schemas.openxmlformats.org/officeDocument/2006/relationships/image" Target="../media/image34.jpeg"/></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6.xml"/><Relationship Id="rId7" Type="http://schemas.openxmlformats.org/officeDocument/2006/relationships/oleObject" Target="../embeddings/oleObject169.bin"/><Relationship Id="rId2" Type="http://schemas.openxmlformats.org/officeDocument/2006/relationships/tags" Target="../tags/tag665.xml"/><Relationship Id="rId1" Type="http://schemas.openxmlformats.org/officeDocument/2006/relationships/vmlDrawing" Target="../drawings/vmlDrawing169.vml"/><Relationship Id="rId6" Type="http://schemas.openxmlformats.org/officeDocument/2006/relationships/notesSlide" Target="../notesSlides/notesSlide5.xml"/><Relationship Id="rId5" Type="http://schemas.openxmlformats.org/officeDocument/2006/relationships/slideLayout" Target="../slideLayouts/slideLayout52.xml"/><Relationship Id="rId4" Type="http://schemas.openxmlformats.org/officeDocument/2006/relationships/tags" Target="../tags/tag667.xml"/><Relationship Id="rId9" Type="http://schemas.openxmlformats.org/officeDocument/2006/relationships/image" Target="../media/image35.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2.xml"/><Relationship Id="rId1" Type="http://schemas.openxmlformats.org/officeDocument/2006/relationships/tags" Target="../tags/tag668.xml"/><Relationship Id="rId5" Type="http://schemas.openxmlformats.org/officeDocument/2006/relationships/image" Target="../media/image37.emf"/><Relationship Id="rId4" Type="http://schemas.openxmlformats.org/officeDocument/2006/relationships/image" Target="../media/image36.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669.xml"/><Relationship Id="rId4" Type="http://schemas.openxmlformats.org/officeDocument/2006/relationships/image" Target="../media/image38.jpeg"/></Relationships>
</file>

<file path=ppt/slides/_rels/slide8.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notesSlide" Target="../notesSlides/notesSlide8.xml"/><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670.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 Id="rId9" Type="http://schemas.openxmlformats.org/officeDocument/2006/relationships/image" Target="../media/image44.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67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BEFA9A7-5A9F-412D-B180-732F27770C4E}"/>
              </a:ext>
            </a:extLst>
          </p:cNvPr>
          <p:cNvGraphicFramePr>
            <a:graphicFrameLocks noChangeAspect="1"/>
          </p:cNvGraphicFramePr>
          <p:nvPr>
            <p:custDataLst>
              <p:tags r:id="rId5"/>
            </p:custDataLst>
            <p:extLst>
              <p:ext uri="{D42A27DB-BD31-4B8C-83A1-F6EECF244321}">
                <p14:modId xmlns:p14="http://schemas.microsoft.com/office/powerpoint/2010/main" val="16607319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69989" name="think-cell Slide" r:id="rId9" imgW="421" imgH="423" progId="TCLayout.ActiveDocument.1">
                  <p:embed/>
                </p:oleObj>
              </mc:Choice>
              <mc:Fallback>
                <p:oleObj name="think-cell Slide" r:id="rId9" imgW="421" imgH="423" progId="TCLayout.ActiveDocument.1">
                  <p:embed/>
                  <p:pic>
                    <p:nvPicPr>
                      <p:cNvPr id="12" name="Object 11" hidden="1">
                        <a:extLst>
                          <a:ext uri="{FF2B5EF4-FFF2-40B4-BE49-F238E27FC236}">
                            <a16:creationId xmlns:a16="http://schemas.microsoft.com/office/drawing/2014/main" id="{9BEFA9A7-5A9F-412D-B180-732F27770C4E}"/>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F1475D9-01A7-4015-8B78-D9D79705356F}"/>
              </a:ext>
            </a:extLst>
          </p:cNvPr>
          <p:cNvSpPr/>
          <p:nvPr>
            <p:custDataLst>
              <p:tags r:id="rId6"/>
            </p:custDataLst>
          </p:nvPr>
        </p:nvSpPr>
        <p:spPr>
          <a:xfrm>
            <a:off x="1" y="1"/>
            <a:ext cx="158751" cy="15875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dirty="0" err="1">
              <a:latin typeface="Apis For Office" panose="020B0504010101010104" pitchFamily="34" charset="0"/>
              <a:ea typeface="Apis For Office" panose="020B0504010101010104" pitchFamily="34" charset="0"/>
              <a:cs typeface="Apis For Office" panose="020B0504010101010104" pitchFamily="34" charset="0"/>
              <a:sym typeface="Apis For Office" panose="020B0504010101010104" pitchFamily="34" charset="0"/>
            </a:endParaRPr>
          </a:p>
        </p:txBody>
      </p:sp>
      <p:sp>
        <p:nvSpPr>
          <p:cNvPr id="2" name="Title 1">
            <a:extLst>
              <a:ext uri="{FF2B5EF4-FFF2-40B4-BE49-F238E27FC236}">
                <a16:creationId xmlns:a16="http://schemas.microsoft.com/office/drawing/2014/main" id="{E1E55A30-0784-4B47-905B-2A2316945859}"/>
              </a:ext>
            </a:extLst>
          </p:cNvPr>
          <p:cNvSpPr>
            <a:spLocks noGrp="1"/>
          </p:cNvSpPr>
          <p:nvPr>
            <p:ph type="title"/>
          </p:nvPr>
        </p:nvSpPr>
        <p:spPr/>
        <p:txBody>
          <a:bodyPr/>
          <a:lstStyle/>
          <a:p>
            <a:r>
              <a:rPr lang="en-GB"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Novo Nordisk Graduate Programme</a:t>
            </a:r>
          </a:p>
        </p:txBody>
      </p:sp>
      <p:pic>
        <p:nvPicPr>
          <p:cNvPr id="9" name="Picture Placeholder 4">
            <a:extLst>
              <a:ext uri="{FF2B5EF4-FFF2-40B4-BE49-F238E27FC236}">
                <a16:creationId xmlns:a16="http://schemas.microsoft.com/office/drawing/2014/main" id="{B1754E82-331E-4A8E-A3A4-A08D0A16779E}"/>
              </a:ext>
            </a:extLst>
          </p:cNvPr>
          <p:cNvPicPr>
            <a:picLocks noChangeAspect="1"/>
          </p:cNvPicPr>
          <p:nvPr/>
        </p:nvPicPr>
        <p:blipFill>
          <a:blip r:embed="rId11" cstate="print">
            <a:extLst>
              <a:ext uri="{28A0092B-C50C-407E-A947-70E740481C1C}">
                <a14:useLocalDpi xmlns:a14="http://schemas.microsoft.com/office/drawing/2010/main" val="0"/>
              </a:ext>
            </a:extLst>
          </a:blip>
          <a:srcRect l="16655" r="16655"/>
          <a:stretch>
            <a:fillRect/>
          </a:stretch>
        </p:blipFill>
        <p:spPr>
          <a:xfrm>
            <a:off x="5592452" y="276256"/>
            <a:ext cx="6261037" cy="6257744"/>
          </a:xfrm>
          <a:prstGeom prst="rect">
            <a:avLst/>
          </a:prstGeom>
        </p:spPr>
      </p:pic>
      <p:grpSp>
        <p:nvGrpSpPr>
          <p:cNvPr id="11" name="Graphic 2">
            <a:extLst>
              <a:ext uri="{FF2B5EF4-FFF2-40B4-BE49-F238E27FC236}">
                <a16:creationId xmlns:a16="http://schemas.microsoft.com/office/drawing/2014/main" id="{3D86BA08-A7D1-4887-85E4-85029D677774}"/>
              </a:ext>
            </a:extLst>
          </p:cNvPr>
          <p:cNvGrpSpPr/>
          <p:nvPr/>
        </p:nvGrpSpPr>
        <p:grpSpPr>
          <a:xfrm>
            <a:off x="490912" y="3824773"/>
            <a:ext cx="4138613" cy="2770188"/>
            <a:chOff x="3051987" y="1317626"/>
            <a:chExt cx="6728563" cy="4500562"/>
          </a:xfrm>
        </p:grpSpPr>
        <p:sp>
          <p:nvSpPr>
            <p:cNvPr id="13" name="Freeform 12">
              <a:extLst>
                <a:ext uri="{FF2B5EF4-FFF2-40B4-BE49-F238E27FC236}">
                  <a16:creationId xmlns:a16="http://schemas.microsoft.com/office/drawing/2014/main" id="{E673DA29-2B58-425F-A12B-39E5A73A380C}"/>
                </a:ext>
              </a:extLst>
            </p:cNvPr>
            <p:cNvSpPr/>
            <p:nvPr/>
          </p:nvSpPr>
          <p:spPr>
            <a:xfrm>
              <a:off x="4485520" y="5292726"/>
              <a:ext cx="190972" cy="515623"/>
            </a:xfrm>
            <a:custGeom>
              <a:avLst/>
              <a:gdLst>
                <a:gd name="connsiteX0" fmla="*/ 122661 w 190971"/>
                <a:gd name="connsiteY0" fmla="*/ 89909 h 515623"/>
                <a:gd name="connsiteX1" fmla="*/ 122661 w 190971"/>
                <a:gd name="connsiteY1" fmla="*/ 16799 h 515623"/>
                <a:gd name="connsiteX2" fmla="*/ 105862 w 190971"/>
                <a:gd name="connsiteY2" fmla="*/ 0 h 515623"/>
                <a:gd name="connsiteX3" fmla="*/ 67387 w 190971"/>
                <a:gd name="connsiteY3" fmla="*/ 0 h 515623"/>
                <a:gd name="connsiteX4" fmla="*/ 50588 w 190971"/>
                <a:gd name="connsiteY4" fmla="*/ 16799 h 515623"/>
                <a:gd name="connsiteX5" fmla="*/ 50588 w 190971"/>
                <a:gd name="connsiteY5" fmla="*/ 89394 h 515623"/>
                <a:gd name="connsiteX6" fmla="*/ 95 w 190971"/>
                <a:gd name="connsiteY6" fmla="*/ 89037 h 515623"/>
                <a:gd name="connsiteX7" fmla="*/ 0 w 190971"/>
                <a:gd name="connsiteY7" fmla="*/ 101769 h 515623"/>
                <a:gd name="connsiteX8" fmla="*/ 50588 w 190971"/>
                <a:gd name="connsiteY8" fmla="*/ 102131 h 515623"/>
                <a:gd name="connsiteX9" fmla="*/ 50588 w 190971"/>
                <a:gd name="connsiteY9" fmla="*/ 285706 h 515623"/>
                <a:gd name="connsiteX10" fmla="*/ 86625 w 190971"/>
                <a:gd name="connsiteY10" fmla="*/ 321742 h 515623"/>
                <a:gd name="connsiteX11" fmla="*/ 122661 w 190971"/>
                <a:gd name="connsiteY11" fmla="*/ 285706 h 515623"/>
                <a:gd name="connsiteX12" fmla="*/ 122661 w 190971"/>
                <a:gd name="connsiteY12" fmla="*/ 102641 h 515623"/>
                <a:gd name="connsiteX13" fmla="*/ 181569 w 190971"/>
                <a:gd name="connsiteY13" fmla="*/ 103061 h 515623"/>
                <a:gd name="connsiteX14" fmla="*/ 183963 w 190971"/>
                <a:gd name="connsiteY14" fmla="*/ 521008 h 515623"/>
                <a:gd name="connsiteX15" fmla="*/ 196694 w 190971"/>
                <a:gd name="connsiteY15" fmla="*/ 520938 h 515623"/>
                <a:gd name="connsiteX16" fmla="*/ 194231 w 190971"/>
                <a:gd name="connsiteY16" fmla="*/ 90419 h 515623"/>
                <a:gd name="connsiteX17" fmla="*/ 63320 w 190971"/>
                <a:gd name="connsiteY17" fmla="*/ 16799 h 515623"/>
                <a:gd name="connsiteX18" fmla="*/ 67387 w 190971"/>
                <a:gd name="connsiteY18" fmla="*/ 12731 h 515623"/>
                <a:gd name="connsiteX19" fmla="*/ 105862 w 190971"/>
                <a:gd name="connsiteY19" fmla="*/ 12731 h 515623"/>
                <a:gd name="connsiteX20" fmla="*/ 109930 w 190971"/>
                <a:gd name="connsiteY20" fmla="*/ 16799 h 515623"/>
                <a:gd name="connsiteX21" fmla="*/ 109930 w 190971"/>
                <a:gd name="connsiteY21" fmla="*/ 89820 h 515623"/>
                <a:gd name="connsiteX22" fmla="*/ 63320 w 190971"/>
                <a:gd name="connsiteY22" fmla="*/ 89489 h 515623"/>
                <a:gd name="connsiteX23" fmla="*/ 109930 w 190971"/>
                <a:gd name="connsiteY23" fmla="*/ 285706 h 515623"/>
                <a:gd name="connsiteX24" fmla="*/ 86625 w 190971"/>
                <a:gd name="connsiteY24" fmla="*/ 309011 h 515623"/>
                <a:gd name="connsiteX25" fmla="*/ 63320 w 190971"/>
                <a:gd name="connsiteY25" fmla="*/ 285706 h 515623"/>
                <a:gd name="connsiteX26" fmla="*/ 63320 w 190971"/>
                <a:gd name="connsiteY26" fmla="*/ 102221 h 515623"/>
                <a:gd name="connsiteX27" fmla="*/ 109930 w 190971"/>
                <a:gd name="connsiteY27" fmla="*/ 102552 h 51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0971" h="515623">
                  <a:moveTo>
                    <a:pt x="122661" y="89909"/>
                  </a:moveTo>
                  <a:lnTo>
                    <a:pt x="122661" y="16799"/>
                  </a:lnTo>
                  <a:cubicBezTo>
                    <a:pt x="122655" y="7524"/>
                    <a:pt x="115137" y="12"/>
                    <a:pt x="105862" y="0"/>
                  </a:cubicBezTo>
                  <a:lnTo>
                    <a:pt x="67387" y="0"/>
                  </a:lnTo>
                  <a:cubicBezTo>
                    <a:pt x="58113" y="12"/>
                    <a:pt x="50601" y="7524"/>
                    <a:pt x="50588" y="16799"/>
                  </a:cubicBezTo>
                  <a:lnTo>
                    <a:pt x="50588" y="89394"/>
                  </a:lnTo>
                  <a:lnTo>
                    <a:pt x="95" y="89037"/>
                  </a:lnTo>
                  <a:lnTo>
                    <a:pt x="0" y="101769"/>
                  </a:lnTo>
                  <a:lnTo>
                    <a:pt x="50588" y="102131"/>
                  </a:lnTo>
                  <a:lnTo>
                    <a:pt x="50588" y="285706"/>
                  </a:lnTo>
                  <a:cubicBezTo>
                    <a:pt x="50588" y="305605"/>
                    <a:pt x="66725" y="321742"/>
                    <a:pt x="86625" y="321742"/>
                  </a:cubicBezTo>
                  <a:cubicBezTo>
                    <a:pt x="106530" y="321742"/>
                    <a:pt x="122661" y="305605"/>
                    <a:pt x="122661" y="285706"/>
                  </a:cubicBezTo>
                  <a:lnTo>
                    <a:pt x="122661" y="102641"/>
                  </a:lnTo>
                  <a:lnTo>
                    <a:pt x="181569" y="103061"/>
                  </a:lnTo>
                  <a:lnTo>
                    <a:pt x="183963" y="521008"/>
                  </a:lnTo>
                  <a:lnTo>
                    <a:pt x="196694" y="520938"/>
                  </a:lnTo>
                  <a:lnTo>
                    <a:pt x="194231" y="90419"/>
                  </a:lnTo>
                  <a:close/>
                  <a:moveTo>
                    <a:pt x="63320" y="16799"/>
                  </a:moveTo>
                  <a:cubicBezTo>
                    <a:pt x="63320" y="14552"/>
                    <a:pt x="65140" y="12731"/>
                    <a:pt x="67387" y="12731"/>
                  </a:cubicBezTo>
                  <a:lnTo>
                    <a:pt x="105862" y="12731"/>
                  </a:lnTo>
                  <a:cubicBezTo>
                    <a:pt x="108109" y="12731"/>
                    <a:pt x="109930" y="14552"/>
                    <a:pt x="109930" y="16799"/>
                  </a:cubicBezTo>
                  <a:lnTo>
                    <a:pt x="109930" y="89820"/>
                  </a:lnTo>
                  <a:lnTo>
                    <a:pt x="63320" y="89489"/>
                  </a:lnTo>
                  <a:close/>
                  <a:moveTo>
                    <a:pt x="109930" y="285706"/>
                  </a:moveTo>
                  <a:cubicBezTo>
                    <a:pt x="109930" y="298578"/>
                    <a:pt x="99496" y="309011"/>
                    <a:pt x="86625" y="309011"/>
                  </a:cubicBezTo>
                  <a:cubicBezTo>
                    <a:pt x="73753" y="309011"/>
                    <a:pt x="63320" y="298578"/>
                    <a:pt x="63320" y="285706"/>
                  </a:cubicBezTo>
                  <a:lnTo>
                    <a:pt x="63320" y="102221"/>
                  </a:lnTo>
                  <a:lnTo>
                    <a:pt x="109930" y="102552"/>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5" name="Freeform 14">
              <a:extLst>
                <a:ext uri="{FF2B5EF4-FFF2-40B4-BE49-F238E27FC236}">
                  <a16:creationId xmlns:a16="http://schemas.microsoft.com/office/drawing/2014/main" id="{5964B78A-7AAB-42B4-9BB8-BB3687C100F4}"/>
                </a:ext>
              </a:extLst>
            </p:cNvPr>
            <p:cNvSpPr/>
            <p:nvPr/>
          </p:nvSpPr>
          <p:spPr>
            <a:xfrm>
              <a:off x="7012785" y="2266051"/>
              <a:ext cx="133680" cy="133680"/>
            </a:xfrm>
            <a:custGeom>
              <a:avLst/>
              <a:gdLst>
                <a:gd name="connsiteX0" fmla="*/ 339 w 133680"/>
                <a:gd name="connsiteY0" fmla="*/ 75293 h 133680"/>
                <a:gd name="connsiteX1" fmla="*/ 69178 w 133680"/>
                <a:gd name="connsiteY1" fmla="*/ 136977 h 133680"/>
                <a:gd name="connsiteX2" fmla="*/ 76161 w 133680"/>
                <a:gd name="connsiteY2" fmla="*/ 136633 h 133680"/>
                <a:gd name="connsiteX3" fmla="*/ 136635 w 133680"/>
                <a:gd name="connsiteY3" fmla="*/ 60906 h 133680"/>
                <a:gd name="connsiteX4" fmla="*/ 60909 w 133680"/>
                <a:gd name="connsiteY4" fmla="*/ 432 h 133680"/>
                <a:gd name="connsiteX5" fmla="*/ 339 w 133680"/>
                <a:gd name="connsiteY5" fmla="*/ 75293 h 133680"/>
                <a:gd name="connsiteX6" fmla="*/ 74901 w 133680"/>
                <a:gd name="connsiteY6" fmla="*/ 123959 h 133680"/>
                <a:gd name="connsiteX7" fmla="*/ 13013 w 133680"/>
                <a:gd name="connsiteY7" fmla="*/ 74039 h 133680"/>
                <a:gd name="connsiteX8" fmla="*/ 25356 w 133680"/>
                <a:gd name="connsiteY8" fmla="*/ 33553 h 133680"/>
                <a:gd name="connsiteX9" fmla="*/ 103839 w 133680"/>
                <a:gd name="connsiteY9" fmla="*/ 112545 h 133680"/>
                <a:gd name="connsiteX10" fmla="*/ 74901 w 133680"/>
                <a:gd name="connsiteY10" fmla="*/ 123959 h 133680"/>
                <a:gd name="connsiteX11" fmla="*/ 63888 w 133680"/>
                <a:gd name="connsiteY11" fmla="*/ 12928 h 133680"/>
                <a:gd name="connsiteX12" fmla="*/ 69605 w 133680"/>
                <a:gd name="connsiteY12" fmla="*/ 12642 h 133680"/>
                <a:gd name="connsiteX13" fmla="*/ 125775 w 133680"/>
                <a:gd name="connsiteY13" fmla="*/ 62854 h 133680"/>
                <a:gd name="connsiteX14" fmla="*/ 113082 w 133680"/>
                <a:gd name="connsiteY14" fmla="*/ 103786 h 133680"/>
                <a:gd name="connsiteX15" fmla="*/ 34491 w 133680"/>
                <a:gd name="connsiteY15" fmla="*/ 24679 h 133680"/>
                <a:gd name="connsiteX16" fmla="*/ 63888 w 133680"/>
                <a:gd name="connsiteY16" fmla="*/ 12928 h 13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3680" h="133680">
                  <a:moveTo>
                    <a:pt x="339" y="75293"/>
                  </a:moveTo>
                  <a:cubicBezTo>
                    <a:pt x="4076" y="110464"/>
                    <a:pt x="33810" y="137111"/>
                    <a:pt x="69178" y="136977"/>
                  </a:cubicBezTo>
                  <a:cubicBezTo>
                    <a:pt x="71489" y="136977"/>
                    <a:pt x="73819" y="136862"/>
                    <a:pt x="76161" y="136633"/>
                  </a:cubicBezTo>
                  <a:cubicBezTo>
                    <a:pt x="113770" y="132419"/>
                    <a:pt x="140843" y="98515"/>
                    <a:pt x="136635" y="60906"/>
                  </a:cubicBezTo>
                  <a:cubicBezTo>
                    <a:pt x="132421" y="23298"/>
                    <a:pt x="98518" y="-3782"/>
                    <a:pt x="60909" y="432"/>
                  </a:cubicBezTo>
                  <a:cubicBezTo>
                    <a:pt x="23631" y="4602"/>
                    <a:pt x="-3360" y="37971"/>
                    <a:pt x="339" y="75293"/>
                  </a:cubicBezTo>
                  <a:close/>
                  <a:moveTo>
                    <a:pt x="74901" y="123959"/>
                  </a:moveTo>
                  <a:cubicBezTo>
                    <a:pt x="44033" y="127231"/>
                    <a:pt x="16349" y="104900"/>
                    <a:pt x="13013" y="74039"/>
                  </a:cubicBezTo>
                  <a:cubicBezTo>
                    <a:pt x="11574" y="59436"/>
                    <a:pt x="16018" y="44865"/>
                    <a:pt x="25356" y="33553"/>
                  </a:cubicBezTo>
                  <a:lnTo>
                    <a:pt x="103839" y="112545"/>
                  </a:lnTo>
                  <a:cubicBezTo>
                    <a:pt x="95443" y="118968"/>
                    <a:pt x="85423" y="122921"/>
                    <a:pt x="74901" y="123959"/>
                  </a:cubicBezTo>
                  <a:close/>
                  <a:moveTo>
                    <a:pt x="63888" y="12928"/>
                  </a:moveTo>
                  <a:cubicBezTo>
                    <a:pt x="65785" y="12737"/>
                    <a:pt x="67695" y="12642"/>
                    <a:pt x="69605" y="12642"/>
                  </a:cubicBezTo>
                  <a:cubicBezTo>
                    <a:pt x="98435" y="12495"/>
                    <a:pt x="122701" y="34190"/>
                    <a:pt x="125775" y="62854"/>
                  </a:cubicBezTo>
                  <a:cubicBezTo>
                    <a:pt x="127233" y="77648"/>
                    <a:pt x="122656" y="92410"/>
                    <a:pt x="113082" y="103786"/>
                  </a:cubicBezTo>
                  <a:lnTo>
                    <a:pt x="34491" y="24679"/>
                  </a:lnTo>
                  <a:cubicBezTo>
                    <a:pt x="42983" y="18065"/>
                    <a:pt x="53174" y="13985"/>
                    <a:pt x="63888" y="12928"/>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6" name="Freeform 15">
              <a:extLst>
                <a:ext uri="{FF2B5EF4-FFF2-40B4-BE49-F238E27FC236}">
                  <a16:creationId xmlns:a16="http://schemas.microsoft.com/office/drawing/2014/main" id="{54EB1D60-E798-4216-8E34-2DA47F340154}"/>
                </a:ext>
              </a:extLst>
            </p:cNvPr>
            <p:cNvSpPr/>
            <p:nvPr/>
          </p:nvSpPr>
          <p:spPr>
            <a:xfrm>
              <a:off x="6896508" y="2380317"/>
              <a:ext cx="190972" cy="152777"/>
            </a:xfrm>
            <a:custGeom>
              <a:avLst/>
              <a:gdLst>
                <a:gd name="connsiteX0" fmla="*/ 167949 w 190971"/>
                <a:gd name="connsiteY0" fmla="*/ 64597 h 152777"/>
                <a:gd name="connsiteX1" fmla="*/ 79631 w 190971"/>
                <a:gd name="connsiteY1" fmla="*/ 8127 h 152777"/>
                <a:gd name="connsiteX2" fmla="*/ 8366 w 190971"/>
                <a:gd name="connsiteY2" fmla="*/ 23213 h 152777"/>
                <a:gd name="connsiteX3" fmla="*/ 22689 w 190971"/>
                <a:gd name="connsiteY3" fmla="*/ 93205 h 152777"/>
                <a:gd name="connsiteX4" fmla="*/ 23479 w 190971"/>
                <a:gd name="connsiteY4" fmla="*/ 93714 h 152777"/>
                <a:gd name="connsiteX5" fmla="*/ 111803 w 190971"/>
                <a:gd name="connsiteY5" fmla="*/ 150178 h 152777"/>
                <a:gd name="connsiteX6" fmla="*/ 183061 w 190971"/>
                <a:gd name="connsiteY6" fmla="*/ 135097 h 152777"/>
                <a:gd name="connsiteX7" fmla="*/ 168732 w 190971"/>
                <a:gd name="connsiteY7" fmla="*/ 65100 h 152777"/>
                <a:gd name="connsiteX8" fmla="*/ 167949 w 190971"/>
                <a:gd name="connsiteY8" fmla="*/ 64597 h 152777"/>
                <a:gd name="connsiteX9" fmla="*/ 13555 w 190971"/>
                <a:gd name="connsiteY9" fmla="*/ 58874 h 152777"/>
                <a:gd name="connsiteX10" fmla="*/ 18997 w 190971"/>
                <a:gd name="connsiteY10" fmla="*/ 30209 h 152777"/>
                <a:gd name="connsiteX11" fmla="*/ 72775 w 190971"/>
                <a:gd name="connsiteY11" fmla="*/ 18859 h 152777"/>
                <a:gd name="connsiteX12" fmla="*/ 111510 w 190971"/>
                <a:gd name="connsiteY12" fmla="*/ 43628 h 152777"/>
                <a:gd name="connsiteX13" fmla="*/ 69185 w 190971"/>
                <a:gd name="connsiteY13" fmla="*/ 107820 h 152777"/>
                <a:gd name="connsiteX14" fmla="*/ 30334 w 190971"/>
                <a:gd name="connsiteY14" fmla="*/ 82981 h 152777"/>
                <a:gd name="connsiteX15" fmla="*/ 13555 w 190971"/>
                <a:gd name="connsiteY15" fmla="*/ 58874 h 152777"/>
                <a:gd name="connsiteX16" fmla="*/ 172430 w 190971"/>
                <a:gd name="connsiteY16" fmla="*/ 128095 h 152777"/>
                <a:gd name="connsiteX17" fmla="*/ 118659 w 190971"/>
                <a:gd name="connsiteY17" fmla="*/ 139445 h 152777"/>
                <a:gd name="connsiteX18" fmla="*/ 79917 w 190971"/>
                <a:gd name="connsiteY18" fmla="*/ 114683 h 152777"/>
                <a:gd name="connsiteX19" fmla="*/ 122243 w 190971"/>
                <a:gd name="connsiteY19" fmla="*/ 50484 h 152777"/>
                <a:gd name="connsiteX20" fmla="*/ 161093 w 190971"/>
                <a:gd name="connsiteY20" fmla="*/ 75323 h 152777"/>
                <a:gd name="connsiteX21" fmla="*/ 172844 w 190971"/>
                <a:gd name="connsiteY21" fmla="*/ 127459 h 152777"/>
                <a:gd name="connsiteX22" fmla="*/ 172430 w 190971"/>
                <a:gd name="connsiteY22" fmla="*/ 128095 h 15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0971" h="152777">
                  <a:moveTo>
                    <a:pt x="167949" y="64597"/>
                  </a:moveTo>
                  <a:lnTo>
                    <a:pt x="79631" y="8127"/>
                  </a:lnTo>
                  <a:cubicBezTo>
                    <a:pt x="55727" y="-7062"/>
                    <a:pt x="24064" y="-359"/>
                    <a:pt x="8366" y="23213"/>
                  </a:cubicBezTo>
                  <a:cubicBezTo>
                    <a:pt x="-7007" y="46493"/>
                    <a:pt x="-596" y="77831"/>
                    <a:pt x="22689" y="93205"/>
                  </a:cubicBezTo>
                  <a:cubicBezTo>
                    <a:pt x="22950" y="93376"/>
                    <a:pt x="23212" y="93542"/>
                    <a:pt x="23479" y="93714"/>
                  </a:cubicBezTo>
                  <a:lnTo>
                    <a:pt x="111803" y="150178"/>
                  </a:lnTo>
                  <a:cubicBezTo>
                    <a:pt x="135700" y="165379"/>
                    <a:pt x="167370" y="158676"/>
                    <a:pt x="183061" y="135097"/>
                  </a:cubicBezTo>
                  <a:cubicBezTo>
                    <a:pt x="198434" y="111812"/>
                    <a:pt x="192018" y="80473"/>
                    <a:pt x="168732" y="65100"/>
                  </a:cubicBezTo>
                  <a:cubicBezTo>
                    <a:pt x="168477" y="64928"/>
                    <a:pt x="168216" y="64762"/>
                    <a:pt x="167949" y="64597"/>
                  </a:cubicBezTo>
                  <a:close/>
                  <a:moveTo>
                    <a:pt x="13555" y="58874"/>
                  </a:moveTo>
                  <a:cubicBezTo>
                    <a:pt x="11435" y="48976"/>
                    <a:pt x="13396" y="38644"/>
                    <a:pt x="18997" y="30209"/>
                  </a:cubicBezTo>
                  <a:cubicBezTo>
                    <a:pt x="30850" y="12424"/>
                    <a:pt x="54747" y="7382"/>
                    <a:pt x="72775" y="18859"/>
                  </a:cubicBezTo>
                  <a:lnTo>
                    <a:pt x="111510" y="43628"/>
                  </a:lnTo>
                  <a:lnTo>
                    <a:pt x="69185" y="107820"/>
                  </a:lnTo>
                  <a:lnTo>
                    <a:pt x="30334" y="82981"/>
                  </a:lnTo>
                  <a:cubicBezTo>
                    <a:pt x="21722" y="77539"/>
                    <a:pt x="15668" y="68843"/>
                    <a:pt x="13555" y="58874"/>
                  </a:cubicBezTo>
                  <a:close/>
                  <a:moveTo>
                    <a:pt x="172430" y="128095"/>
                  </a:moveTo>
                  <a:cubicBezTo>
                    <a:pt x="160584" y="145881"/>
                    <a:pt x="136687" y="150922"/>
                    <a:pt x="118659" y="139445"/>
                  </a:cubicBezTo>
                  <a:lnTo>
                    <a:pt x="79917" y="114683"/>
                  </a:lnTo>
                  <a:lnTo>
                    <a:pt x="122243" y="50484"/>
                  </a:lnTo>
                  <a:lnTo>
                    <a:pt x="161093" y="75323"/>
                  </a:lnTo>
                  <a:cubicBezTo>
                    <a:pt x="178739" y="86476"/>
                    <a:pt x="183997" y="109819"/>
                    <a:pt x="172844" y="127459"/>
                  </a:cubicBezTo>
                  <a:cubicBezTo>
                    <a:pt x="172710" y="127675"/>
                    <a:pt x="172570" y="127885"/>
                    <a:pt x="172430" y="128095"/>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 name="Freeform 16">
              <a:extLst>
                <a:ext uri="{FF2B5EF4-FFF2-40B4-BE49-F238E27FC236}">
                  <a16:creationId xmlns:a16="http://schemas.microsoft.com/office/drawing/2014/main" id="{17097A14-755F-4600-B063-0592AF175D2A}"/>
                </a:ext>
              </a:extLst>
            </p:cNvPr>
            <p:cNvSpPr/>
            <p:nvPr/>
          </p:nvSpPr>
          <p:spPr>
            <a:xfrm>
              <a:off x="6199796" y="2350695"/>
              <a:ext cx="1164926" cy="846640"/>
            </a:xfrm>
            <a:custGeom>
              <a:avLst/>
              <a:gdLst>
                <a:gd name="connsiteX0" fmla="*/ 938268 w 1164926"/>
                <a:gd name="connsiteY0" fmla="*/ 385998 h 846640"/>
                <a:gd name="connsiteX1" fmla="*/ 900818 w 1164926"/>
                <a:gd name="connsiteY1" fmla="*/ 444429 h 846640"/>
                <a:gd name="connsiteX2" fmla="*/ 856137 w 1164926"/>
                <a:gd name="connsiteY2" fmla="*/ 514694 h 846640"/>
                <a:gd name="connsiteX3" fmla="*/ 822749 w 1164926"/>
                <a:gd name="connsiteY3" fmla="*/ 576333 h 846640"/>
                <a:gd name="connsiteX4" fmla="*/ 845659 w 1164926"/>
                <a:gd name="connsiteY4" fmla="*/ 657076 h 846640"/>
                <a:gd name="connsiteX5" fmla="*/ 666611 w 1164926"/>
                <a:gd name="connsiteY5" fmla="*/ 808262 h 846640"/>
                <a:gd name="connsiteX6" fmla="*/ 478898 w 1164926"/>
                <a:gd name="connsiteY6" fmla="*/ 805919 h 846640"/>
                <a:gd name="connsiteX7" fmla="*/ 423491 w 1164926"/>
                <a:gd name="connsiteY7" fmla="*/ 733528 h 846640"/>
                <a:gd name="connsiteX8" fmla="*/ 409232 w 1164926"/>
                <a:gd name="connsiteY8" fmla="*/ 710159 h 846640"/>
                <a:gd name="connsiteX9" fmla="*/ 319946 w 1164926"/>
                <a:gd name="connsiteY9" fmla="*/ 675250 h 846640"/>
                <a:gd name="connsiteX10" fmla="*/ 235251 w 1164926"/>
                <a:gd name="connsiteY10" fmla="*/ 697810 h 846640"/>
                <a:gd name="connsiteX11" fmla="*/ 94027 w 1164926"/>
                <a:gd name="connsiteY11" fmla="*/ 666503 h 846640"/>
                <a:gd name="connsiteX12" fmla="*/ 76553 w 1164926"/>
                <a:gd name="connsiteY12" fmla="*/ 473998 h 846640"/>
                <a:gd name="connsiteX13" fmla="*/ 129261 w 1164926"/>
                <a:gd name="connsiteY13" fmla="*/ 450814 h 846640"/>
                <a:gd name="connsiteX14" fmla="*/ 136092 w 1164926"/>
                <a:gd name="connsiteY14" fmla="*/ 452176 h 846640"/>
                <a:gd name="connsiteX15" fmla="*/ 298188 w 1164926"/>
                <a:gd name="connsiteY15" fmla="*/ 405528 h 846640"/>
                <a:gd name="connsiteX16" fmla="*/ 294623 w 1164926"/>
                <a:gd name="connsiteY16" fmla="*/ 254781 h 846640"/>
                <a:gd name="connsiteX17" fmla="*/ 360808 w 1164926"/>
                <a:gd name="connsiteY17" fmla="*/ 238027 h 846640"/>
                <a:gd name="connsiteX18" fmla="*/ 358179 w 1164926"/>
                <a:gd name="connsiteY18" fmla="*/ 231317 h 846640"/>
                <a:gd name="connsiteX19" fmla="*/ 228242 w 1164926"/>
                <a:gd name="connsiteY19" fmla="*/ 72174 h 846640"/>
                <a:gd name="connsiteX20" fmla="*/ 136009 w 1164926"/>
                <a:gd name="connsiteY20" fmla="*/ 8982 h 846640"/>
                <a:gd name="connsiteX21" fmla="*/ 119694 w 1164926"/>
                <a:gd name="connsiteY21" fmla="*/ 0 h 846640"/>
                <a:gd name="connsiteX22" fmla="*/ 127097 w 1164926"/>
                <a:gd name="connsiteY22" fmla="*/ 17086 h 846640"/>
                <a:gd name="connsiteX23" fmla="*/ 94867 w 1164926"/>
                <a:gd name="connsiteY23" fmla="*/ 213054 h 846640"/>
                <a:gd name="connsiteX24" fmla="*/ 78246 w 1164926"/>
                <a:gd name="connsiteY24" fmla="*/ 199113 h 846640"/>
                <a:gd name="connsiteX25" fmla="*/ 18491 w 1164926"/>
                <a:gd name="connsiteY25" fmla="*/ 201914 h 846640"/>
                <a:gd name="connsiteX26" fmla="*/ 158 w 1164926"/>
                <a:gd name="connsiteY26" fmla="*/ 230203 h 846640"/>
                <a:gd name="connsiteX27" fmla="*/ 37888 w 1164926"/>
                <a:gd name="connsiteY27" fmla="*/ 300844 h 846640"/>
                <a:gd name="connsiteX28" fmla="*/ 46583 w 1164926"/>
                <a:gd name="connsiteY28" fmla="*/ 291550 h 846640"/>
                <a:gd name="connsiteX29" fmla="*/ 12839 w 1164926"/>
                <a:gd name="connsiteY29" fmla="*/ 231349 h 846640"/>
                <a:gd name="connsiteX30" fmla="*/ 25360 w 1164926"/>
                <a:gd name="connsiteY30" fmla="*/ 212628 h 846640"/>
                <a:gd name="connsiteX31" fmla="*/ 89399 w 1164926"/>
                <a:gd name="connsiteY31" fmla="*/ 226658 h 846640"/>
                <a:gd name="connsiteX32" fmla="*/ 93881 w 1164926"/>
                <a:gd name="connsiteY32" fmla="*/ 233666 h 846640"/>
                <a:gd name="connsiteX33" fmla="*/ 99470 w 1164926"/>
                <a:gd name="connsiteY33" fmla="*/ 227504 h 846640"/>
                <a:gd name="connsiteX34" fmla="*/ 145290 w 1164926"/>
                <a:gd name="connsiteY34" fmla="*/ 29289 h 846640"/>
                <a:gd name="connsiteX35" fmla="*/ 343576 w 1164926"/>
                <a:gd name="connsiteY35" fmla="*/ 229255 h 846640"/>
                <a:gd name="connsiteX36" fmla="*/ 280549 w 1164926"/>
                <a:gd name="connsiteY36" fmla="*/ 245214 h 846640"/>
                <a:gd name="connsiteX37" fmla="*/ 281287 w 1164926"/>
                <a:gd name="connsiteY37" fmla="*/ 250822 h 846640"/>
                <a:gd name="connsiteX38" fmla="*/ 286017 w 1164926"/>
                <a:gd name="connsiteY38" fmla="*/ 401760 h 846640"/>
                <a:gd name="connsiteX39" fmla="*/ 138606 w 1164926"/>
                <a:gd name="connsiteY39" fmla="*/ 439699 h 846640"/>
                <a:gd name="connsiteX40" fmla="*/ 131687 w 1164926"/>
                <a:gd name="connsiteY40" fmla="*/ 438318 h 846640"/>
                <a:gd name="connsiteX41" fmla="*/ 66012 w 1164926"/>
                <a:gd name="connsiteY41" fmla="*/ 466855 h 846640"/>
                <a:gd name="connsiteX42" fmla="*/ 83320 w 1164926"/>
                <a:gd name="connsiteY42" fmla="*/ 673378 h 846640"/>
                <a:gd name="connsiteX43" fmla="*/ 238376 w 1164926"/>
                <a:gd name="connsiteY43" fmla="*/ 710153 h 846640"/>
                <a:gd name="connsiteX44" fmla="*/ 323295 w 1164926"/>
                <a:gd name="connsiteY44" fmla="*/ 687536 h 846640"/>
                <a:gd name="connsiteX45" fmla="*/ 398709 w 1164926"/>
                <a:gd name="connsiteY45" fmla="*/ 717321 h 846640"/>
                <a:gd name="connsiteX46" fmla="*/ 412491 w 1164926"/>
                <a:gd name="connsiteY46" fmla="*/ 739938 h 846640"/>
                <a:gd name="connsiteX47" fmla="*/ 471126 w 1164926"/>
                <a:gd name="connsiteY47" fmla="*/ 816002 h 846640"/>
                <a:gd name="connsiteX48" fmla="*/ 558482 w 1164926"/>
                <a:gd name="connsiteY48" fmla="*/ 847659 h 846640"/>
                <a:gd name="connsiteX49" fmla="*/ 671436 w 1164926"/>
                <a:gd name="connsiteY49" fmla="*/ 820051 h 846640"/>
                <a:gd name="connsiteX50" fmla="*/ 854298 w 1164926"/>
                <a:gd name="connsiteY50" fmla="*/ 666300 h 846640"/>
                <a:gd name="connsiteX51" fmla="*/ 876030 w 1164926"/>
                <a:gd name="connsiteY51" fmla="*/ 682010 h 846640"/>
                <a:gd name="connsiteX52" fmla="*/ 1170648 w 1164926"/>
                <a:gd name="connsiteY52" fmla="*/ 597811 h 846640"/>
                <a:gd name="connsiteX53" fmla="*/ 1162755 w 1164926"/>
                <a:gd name="connsiteY53" fmla="*/ 587817 h 846640"/>
                <a:gd name="connsiteX54" fmla="*/ 882135 w 1164926"/>
                <a:gd name="connsiteY54" fmla="*/ 670845 h 846640"/>
                <a:gd name="connsiteX55" fmla="*/ 861701 w 1164926"/>
                <a:gd name="connsiteY55" fmla="*/ 655713 h 846640"/>
                <a:gd name="connsiteX56" fmla="*/ 965532 w 1164926"/>
                <a:gd name="connsiteY56" fmla="*/ 409609 h 846640"/>
                <a:gd name="connsiteX57" fmla="*/ 960185 w 1164926"/>
                <a:gd name="connsiteY57" fmla="*/ 388761 h 846640"/>
                <a:gd name="connsiteX58" fmla="*/ 938268 w 1164926"/>
                <a:gd name="connsiteY58" fmla="*/ 385998 h 846640"/>
                <a:gd name="connsiteX59" fmla="*/ 952673 w 1164926"/>
                <a:gd name="connsiteY59" fmla="*/ 399143 h 846640"/>
                <a:gd name="connsiteX60" fmla="*/ 924759 w 1164926"/>
                <a:gd name="connsiteY60" fmla="*/ 509678 h 846640"/>
                <a:gd name="connsiteX61" fmla="*/ 853279 w 1164926"/>
                <a:gd name="connsiteY61" fmla="*/ 646101 h 846640"/>
                <a:gd name="connsiteX62" fmla="*/ 835423 w 1164926"/>
                <a:gd name="connsiteY62" fmla="*/ 577587 h 846640"/>
                <a:gd name="connsiteX63" fmla="*/ 865438 w 1164926"/>
                <a:gd name="connsiteY63" fmla="*/ 523383 h 846640"/>
                <a:gd name="connsiteX64" fmla="*/ 912875 w 1164926"/>
                <a:gd name="connsiteY64" fmla="*/ 448535 h 846640"/>
                <a:gd name="connsiteX65" fmla="*/ 942660 w 1164926"/>
                <a:gd name="connsiteY65" fmla="*/ 397947 h 846640"/>
                <a:gd name="connsiteX66" fmla="*/ 946187 w 1164926"/>
                <a:gd name="connsiteY66" fmla="*/ 397297 h 846640"/>
                <a:gd name="connsiteX67" fmla="*/ 952673 w 1164926"/>
                <a:gd name="connsiteY67" fmla="*/ 399143 h 846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64926" h="846640">
                  <a:moveTo>
                    <a:pt x="938268" y="385998"/>
                  </a:moveTo>
                  <a:cubicBezTo>
                    <a:pt x="924390" y="391110"/>
                    <a:pt x="912837" y="409125"/>
                    <a:pt x="900818" y="444429"/>
                  </a:cubicBezTo>
                  <a:cubicBezTo>
                    <a:pt x="891677" y="471050"/>
                    <a:pt x="876367" y="495125"/>
                    <a:pt x="856137" y="514694"/>
                  </a:cubicBezTo>
                  <a:cubicBezTo>
                    <a:pt x="840439" y="531487"/>
                    <a:pt x="825620" y="547350"/>
                    <a:pt x="822749" y="576333"/>
                  </a:cubicBezTo>
                  <a:cubicBezTo>
                    <a:pt x="819203" y="605233"/>
                    <a:pt x="827466" y="634344"/>
                    <a:pt x="845659" y="657076"/>
                  </a:cubicBezTo>
                  <a:cubicBezTo>
                    <a:pt x="803206" y="716856"/>
                    <a:pt x="744431" y="776408"/>
                    <a:pt x="666611" y="808262"/>
                  </a:cubicBezTo>
                  <a:cubicBezTo>
                    <a:pt x="555306" y="853840"/>
                    <a:pt x="512847" y="832101"/>
                    <a:pt x="478898" y="805919"/>
                  </a:cubicBezTo>
                  <a:cubicBezTo>
                    <a:pt x="454893" y="787414"/>
                    <a:pt x="437483" y="757539"/>
                    <a:pt x="423491" y="733528"/>
                  </a:cubicBezTo>
                  <a:cubicBezTo>
                    <a:pt x="418449" y="724877"/>
                    <a:pt x="413688" y="716703"/>
                    <a:pt x="409232" y="710159"/>
                  </a:cubicBezTo>
                  <a:cubicBezTo>
                    <a:pt x="390167" y="680425"/>
                    <a:pt x="354130" y="666331"/>
                    <a:pt x="319946" y="675250"/>
                  </a:cubicBezTo>
                  <a:cubicBezTo>
                    <a:pt x="281790" y="685658"/>
                    <a:pt x="253297" y="693246"/>
                    <a:pt x="235251" y="697810"/>
                  </a:cubicBezTo>
                  <a:cubicBezTo>
                    <a:pt x="210819" y="704010"/>
                    <a:pt x="128396" y="720033"/>
                    <a:pt x="94027" y="666503"/>
                  </a:cubicBezTo>
                  <a:cubicBezTo>
                    <a:pt x="48977" y="596315"/>
                    <a:pt x="49766" y="513510"/>
                    <a:pt x="76553" y="473998"/>
                  </a:cubicBezTo>
                  <a:cubicBezTo>
                    <a:pt x="87375" y="455811"/>
                    <a:pt x="108547" y="446498"/>
                    <a:pt x="129261" y="450814"/>
                  </a:cubicBezTo>
                  <a:lnTo>
                    <a:pt x="136092" y="452176"/>
                  </a:lnTo>
                  <a:cubicBezTo>
                    <a:pt x="177685" y="460553"/>
                    <a:pt x="275087" y="480192"/>
                    <a:pt x="298188" y="405528"/>
                  </a:cubicBezTo>
                  <a:cubicBezTo>
                    <a:pt x="308201" y="373139"/>
                    <a:pt x="297596" y="279079"/>
                    <a:pt x="294623" y="254781"/>
                  </a:cubicBezTo>
                  <a:lnTo>
                    <a:pt x="360808" y="238027"/>
                  </a:lnTo>
                  <a:lnTo>
                    <a:pt x="358179" y="231317"/>
                  </a:lnTo>
                  <a:cubicBezTo>
                    <a:pt x="332410" y="165318"/>
                    <a:pt x="273292" y="108345"/>
                    <a:pt x="228242" y="72174"/>
                  </a:cubicBezTo>
                  <a:cubicBezTo>
                    <a:pt x="199169" y="48768"/>
                    <a:pt x="168334" y="27640"/>
                    <a:pt x="136009" y="8982"/>
                  </a:cubicBezTo>
                  <a:lnTo>
                    <a:pt x="119694" y="0"/>
                  </a:lnTo>
                  <a:lnTo>
                    <a:pt x="127097" y="17086"/>
                  </a:lnTo>
                  <a:cubicBezTo>
                    <a:pt x="166985" y="109217"/>
                    <a:pt x="112029" y="190876"/>
                    <a:pt x="94867" y="213054"/>
                  </a:cubicBezTo>
                  <a:cubicBezTo>
                    <a:pt x="90068" y="207586"/>
                    <a:pt x="84466" y="202888"/>
                    <a:pt x="78246" y="199113"/>
                  </a:cubicBezTo>
                  <a:cubicBezTo>
                    <a:pt x="65165" y="191309"/>
                    <a:pt x="44164" y="185459"/>
                    <a:pt x="18491" y="201914"/>
                  </a:cubicBezTo>
                  <a:cubicBezTo>
                    <a:pt x="8160" y="207822"/>
                    <a:pt x="1329" y="218363"/>
                    <a:pt x="158" y="230203"/>
                  </a:cubicBezTo>
                  <a:cubicBezTo>
                    <a:pt x="-2783" y="262427"/>
                    <a:pt x="36226" y="299291"/>
                    <a:pt x="37888" y="300844"/>
                  </a:cubicBezTo>
                  <a:lnTo>
                    <a:pt x="46583" y="291550"/>
                  </a:lnTo>
                  <a:cubicBezTo>
                    <a:pt x="36525" y="282129"/>
                    <a:pt x="10853" y="252948"/>
                    <a:pt x="12839" y="231349"/>
                  </a:cubicBezTo>
                  <a:cubicBezTo>
                    <a:pt x="13704" y="223437"/>
                    <a:pt x="18377" y="216447"/>
                    <a:pt x="25360" y="212628"/>
                  </a:cubicBezTo>
                  <a:cubicBezTo>
                    <a:pt x="63739" y="188037"/>
                    <a:pt x="88374" y="225085"/>
                    <a:pt x="89399" y="226658"/>
                  </a:cubicBezTo>
                  <a:lnTo>
                    <a:pt x="93881" y="233666"/>
                  </a:lnTo>
                  <a:lnTo>
                    <a:pt x="99470" y="227504"/>
                  </a:lnTo>
                  <a:cubicBezTo>
                    <a:pt x="100329" y="226569"/>
                    <a:pt x="180021" y="137016"/>
                    <a:pt x="145290" y="29289"/>
                  </a:cubicBezTo>
                  <a:cubicBezTo>
                    <a:pt x="187087" y="55076"/>
                    <a:pt x="302084" y="132713"/>
                    <a:pt x="343576" y="229255"/>
                  </a:cubicBezTo>
                  <a:lnTo>
                    <a:pt x="280549" y="245214"/>
                  </a:lnTo>
                  <a:lnTo>
                    <a:pt x="281287" y="250822"/>
                  </a:lnTo>
                  <a:cubicBezTo>
                    <a:pt x="281440" y="251993"/>
                    <a:pt x="296502" y="367881"/>
                    <a:pt x="286017" y="401760"/>
                  </a:cubicBezTo>
                  <a:cubicBezTo>
                    <a:pt x="266321" y="465436"/>
                    <a:pt x="180060" y="448045"/>
                    <a:pt x="138606" y="439699"/>
                  </a:cubicBezTo>
                  <a:lnTo>
                    <a:pt x="131687" y="438318"/>
                  </a:lnTo>
                  <a:cubicBezTo>
                    <a:pt x="105269" y="433187"/>
                    <a:pt x="81958" y="443328"/>
                    <a:pt x="66012" y="466855"/>
                  </a:cubicBezTo>
                  <a:cubicBezTo>
                    <a:pt x="28950" y="521518"/>
                    <a:pt x="45705" y="614788"/>
                    <a:pt x="83320" y="673378"/>
                  </a:cubicBezTo>
                  <a:cubicBezTo>
                    <a:pt x="122278" y="734069"/>
                    <a:pt x="211857" y="716869"/>
                    <a:pt x="238376" y="710153"/>
                  </a:cubicBezTo>
                  <a:cubicBezTo>
                    <a:pt x="256493" y="705570"/>
                    <a:pt x="285069" y="697956"/>
                    <a:pt x="323295" y="687536"/>
                  </a:cubicBezTo>
                  <a:cubicBezTo>
                    <a:pt x="352233" y="680101"/>
                    <a:pt x="382668" y="692119"/>
                    <a:pt x="398709" y="717321"/>
                  </a:cubicBezTo>
                  <a:cubicBezTo>
                    <a:pt x="402911" y="723496"/>
                    <a:pt x="407564" y="731485"/>
                    <a:pt x="412491" y="739938"/>
                  </a:cubicBezTo>
                  <a:cubicBezTo>
                    <a:pt x="427037" y="764905"/>
                    <a:pt x="445141" y="795982"/>
                    <a:pt x="471126" y="816002"/>
                  </a:cubicBezTo>
                  <a:cubicBezTo>
                    <a:pt x="495589" y="836551"/>
                    <a:pt x="526539" y="847767"/>
                    <a:pt x="558482" y="847659"/>
                  </a:cubicBezTo>
                  <a:cubicBezTo>
                    <a:pt x="587892" y="847659"/>
                    <a:pt x="623979" y="839479"/>
                    <a:pt x="671436" y="820051"/>
                  </a:cubicBezTo>
                  <a:cubicBezTo>
                    <a:pt x="748289" y="788585"/>
                    <a:pt x="808713" y="730027"/>
                    <a:pt x="854298" y="666300"/>
                  </a:cubicBezTo>
                  <a:cubicBezTo>
                    <a:pt x="860841" y="672436"/>
                    <a:pt x="868149" y="677720"/>
                    <a:pt x="876030" y="682010"/>
                  </a:cubicBezTo>
                  <a:cubicBezTo>
                    <a:pt x="945563" y="720045"/>
                    <a:pt x="1055702" y="688567"/>
                    <a:pt x="1170648" y="597811"/>
                  </a:cubicBezTo>
                  <a:lnTo>
                    <a:pt x="1162755" y="587817"/>
                  </a:lnTo>
                  <a:cubicBezTo>
                    <a:pt x="1051953" y="675313"/>
                    <a:pt x="947039" y="706321"/>
                    <a:pt x="882135" y="670845"/>
                  </a:cubicBezTo>
                  <a:cubicBezTo>
                    <a:pt x="874655" y="666771"/>
                    <a:pt x="867780" y="661678"/>
                    <a:pt x="861701" y="655713"/>
                  </a:cubicBezTo>
                  <a:cubicBezTo>
                    <a:pt x="930202" y="555613"/>
                    <a:pt x="962826" y="445919"/>
                    <a:pt x="965532" y="409609"/>
                  </a:cubicBezTo>
                  <a:cubicBezTo>
                    <a:pt x="966417" y="397756"/>
                    <a:pt x="964812" y="391523"/>
                    <a:pt x="960185" y="388761"/>
                  </a:cubicBezTo>
                  <a:cubicBezTo>
                    <a:pt x="953717" y="384438"/>
                    <a:pt x="945601" y="383420"/>
                    <a:pt x="938268" y="385998"/>
                  </a:cubicBezTo>
                  <a:close/>
                  <a:moveTo>
                    <a:pt x="952673" y="399143"/>
                  </a:moveTo>
                  <a:cubicBezTo>
                    <a:pt x="954691" y="406502"/>
                    <a:pt x="949802" y="445778"/>
                    <a:pt x="924759" y="509678"/>
                  </a:cubicBezTo>
                  <a:cubicBezTo>
                    <a:pt x="905936" y="557605"/>
                    <a:pt x="881969" y="603343"/>
                    <a:pt x="853279" y="646101"/>
                  </a:cubicBezTo>
                  <a:cubicBezTo>
                    <a:pt x="838848" y="626355"/>
                    <a:pt x="832463" y="601866"/>
                    <a:pt x="835423" y="577587"/>
                  </a:cubicBezTo>
                  <a:cubicBezTo>
                    <a:pt x="837861" y="552894"/>
                    <a:pt x="850032" y="539870"/>
                    <a:pt x="865438" y="523383"/>
                  </a:cubicBezTo>
                  <a:cubicBezTo>
                    <a:pt x="886947" y="502542"/>
                    <a:pt x="903205" y="476888"/>
                    <a:pt x="912875" y="448535"/>
                  </a:cubicBezTo>
                  <a:cubicBezTo>
                    <a:pt x="923104" y="418476"/>
                    <a:pt x="933130" y="401460"/>
                    <a:pt x="942660" y="397947"/>
                  </a:cubicBezTo>
                  <a:cubicBezTo>
                    <a:pt x="943787" y="397520"/>
                    <a:pt x="944983" y="397297"/>
                    <a:pt x="946187" y="397297"/>
                  </a:cubicBezTo>
                  <a:cubicBezTo>
                    <a:pt x="948472" y="397361"/>
                    <a:pt x="950700" y="397997"/>
                    <a:pt x="952673" y="399143"/>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8" name="Freeform 17">
              <a:extLst>
                <a:ext uri="{FF2B5EF4-FFF2-40B4-BE49-F238E27FC236}">
                  <a16:creationId xmlns:a16="http://schemas.microsoft.com/office/drawing/2014/main" id="{BF486DC3-7557-428E-934D-C35196908BE0}"/>
                </a:ext>
              </a:extLst>
            </p:cNvPr>
            <p:cNvSpPr/>
            <p:nvPr/>
          </p:nvSpPr>
          <p:spPr>
            <a:xfrm>
              <a:off x="7269194" y="1945272"/>
              <a:ext cx="159143" cy="267360"/>
            </a:xfrm>
            <a:custGeom>
              <a:avLst/>
              <a:gdLst>
                <a:gd name="connsiteX0" fmla="*/ 151584 w 159142"/>
                <a:gd name="connsiteY0" fmla="*/ 33755 h 267360"/>
                <a:gd name="connsiteX1" fmla="*/ 150438 w 159142"/>
                <a:gd name="connsiteY1" fmla="*/ 13486 h 267360"/>
                <a:gd name="connsiteX2" fmla="*/ 145530 w 159142"/>
                <a:gd name="connsiteY2" fmla="*/ 3561 h 267360"/>
                <a:gd name="connsiteX3" fmla="*/ 135084 w 159142"/>
                <a:gd name="connsiteY3" fmla="*/ 30 h 267360"/>
                <a:gd name="connsiteX4" fmla="*/ 13759 w 159142"/>
                <a:gd name="connsiteY4" fmla="*/ 6887 h 267360"/>
                <a:gd name="connsiteX5" fmla="*/ 16 w 159142"/>
                <a:gd name="connsiteY5" fmla="*/ 21984 h 267360"/>
                <a:gd name="connsiteX6" fmla="*/ 1162 w 159142"/>
                <a:gd name="connsiteY6" fmla="*/ 42259 h 267360"/>
                <a:gd name="connsiteX7" fmla="*/ 15669 w 159142"/>
                <a:gd name="connsiteY7" fmla="*/ 55735 h 267360"/>
                <a:gd name="connsiteX8" fmla="*/ 16516 w 159142"/>
                <a:gd name="connsiteY8" fmla="*/ 55710 h 267360"/>
                <a:gd name="connsiteX9" fmla="*/ 20946 w 159142"/>
                <a:gd name="connsiteY9" fmla="*/ 55462 h 267360"/>
                <a:gd name="connsiteX10" fmla="*/ 21965 w 159142"/>
                <a:gd name="connsiteY10" fmla="*/ 67429 h 267360"/>
                <a:gd name="connsiteX11" fmla="*/ 12244 w 159142"/>
                <a:gd name="connsiteY11" fmla="*/ 94261 h 267360"/>
                <a:gd name="connsiteX12" fmla="*/ 1970 w 159142"/>
                <a:gd name="connsiteY12" fmla="*/ 122060 h 267360"/>
                <a:gd name="connsiteX13" fmla="*/ 7515 w 159142"/>
                <a:gd name="connsiteY13" fmla="*/ 241143 h 267360"/>
                <a:gd name="connsiteX14" fmla="*/ 17305 w 159142"/>
                <a:gd name="connsiteY14" fmla="*/ 262360 h 267360"/>
                <a:gd name="connsiteX15" fmla="*/ 37236 w 159142"/>
                <a:gd name="connsiteY15" fmla="*/ 270375 h 267360"/>
                <a:gd name="connsiteX16" fmla="*/ 38885 w 159142"/>
                <a:gd name="connsiteY16" fmla="*/ 270324 h 267360"/>
                <a:gd name="connsiteX17" fmla="*/ 137535 w 159142"/>
                <a:gd name="connsiteY17" fmla="*/ 264741 h 267360"/>
                <a:gd name="connsiteX18" fmla="*/ 158083 w 159142"/>
                <a:gd name="connsiteY18" fmla="*/ 254397 h 267360"/>
                <a:gd name="connsiteX19" fmla="*/ 165423 w 159142"/>
                <a:gd name="connsiteY19" fmla="*/ 232269 h 267360"/>
                <a:gd name="connsiteX20" fmla="*/ 159942 w 159142"/>
                <a:gd name="connsiteY20" fmla="*/ 114351 h 267360"/>
                <a:gd name="connsiteX21" fmla="*/ 147484 w 159142"/>
                <a:gd name="connsiteY21" fmla="*/ 87742 h 267360"/>
                <a:gd name="connsiteX22" fmla="*/ 135835 w 159142"/>
                <a:gd name="connsiteY22" fmla="*/ 63069 h 267360"/>
                <a:gd name="connsiteX23" fmla="*/ 135039 w 159142"/>
                <a:gd name="connsiteY23" fmla="*/ 49013 h 267360"/>
                <a:gd name="connsiteX24" fmla="*/ 137853 w 159142"/>
                <a:gd name="connsiteY24" fmla="*/ 48854 h 267360"/>
                <a:gd name="connsiteX25" fmla="*/ 151584 w 159142"/>
                <a:gd name="connsiteY25" fmla="*/ 33755 h 267360"/>
                <a:gd name="connsiteX26" fmla="*/ 15809 w 159142"/>
                <a:gd name="connsiteY26" fmla="*/ 145524 h 267360"/>
                <a:gd name="connsiteX27" fmla="*/ 148299 w 159142"/>
                <a:gd name="connsiteY27" fmla="*/ 138038 h 267360"/>
                <a:gd name="connsiteX28" fmla="*/ 151469 w 159142"/>
                <a:gd name="connsiteY28" fmla="*/ 206297 h 267360"/>
                <a:gd name="connsiteX29" fmla="*/ 18985 w 159142"/>
                <a:gd name="connsiteY29" fmla="*/ 213783 h 267360"/>
                <a:gd name="connsiteX30" fmla="*/ 148369 w 159142"/>
                <a:gd name="connsiteY30" fmla="*/ 246166 h 267360"/>
                <a:gd name="connsiteX31" fmla="*/ 136822 w 159142"/>
                <a:gd name="connsiteY31" fmla="*/ 252035 h 267360"/>
                <a:gd name="connsiteX32" fmla="*/ 38165 w 159142"/>
                <a:gd name="connsiteY32" fmla="*/ 257618 h 267360"/>
                <a:gd name="connsiteX33" fmla="*/ 26026 w 159142"/>
                <a:gd name="connsiteY33" fmla="*/ 253085 h 267360"/>
                <a:gd name="connsiteX34" fmla="*/ 20227 w 159142"/>
                <a:gd name="connsiteY34" fmla="*/ 240487 h 267360"/>
                <a:gd name="connsiteX35" fmla="*/ 19578 w 159142"/>
                <a:gd name="connsiteY35" fmla="*/ 226496 h 267360"/>
                <a:gd name="connsiteX36" fmla="*/ 152061 w 159142"/>
                <a:gd name="connsiteY36" fmla="*/ 219010 h 267360"/>
                <a:gd name="connsiteX37" fmla="*/ 152704 w 159142"/>
                <a:gd name="connsiteY37" fmla="*/ 232931 h 267360"/>
                <a:gd name="connsiteX38" fmla="*/ 148369 w 159142"/>
                <a:gd name="connsiteY38" fmla="*/ 246166 h 267360"/>
                <a:gd name="connsiteX39" fmla="*/ 123122 w 159142"/>
                <a:gd name="connsiteY39" fmla="*/ 63794 h 267360"/>
                <a:gd name="connsiteX40" fmla="*/ 138973 w 159142"/>
                <a:gd name="connsiteY40" fmla="*/ 97214 h 267360"/>
                <a:gd name="connsiteX41" fmla="*/ 147223 w 159142"/>
                <a:gd name="connsiteY41" fmla="*/ 114949 h 267360"/>
                <a:gd name="connsiteX42" fmla="*/ 147707 w 159142"/>
                <a:gd name="connsiteY42" fmla="*/ 125319 h 267360"/>
                <a:gd name="connsiteX43" fmla="*/ 15217 w 159142"/>
                <a:gd name="connsiteY43" fmla="*/ 132811 h 267360"/>
                <a:gd name="connsiteX44" fmla="*/ 14689 w 159142"/>
                <a:gd name="connsiteY44" fmla="*/ 121461 h 267360"/>
                <a:gd name="connsiteX45" fmla="*/ 21468 w 159142"/>
                <a:gd name="connsiteY45" fmla="*/ 103039 h 267360"/>
                <a:gd name="connsiteX46" fmla="*/ 34664 w 159142"/>
                <a:gd name="connsiteY46" fmla="*/ 66532 h 267360"/>
                <a:gd name="connsiteX47" fmla="*/ 33665 w 159142"/>
                <a:gd name="connsiteY47" fmla="*/ 54742 h 267360"/>
                <a:gd name="connsiteX48" fmla="*/ 122327 w 159142"/>
                <a:gd name="connsiteY48" fmla="*/ 49732 h 267360"/>
                <a:gd name="connsiteX49" fmla="*/ 15796 w 159142"/>
                <a:gd name="connsiteY49" fmla="*/ 43004 h 267360"/>
                <a:gd name="connsiteX50" fmla="*/ 13874 w 159142"/>
                <a:gd name="connsiteY50" fmla="*/ 41540 h 267360"/>
                <a:gd name="connsiteX51" fmla="*/ 12728 w 159142"/>
                <a:gd name="connsiteY51" fmla="*/ 21271 h 267360"/>
                <a:gd name="connsiteX52" fmla="*/ 14472 w 159142"/>
                <a:gd name="connsiteY52" fmla="*/ 19591 h 267360"/>
                <a:gd name="connsiteX53" fmla="*/ 135803 w 159142"/>
                <a:gd name="connsiteY53" fmla="*/ 12735 h 267360"/>
                <a:gd name="connsiteX54" fmla="*/ 135930 w 159142"/>
                <a:gd name="connsiteY54" fmla="*/ 12735 h 267360"/>
                <a:gd name="connsiteX55" fmla="*/ 137210 w 159142"/>
                <a:gd name="connsiteY55" fmla="*/ 13200 h 267360"/>
                <a:gd name="connsiteX56" fmla="*/ 137725 w 159142"/>
                <a:gd name="connsiteY56" fmla="*/ 14205 h 267360"/>
                <a:gd name="connsiteX57" fmla="*/ 138871 w 159142"/>
                <a:gd name="connsiteY57" fmla="*/ 34467 h 267360"/>
                <a:gd name="connsiteX58" fmla="*/ 137127 w 159142"/>
                <a:gd name="connsiteY58" fmla="*/ 36148 h 267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142" h="267360">
                  <a:moveTo>
                    <a:pt x="151584" y="33755"/>
                  </a:moveTo>
                  <a:lnTo>
                    <a:pt x="150438" y="13486"/>
                  </a:lnTo>
                  <a:cubicBezTo>
                    <a:pt x="150228" y="9648"/>
                    <a:pt x="148458" y="6058"/>
                    <a:pt x="145530" y="3561"/>
                  </a:cubicBezTo>
                  <a:cubicBezTo>
                    <a:pt x="142646" y="1053"/>
                    <a:pt x="138897" y="-216"/>
                    <a:pt x="135084" y="30"/>
                  </a:cubicBezTo>
                  <a:lnTo>
                    <a:pt x="13759" y="6887"/>
                  </a:lnTo>
                  <a:cubicBezTo>
                    <a:pt x="5796" y="7271"/>
                    <a:pt x="-353" y="14027"/>
                    <a:pt x="16" y="21984"/>
                  </a:cubicBezTo>
                  <a:lnTo>
                    <a:pt x="1162" y="42259"/>
                  </a:lnTo>
                  <a:cubicBezTo>
                    <a:pt x="1671" y="49885"/>
                    <a:pt x="8030" y="55793"/>
                    <a:pt x="15669" y="55735"/>
                  </a:cubicBezTo>
                  <a:cubicBezTo>
                    <a:pt x="15949" y="55735"/>
                    <a:pt x="16229" y="55729"/>
                    <a:pt x="16516" y="55710"/>
                  </a:cubicBezTo>
                  <a:lnTo>
                    <a:pt x="20946" y="55462"/>
                  </a:lnTo>
                  <a:lnTo>
                    <a:pt x="21965" y="67429"/>
                  </a:lnTo>
                  <a:cubicBezTo>
                    <a:pt x="22576" y="77334"/>
                    <a:pt x="19056" y="87048"/>
                    <a:pt x="12244" y="94261"/>
                  </a:cubicBezTo>
                  <a:cubicBezTo>
                    <a:pt x="5172" y="101740"/>
                    <a:pt x="1461" y="111779"/>
                    <a:pt x="1970" y="122060"/>
                  </a:cubicBezTo>
                  <a:lnTo>
                    <a:pt x="7515" y="241143"/>
                  </a:lnTo>
                  <a:cubicBezTo>
                    <a:pt x="7922" y="249215"/>
                    <a:pt x="11430" y="256816"/>
                    <a:pt x="17305" y="262360"/>
                  </a:cubicBezTo>
                  <a:cubicBezTo>
                    <a:pt x="22672" y="267491"/>
                    <a:pt x="29807" y="270362"/>
                    <a:pt x="37236" y="270375"/>
                  </a:cubicBezTo>
                  <a:cubicBezTo>
                    <a:pt x="37777" y="270375"/>
                    <a:pt x="38331" y="270355"/>
                    <a:pt x="38885" y="270324"/>
                  </a:cubicBezTo>
                  <a:lnTo>
                    <a:pt x="137535" y="264741"/>
                  </a:lnTo>
                  <a:cubicBezTo>
                    <a:pt x="145524" y="264289"/>
                    <a:pt x="152965" y="260540"/>
                    <a:pt x="158083" y="254397"/>
                  </a:cubicBezTo>
                  <a:cubicBezTo>
                    <a:pt x="163278" y="248241"/>
                    <a:pt x="165906" y="240316"/>
                    <a:pt x="165423" y="232269"/>
                  </a:cubicBezTo>
                  <a:lnTo>
                    <a:pt x="159942" y="114351"/>
                  </a:lnTo>
                  <a:cubicBezTo>
                    <a:pt x="159490" y="104178"/>
                    <a:pt x="155008" y="94611"/>
                    <a:pt x="147484" y="87742"/>
                  </a:cubicBezTo>
                  <a:cubicBezTo>
                    <a:pt x="140520" y="81364"/>
                    <a:pt x="136338" y="72503"/>
                    <a:pt x="135835" y="63069"/>
                  </a:cubicBezTo>
                  <a:lnTo>
                    <a:pt x="135039" y="49013"/>
                  </a:lnTo>
                  <a:lnTo>
                    <a:pt x="137853" y="48854"/>
                  </a:lnTo>
                  <a:cubicBezTo>
                    <a:pt x="145810" y="48459"/>
                    <a:pt x="151946" y="41712"/>
                    <a:pt x="151584" y="33755"/>
                  </a:cubicBezTo>
                  <a:close/>
                  <a:moveTo>
                    <a:pt x="15809" y="145524"/>
                  </a:moveTo>
                  <a:lnTo>
                    <a:pt x="148299" y="138038"/>
                  </a:lnTo>
                  <a:lnTo>
                    <a:pt x="151469" y="206297"/>
                  </a:lnTo>
                  <a:lnTo>
                    <a:pt x="18985" y="213783"/>
                  </a:lnTo>
                  <a:close/>
                  <a:moveTo>
                    <a:pt x="148369" y="246166"/>
                  </a:moveTo>
                  <a:cubicBezTo>
                    <a:pt x="145498" y="249635"/>
                    <a:pt x="141316" y="251761"/>
                    <a:pt x="136822" y="252035"/>
                  </a:cubicBezTo>
                  <a:lnTo>
                    <a:pt x="38165" y="257618"/>
                  </a:lnTo>
                  <a:cubicBezTo>
                    <a:pt x="33665" y="257828"/>
                    <a:pt x="29279" y="256192"/>
                    <a:pt x="26026" y="253085"/>
                  </a:cubicBezTo>
                  <a:cubicBezTo>
                    <a:pt x="22544" y="249788"/>
                    <a:pt x="20469" y="245275"/>
                    <a:pt x="20227" y="240487"/>
                  </a:cubicBezTo>
                  <a:lnTo>
                    <a:pt x="19578" y="226496"/>
                  </a:lnTo>
                  <a:lnTo>
                    <a:pt x="152061" y="219010"/>
                  </a:lnTo>
                  <a:lnTo>
                    <a:pt x="152704" y="232931"/>
                  </a:lnTo>
                  <a:cubicBezTo>
                    <a:pt x="153016" y="237738"/>
                    <a:pt x="151463" y="242480"/>
                    <a:pt x="148369" y="246166"/>
                  </a:cubicBezTo>
                  <a:close/>
                  <a:moveTo>
                    <a:pt x="123122" y="63794"/>
                  </a:moveTo>
                  <a:cubicBezTo>
                    <a:pt x="123823" y="76577"/>
                    <a:pt x="129514" y="88582"/>
                    <a:pt x="138973" y="97214"/>
                  </a:cubicBezTo>
                  <a:cubicBezTo>
                    <a:pt x="143970" y="101798"/>
                    <a:pt x="146937" y="108176"/>
                    <a:pt x="147223" y="114949"/>
                  </a:cubicBezTo>
                  <a:lnTo>
                    <a:pt x="147707" y="125319"/>
                  </a:lnTo>
                  <a:lnTo>
                    <a:pt x="15217" y="132811"/>
                  </a:lnTo>
                  <a:lnTo>
                    <a:pt x="14689" y="121461"/>
                  </a:lnTo>
                  <a:cubicBezTo>
                    <a:pt x="14339" y="114656"/>
                    <a:pt x="16790" y="107998"/>
                    <a:pt x="21468" y="103039"/>
                  </a:cubicBezTo>
                  <a:cubicBezTo>
                    <a:pt x="30730" y="93223"/>
                    <a:pt x="35511" y="80001"/>
                    <a:pt x="34664" y="66532"/>
                  </a:cubicBezTo>
                  <a:lnTo>
                    <a:pt x="33665" y="54742"/>
                  </a:lnTo>
                  <a:lnTo>
                    <a:pt x="122327" y="49732"/>
                  </a:lnTo>
                  <a:close/>
                  <a:moveTo>
                    <a:pt x="15796" y="43004"/>
                  </a:moveTo>
                  <a:cubicBezTo>
                    <a:pt x="14873" y="43093"/>
                    <a:pt x="14033" y="42456"/>
                    <a:pt x="13874" y="41540"/>
                  </a:cubicBezTo>
                  <a:lnTo>
                    <a:pt x="12728" y="21271"/>
                  </a:lnTo>
                  <a:cubicBezTo>
                    <a:pt x="12754" y="20329"/>
                    <a:pt x="13530" y="19584"/>
                    <a:pt x="14472" y="19591"/>
                  </a:cubicBezTo>
                  <a:lnTo>
                    <a:pt x="135803" y="12735"/>
                  </a:lnTo>
                  <a:lnTo>
                    <a:pt x="135930" y="12735"/>
                  </a:lnTo>
                  <a:cubicBezTo>
                    <a:pt x="136395" y="12729"/>
                    <a:pt x="136853" y="12894"/>
                    <a:pt x="137210" y="13200"/>
                  </a:cubicBezTo>
                  <a:cubicBezTo>
                    <a:pt x="137509" y="13448"/>
                    <a:pt x="137700" y="13811"/>
                    <a:pt x="137725" y="14205"/>
                  </a:cubicBezTo>
                  <a:lnTo>
                    <a:pt x="138871" y="34467"/>
                  </a:lnTo>
                  <a:cubicBezTo>
                    <a:pt x="138846" y="35410"/>
                    <a:pt x="138069" y="36154"/>
                    <a:pt x="137127" y="36148"/>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9" name="Freeform 18">
              <a:extLst>
                <a:ext uri="{FF2B5EF4-FFF2-40B4-BE49-F238E27FC236}">
                  <a16:creationId xmlns:a16="http://schemas.microsoft.com/office/drawing/2014/main" id="{9DCAD36C-3FF8-489C-9297-34BF114918EF}"/>
                </a:ext>
              </a:extLst>
            </p:cNvPr>
            <p:cNvSpPr/>
            <p:nvPr/>
          </p:nvSpPr>
          <p:spPr>
            <a:xfrm>
              <a:off x="3430139" y="5205544"/>
              <a:ext cx="203703" cy="203703"/>
            </a:xfrm>
            <a:custGeom>
              <a:avLst/>
              <a:gdLst>
                <a:gd name="connsiteX0" fmla="*/ 49212 w 203702"/>
                <a:gd name="connsiteY0" fmla="*/ 15498 h 203702"/>
                <a:gd name="connsiteX1" fmla="*/ 15465 w 203702"/>
                <a:gd name="connsiteY1" fmla="*/ 158128 h 203702"/>
                <a:gd name="connsiteX2" fmla="*/ 158092 w 203702"/>
                <a:gd name="connsiteY2" fmla="*/ 191873 h 203702"/>
                <a:gd name="connsiteX3" fmla="*/ 191840 w 203702"/>
                <a:gd name="connsiteY3" fmla="*/ 49243 h 203702"/>
                <a:gd name="connsiteX4" fmla="*/ 127499 w 203702"/>
                <a:gd name="connsiteY4" fmla="*/ 2830 h 203702"/>
                <a:gd name="connsiteX5" fmla="*/ 49212 w 203702"/>
                <a:gd name="connsiteY5" fmla="*/ 15498 h 203702"/>
                <a:gd name="connsiteX6" fmla="*/ 180989 w 203702"/>
                <a:gd name="connsiteY6" fmla="*/ 55914 h 203702"/>
                <a:gd name="connsiteX7" fmla="*/ 151308 w 203702"/>
                <a:gd name="connsiteY7" fmla="*/ 180841 h 203702"/>
                <a:gd name="connsiteX8" fmla="*/ 26376 w 203702"/>
                <a:gd name="connsiteY8" fmla="*/ 151164 h 203702"/>
                <a:gd name="connsiteX9" fmla="*/ 56058 w 203702"/>
                <a:gd name="connsiteY9" fmla="*/ 26231 h 203702"/>
                <a:gd name="connsiteX10" fmla="*/ 103479 w 203702"/>
                <a:gd name="connsiteY10" fmla="*/ 12736 h 203702"/>
                <a:gd name="connsiteX11" fmla="*/ 124571 w 203702"/>
                <a:gd name="connsiteY11" fmla="*/ 15218 h 203702"/>
                <a:gd name="connsiteX12" fmla="*/ 180989 w 203702"/>
                <a:gd name="connsiteY12" fmla="*/ 55914 h 20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702" h="203702">
                  <a:moveTo>
                    <a:pt x="49212" y="15498"/>
                  </a:moveTo>
                  <a:cubicBezTo>
                    <a:pt x="507" y="45563"/>
                    <a:pt x="-14602" y="109424"/>
                    <a:pt x="15465" y="158128"/>
                  </a:cubicBezTo>
                  <a:cubicBezTo>
                    <a:pt x="45531" y="206832"/>
                    <a:pt x="109388" y="221938"/>
                    <a:pt x="158092" y="191873"/>
                  </a:cubicBezTo>
                  <a:cubicBezTo>
                    <a:pt x="206797" y="161808"/>
                    <a:pt x="221906" y="97947"/>
                    <a:pt x="191840" y="49243"/>
                  </a:cubicBezTo>
                  <a:cubicBezTo>
                    <a:pt x="177398" y="25849"/>
                    <a:pt x="154254" y="9151"/>
                    <a:pt x="127499" y="2830"/>
                  </a:cubicBezTo>
                  <a:cubicBezTo>
                    <a:pt x="100759" y="-3574"/>
                    <a:pt x="72568" y="991"/>
                    <a:pt x="49212" y="15498"/>
                  </a:cubicBezTo>
                  <a:close/>
                  <a:moveTo>
                    <a:pt x="180989" y="55914"/>
                  </a:moveTo>
                  <a:cubicBezTo>
                    <a:pt x="207292" y="98609"/>
                    <a:pt x="194003" y="154538"/>
                    <a:pt x="151308" y="180841"/>
                  </a:cubicBezTo>
                  <a:cubicBezTo>
                    <a:pt x="108612" y="207144"/>
                    <a:pt x="52679" y="193859"/>
                    <a:pt x="26376" y="151164"/>
                  </a:cubicBezTo>
                  <a:cubicBezTo>
                    <a:pt x="74" y="108470"/>
                    <a:pt x="13363" y="52534"/>
                    <a:pt x="56058" y="26231"/>
                  </a:cubicBezTo>
                  <a:cubicBezTo>
                    <a:pt x="70318" y="17446"/>
                    <a:pt x="86730" y="12774"/>
                    <a:pt x="103479" y="12736"/>
                  </a:cubicBezTo>
                  <a:cubicBezTo>
                    <a:pt x="110582" y="12742"/>
                    <a:pt x="117661" y="13576"/>
                    <a:pt x="124571" y="15218"/>
                  </a:cubicBezTo>
                  <a:cubicBezTo>
                    <a:pt x="148058" y="20699"/>
                    <a:pt x="168374" y="35353"/>
                    <a:pt x="180989" y="55914"/>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0" name="Freeform 19">
              <a:extLst>
                <a:ext uri="{FF2B5EF4-FFF2-40B4-BE49-F238E27FC236}">
                  <a16:creationId xmlns:a16="http://schemas.microsoft.com/office/drawing/2014/main" id="{797793D9-84D5-4D02-A195-19B3BFC0B5C9}"/>
                </a:ext>
              </a:extLst>
            </p:cNvPr>
            <p:cNvSpPr/>
            <p:nvPr/>
          </p:nvSpPr>
          <p:spPr>
            <a:xfrm>
              <a:off x="3487424" y="5262823"/>
              <a:ext cx="89120" cy="89120"/>
            </a:xfrm>
            <a:custGeom>
              <a:avLst/>
              <a:gdLst>
                <a:gd name="connsiteX0" fmla="*/ 22012 w 89120"/>
                <a:gd name="connsiteY0" fmla="*/ 6935 h 89120"/>
                <a:gd name="connsiteX1" fmla="*/ 6921 w 89120"/>
                <a:gd name="connsiteY1" fmla="*/ 70745 h 89120"/>
                <a:gd name="connsiteX2" fmla="*/ 35703 w 89120"/>
                <a:gd name="connsiteY2" fmla="*/ 91504 h 89120"/>
                <a:gd name="connsiteX3" fmla="*/ 91519 w 89120"/>
                <a:gd name="connsiteY3" fmla="*/ 57103 h 89120"/>
                <a:gd name="connsiteX4" fmla="*/ 57113 w 89120"/>
                <a:gd name="connsiteY4" fmla="*/ 1283 h 89120"/>
                <a:gd name="connsiteX5" fmla="*/ 57039 w 89120"/>
                <a:gd name="connsiteY5" fmla="*/ 1270 h 89120"/>
                <a:gd name="connsiteX6" fmla="*/ 22011 w 89120"/>
                <a:gd name="connsiteY6" fmla="*/ 6935 h 89120"/>
                <a:gd name="connsiteX7" fmla="*/ 79101 w 89120"/>
                <a:gd name="connsiteY7" fmla="*/ 54118 h 89120"/>
                <a:gd name="connsiteX8" fmla="*/ 38635 w 89120"/>
                <a:gd name="connsiteY8" fmla="*/ 79123 h 89120"/>
                <a:gd name="connsiteX9" fmla="*/ 13632 w 89120"/>
                <a:gd name="connsiteY9" fmla="*/ 38656 h 89120"/>
                <a:gd name="connsiteX10" fmla="*/ 54098 w 89120"/>
                <a:gd name="connsiteY10" fmla="*/ 13658 h 89120"/>
                <a:gd name="connsiteX11" fmla="*/ 54110 w 89120"/>
                <a:gd name="connsiteY11" fmla="*/ 13658 h 89120"/>
                <a:gd name="connsiteX12" fmla="*/ 79101 w 89120"/>
                <a:gd name="connsiteY12" fmla="*/ 54118 h 8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120" h="89120">
                  <a:moveTo>
                    <a:pt x="22012" y="6935"/>
                  </a:moveTo>
                  <a:cubicBezTo>
                    <a:pt x="224" y="20392"/>
                    <a:pt x="-6532" y="48955"/>
                    <a:pt x="6921" y="70745"/>
                  </a:cubicBezTo>
                  <a:cubicBezTo>
                    <a:pt x="13382" y="81211"/>
                    <a:pt x="23735" y="88677"/>
                    <a:pt x="35703" y="91504"/>
                  </a:cubicBezTo>
                  <a:cubicBezTo>
                    <a:pt x="60617" y="97418"/>
                    <a:pt x="85607" y="82013"/>
                    <a:pt x="91519" y="57103"/>
                  </a:cubicBezTo>
                  <a:cubicBezTo>
                    <a:pt x="97431" y="32188"/>
                    <a:pt x="82027" y="7196"/>
                    <a:pt x="57113" y="1283"/>
                  </a:cubicBezTo>
                  <a:cubicBezTo>
                    <a:pt x="57088" y="1283"/>
                    <a:pt x="57063" y="1276"/>
                    <a:pt x="57039" y="1270"/>
                  </a:cubicBezTo>
                  <a:cubicBezTo>
                    <a:pt x="45074" y="-1601"/>
                    <a:pt x="32459" y="442"/>
                    <a:pt x="22011" y="6935"/>
                  </a:cubicBezTo>
                  <a:close/>
                  <a:moveTo>
                    <a:pt x="79101" y="54118"/>
                  </a:moveTo>
                  <a:cubicBezTo>
                    <a:pt x="74831" y="72197"/>
                    <a:pt x="56713" y="83394"/>
                    <a:pt x="38635" y="79123"/>
                  </a:cubicBezTo>
                  <a:cubicBezTo>
                    <a:pt x="20556" y="74851"/>
                    <a:pt x="9362" y="56734"/>
                    <a:pt x="13632" y="38656"/>
                  </a:cubicBezTo>
                  <a:cubicBezTo>
                    <a:pt x="17902" y="20577"/>
                    <a:pt x="36020" y="9386"/>
                    <a:pt x="54098" y="13658"/>
                  </a:cubicBezTo>
                  <a:cubicBezTo>
                    <a:pt x="54102" y="13658"/>
                    <a:pt x="54107" y="13658"/>
                    <a:pt x="54110" y="13658"/>
                  </a:cubicBezTo>
                  <a:cubicBezTo>
                    <a:pt x="72171" y="17948"/>
                    <a:pt x="83351" y="36052"/>
                    <a:pt x="79101" y="54118"/>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1" name="Freeform 20">
              <a:extLst>
                <a:ext uri="{FF2B5EF4-FFF2-40B4-BE49-F238E27FC236}">
                  <a16:creationId xmlns:a16="http://schemas.microsoft.com/office/drawing/2014/main" id="{DD0CADC5-BDF9-4E0B-99C8-D94C342B7B85}"/>
                </a:ext>
              </a:extLst>
            </p:cNvPr>
            <p:cNvSpPr/>
            <p:nvPr/>
          </p:nvSpPr>
          <p:spPr>
            <a:xfrm>
              <a:off x="3305570" y="5211282"/>
              <a:ext cx="57291" cy="57291"/>
            </a:xfrm>
            <a:custGeom>
              <a:avLst/>
              <a:gdLst>
                <a:gd name="connsiteX0" fmla="*/ 36806 w 57291"/>
                <a:gd name="connsiteY0" fmla="*/ 409 h 57291"/>
                <a:gd name="connsiteX1" fmla="*/ 409 w 57291"/>
                <a:gd name="connsiteY1" fmla="*/ 26706 h 57291"/>
                <a:gd name="connsiteX2" fmla="*/ 26705 w 57291"/>
                <a:gd name="connsiteY2" fmla="*/ 63105 h 57291"/>
                <a:gd name="connsiteX3" fmla="*/ 63102 w 57291"/>
                <a:gd name="connsiteY3" fmla="*/ 36808 h 57291"/>
                <a:gd name="connsiteX4" fmla="*/ 37162 w 57291"/>
                <a:gd name="connsiteY4" fmla="*/ 466 h 57291"/>
                <a:gd name="connsiteX5" fmla="*/ 36806 w 57291"/>
                <a:gd name="connsiteY5" fmla="*/ 409 h 57291"/>
                <a:gd name="connsiteX6" fmla="*/ 50533 w 57291"/>
                <a:gd name="connsiteY6" fmla="*/ 34784 h 57291"/>
                <a:gd name="connsiteX7" fmla="*/ 28734 w 57291"/>
                <a:gd name="connsiteY7" fmla="*/ 50533 h 57291"/>
                <a:gd name="connsiteX8" fmla="*/ 12978 w 57291"/>
                <a:gd name="connsiteY8" fmla="*/ 28736 h 57291"/>
                <a:gd name="connsiteX9" fmla="*/ 34777 w 57291"/>
                <a:gd name="connsiteY9" fmla="*/ 12981 h 57291"/>
                <a:gd name="connsiteX10" fmla="*/ 50533 w 57291"/>
                <a:gd name="connsiteY10" fmla="*/ 34777 h 57291"/>
                <a:gd name="connsiteX11" fmla="*/ 50533 w 57291"/>
                <a:gd name="connsiteY11" fmla="*/ 34784 h 57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1" h="57291">
                  <a:moveTo>
                    <a:pt x="36806" y="409"/>
                  </a:moveTo>
                  <a:cubicBezTo>
                    <a:pt x="19494" y="-2379"/>
                    <a:pt x="3199" y="9391"/>
                    <a:pt x="409" y="26706"/>
                  </a:cubicBezTo>
                  <a:cubicBezTo>
                    <a:pt x="-2380" y="44020"/>
                    <a:pt x="9392" y="60317"/>
                    <a:pt x="26705" y="63105"/>
                  </a:cubicBezTo>
                  <a:cubicBezTo>
                    <a:pt x="44017" y="65893"/>
                    <a:pt x="60312" y="54123"/>
                    <a:pt x="63102" y="36808"/>
                  </a:cubicBezTo>
                  <a:cubicBezTo>
                    <a:pt x="65974" y="19608"/>
                    <a:pt x="54360" y="3337"/>
                    <a:pt x="37162" y="466"/>
                  </a:cubicBezTo>
                  <a:cubicBezTo>
                    <a:pt x="37044" y="447"/>
                    <a:pt x="36925" y="428"/>
                    <a:pt x="36806" y="409"/>
                  </a:cubicBezTo>
                  <a:close/>
                  <a:moveTo>
                    <a:pt x="50533" y="34784"/>
                  </a:moveTo>
                  <a:cubicBezTo>
                    <a:pt x="48817" y="45121"/>
                    <a:pt x="39091" y="52149"/>
                    <a:pt x="28734" y="50533"/>
                  </a:cubicBezTo>
                  <a:cubicBezTo>
                    <a:pt x="18364" y="48865"/>
                    <a:pt x="11310" y="39106"/>
                    <a:pt x="12978" y="28736"/>
                  </a:cubicBezTo>
                  <a:cubicBezTo>
                    <a:pt x="14647" y="18367"/>
                    <a:pt x="24407" y="11313"/>
                    <a:pt x="34777" y="12981"/>
                  </a:cubicBezTo>
                  <a:cubicBezTo>
                    <a:pt x="45147" y="14649"/>
                    <a:pt x="52202" y="24408"/>
                    <a:pt x="50533" y="34777"/>
                  </a:cubicBezTo>
                  <a:cubicBezTo>
                    <a:pt x="50533" y="34777"/>
                    <a:pt x="50533" y="34777"/>
                    <a:pt x="50533" y="34784"/>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2" name="Freeform 21">
              <a:extLst>
                <a:ext uri="{FF2B5EF4-FFF2-40B4-BE49-F238E27FC236}">
                  <a16:creationId xmlns:a16="http://schemas.microsoft.com/office/drawing/2014/main" id="{ADE1F1C9-80CB-4CE9-AC7E-B5AFDD4C1CE4}"/>
                </a:ext>
              </a:extLst>
            </p:cNvPr>
            <p:cNvSpPr/>
            <p:nvPr/>
          </p:nvSpPr>
          <p:spPr>
            <a:xfrm>
              <a:off x="3362577" y="5020528"/>
              <a:ext cx="159143" cy="159143"/>
            </a:xfrm>
            <a:custGeom>
              <a:avLst/>
              <a:gdLst>
                <a:gd name="connsiteX0" fmla="*/ 82565 w 159142"/>
                <a:gd name="connsiteY0" fmla="*/ 165114 h 159142"/>
                <a:gd name="connsiteX1" fmla="*/ 165118 w 159142"/>
                <a:gd name="connsiteY1" fmla="*/ 82550 h 159142"/>
                <a:gd name="connsiteX2" fmla="*/ 82553 w 159142"/>
                <a:gd name="connsiteY2" fmla="*/ 0 h 159142"/>
                <a:gd name="connsiteX3" fmla="*/ 0 w 159142"/>
                <a:gd name="connsiteY3" fmla="*/ 82563 h 159142"/>
                <a:gd name="connsiteX4" fmla="*/ 69392 w 159142"/>
                <a:gd name="connsiteY4" fmla="*/ 164057 h 159142"/>
                <a:gd name="connsiteX5" fmla="*/ 82565 w 159142"/>
                <a:gd name="connsiteY5" fmla="*/ 165114 h 159142"/>
                <a:gd name="connsiteX6" fmla="*/ 13614 w 159142"/>
                <a:gd name="connsiteY6" fmla="*/ 71493 h 159142"/>
                <a:gd name="connsiteX7" fmla="*/ 93609 w 159142"/>
                <a:gd name="connsiteY7" fmla="*/ 13686 h 159142"/>
                <a:gd name="connsiteX8" fmla="*/ 151417 w 159142"/>
                <a:gd name="connsiteY8" fmla="*/ 93684 h 159142"/>
                <a:gd name="connsiteX9" fmla="*/ 71422 w 159142"/>
                <a:gd name="connsiteY9" fmla="*/ 151491 h 159142"/>
                <a:gd name="connsiteX10" fmla="*/ 71419 w 159142"/>
                <a:gd name="connsiteY10" fmla="*/ 151491 h 159142"/>
                <a:gd name="connsiteX11" fmla="*/ 13470 w 159142"/>
                <a:gd name="connsiteY11" fmla="*/ 72391 h 159142"/>
                <a:gd name="connsiteX12" fmla="*/ 13614 w 159142"/>
                <a:gd name="connsiteY12" fmla="*/ 71493 h 159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9142" h="159142">
                  <a:moveTo>
                    <a:pt x="82565" y="165114"/>
                  </a:moveTo>
                  <a:cubicBezTo>
                    <a:pt x="128161" y="165114"/>
                    <a:pt x="165122" y="128148"/>
                    <a:pt x="165118" y="82550"/>
                  </a:cubicBezTo>
                  <a:cubicBezTo>
                    <a:pt x="165115" y="36953"/>
                    <a:pt x="128149" y="-7"/>
                    <a:pt x="82553" y="0"/>
                  </a:cubicBezTo>
                  <a:cubicBezTo>
                    <a:pt x="36957" y="0"/>
                    <a:pt x="-4" y="36966"/>
                    <a:pt x="0" y="82563"/>
                  </a:cubicBezTo>
                  <a:cubicBezTo>
                    <a:pt x="3" y="123075"/>
                    <a:pt x="29399" y="157596"/>
                    <a:pt x="69392" y="164057"/>
                  </a:cubicBezTo>
                  <a:cubicBezTo>
                    <a:pt x="73748" y="164764"/>
                    <a:pt x="78153" y="165114"/>
                    <a:pt x="82565" y="165114"/>
                  </a:cubicBezTo>
                  <a:close/>
                  <a:moveTo>
                    <a:pt x="13614" y="71493"/>
                  </a:moveTo>
                  <a:cubicBezTo>
                    <a:pt x="19741" y="33445"/>
                    <a:pt x="55556" y="7562"/>
                    <a:pt x="93609" y="13686"/>
                  </a:cubicBezTo>
                  <a:cubicBezTo>
                    <a:pt x="131662" y="19816"/>
                    <a:pt x="157544" y="55630"/>
                    <a:pt x="151417" y="93684"/>
                  </a:cubicBezTo>
                  <a:cubicBezTo>
                    <a:pt x="145290" y="131739"/>
                    <a:pt x="109475" y="157615"/>
                    <a:pt x="71422" y="151491"/>
                  </a:cubicBezTo>
                  <a:cubicBezTo>
                    <a:pt x="71421" y="151491"/>
                    <a:pt x="71420" y="151491"/>
                    <a:pt x="71419" y="151491"/>
                  </a:cubicBezTo>
                  <a:cubicBezTo>
                    <a:pt x="33574" y="145648"/>
                    <a:pt x="7630" y="110235"/>
                    <a:pt x="13470" y="72391"/>
                  </a:cubicBezTo>
                  <a:cubicBezTo>
                    <a:pt x="13516" y="72092"/>
                    <a:pt x="13565" y="71792"/>
                    <a:pt x="13614" y="71493"/>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3" name="Freeform 22">
              <a:extLst>
                <a:ext uri="{FF2B5EF4-FFF2-40B4-BE49-F238E27FC236}">
                  <a16:creationId xmlns:a16="http://schemas.microsoft.com/office/drawing/2014/main" id="{92EB9BC8-4A8B-4E16-B7BC-7A1DE61BD0FF}"/>
                </a:ext>
              </a:extLst>
            </p:cNvPr>
            <p:cNvSpPr/>
            <p:nvPr/>
          </p:nvSpPr>
          <p:spPr>
            <a:xfrm>
              <a:off x="3406361" y="5064337"/>
              <a:ext cx="76389" cy="76389"/>
            </a:xfrm>
            <a:custGeom>
              <a:avLst/>
              <a:gdLst>
                <a:gd name="connsiteX0" fmla="*/ 38749 w 76388"/>
                <a:gd name="connsiteY0" fmla="*/ 77528 h 76388"/>
                <a:gd name="connsiteX1" fmla="*/ 77525 w 76388"/>
                <a:gd name="connsiteY1" fmla="*/ 38774 h 76388"/>
                <a:gd name="connsiteX2" fmla="*/ 38776 w 76388"/>
                <a:gd name="connsiteY2" fmla="*/ 0 h 76388"/>
                <a:gd name="connsiteX3" fmla="*/ 0 w 76388"/>
                <a:gd name="connsiteY3" fmla="*/ 38748 h 76388"/>
                <a:gd name="connsiteX4" fmla="*/ 32573 w 76388"/>
                <a:gd name="connsiteY4" fmla="*/ 77025 h 76388"/>
                <a:gd name="connsiteX5" fmla="*/ 38749 w 76388"/>
                <a:gd name="connsiteY5" fmla="*/ 77528 h 76388"/>
                <a:gd name="connsiteX6" fmla="*/ 13059 w 76388"/>
                <a:gd name="connsiteY6" fmla="*/ 34649 h 76388"/>
                <a:gd name="connsiteX7" fmla="*/ 38677 w 76388"/>
                <a:gd name="connsiteY7" fmla="*/ 12776 h 76388"/>
                <a:gd name="connsiteX8" fmla="*/ 42867 w 76388"/>
                <a:gd name="connsiteY8" fmla="*/ 13107 h 76388"/>
                <a:gd name="connsiteX9" fmla="*/ 64408 w 76388"/>
                <a:gd name="connsiteY9" fmla="*/ 42918 h 76388"/>
                <a:gd name="connsiteX10" fmla="*/ 34600 w 76388"/>
                <a:gd name="connsiteY10" fmla="*/ 64459 h 76388"/>
                <a:gd name="connsiteX11" fmla="*/ 13059 w 76388"/>
                <a:gd name="connsiteY11" fmla="*/ 34649 h 76388"/>
                <a:gd name="connsiteX12" fmla="*/ 13059 w 76388"/>
                <a:gd name="connsiteY12" fmla="*/ 34649 h 7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388" h="76388">
                  <a:moveTo>
                    <a:pt x="38749" y="77528"/>
                  </a:moveTo>
                  <a:cubicBezTo>
                    <a:pt x="60157" y="77535"/>
                    <a:pt x="77517" y="60182"/>
                    <a:pt x="77525" y="38774"/>
                  </a:cubicBezTo>
                  <a:cubicBezTo>
                    <a:pt x="77533" y="17366"/>
                    <a:pt x="60184" y="7"/>
                    <a:pt x="38776" y="0"/>
                  </a:cubicBezTo>
                  <a:cubicBezTo>
                    <a:pt x="17368" y="-6"/>
                    <a:pt x="8" y="17340"/>
                    <a:pt x="0" y="38748"/>
                  </a:cubicBezTo>
                  <a:cubicBezTo>
                    <a:pt x="-6" y="57776"/>
                    <a:pt x="13793" y="73989"/>
                    <a:pt x="32573" y="77025"/>
                  </a:cubicBezTo>
                  <a:cubicBezTo>
                    <a:pt x="34616" y="77356"/>
                    <a:pt x="36681" y="77522"/>
                    <a:pt x="38749" y="77528"/>
                  </a:cubicBezTo>
                  <a:close/>
                  <a:moveTo>
                    <a:pt x="13059" y="34649"/>
                  </a:moveTo>
                  <a:cubicBezTo>
                    <a:pt x="15084" y="22064"/>
                    <a:pt x="25931" y="12802"/>
                    <a:pt x="38677" y="12776"/>
                  </a:cubicBezTo>
                  <a:cubicBezTo>
                    <a:pt x="40081" y="12776"/>
                    <a:pt x="41482" y="12885"/>
                    <a:pt x="42867" y="13107"/>
                  </a:cubicBezTo>
                  <a:cubicBezTo>
                    <a:pt x="57047" y="15392"/>
                    <a:pt x="66692" y="28741"/>
                    <a:pt x="64408" y="42918"/>
                  </a:cubicBezTo>
                  <a:cubicBezTo>
                    <a:pt x="62126" y="57094"/>
                    <a:pt x="48780" y="66738"/>
                    <a:pt x="34600" y="64459"/>
                  </a:cubicBezTo>
                  <a:cubicBezTo>
                    <a:pt x="20421" y="62174"/>
                    <a:pt x="10777" y="48832"/>
                    <a:pt x="13059" y="34649"/>
                  </a:cubicBezTo>
                  <a:cubicBezTo>
                    <a:pt x="13059" y="34649"/>
                    <a:pt x="13059" y="34649"/>
                    <a:pt x="13059" y="34649"/>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4" name="Freeform 23">
              <a:extLst>
                <a:ext uri="{FF2B5EF4-FFF2-40B4-BE49-F238E27FC236}">
                  <a16:creationId xmlns:a16="http://schemas.microsoft.com/office/drawing/2014/main" id="{1C6C1677-485B-404E-88DE-CF66C816E16E}"/>
                </a:ext>
              </a:extLst>
            </p:cNvPr>
            <p:cNvSpPr/>
            <p:nvPr/>
          </p:nvSpPr>
          <p:spPr>
            <a:xfrm>
              <a:off x="3239931" y="1314190"/>
              <a:ext cx="6537591" cy="4156813"/>
            </a:xfrm>
            <a:custGeom>
              <a:avLst/>
              <a:gdLst>
                <a:gd name="connsiteX0" fmla="*/ 4651719 w 6537591"/>
                <a:gd name="connsiteY0" fmla="*/ 3622062 h 4156813"/>
                <a:gd name="connsiteX1" fmla="*/ 4523845 w 6537591"/>
                <a:gd name="connsiteY1" fmla="*/ 3467706 h 4156813"/>
                <a:gd name="connsiteX2" fmla="*/ 4621221 w 6537591"/>
                <a:gd name="connsiteY2" fmla="*/ 3375537 h 4156813"/>
                <a:gd name="connsiteX3" fmla="*/ 4998657 w 6537591"/>
                <a:gd name="connsiteY3" fmla="*/ 2744599 h 4156813"/>
                <a:gd name="connsiteX4" fmla="*/ 4919035 w 6537591"/>
                <a:gd name="connsiteY4" fmla="*/ 2514128 h 4156813"/>
                <a:gd name="connsiteX5" fmla="*/ 5323614 w 6537591"/>
                <a:gd name="connsiteY5" fmla="*/ 1936891 h 4156813"/>
                <a:gd name="connsiteX6" fmla="*/ 4760204 w 6537591"/>
                <a:gd name="connsiteY6" fmla="*/ 903621 h 4156813"/>
                <a:gd name="connsiteX7" fmla="*/ 4763692 w 6537591"/>
                <a:gd name="connsiteY7" fmla="*/ 555724 h 4156813"/>
                <a:gd name="connsiteX8" fmla="*/ 4388459 w 6537591"/>
                <a:gd name="connsiteY8" fmla="*/ 302755 h 4156813"/>
                <a:gd name="connsiteX9" fmla="*/ 4339271 w 6537591"/>
                <a:gd name="connsiteY9" fmla="*/ 282022 h 4156813"/>
                <a:gd name="connsiteX10" fmla="*/ 4295468 w 6537591"/>
                <a:gd name="connsiteY10" fmla="*/ 32492 h 4156813"/>
                <a:gd name="connsiteX11" fmla="*/ 4045938 w 6537591"/>
                <a:gd name="connsiteY11" fmla="*/ 76293 h 4156813"/>
                <a:gd name="connsiteX12" fmla="*/ 4089741 w 6537591"/>
                <a:gd name="connsiteY12" fmla="*/ 325824 h 4156813"/>
                <a:gd name="connsiteX13" fmla="*/ 4331339 w 6537591"/>
                <a:gd name="connsiteY13" fmla="*/ 292490 h 4156813"/>
                <a:gd name="connsiteX14" fmla="*/ 4383551 w 6537591"/>
                <a:gd name="connsiteY14" fmla="*/ 314504 h 4156813"/>
                <a:gd name="connsiteX15" fmla="*/ 4753081 w 6537591"/>
                <a:gd name="connsiteY15" fmla="*/ 562761 h 4156813"/>
                <a:gd name="connsiteX16" fmla="*/ 4747727 w 6537591"/>
                <a:gd name="connsiteY16" fmla="*/ 899725 h 4156813"/>
                <a:gd name="connsiteX17" fmla="*/ 4446768 w 6537591"/>
                <a:gd name="connsiteY17" fmla="*/ 867394 h 4156813"/>
                <a:gd name="connsiteX18" fmla="*/ 4422006 w 6537591"/>
                <a:gd name="connsiteY18" fmla="*/ 878094 h 4156813"/>
                <a:gd name="connsiteX19" fmla="*/ 4415952 w 6537591"/>
                <a:gd name="connsiteY19" fmla="*/ 915448 h 4156813"/>
                <a:gd name="connsiteX20" fmla="*/ 4481506 w 6537591"/>
                <a:gd name="connsiteY20" fmla="*/ 943776 h 4156813"/>
                <a:gd name="connsiteX21" fmla="*/ 4574108 w 6537591"/>
                <a:gd name="connsiteY21" fmla="*/ 969239 h 4156813"/>
                <a:gd name="connsiteX22" fmla="*/ 4625251 w 6537591"/>
                <a:gd name="connsiteY22" fmla="*/ 990150 h 4156813"/>
                <a:gd name="connsiteX23" fmla="*/ 4753666 w 6537591"/>
                <a:gd name="connsiteY23" fmla="*/ 914805 h 4156813"/>
                <a:gd name="connsiteX24" fmla="*/ 4871916 w 6537591"/>
                <a:gd name="connsiteY24" fmla="*/ 961447 h 4156813"/>
                <a:gd name="connsiteX25" fmla="*/ 5311265 w 6537591"/>
                <a:gd name="connsiteY25" fmla="*/ 1933785 h 4156813"/>
                <a:gd name="connsiteX26" fmla="*/ 5311119 w 6537591"/>
                <a:gd name="connsiteY26" fmla="*/ 1934460 h 4156813"/>
                <a:gd name="connsiteX27" fmla="*/ 4911110 w 6537591"/>
                <a:gd name="connsiteY27" fmla="*/ 2504185 h 4156813"/>
                <a:gd name="connsiteX28" fmla="*/ 4616746 w 6537591"/>
                <a:gd name="connsiteY28" fmla="*/ 2366838 h 4156813"/>
                <a:gd name="connsiteX29" fmla="*/ 4239094 w 6537591"/>
                <a:gd name="connsiteY29" fmla="*/ 2630086 h 4156813"/>
                <a:gd name="connsiteX30" fmla="*/ 3865642 w 6537591"/>
                <a:gd name="connsiteY30" fmla="*/ 2366838 h 4156813"/>
                <a:gd name="connsiteX31" fmla="*/ 3483731 w 6537591"/>
                <a:gd name="connsiteY31" fmla="*/ 2744599 h 4156813"/>
                <a:gd name="connsiteX32" fmla="*/ 3861173 w 6537591"/>
                <a:gd name="connsiteY32" fmla="*/ 3375537 h 4156813"/>
                <a:gd name="connsiteX33" fmla="*/ 3953508 w 6537591"/>
                <a:gd name="connsiteY33" fmla="*/ 3463117 h 4156813"/>
                <a:gd name="connsiteX34" fmla="*/ 3814156 w 6537591"/>
                <a:gd name="connsiteY34" fmla="*/ 3624959 h 4156813"/>
                <a:gd name="connsiteX35" fmla="*/ 3107313 w 6537591"/>
                <a:gd name="connsiteY35" fmla="*/ 3624959 h 4156813"/>
                <a:gd name="connsiteX36" fmla="*/ 3107313 w 6537591"/>
                <a:gd name="connsiteY36" fmla="*/ 3490757 h 4156813"/>
                <a:gd name="connsiteX37" fmla="*/ 3001305 w 6537591"/>
                <a:gd name="connsiteY37" fmla="*/ 3490757 h 4156813"/>
                <a:gd name="connsiteX38" fmla="*/ 3004100 w 6537591"/>
                <a:gd name="connsiteY38" fmla="*/ 3394889 h 4156813"/>
                <a:gd name="connsiteX39" fmla="*/ 2795877 w 6537591"/>
                <a:gd name="connsiteY39" fmla="*/ 3394889 h 4156813"/>
                <a:gd name="connsiteX40" fmla="*/ 2786908 w 6537591"/>
                <a:gd name="connsiteY40" fmla="*/ 3361647 h 4156813"/>
                <a:gd name="connsiteX41" fmla="*/ 2900657 w 6537591"/>
                <a:gd name="connsiteY41" fmla="*/ 3361647 h 4156813"/>
                <a:gd name="connsiteX42" fmla="*/ 2917838 w 6537591"/>
                <a:gd name="connsiteY42" fmla="*/ 3345555 h 4156813"/>
                <a:gd name="connsiteX43" fmla="*/ 2917838 w 6537591"/>
                <a:gd name="connsiteY43" fmla="*/ 3165901 h 4156813"/>
                <a:gd name="connsiteX44" fmla="*/ 2889218 w 6537591"/>
                <a:gd name="connsiteY44" fmla="*/ 3140069 h 4156813"/>
                <a:gd name="connsiteX45" fmla="*/ 2621138 w 6537591"/>
                <a:gd name="connsiteY45" fmla="*/ 3140069 h 4156813"/>
                <a:gd name="connsiteX46" fmla="*/ 2592518 w 6537591"/>
                <a:gd name="connsiteY46" fmla="*/ 3165901 h 4156813"/>
                <a:gd name="connsiteX47" fmla="*/ 2592518 w 6537591"/>
                <a:gd name="connsiteY47" fmla="*/ 3344988 h 4156813"/>
                <a:gd name="connsiteX48" fmla="*/ 2610647 w 6537591"/>
                <a:gd name="connsiteY48" fmla="*/ 3361647 h 4156813"/>
                <a:gd name="connsiteX49" fmla="*/ 2720405 w 6537591"/>
                <a:gd name="connsiteY49" fmla="*/ 3361647 h 4156813"/>
                <a:gd name="connsiteX50" fmla="*/ 2712486 w 6537591"/>
                <a:gd name="connsiteY50" fmla="*/ 3394889 h 4156813"/>
                <a:gd name="connsiteX51" fmla="*/ 2521477 w 6537591"/>
                <a:gd name="connsiteY51" fmla="*/ 3394889 h 4156813"/>
                <a:gd name="connsiteX52" fmla="*/ 2521477 w 6537591"/>
                <a:gd name="connsiteY52" fmla="*/ 3094262 h 4156813"/>
                <a:gd name="connsiteX53" fmla="*/ 2458710 w 6537591"/>
                <a:gd name="connsiteY53" fmla="*/ 3094262 h 4156813"/>
                <a:gd name="connsiteX54" fmla="*/ 2458710 w 6537591"/>
                <a:gd name="connsiteY54" fmla="*/ 2602612 h 4156813"/>
                <a:gd name="connsiteX55" fmla="*/ 2168848 w 6537591"/>
                <a:gd name="connsiteY55" fmla="*/ 2602612 h 4156813"/>
                <a:gd name="connsiteX56" fmla="*/ 2168848 w 6537591"/>
                <a:gd name="connsiteY56" fmla="*/ 3490757 h 4156813"/>
                <a:gd name="connsiteX57" fmla="*/ 2125166 w 6537591"/>
                <a:gd name="connsiteY57" fmla="*/ 3490757 h 4156813"/>
                <a:gd name="connsiteX58" fmla="*/ 2125166 w 6537591"/>
                <a:gd name="connsiteY58" fmla="*/ 3667132 h 4156813"/>
                <a:gd name="connsiteX59" fmla="*/ 2122912 w 6537591"/>
                <a:gd name="connsiteY59" fmla="*/ 3667227 h 4156813"/>
                <a:gd name="connsiteX60" fmla="*/ 2077780 w 6537591"/>
                <a:gd name="connsiteY60" fmla="*/ 3621699 h 4156813"/>
                <a:gd name="connsiteX61" fmla="*/ 2077780 w 6537591"/>
                <a:gd name="connsiteY61" fmla="*/ 2847724 h 4156813"/>
                <a:gd name="connsiteX62" fmla="*/ 1751333 w 6537591"/>
                <a:gd name="connsiteY62" fmla="*/ 2966094 h 4156813"/>
                <a:gd name="connsiteX63" fmla="*/ 1753173 w 6537591"/>
                <a:gd name="connsiteY63" fmla="*/ 3384627 h 4156813"/>
                <a:gd name="connsiteX64" fmla="*/ 1500753 w 6537591"/>
                <a:gd name="connsiteY64" fmla="*/ 3384627 h 4156813"/>
                <a:gd name="connsiteX65" fmla="*/ 1500753 w 6537591"/>
                <a:gd name="connsiteY65" fmla="*/ 3607358 h 4156813"/>
                <a:gd name="connsiteX66" fmla="*/ 589208 w 6537591"/>
                <a:gd name="connsiteY66" fmla="*/ 3604862 h 4156813"/>
                <a:gd name="connsiteX67" fmla="*/ 586559 w 6537591"/>
                <a:gd name="connsiteY67" fmla="*/ 3604856 h 4156813"/>
                <a:gd name="connsiteX68" fmla="*/ 381558 w 6537591"/>
                <a:gd name="connsiteY68" fmla="*/ 3809864 h 4156813"/>
                <a:gd name="connsiteX69" fmla="*/ 389226 w 6537591"/>
                <a:gd name="connsiteY69" fmla="*/ 3748511 h 4156813"/>
                <a:gd name="connsiteX70" fmla="*/ 638300 w 6537591"/>
                <a:gd name="connsiteY70" fmla="*/ 3503348 h 4156813"/>
                <a:gd name="connsiteX71" fmla="*/ 629369 w 6537591"/>
                <a:gd name="connsiteY71" fmla="*/ 3494277 h 4156813"/>
                <a:gd name="connsiteX72" fmla="*/ 429382 w 6537591"/>
                <a:gd name="connsiteY72" fmla="*/ 3691118 h 4156813"/>
                <a:gd name="connsiteX73" fmla="*/ 57897 w 6537591"/>
                <a:gd name="connsiteY73" fmla="*/ 3732463 h 4156813"/>
                <a:gd name="connsiteX74" fmla="*/ 99241 w 6537591"/>
                <a:gd name="connsiteY74" fmla="*/ 4103947 h 4156813"/>
                <a:gd name="connsiteX75" fmla="*/ 470722 w 6537591"/>
                <a:gd name="connsiteY75" fmla="*/ 4062602 h 4156813"/>
                <a:gd name="connsiteX76" fmla="*/ 528612 w 6537591"/>
                <a:gd name="connsiteY76" fmla="*/ 3897526 h 4156813"/>
                <a:gd name="connsiteX77" fmla="*/ 473485 w 6537591"/>
                <a:gd name="connsiteY77" fmla="*/ 3735938 h 4156813"/>
                <a:gd name="connsiteX78" fmla="*/ 591817 w 6537591"/>
                <a:gd name="connsiteY78" fmla="*/ 3617606 h 4156813"/>
                <a:gd name="connsiteX79" fmla="*/ 1513484 w 6537591"/>
                <a:gd name="connsiteY79" fmla="*/ 3620127 h 4156813"/>
                <a:gd name="connsiteX80" fmla="*/ 1513484 w 6537591"/>
                <a:gd name="connsiteY80" fmla="*/ 3397359 h 4156813"/>
                <a:gd name="connsiteX81" fmla="*/ 1765961 w 6537591"/>
                <a:gd name="connsiteY81" fmla="*/ 3397359 h 4156813"/>
                <a:gd name="connsiteX82" fmla="*/ 1764102 w 6537591"/>
                <a:gd name="connsiteY82" fmla="*/ 2975006 h 4156813"/>
                <a:gd name="connsiteX83" fmla="*/ 2065048 w 6537591"/>
                <a:gd name="connsiteY83" fmla="*/ 2865892 h 4156813"/>
                <a:gd name="connsiteX84" fmla="*/ 2065048 w 6537591"/>
                <a:gd name="connsiteY84" fmla="*/ 3621699 h 4156813"/>
                <a:gd name="connsiteX85" fmla="*/ 2122798 w 6537591"/>
                <a:gd name="connsiteY85" fmla="*/ 3679958 h 4156813"/>
                <a:gd name="connsiteX86" fmla="*/ 2123326 w 6537591"/>
                <a:gd name="connsiteY86" fmla="*/ 3679958 h 4156813"/>
                <a:gd name="connsiteX87" fmla="*/ 2125166 w 6537591"/>
                <a:gd name="connsiteY87" fmla="*/ 3679869 h 4156813"/>
                <a:gd name="connsiteX88" fmla="*/ 2125166 w 6537591"/>
                <a:gd name="connsiteY88" fmla="*/ 3774292 h 4156813"/>
                <a:gd name="connsiteX89" fmla="*/ 2183775 w 6537591"/>
                <a:gd name="connsiteY89" fmla="*/ 3833022 h 4156813"/>
                <a:gd name="connsiteX90" fmla="*/ 2242505 w 6537591"/>
                <a:gd name="connsiteY90" fmla="*/ 3774413 h 4156813"/>
                <a:gd name="connsiteX91" fmla="*/ 2242505 w 6537591"/>
                <a:gd name="connsiteY91" fmla="*/ 3774292 h 4156813"/>
                <a:gd name="connsiteX92" fmla="*/ 2242505 w 6537591"/>
                <a:gd name="connsiteY92" fmla="*/ 3503488 h 4156813"/>
                <a:gd name="connsiteX93" fmla="*/ 2444738 w 6537591"/>
                <a:gd name="connsiteY93" fmla="*/ 3503488 h 4156813"/>
                <a:gd name="connsiteX94" fmla="*/ 2446036 w 6537591"/>
                <a:gd name="connsiteY94" fmla="*/ 3637690 h 4156813"/>
                <a:gd name="connsiteX95" fmla="*/ 3819993 w 6537591"/>
                <a:gd name="connsiteY95" fmla="*/ 3637690 h 4156813"/>
                <a:gd name="connsiteX96" fmla="*/ 3962930 w 6537591"/>
                <a:gd name="connsiteY96" fmla="*/ 3471691 h 4156813"/>
                <a:gd name="connsiteX97" fmla="*/ 4237483 w 6537591"/>
                <a:gd name="connsiteY97" fmla="*/ 3696764 h 4156813"/>
                <a:gd name="connsiteX98" fmla="*/ 4244905 w 6537591"/>
                <a:gd name="connsiteY98" fmla="*/ 3696764 h 4156813"/>
                <a:gd name="connsiteX99" fmla="*/ 4514404 w 6537591"/>
                <a:gd name="connsiteY99" fmla="*/ 3476255 h 4156813"/>
                <a:gd name="connsiteX100" fmla="*/ 4645723 w 6537591"/>
                <a:gd name="connsiteY100" fmla="*/ 3634781 h 4156813"/>
                <a:gd name="connsiteX101" fmla="*/ 6537881 w 6537591"/>
                <a:gd name="connsiteY101" fmla="*/ 3636939 h 4156813"/>
                <a:gd name="connsiteX102" fmla="*/ 6537881 w 6537591"/>
                <a:gd name="connsiteY102" fmla="*/ 3624207 h 4156813"/>
                <a:gd name="connsiteX103" fmla="*/ 4276053 w 6537591"/>
                <a:gd name="connsiteY103" fmla="*/ 323127 h 4156813"/>
                <a:gd name="connsiteX104" fmla="*/ 4051273 w 6537591"/>
                <a:gd name="connsiteY104" fmla="*/ 262976 h 4156813"/>
                <a:gd name="connsiteX105" fmla="*/ 4111422 w 6537591"/>
                <a:gd name="connsiteY105" fmla="*/ 38198 h 4156813"/>
                <a:gd name="connsiteX106" fmla="*/ 4336203 w 6537591"/>
                <a:gd name="connsiteY106" fmla="*/ 98349 h 4156813"/>
                <a:gd name="connsiteX107" fmla="*/ 4352683 w 6537591"/>
                <a:gd name="connsiteY107" fmla="*/ 223196 h 4156813"/>
                <a:gd name="connsiteX108" fmla="*/ 4276053 w 6537591"/>
                <a:gd name="connsiteY108" fmla="*/ 323127 h 4156813"/>
                <a:gd name="connsiteX109" fmla="*/ 4626785 w 6537591"/>
                <a:gd name="connsiteY109" fmla="*/ 977501 h 4156813"/>
                <a:gd name="connsiteX110" fmla="*/ 4580811 w 6537591"/>
                <a:gd name="connsiteY110" fmla="*/ 958417 h 4156813"/>
                <a:gd name="connsiteX111" fmla="*/ 4489763 w 6537591"/>
                <a:gd name="connsiteY111" fmla="*/ 930892 h 4156813"/>
                <a:gd name="connsiteX112" fmla="*/ 4481042 w 6537591"/>
                <a:gd name="connsiteY112" fmla="*/ 931057 h 4156813"/>
                <a:gd name="connsiteX113" fmla="*/ 4427595 w 6537591"/>
                <a:gd name="connsiteY113" fmla="*/ 910298 h 4156813"/>
                <a:gd name="connsiteX114" fmla="*/ 4430784 w 6537591"/>
                <a:gd name="connsiteY114" fmla="*/ 887306 h 4156813"/>
                <a:gd name="connsiteX115" fmla="*/ 4447692 w 6537591"/>
                <a:gd name="connsiteY115" fmla="*/ 880087 h 4156813"/>
                <a:gd name="connsiteX116" fmla="*/ 4741285 w 6537591"/>
                <a:gd name="connsiteY116" fmla="*/ 911101 h 4156813"/>
                <a:gd name="connsiteX117" fmla="*/ 4626785 w 6537591"/>
                <a:gd name="connsiteY117" fmla="*/ 977501 h 4156813"/>
                <a:gd name="connsiteX118" fmla="*/ 515881 w 6537591"/>
                <a:gd name="connsiteY118" fmla="*/ 3897526 h 4156813"/>
                <a:gd name="connsiteX119" fmla="*/ 264305 w 6537591"/>
                <a:gd name="connsiteY119" fmla="*/ 4149258 h 4156813"/>
                <a:gd name="connsiteX120" fmla="*/ 12572 w 6537591"/>
                <a:gd name="connsiteY120" fmla="*/ 3897685 h 4156813"/>
                <a:gd name="connsiteX121" fmla="*/ 264148 w 6537591"/>
                <a:gd name="connsiteY121" fmla="*/ 3645953 h 4156813"/>
                <a:gd name="connsiteX122" fmla="*/ 420224 w 6537591"/>
                <a:gd name="connsiteY122" fmla="*/ 3700131 h 4156813"/>
                <a:gd name="connsiteX123" fmla="*/ 378717 w 6537591"/>
                <a:gd name="connsiteY123" fmla="*/ 3740987 h 4156813"/>
                <a:gd name="connsiteX124" fmla="*/ 377141 w 6537591"/>
                <a:gd name="connsiteY124" fmla="*/ 3742540 h 4156813"/>
                <a:gd name="connsiteX125" fmla="*/ 364326 w 6537591"/>
                <a:gd name="connsiteY125" fmla="*/ 3845098 h 4156813"/>
                <a:gd name="connsiteX126" fmla="*/ 464382 w 6537591"/>
                <a:gd name="connsiteY126" fmla="*/ 3745041 h 4156813"/>
                <a:gd name="connsiteX127" fmla="*/ 515881 w 6537591"/>
                <a:gd name="connsiteY127" fmla="*/ 3897526 h 4156813"/>
                <a:gd name="connsiteX128" fmla="*/ 2988567 w 6537591"/>
                <a:gd name="connsiteY128" fmla="*/ 3490757 h 4156813"/>
                <a:gd name="connsiteX129" fmla="*/ 2457348 w 6537591"/>
                <a:gd name="connsiteY129" fmla="*/ 3490757 h 4156813"/>
                <a:gd name="connsiteX130" fmla="*/ 2456540 w 6537591"/>
                <a:gd name="connsiteY130" fmla="*/ 3407620 h 4156813"/>
                <a:gd name="connsiteX131" fmla="*/ 2990993 w 6537591"/>
                <a:gd name="connsiteY131" fmla="*/ 3407620 h 4156813"/>
                <a:gd name="connsiteX132" fmla="*/ 2621138 w 6537591"/>
                <a:gd name="connsiteY132" fmla="*/ 3152801 h 4156813"/>
                <a:gd name="connsiteX133" fmla="*/ 2889218 w 6537591"/>
                <a:gd name="connsiteY133" fmla="*/ 3152801 h 4156813"/>
                <a:gd name="connsiteX134" fmla="*/ 2905106 w 6537591"/>
                <a:gd name="connsiteY134" fmla="*/ 3165901 h 4156813"/>
                <a:gd name="connsiteX135" fmla="*/ 2905106 w 6537591"/>
                <a:gd name="connsiteY135" fmla="*/ 3302306 h 4156813"/>
                <a:gd name="connsiteX136" fmla="*/ 2605249 w 6537591"/>
                <a:gd name="connsiteY136" fmla="*/ 3302306 h 4156813"/>
                <a:gd name="connsiteX137" fmla="*/ 2605249 w 6537591"/>
                <a:gd name="connsiteY137" fmla="*/ 3165901 h 4156813"/>
                <a:gd name="connsiteX138" fmla="*/ 2621138 w 6537591"/>
                <a:gd name="connsiteY138" fmla="*/ 3152801 h 4156813"/>
                <a:gd name="connsiteX139" fmla="*/ 2605249 w 6537591"/>
                <a:gd name="connsiteY139" fmla="*/ 3344988 h 4156813"/>
                <a:gd name="connsiteX140" fmla="*/ 2605249 w 6537591"/>
                <a:gd name="connsiteY140" fmla="*/ 3315037 h 4156813"/>
                <a:gd name="connsiteX141" fmla="*/ 2905106 w 6537591"/>
                <a:gd name="connsiteY141" fmla="*/ 3315037 h 4156813"/>
                <a:gd name="connsiteX142" fmla="*/ 2905106 w 6537591"/>
                <a:gd name="connsiteY142" fmla="*/ 3345555 h 4156813"/>
                <a:gd name="connsiteX143" fmla="*/ 2900657 w 6537591"/>
                <a:gd name="connsiteY143" fmla="*/ 3348916 h 4156813"/>
                <a:gd name="connsiteX144" fmla="*/ 2610647 w 6537591"/>
                <a:gd name="connsiteY144" fmla="*/ 3348916 h 4156813"/>
                <a:gd name="connsiteX145" fmla="*/ 2605249 w 6537591"/>
                <a:gd name="connsiteY145" fmla="*/ 3344988 h 4156813"/>
                <a:gd name="connsiteX146" fmla="*/ 2733487 w 6537591"/>
                <a:gd name="connsiteY146" fmla="*/ 3361647 h 4156813"/>
                <a:gd name="connsiteX147" fmla="*/ 2773724 w 6537591"/>
                <a:gd name="connsiteY147" fmla="*/ 3361647 h 4156813"/>
                <a:gd name="connsiteX148" fmla="*/ 2782694 w 6537591"/>
                <a:gd name="connsiteY148" fmla="*/ 3394889 h 4156813"/>
                <a:gd name="connsiteX149" fmla="*/ 2725574 w 6537591"/>
                <a:gd name="connsiteY149" fmla="*/ 3394889 h 4156813"/>
                <a:gd name="connsiteX150" fmla="*/ 2137897 w 6537591"/>
                <a:gd name="connsiteY150" fmla="*/ 3503488 h 4156813"/>
                <a:gd name="connsiteX151" fmla="*/ 2168848 w 6537591"/>
                <a:gd name="connsiteY151" fmla="*/ 3503488 h 4156813"/>
                <a:gd name="connsiteX152" fmla="*/ 2168848 w 6537591"/>
                <a:gd name="connsiteY152" fmla="*/ 3621699 h 4156813"/>
                <a:gd name="connsiteX153" fmla="*/ 2137897 w 6537591"/>
                <a:gd name="connsiteY153" fmla="*/ 3664795 h 4156813"/>
                <a:gd name="connsiteX154" fmla="*/ 2229774 w 6537591"/>
                <a:gd name="connsiteY154" fmla="*/ 3774292 h 4156813"/>
                <a:gd name="connsiteX155" fmla="*/ 2183890 w 6537591"/>
                <a:gd name="connsiteY155" fmla="*/ 3820284 h 4156813"/>
                <a:gd name="connsiteX156" fmla="*/ 2137897 w 6537591"/>
                <a:gd name="connsiteY156" fmla="*/ 3774400 h 4156813"/>
                <a:gd name="connsiteX157" fmla="*/ 2137897 w 6537591"/>
                <a:gd name="connsiteY157" fmla="*/ 3774292 h 4156813"/>
                <a:gd name="connsiteX158" fmla="*/ 2137897 w 6537591"/>
                <a:gd name="connsiteY158" fmla="*/ 3678068 h 4156813"/>
                <a:gd name="connsiteX159" fmla="*/ 2181579 w 6537591"/>
                <a:gd name="connsiteY159" fmla="*/ 3621699 h 4156813"/>
                <a:gd name="connsiteX160" fmla="*/ 2181579 w 6537591"/>
                <a:gd name="connsiteY160" fmla="*/ 3503488 h 4156813"/>
                <a:gd name="connsiteX161" fmla="*/ 2229774 w 6537591"/>
                <a:gd name="connsiteY161" fmla="*/ 3503488 h 4156813"/>
                <a:gd name="connsiteX162" fmla="*/ 2229774 w 6537591"/>
                <a:gd name="connsiteY162" fmla="*/ 3490757 h 4156813"/>
                <a:gd name="connsiteX163" fmla="*/ 2181579 w 6537591"/>
                <a:gd name="connsiteY163" fmla="*/ 3490757 h 4156813"/>
                <a:gd name="connsiteX164" fmla="*/ 2181579 w 6537591"/>
                <a:gd name="connsiteY164" fmla="*/ 2615343 h 4156813"/>
                <a:gd name="connsiteX165" fmla="*/ 2445979 w 6537591"/>
                <a:gd name="connsiteY165" fmla="*/ 2615343 h 4156813"/>
                <a:gd name="connsiteX166" fmla="*/ 2445979 w 6537591"/>
                <a:gd name="connsiteY166" fmla="*/ 3094262 h 4156813"/>
                <a:gd name="connsiteX167" fmla="*/ 2288860 w 6537591"/>
                <a:gd name="connsiteY167" fmla="*/ 3094262 h 4156813"/>
                <a:gd name="connsiteX168" fmla="*/ 2229774 w 6537591"/>
                <a:gd name="connsiteY168" fmla="*/ 3168804 h 4156813"/>
                <a:gd name="connsiteX169" fmla="*/ 2284621 w 6537591"/>
                <a:gd name="connsiteY169" fmla="*/ 3120106 h 4156813"/>
                <a:gd name="connsiteX170" fmla="*/ 2284621 w 6537591"/>
                <a:gd name="connsiteY170" fmla="*/ 3171631 h 4156813"/>
                <a:gd name="connsiteX171" fmla="*/ 2243785 w 6537591"/>
                <a:gd name="connsiteY171" fmla="*/ 3171631 h 4156813"/>
                <a:gd name="connsiteX172" fmla="*/ 2242505 w 6537591"/>
                <a:gd name="connsiteY172" fmla="*/ 3490757 h 4156813"/>
                <a:gd name="connsiteX173" fmla="*/ 2242505 w 6537591"/>
                <a:gd name="connsiteY173" fmla="*/ 3184362 h 4156813"/>
                <a:gd name="connsiteX174" fmla="*/ 2297352 w 6537591"/>
                <a:gd name="connsiteY174" fmla="*/ 3184362 h 4156813"/>
                <a:gd name="connsiteX175" fmla="*/ 2297352 w 6537591"/>
                <a:gd name="connsiteY175" fmla="*/ 3106993 h 4156813"/>
                <a:gd name="connsiteX176" fmla="*/ 2508745 w 6537591"/>
                <a:gd name="connsiteY176" fmla="*/ 3106993 h 4156813"/>
                <a:gd name="connsiteX177" fmla="*/ 2508745 w 6537591"/>
                <a:gd name="connsiteY177" fmla="*/ 3394889 h 4156813"/>
                <a:gd name="connsiteX178" fmla="*/ 2443681 w 6537591"/>
                <a:gd name="connsiteY178" fmla="*/ 3394889 h 4156813"/>
                <a:gd name="connsiteX179" fmla="*/ 2444610 w 6537591"/>
                <a:gd name="connsiteY179" fmla="*/ 3490757 h 4156813"/>
                <a:gd name="connsiteX180" fmla="*/ 2457469 w 6537591"/>
                <a:gd name="connsiteY180" fmla="*/ 3503488 h 4156813"/>
                <a:gd name="connsiteX181" fmla="*/ 3094582 w 6537591"/>
                <a:gd name="connsiteY181" fmla="*/ 3503488 h 4156813"/>
                <a:gd name="connsiteX182" fmla="*/ 3094582 w 6537591"/>
                <a:gd name="connsiteY182" fmla="*/ 3624959 h 4156813"/>
                <a:gd name="connsiteX183" fmla="*/ 2458647 w 6537591"/>
                <a:gd name="connsiteY183" fmla="*/ 3624959 h 4156813"/>
                <a:gd name="connsiteX184" fmla="*/ 4241194 w 6537591"/>
                <a:gd name="connsiteY184" fmla="*/ 3683714 h 4156813"/>
                <a:gd name="connsiteX185" fmla="*/ 3971549 w 6537591"/>
                <a:gd name="connsiteY185" fmla="*/ 3461678 h 4156813"/>
                <a:gd name="connsiteX186" fmla="*/ 4021284 w 6537591"/>
                <a:gd name="connsiteY186" fmla="*/ 3403916 h 4156813"/>
                <a:gd name="connsiteX187" fmla="*/ 4011634 w 6537591"/>
                <a:gd name="connsiteY187" fmla="*/ 3395608 h 4156813"/>
                <a:gd name="connsiteX188" fmla="*/ 3962127 w 6537591"/>
                <a:gd name="connsiteY188" fmla="*/ 3453110 h 4156813"/>
                <a:gd name="connsiteX189" fmla="*/ 3496462 w 6537591"/>
                <a:gd name="connsiteY189" fmla="*/ 2744599 h 4156813"/>
                <a:gd name="connsiteX190" fmla="*/ 3865642 w 6537591"/>
                <a:gd name="connsiteY190" fmla="*/ 2379570 h 4156813"/>
                <a:gd name="connsiteX191" fmla="*/ 4232906 w 6537591"/>
                <a:gd name="connsiteY191" fmla="*/ 2654352 h 4156813"/>
                <a:gd name="connsiteX192" fmla="*/ 4240653 w 6537591"/>
                <a:gd name="connsiteY192" fmla="*/ 2658936 h 4156813"/>
                <a:gd name="connsiteX193" fmla="*/ 4245236 w 6537591"/>
                <a:gd name="connsiteY193" fmla="*/ 2654352 h 4156813"/>
                <a:gd name="connsiteX194" fmla="*/ 4616746 w 6537591"/>
                <a:gd name="connsiteY194" fmla="*/ 2379570 h 4156813"/>
                <a:gd name="connsiteX195" fmla="*/ 4900975 w 6537591"/>
                <a:gd name="connsiteY195" fmla="*/ 2511919 h 4156813"/>
                <a:gd name="connsiteX196" fmla="*/ 4836134 w 6537591"/>
                <a:gd name="connsiteY196" fmla="*/ 2558529 h 4156813"/>
                <a:gd name="connsiteX197" fmla="*/ 4843283 w 6537591"/>
                <a:gd name="connsiteY197" fmla="*/ 2569065 h 4156813"/>
                <a:gd name="connsiteX198" fmla="*/ 4908926 w 6537591"/>
                <a:gd name="connsiteY198" fmla="*/ 2521856 h 4156813"/>
                <a:gd name="connsiteX199" fmla="*/ 4985926 w 6537591"/>
                <a:gd name="connsiteY199" fmla="*/ 2744599 h 4156813"/>
                <a:gd name="connsiteX200" fmla="*/ 4515410 w 6537591"/>
                <a:gd name="connsiteY200" fmla="*/ 3457528 h 4156813"/>
                <a:gd name="connsiteX201" fmla="*/ 4464198 w 6537591"/>
                <a:gd name="connsiteY201" fmla="*/ 3395704 h 4156813"/>
                <a:gd name="connsiteX202" fmla="*/ 4454395 w 6537591"/>
                <a:gd name="connsiteY202" fmla="*/ 3403820 h 4156813"/>
                <a:gd name="connsiteX203" fmla="*/ 4505976 w 6537591"/>
                <a:gd name="connsiteY203" fmla="*/ 3466083 h 4156813"/>
                <a:gd name="connsiteX204" fmla="*/ 4241194 w 6537591"/>
                <a:gd name="connsiteY204" fmla="*/ 3683714 h 415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6537591" h="4156813">
                  <a:moveTo>
                    <a:pt x="4651719" y="3622062"/>
                  </a:moveTo>
                  <a:lnTo>
                    <a:pt x="4523845" y="3467706"/>
                  </a:lnTo>
                  <a:cubicBezTo>
                    <a:pt x="4555699" y="3438774"/>
                    <a:pt x="4588488" y="3407919"/>
                    <a:pt x="4621221" y="3375537"/>
                  </a:cubicBezTo>
                  <a:cubicBezTo>
                    <a:pt x="4871668" y="3127745"/>
                    <a:pt x="4998657" y="2915474"/>
                    <a:pt x="4998657" y="2744599"/>
                  </a:cubicBezTo>
                  <a:cubicBezTo>
                    <a:pt x="4998676" y="2661024"/>
                    <a:pt x="4970635" y="2579867"/>
                    <a:pt x="4919035" y="2514128"/>
                  </a:cubicBezTo>
                  <a:cubicBezTo>
                    <a:pt x="5264477" y="2246475"/>
                    <a:pt x="5321393" y="1949311"/>
                    <a:pt x="5323614" y="1936891"/>
                  </a:cubicBezTo>
                  <a:cubicBezTo>
                    <a:pt x="5445601" y="1496842"/>
                    <a:pt x="5196186" y="1039427"/>
                    <a:pt x="4760204" y="903621"/>
                  </a:cubicBezTo>
                  <a:cubicBezTo>
                    <a:pt x="4828132" y="784423"/>
                    <a:pt x="4829673" y="655199"/>
                    <a:pt x="4763692" y="555724"/>
                  </a:cubicBezTo>
                  <a:cubicBezTo>
                    <a:pt x="4675419" y="422629"/>
                    <a:pt x="4529536" y="361688"/>
                    <a:pt x="4388459" y="302755"/>
                  </a:cubicBezTo>
                  <a:cubicBezTo>
                    <a:pt x="4371863" y="295823"/>
                    <a:pt x="4355465" y="288912"/>
                    <a:pt x="4339271" y="282022"/>
                  </a:cubicBezTo>
                  <a:cubicBezTo>
                    <a:pt x="4396079" y="201021"/>
                    <a:pt x="4376466" y="89302"/>
                    <a:pt x="4295468" y="32492"/>
                  </a:cubicBezTo>
                  <a:cubicBezTo>
                    <a:pt x="4214464" y="-24319"/>
                    <a:pt x="4102746" y="-4708"/>
                    <a:pt x="4045938" y="76293"/>
                  </a:cubicBezTo>
                  <a:cubicBezTo>
                    <a:pt x="3989124" y="157295"/>
                    <a:pt x="4008737" y="269014"/>
                    <a:pt x="4089741" y="325824"/>
                  </a:cubicBezTo>
                  <a:cubicBezTo>
                    <a:pt x="4166569" y="379711"/>
                    <a:pt x="4271972" y="365169"/>
                    <a:pt x="4331339" y="292490"/>
                  </a:cubicBezTo>
                  <a:cubicBezTo>
                    <a:pt x="4348482" y="299850"/>
                    <a:pt x="4365930" y="307142"/>
                    <a:pt x="4383551" y="314504"/>
                  </a:cubicBezTo>
                  <a:cubicBezTo>
                    <a:pt x="4522877" y="372704"/>
                    <a:pt x="4666946" y="432892"/>
                    <a:pt x="4753081" y="562761"/>
                  </a:cubicBezTo>
                  <a:cubicBezTo>
                    <a:pt x="4816776" y="658789"/>
                    <a:pt x="4814580" y="784130"/>
                    <a:pt x="4747727" y="899725"/>
                  </a:cubicBezTo>
                  <a:cubicBezTo>
                    <a:pt x="4650160" y="870965"/>
                    <a:pt x="4548219" y="860016"/>
                    <a:pt x="4446768" y="867394"/>
                  </a:cubicBezTo>
                  <a:cubicBezTo>
                    <a:pt x="4437558" y="868126"/>
                    <a:pt x="4428849" y="871888"/>
                    <a:pt x="4422006" y="878094"/>
                  </a:cubicBezTo>
                  <a:cubicBezTo>
                    <a:pt x="4412610" y="888171"/>
                    <a:pt x="4410223" y="902921"/>
                    <a:pt x="4415952" y="915448"/>
                  </a:cubicBezTo>
                  <a:cubicBezTo>
                    <a:pt x="4419982" y="924545"/>
                    <a:pt x="4434426" y="945590"/>
                    <a:pt x="4481506" y="943776"/>
                  </a:cubicBezTo>
                  <a:cubicBezTo>
                    <a:pt x="4530166" y="942044"/>
                    <a:pt x="4552484" y="955845"/>
                    <a:pt x="4574108" y="969239"/>
                  </a:cubicBezTo>
                  <a:cubicBezTo>
                    <a:pt x="4589297" y="978647"/>
                    <a:pt x="4603633" y="987527"/>
                    <a:pt x="4625251" y="990150"/>
                  </a:cubicBezTo>
                  <a:cubicBezTo>
                    <a:pt x="4674642" y="996108"/>
                    <a:pt x="4729680" y="963758"/>
                    <a:pt x="4753666" y="914805"/>
                  </a:cubicBezTo>
                  <a:cubicBezTo>
                    <a:pt x="4794222" y="927295"/>
                    <a:pt x="4833753" y="942885"/>
                    <a:pt x="4871916" y="961447"/>
                  </a:cubicBezTo>
                  <a:cubicBezTo>
                    <a:pt x="5233533" y="1137345"/>
                    <a:pt x="5418253" y="1546145"/>
                    <a:pt x="5311265" y="1933785"/>
                  </a:cubicBezTo>
                  <a:lnTo>
                    <a:pt x="5311119" y="1934460"/>
                  </a:lnTo>
                  <a:cubicBezTo>
                    <a:pt x="5310596" y="1937643"/>
                    <a:pt x="5258302" y="2235323"/>
                    <a:pt x="4911110" y="2504185"/>
                  </a:cubicBezTo>
                  <a:cubicBezTo>
                    <a:pt x="4838228" y="2416994"/>
                    <a:pt x="4730387" y="2366673"/>
                    <a:pt x="4616746" y="2366838"/>
                  </a:cubicBezTo>
                  <a:cubicBezTo>
                    <a:pt x="4447386" y="2366838"/>
                    <a:pt x="4289103" y="2478595"/>
                    <a:pt x="4239094" y="2630086"/>
                  </a:cubicBezTo>
                  <a:cubicBezTo>
                    <a:pt x="4189033" y="2476316"/>
                    <a:pt x="4035543" y="2366838"/>
                    <a:pt x="3865642" y="2366838"/>
                  </a:cubicBezTo>
                  <a:cubicBezTo>
                    <a:pt x="3655058" y="2366838"/>
                    <a:pt x="3483731" y="2536300"/>
                    <a:pt x="3483731" y="2744599"/>
                  </a:cubicBezTo>
                  <a:cubicBezTo>
                    <a:pt x="3483731" y="2915474"/>
                    <a:pt x="3610721" y="3127745"/>
                    <a:pt x="3861173" y="3375537"/>
                  </a:cubicBezTo>
                  <a:cubicBezTo>
                    <a:pt x="3892181" y="3406213"/>
                    <a:pt x="3923239" y="3435515"/>
                    <a:pt x="3953508" y="3463117"/>
                  </a:cubicBezTo>
                  <a:lnTo>
                    <a:pt x="3814156" y="3624959"/>
                  </a:lnTo>
                  <a:lnTo>
                    <a:pt x="3107313" y="3624959"/>
                  </a:lnTo>
                  <a:lnTo>
                    <a:pt x="3107313" y="3490757"/>
                  </a:lnTo>
                  <a:lnTo>
                    <a:pt x="3001305" y="3490757"/>
                  </a:lnTo>
                  <a:lnTo>
                    <a:pt x="3004100" y="3394889"/>
                  </a:lnTo>
                  <a:lnTo>
                    <a:pt x="2795877" y="3394889"/>
                  </a:lnTo>
                  <a:lnTo>
                    <a:pt x="2786908" y="3361647"/>
                  </a:lnTo>
                  <a:lnTo>
                    <a:pt x="2900657" y="3361647"/>
                  </a:lnTo>
                  <a:cubicBezTo>
                    <a:pt x="2909836" y="3361927"/>
                    <a:pt x="2917513" y="3354734"/>
                    <a:pt x="2917838" y="3345555"/>
                  </a:cubicBezTo>
                  <a:lnTo>
                    <a:pt x="2917838" y="3165901"/>
                  </a:lnTo>
                  <a:cubicBezTo>
                    <a:pt x="2917010" y="3150891"/>
                    <a:pt x="2904234" y="3139356"/>
                    <a:pt x="2889218" y="3140069"/>
                  </a:cubicBezTo>
                  <a:lnTo>
                    <a:pt x="2621138" y="3140069"/>
                  </a:lnTo>
                  <a:cubicBezTo>
                    <a:pt x="2606121" y="3139356"/>
                    <a:pt x="2593345" y="3150891"/>
                    <a:pt x="2592518" y="3165901"/>
                  </a:cubicBezTo>
                  <a:lnTo>
                    <a:pt x="2592518" y="3344988"/>
                  </a:lnTo>
                  <a:cubicBezTo>
                    <a:pt x="2592957" y="3354581"/>
                    <a:pt x="2601054" y="3362023"/>
                    <a:pt x="2610647" y="3361647"/>
                  </a:cubicBezTo>
                  <a:lnTo>
                    <a:pt x="2720405" y="3361647"/>
                  </a:lnTo>
                  <a:lnTo>
                    <a:pt x="2712486" y="3394889"/>
                  </a:lnTo>
                  <a:lnTo>
                    <a:pt x="2521477" y="3394889"/>
                  </a:lnTo>
                  <a:lnTo>
                    <a:pt x="2521477" y="3094262"/>
                  </a:lnTo>
                  <a:lnTo>
                    <a:pt x="2458710" y="3094262"/>
                  </a:lnTo>
                  <a:lnTo>
                    <a:pt x="2458710" y="2602612"/>
                  </a:lnTo>
                  <a:lnTo>
                    <a:pt x="2168848" y="2602612"/>
                  </a:lnTo>
                  <a:lnTo>
                    <a:pt x="2168848" y="3490757"/>
                  </a:lnTo>
                  <a:lnTo>
                    <a:pt x="2125166" y="3490757"/>
                  </a:lnTo>
                  <a:lnTo>
                    <a:pt x="2125166" y="3667132"/>
                  </a:lnTo>
                  <a:cubicBezTo>
                    <a:pt x="2124415" y="3667164"/>
                    <a:pt x="2123670" y="3667233"/>
                    <a:pt x="2122912" y="3667227"/>
                  </a:cubicBezTo>
                  <a:cubicBezTo>
                    <a:pt x="2097953" y="3666934"/>
                    <a:pt x="2077856" y="3646660"/>
                    <a:pt x="2077780" y="3621699"/>
                  </a:cubicBezTo>
                  <a:lnTo>
                    <a:pt x="2077780" y="2847724"/>
                  </a:lnTo>
                  <a:lnTo>
                    <a:pt x="1751333" y="2966094"/>
                  </a:lnTo>
                  <a:lnTo>
                    <a:pt x="1753173" y="3384627"/>
                  </a:lnTo>
                  <a:lnTo>
                    <a:pt x="1500753" y="3384627"/>
                  </a:lnTo>
                  <a:lnTo>
                    <a:pt x="1500753" y="3607358"/>
                  </a:lnTo>
                  <a:lnTo>
                    <a:pt x="589208" y="3604862"/>
                  </a:lnTo>
                  <a:lnTo>
                    <a:pt x="586559" y="3604856"/>
                  </a:lnTo>
                  <a:lnTo>
                    <a:pt x="381558" y="3809864"/>
                  </a:lnTo>
                  <a:lnTo>
                    <a:pt x="389226" y="3748511"/>
                  </a:lnTo>
                  <a:lnTo>
                    <a:pt x="638300" y="3503348"/>
                  </a:lnTo>
                  <a:lnTo>
                    <a:pt x="629369" y="3494277"/>
                  </a:lnTo>
                  <a:lnTo>
                    <a:pt x="429382" y="3691118"/>
                  </a:lnTo>
                  <a:cubicBezTo>
                    <a:pt x="315382" y="3599954"/>
                    <a:pt x="149063" y="3618466"/>
                    <a:pt x="57897" y="3732463"/>
                  </a:cubicBezTo>
                  <a:cubicBezTo>
                    <a:pt x="-33269" y="3846460"/>
                    <a:pt x="-14759" y="4012783"/>
                    <a:pt x="99241" y="4103947"/>
                  </a:cubicBezTo>
                  <a:cubicBezTo>
                    <a:pt x="213240" y="4195117"/>
                    <a:pt x="379560" y="4176605"/>
                    <a:pt x="470722" y="4062602"/>
                  </a:cubicBezTo>
                  <a:cubicBezTo>
                    <a:pt x="508197" y="4015744"/>
                    <a:pt x="528612" y="3957529"/>
                    <a:pt x="528612" y="3897526"/>
                  </a:cubicBezTo>
                  <a:cubicBezTo>
                    <a:pt x="528810" y="3839018"/>
                    <a:pt x="509400" y="3782128"/>
                    <a:pt x="473485" y="3735938"/>
                  </a:cubicBezTo>
                  <a:lnTo>
                    <a:pt x="591817" y="3617606"/>
                  </a:lnTo>
                  <a:lnTo>
                    <a:pt x="1513484" y="3620127"/>
                  </a:lnTo>
                  <a:lnTo>
                    <a:pt x="1513484" y="3397359"/>
                  </a:lnTo>
                  <a:lnTo>
                    <a:pt x="1765961" y="3397359"/>
                  </a:lnTo>
                  <a:lnTo>
                    <a:pt x="1764102" y="2975006"/>
                  </a:lnTo>
                  <a:lnTo>
                    <a:pt x="2065048" y="2865892"/>
                  </a:lnTo>
                  <a:lnTo>
                    <a:pt x="2065048" y="3621699"/>
                  </a:lnTo>
                  <a:cubicBezTo>
                    <a:pt x="2065144" y="3653636"/>
                    <a:pt x="2090861" y="3679583"/>
                    <a:pt x="2122798" y="3679958"/>
                  </a:cubicBezTo>
                  <a:lnTo>
                    <a:pt x="2123326" y="3679958"/>
                  </a:lnTo>
                  <a:cubicBezTo>
                    <a:pt x="2123944" y="3679958"/>
                    <a:pt x="2124549" y="3679888"/>
                    <a:pt x="2125166" y="3679869"/>
                  </a:cubicBezTo>
                  <a:lnTo>
                    <a:pt x="2125166" y="3774292"/>
                  </a:lnTo>
                  <a:cubicBezTo>
                    <a:pt x="2125128" y="3806693"/>
                    <a:pt x="2151374" y="3832990"/>
                    <a:pt x="2183775" y="3833022"/>
                  </a:cubicBezTo>
                  <a:cubicBezTo>
                    <a:pt x="2216177" y="3833054"/>
                    <a:pt x="2242473" y="3806815"/>
                    <a:pt x="2242505" y="3774413"/>
                  </a:cubicBezTo>
                  <a:cubicBezTo>
                    <a:pt x="2242505" y="3774375"/>
                    <a:pt x="2242505" y="3774330"/>
                    <a:pt x="2242505" y="3774292"/>
                  </a:cubicBezTo>
                  <a:lnTo>
                    <a:pt x="2242505" y="3503488"/>
                  </a:lnTo>
                  <a:lnTo>
                    <a:pt x="2444738" y="3503488"/>
                  </a:lnTo>
                  <a:lnTo>
                    <a:pt x="2446036" y="3637690"/>
                  </a:lnTo>
                  <a:lnTo>
                    <a:pt x="3819993" y="3637690"/>
                  </a:lnTo>
                  <a:lnTo>
                    <a:pt x="3962930" y="3471691"/>
                  </a:lnTo>
                  <a:cubicBezTo>
                    <a:pt x="4050617" y="3551263"/>
                    <a:pt x="4142258" y="3626385"/>
                    <a:pt x="4237483" y="3696764"/>
                  </a:cubicBezTo>
                  <a:cubicBezTo>
                    <a:pt x="4239705" y="3698355"/>
                    <a:pt x="4242690" y="3698355"/>
                    <a:pt x="4244905" y="3696764"/>
                  </a:cubicBezTo>
                  <a:cubicBezTo>
                    <a:pt x="4246427" y="3695676"/>
                    <a:pt x="4369330" y="3607039"/>
                    <a:pt x="4514404" y="3476255"/>
                  </a:cubicBezTo>
                  <a:lnTo>
                    <a:pt x="4645723" y="3634781"/>
                  </a:lnTo>
                  <a:lnTo>
                    <a:pt x="6537881" y="3636939"/>
                  </a:lnTo>
                  <a:lnTo>
                    <a:pt x="6537881" y="3624207"/>
                  </a:lnTo>
                  <a:close/>
                  <a:moveTo>
                    <a:pt x="4276053" y="323127"/>
                  </a:moveTo>
                  <a:cubicBezTo>
                    <a:pt x="4197373" y="368587"/>
                    <a:pt x="4096737" y="341657"/>
                    <a:pt x="4051273" y="262976"/>
                  </a:cubicBezTo>
                  <a:cubicBezTo>
                    <a:pt x="4005815" y="184295"/>
                    <a:pt x="4032742" y="83659"/>
                    <a:pt x="4111422" y="38198"/>
                  </a:cubicBezTo>
                  <a:cubicBezTo>
                    <a:pt x="4190103" y="-7263"/>
                    <a:pt x="4290745" y="19668"/>
                    <a:pt x="4336203" y="98349"/>
                  </a:cubicBezTo>
                  <a:cubicBezTo>
                    <a:pt x="4358037" y="136132"/>
                    <a:pt x="4363963" y="181042"/>
                    <a:pt x="4352683" y="223196"/>
                  </a:cubicBezTo>
                  <a:cubicBezTo>
                    <a:pt x="4341384" y="265341"/>
                    <a:pt x="4313821" y="301280"/>
                    <a:pt x="4276053" y="323127"/>
                  </a:cubicBezTo>
                  <a:close/>
                  <a:moveTo>
                    <a:pt x="4626785" y="977501"/>
                  </a:moveTo>
                  <a:cubicBezTo>
                    <a:pt x="4607955" y="975229"/>
                    <a:pt x="4595376" y="967437"/>
                    <a:pt x="4580811" y="958417"/>
                  </a:cubicBezTo>
                  <a:cubicBezTo>
                    <a:pt x="4554197" y="939727"/>
                    <a:pt x="4522279" y="930077"/>
                    <a:pt x="4489763" y="930892"/>
                  </a:cubicBezTo>
                  <a:cubicBezTo>
                    <a:pt x="4486943" y="930892"/>
                    <a:pt x="4484033" y="930949"/>
                    <a:pt x="4481042" y="931057"/>
                  </a:cubicBezTo>
                  <a:cubicBezTo>
                    <a:pt x="4453408" y="932012"/>
                    <a:pt x="4433884" y="924513"/>
                    <a:pt x="4427595" y="910298"/>
                  </a:cubicBezTo>
                  <a:cubicBezTo>
                    <a:pt x="4423979" y="902685"/>
                    <a:pt x="4425233" y="893646"/>
                    <a:pt x="4430784" y="887306"/>
                  </a:cubicBezTo>
                  <a:cubicBezTo>
                    <a:pt x="4435482" y="883117"/>
                    <a:pt x="4441421" y="880583"/>
                    <a:pt x="4447692" y="880087"/>
                  </a:cubicBezTo>
                  <a:cubicBezTo>
                    <a:pt x="4546621" y="872900"/>
                    <a:pt x="4646041" y="883397"/>
                    <a:pt x="4741285" y="911101"/>
                  </a:cubicBezTo>
                  <a:cubicBezTo>
                    <a:pt x="4717012" y="958449"/>
                    <a:pt x="4664425" y="982091"/>
                    <a:pt x="4626785" y="977501"/>
                  </a:cubicBezTo>
                  <a:close/>
                  <a:moveTo>
                    <a:pt x="515881" y="3897526"/>
                  </a:moveTo>
                  <a:cubicBezTo>
                    <a:pt x="515925" y="4036515"/>
                    <a:pt x="403290" y="4149214"/>
                    <a:pt x="264305" y="4149258"/>
                  </a:cubicBezTo>
                  <a:cubicBezTo>
                    <a:pt x="125320" y="4149303"/>
                    <a:pt x="12615" y="4036668"/>
                    <a:pt x="12572" y="3897685"/>
                  </a:cubicBezTo>
                  <a:cubicBezTo>
                    <a:pt x="12529" y="3758696"/>
                    <a:pt x="125163" y="3645991"/>
                    <a:pt x="264148" y="3645953"/>
                  </a:cubicBezTo>
                  <a:cubicBezTo>
                    <a:pt x="320789" y="3645934"/>
                    <a:pt x="375778" y="3665025"/>
                    <a:pt x="420224" y="3700131"/>
                  </a:cubicBezTo>
                  <a:lnTo>
                    <a:pt x="378717" y="3740987"/>
                  </a:lnTo>
                  <a:lnTo>
                    <a:pt x="377141" y="3742540"/>
                  </a:lnTo>
                  <a:lnTo>
                    <a:pt x="364326" y="3845098"/>
                  </a:lnTo>
                  <a:lnTo>
                    <a:pt x="464382" y="3745041"/>
                  </a:lnTo>
                  <a:cubicBezTo>
                    <a:pt x="497949" y="3788768"/>
                    <a:pt x="516059" y="3842399"/>
                    <a:pt x="515881" y="3897526"/>
                  </a:cubicBezTo>
                  <a:close/>
                  <a:moveTo>
                    <a:pt x="2988567" y="3490757"/>
                  </a:moveTo>
                  <a:lnTo>
                    <a:pt x="2457348" y="3490757"/>
                  </a:lnTo>
                  <a:lnTo>
                    <a:pt x="2456540" y="3407620"/>
                  </a:lnTo>
                  <a:lnTo>
                    <a:pt x="2990993" y="3407620"/>
                  </a:lnTo>
                  <a:close/>
                  <a:moveTo>
                    <a:pt x="2621138" y="3152801"/>
                  </a:moveTo>
                  <a:lnTo>
                    <a:pt x="2889218" y="3152801"/>
                  </a:lnTo>
                  <a:cubicBezTo>
                    <a:pt x="2897194" y="3152113"/>
                    <a:pt x="2904253" y="3157938"/>
                    <a:pt x="2905106" y="3165901"/>
                  </a:cubicBezTo>
                  <a:lnTo>
                    <a:pt x="2905106" y="3302306"/>
                  </a:lnTo>
                  <a:lnTo>
                    <a:pt x="2605249" y="3302306"/>
                  </a:lnTo>
                  <a:lnTo>
                    <a:pt x="2605249" y="3165901"/>
                  </a:lnTo>
                  <a:cubicBezTo>
                    <a:pt x="2606102" y="3157938"/>
                    <a:pt x="2613162" y="3152113"/>
                    <a:pt x="2621138" y="3152801"/>
                  </a:cubicBezTo>
                  <a:close/>
                  <a:moveTo>
                    <a:pt x="2605249" y="3344988"/>
                  </a:moveTo>
                  <a:lnTo>
                    <a:pt x="2605249" y="3315037"/>
                  </a:lnTo>
                  <a:lnTo>
                    <a:pt x="2905106" y="3315037"/>
                  </a:lnTo>
                  <a:lnTo>
                    <a:pt x="2905106" y="3345555"/>
                  </a:lnTo>
                  <a:cubicBezTo>
                    <a:pt x="2905106" y="3347375"/>
                    <a:pt x="2903063" y="3348916"/>
                    <a:pt x="2900657" y="3348916"/>
                  </a:cubicBezTo>
                  <a:lnTo>
                    <a:pt x="2610647" y="3348916"/>
                  </a:lnTo>
                  <a:cubicBezTo>
                    <a:pt x="2607719" y="3348916"/>
                    <a:pt x="2605249" y="3347114"/>
                    <a:pt x="2605249" y="3344988"/>
                  </a:cubicBezTo>
                  <a:close/>
                  <a:moveTo>
                    <a:pt x="2733487" y="3361647"/>
                  </a:moveTo>
                  <a:lnTo>
                    <a:pt x="2773724" y="3361647"/>
                  </a:lnTo>
                  <a:lnTo>
                    <a:pt x="2782694" y="3394889"/>
                  </a:lnTo>
                  <a:lnTo>
                    <a:pt x="2725574" y="3394889"/>
                  </a:lnTo>
                  <a:close/>
                  <a:moveTo>
                    <a:pt x="2137897" y="3503488"/>
                  </a:moveTo>
                  <a:lnTo>
                    <a:pt x="2168848" y="3503488"/>
                  </a:lnTo>
                  <a:lnTo>
                    <a:pt x="2168848" y="3621699"/>
                  </a:lnTo>
                  <a:cubicBezTo>
                    <a:pt x="2168867" y="3641223"/>
                    <a:pt x="2156403" y="3658576"/>
                    <a:pt x="2137897" y="3664795"/>
                  </a:cubicBezTo>
                  <a:close/>
                  <a:moveTo>
                    <a:pt x="2229774" y="3774292"/>
                  </a:moveTo>
                  <a:cubicBezTo>
                    <a:pt x="2229806" y="3799659"/>
                    <a:pt x="2209263" y="3820252"/>
                    <a:pt x="2183890" y="3820284"/>
                  </a:cubicBezTo>
                  <a:cubicBezTo>
                    <a:pt x="2158516" y="3820316"/>
                    <a:pt x="2137923" y="3799768"/>
                    <a:pt x="2137897" y="3774400"/>
                  </a:cubicBezTo>
                  <a:cubicBezTo>
                    <a:pt x="2137897" y="3774362"/>
                    <a:pt x="2137897" y="3774324"/>
                    <a:pt x="2137897" y="3774292"/>
                  </a:cubicBezTo>
                  <a:lnTo>
                    <a:pt x="2137897" y="3678068"/>
                  </a:lnTo>
                  <a:cubicBezTo>
                    <a:pt x="2163621" y="3671454"/>
                    <a:pt x="2181598" y="3648257"/>
                    <a:pt x="2181579" y="3621699"/>
                  </a:cubicBezTo>
                  <a:lnTo>
                    <a:pt x="2181579" y="3503488"/>
                  </a:lnTo>
                  <a:lnTo>
                    <a:pt x="2229774" y="3503488"/>
                  </a:lnTo>
                  <a:close/>
                  <a:moveTo>
                    <a:pt x="2229774" y="3490757"/>
                  </a:moveTo>
                  <a:lnTo>
                    <a:pt x="2181579" y="3490757"/>
                  </a:lnTo>
                  <a:lnTo>
                    <a:pt x="2181579" y="2615343"/>
                  </a:lnTo>
                  <a:lnTo>
                    <a:pt x="2445979" y="2615343"/>
                  </a:lnTo>
                  <a:lnTo>
                    <a:pt x="2445979" y="3094262"/>
                  </a:lnTo>
                  <a:lnTo>
                    <a:pt x="2288860" y="3094262"/>
                  </a:lnTo>
                  <a:lnTo>
                    <a:pt x="2229774" y="3168804"/>
                  </a:lnTo>
                  <a:close/>
                  <a:moveTo>
                    <a:pt x="2284621" y="3120106"/>
                  </a:moveTo>
                  <a:lnTo>
                    <a:pt x="2284621" y="3171631"/>
                  </a:lnTo>
                  <a:lnTo>
                    <a:pt x="2243785" y="3171631"/>
                  </a:lnTo>
                  <a:close/>
                  <a:moveTo>
                    <a:pt x="2242505" y="3490757"/>
                  </a:moveTo>
                  <a:lnTo>
                    <a:pt x="2242505" y="3184362"/>
                  </a:lnTo>
                  <a:lnTo>
                    <a:pt x="2297352" y="3184362"/>
                  </a:lnTo>
                  <a:lnTo>
                    <a:pt x="2297352" y="3106993"/>
                  </a:lnTo>
                  <a:lnTo>
                    <a:pt x="2508745" y="3106993"/>
                  </a:lnTo>
                  <a:lnTo>
                    <a:pt x="2508745" y="3394889"/>
                  </a:lnTo>
                  <a:lnTo>
                    <a:pt x="2443681" y="3394889"/>
                  </a:lnTo>
                  <a:lnTo>
                    <a:pt x="2444610" y="3490757"/>
                  </a:lnTo>
                  <a:close/>
                  <a:moveTo>
                    <a:pt x="2457469" y="3503488"/>
                  </a:moveTo>
                  <a:lnTo>
                    <a:pt x="3094582" y="3503488"/>
                  </a:lnTo>
                  <a:lnTo>
                    <a:pt x="3094582" y="3624959"/>
                  </a:lnTo>
                  <a:lnTo>
                    <a:pt x="2458647" y="3624959"/>
                  </a:lnTo>
                  <a:close/>
                  <a:moveTo>
                    <a:pt x="4241194" y="3683714"/>
                  </a:moveTo>
                  <a:cubicBezTo>
                    <a:pt x="4219283" y="3667666"/>
                    <a:pt x="4104592" y="3582391"/>
                    <a:pt x="3971549" y="3461678"/>
                  </a:cubicBezTo>
                  <a:lnTo>
                    <a:pt x="4021284" y="3403916"/>
                  </a:lnTo>
                  <a:lnTo>
                    <a:pt x="4011634" y="3395608"/>
                  </a:lnTo>
                  <a:lnTo>
                    <a:pt x="3962127" y="3453110"/>
                  </a:lnTo>
                  <a:cubicBezTo>
                    <a:pt x="3750130" y="3259331"/>
                    <a:pt x="3496462" y="2978577"/>
                    <a:pt x="3496462" y="2744599"/>
                  </a:cubicBezTo>
                  <a:cubicBezTo>
                    <a:pt x="3496462" y="2543322"/>
                    <a:pt x="3662079" y="2379570"/>
                    <a:pt x="3865642" y="2379570"/>
                  </a:cubicBezTo>
                  <a:cubicBezTo>
                    <a:pt x="4037498" y="2379570"/>
                    <a:pt x="4191955" y="2495133"/>
                    <a:pt x="4232906" y="2654352"/>
                  </a:cubicBezTo>
                  <a:cubicBezTo>
                    <a:pt x="4233785" y="2657758"/>
                    <a:pt x="4237247" y="2659808"/>
                    <a:pt x="4240653" y="2658936"/>
                  </a:cubicBezTo>
                  <a:cubicBezTo>
                    <a:pt x="4242900" y="2658356"/>
                    <a:pt x="4244657" y="2656599"/>
                    <a:pt x="4245236" y="2654352"/>
                  </a:cubicBezTo>
                  <a:cubicBezTo>
                    <a:pt x="4285525" y="2497705"/>
                    <a:pt x="4445241" y="2379570"/>
                    <a:pt x="4616746" y="2379570"/>
                  </a:cubicBezTo>
                  <a:cubicBezTo>
                    <a:pt x="4726415" y="2379411"/>
                    <a:pt x="4830513" y="2427886"/>
                    <a:pt x="4900975" y="2511919"/>
                  </a:cubicBezTo>
                  <a:cubicBezTo>
                    <a:pt x="4880370" y="2527585"/>
                    <a:pt x="4858758" y="2543124"/>
                    <a:pt x="4836134" y="2558529"/>
                  </a:cubicBezTo>
                  <a:lnTo>
                    <a:pt x="4843283" y="2569065"/>
                  </a:lnTo>
                  <a:cubicBezTo>
                    <a:pt x="4866244" y="2553487"/>
                    <a:pt x="4888123" y="2537752"/>
                    <a:pt x="4908926" y="2521856"/>
                  </a:cubicBezTo>
                  <a:cubicBezTo>
                    <a:pt x="4958827" y="2585380"/>
                    <a:pt x="4985939" y="2663825"/>
                    <a:pt x="4985926" y="2744599"/>
                  </a:cubicBezTo>
                  <a:cubicBezTo>
                    <a:pt x="4985926" y="2980341"/>
                    <a:pt x="4728362" y="3263603"/>
                    <a:pt x="4515410" y="3457528"/>
                  </a:cubicBezTo>
                  <a:lnTo>
                    <a:pt x="4464198" y="3395704"/>
                  </a:lnTo>
                  <a:lnTo>
                    <a:pt x="4454395" y="3403820"/>
                  </a:lnTo>
                  <a:lnTo>
                    <a:pt x="4505976" y="3466083"/>
                  </a:lnTo>
                  <a:cubicBezTo>
                    <a:pt x="4375008" y="3584466"/>
                    <a:pt x="4262844" y="3667857"/>
                    <a:pt x="4241194" y="3683714"/>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5" name="Freeform 24">
              <a:extLst>
                <a:ext uri="{FF2B5EF4-FFF2-40B4-BE49-F238E27FC236}">
                  <a16:creationId xmlns:a16="http://schemas.microsoft.com/office/drawing/2014/main" id="{4F24CE81-4385-45C1-B7C9-5C5332800085}"/>
                </a:ext>
              </a:extLst>
            </p:cNvPr>
            <p:cNvSpPr/>
            <p:nvPr/>
          </p:nvSpPr>
          <p:spPr>
            <a:xfrm>
              <a:off x="4275115" y="5645015"/>
              <a:ext cx="44560" cy="12731"/>
            </a:xfrm>
            <a:custGeom>
              <a:avLst/>
              <a:gdLst>
                <a:gd name="connsiteX0" fmla="*/ 0 w 44560"/>
                <a:gd name="connsiteY0" fmla="*/ 0 h 12731"/>
                <a:gd name="connsiteX1" fmla="*/ 45685 w 44560"/>
                <a:gd name="connsiteY1" fmla="*/ 0 h 12731"/>
                <a:gd name="connsiteX2" fmla="*/ 45685 w 44560"/>
                <a:gd name="connsiteY2" fmla="*/ 12732 h 12731"/>
                <a:gd name="connsiteX3" fmla="*/ 0 w 44560"/>
                <a:gd name="connsiteY3" fmla="*/ 12732 h 12731"/>
              </a:gdLst>
              <a:ahLst/>
              <a:cxnLst>
                <a:cxn ang="0">
                  <a:pos x="connsiteX0" y="connsiteY0"/>
                </a:cxn>
                <a:cxn ang="0">
                  <a:pos x="connsiteX1" y="connsiteY1"/>
                </a:cxn>
                <a:cxn ang="0">
                  <a:pos x="connsiteX2" y="connsiteY2"/>
                </a:cxn>
                <a:cxn ang="0">
                  <a:pos x="connsiteX3" y="connsiteY3"/>
                </a:cxn>
              </a:cxnLst>
              <a:rect l="l" t="t" r="r" b="b"/>
              <a:pathLst>
                <a:path w="44560" h="12731">
                  <a:moveTo>
                    <a:pt x="0" y="0"/>
                  </a:moveTo>
                  <a:lnTo>
                    <a:pt x="45685" y="0"/>
                  </a:lnTo>
                  <a:lnTo>
                    <a:pt x="45685" y="12732"/>
                  </a:lnTo>
                  <a:lnTo>
                    <a:pt x="0" y="12732"/>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6" name="Freeform 25">
              <a:extLst>
                <a:ext uri="{FF2B5EF4-FFF2-40B4-BE49-F238E27FC236}">
                  <a16:creationId xmlns:a16="http://schemas.microsoft.com/office/drawing/2014/main" id="{7C1A9BCE-0B6C-43E9-8B0C-B652EAF58AA9}"/>
                </a:ext>
              </a:extLst>
            </p:cNvPr>
            <p:cNvSpPr/>
            <p:nvPr/>
          </p:nvSpPr>
          <p:spPr>
            <a:xfrm>
              <a:off x="4275115" y="5689403"/>
              <a:ext cx="44560" cy="12731"/>
            </a:xfrm>
            <a:custGeom>
              <a:avLst/>
              <a:gdLst>
                <a:gd name="connsiteX0" fmla="*/ 0 w 44560"/>
                <a:gd name="connsiteY0" fmla="*/ 0 h 12731"/>
                <a:gd name="connsiteX1" fmla="*/ 45685 w 44560"/>
                <a:gd name="connsiteY1" fmla="*/ 0 h 12731"/>
                <a:gd name="connsiteX2" fmla="*/ 45685 w 44560"/>
                <a:gd name="connsiteY2" fmla="*/ 12731 h 12731"/>
                <a:gd name="connsiteX3" fmla="*/ 0 w 44560"/>
                <a:gd name="connsiteY3" fmla="*/ 12731 h 12731"/>
              </a:gdLst>
              <a:ahLst/>
              <a:cxnLst>
                <a:cxn ang="0">
                  <a:pos x="connsiteX0" y="connsiteY0"/>
                </a:cxn>
                <a:cxn ang="0">
                  <a:pos x="connsiteX1" y="connsiteY1"/>
                </a:cxn>
                <a:cxn ang="0">
                  <a:pos x="connsiteX2" y="connsiteY2"/>
                </a:cxn>
                <a:cxn ang="0">
                  <a:pos x="connsiteX3" y="connsiteY3"/>
                </a:cxn>
              </a:cxnLst>
              <a:rect l="l" t="t" r="r" b="b"/>
              <a:pathLst>
                <a:path w="44560" h="12731">
                  <a:moveTo>
                    <a:pt x="0" y="0"/>
                  </a:moveTo>
                  <a:lnTo>
                    <a:pt x="45685" y="0"/>
                  </a:lnTo>
                  <a:lnTo>
                    <a:pt x="4568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7" name="Freeform 26">
              <a:extLst>
                <a:ext uri="{FF2B5EF4-FFF2-40B4-BE49-F238E27FC236}">
                  <a16:creationId xmlns:a16="http://schemas.microsoft.com/office/drawing/2014/main" id="{E7D99C2C-B6EE-4589-8088-B10C771301A0}"/>
                </a:ext>
              </a:extLst>
            </p:cNvPr>
            <p:cNvSpPr/>
            <p:nvPr/>
          </p:nvSpPr>
          <p:spPr>
            <a:xfrm>
              <a:off x="4275115" y="5733791"/>
              <a:ext cx="44560" cy="12731"/>
            </a:xfrm>
            <a:custGeom>
              <a:avLst/>
              <a:gdLst>
                <a:gd name="connsiteX0" fmla="*/ 0 w 44560"/>
                <a:gd name="connsiteY0" fmla="*/ 0 h 12731"/>
                <a:gd name="connsiteX1" fmla="*/ 45685 w 44560"/>
                <a:gd name="connsiteY1" fmla="*/ 0 h 12731"/>
                <a:gd name="connsiteX2" fmla="*/ 45685 w 44560"/>
                <a:gd name="connsiteY2" fmla="*/ 12731 h 12731"/>
                <a:gd name="connsiteX3" fmla="*/ 0 w 44560"/>
                <a:gd name="connsiteY3" fmla="*/ 12731 h 12731"/>
              </a:gdLst>
              <a:ahLst/>
              <a:cxnLst>
                <a:cxn ang="0">
                  <a:pos x="connsiteX0" y="connsiteY0"/>
                </a:cxn>
                <a:cxn ang="0">
                  <a:pos x="connsiteX1" y="connsiteY1"/>
                </a:cxn>
                <a:cxn ang="0">
                  <a:pos x="connsiteX2" y="connsiteY2"/>
                </a:cxn>
                <a:cxn ang="0">
                  <a:pos x="connsiteX3" y="connsiteY3"/>
                </a:cxn>
              </a:cxnLst>
              <a:rect l="l" t="t" r="r" b="b"/>
              <a:pathLst>
                <a:path w="44560" h="12731">
                  <a:moveTo>
                    <a:pt x="0" y="0"/>
                  </a:moveTo>
                  <a:lnTo>
                    <a:pt x="45685" y="0"/>
                  </a:lnTo>
                  <a:lnTo>
                    <a:pt x="4568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8" name="Freeform 27">
              <a:extLst>
                <a:ext uri="{FF2B5EF4-FFF2-40B4-BE49-F238E27FC236}">
                  <a16:creationId xmlns:a16="http://schemas.microsoft.com/office/drawing/2014/main" id="{A4EE04FA-E1B3-4C99-B8A6-B8D2276AD1D9}"/>
                </a:ext>
              </a:extLst>
            </p:cNvPr>
            <p:cNvSpPr/>
            <p:nvPr/>
          </p:nvSpPr>
          <p:spPr>
            <a:xfrm>
              <a:off x="6575595" y="1718213"/>
              <a:ext cx="38194" cy="38194"/>
            </a:xfrm>
            <a:custGeom>
              <a:avLst/>
              <a:gdLst>
                <a:gd name="connsiteX0" fmla="*/ 0 w 38194"/>
                <a:gd name="connsiteY0" fmla="*/ 31399 h 38194"/>
                <a:gd name="connsiteX1" fmla="*/ 29485 w 38194"/>
                <a:gd name="connsiteY1" fmla="*/ 0 h 38194"/>
                <a:gd name="connsiteX2" fmla="*/ 38766 w 38194"/>
                <a:gd name="connsiteY2" fmla="*/ 8715 h 38194"/>
                <a:gd name="connsiteX3" fmla="*/ 9281 w 38194"/>
                <a:gd name="connsiteY3" fmla="*/ 40115 h 38194"/>
              </a:gdLst>
              <a:ahLst/>
              <a:cxnLst>
                <a:cxn ang="0">
                  <a:pos x="connsiteX0" y="connsiteY0"/>
                </a:cxn>
                <a:cxn ang="0">
                  <a:pos x="connsiteX1" y="connsiteY1"/>
                </a:cxn>
                <a:cxn ang="0">
                  <a:pos x="connsiteX2" y="connsiteY2"/>
                </a:cxn>
                <a:cxn ang="0">
                  <a:pos x="connsiteX3" y="connsiteY3"/>
                </a:cxn>
              </a:cxnLst>
              <a:rect l="l" t="t" r="r" b="b"/>
              <a:pathLst>
                <a:path w="38194" h="38194">
                  <a:moveTo>
                    <a:pt x="0" y="31399"/>
                  </a:moveTo>
                  <a:lnTo>
                    <a:pt x="29485" y="0"/>
                  </a:lnTo>
                  <a:lnTo>
                    <a:pt x="38766" y="8715"/>
                  </a:lnTo>
                  <a:lnTo>
                    <a:pt x="9281" y="40115"/>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29" name="Freeform 28">
              <a:extLst>
                <a:ext uri="{FF2B5EF4-FFF2-40B4-BE49-F238E27FC236}">
                  <a16:creationId xmlns:a16="http://schemas.microsoft.com/office/drawing/2014/main" id="{BC6C55D9-2DA4-467C-B955-B2F8D36B8FBE}"/>
                </a:ext>
              </a:extLst>
            </p:cNvPr>
            <p:cNvSpPr/>
            <p:nvPr/>
          </p:nvSpPr>
          <p:spPr>
            <a:xfrm>
              <a:off x="7412611" y="1360564"/>
              <a:ext cx="146411" cy="95486"/>
            </a:xfrm>
            <a:custGeom>
              <a:avLst/>
              <a:gdLst>
                <a:gd name="connsiteX0" fmla="*/ 0 w 146411"/>
                <a:gd name="connsiteY0" fmla="*/ 1653 h 95485"/>
                <a:gd name="connsiteX1" fmla="*/ 1992 w 146411"/>
                <a:gd name="connsiteY1" fmla="*/ 14223 h 95485"/>
                <a:gd name="connsiteX2" fmla="*/ 137544 w 146411"/>
                <a:gd name="connsiteY2" fmla="*/ 99526 h 95485"/>
                <a:gd name="connsiteX3" fmla="*/ 149740 w 146411"/>
                <a:gd name="connsiteY3" fmla="*/ 95871 h 95485"/>
                <a:gd name="connsiteX4" fmla="*/ 0 w 146411"/>
                <a:gd name="connsiteY4" fmla="*/ 1653 h 9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411" h="95485">
                  <a:moveTo>
                    <a:pt x="0" y="1653"/>
                  </a:moveTo>
                  <a:lnTo>
                    <a:pt x="1992" y="14223"/>
                  </a:lnTo>
                  <a:cubicBezTo>
                    <a:pt x="62155" y="4738"/>
                    <a:pt x="120070" y="41182"/>
                    <a:pt x="137544" y="99526"/>
                  </a:cubicBezTo>
                  <a:lnTo>
                    <a:pt x="149740" y="95871"/>
                  </a:lnTo>
                  <a:cubicBezTo>
                    <a:pt x="130427" y="31427"/>
                    <a:pt x="66452" y="-8822"/>
                    <a:pt x="0" y="1653"/>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0" name="Freeform 29">
              <a:extLst>
                <a:ext uri="{FF2B5EF4-FFF2-40B4-BE49-F238E27FC236}">
                  <a16:creationId xmlns:a16="http://schemas.microsoft.com/office/drawing/2014/main" id="{D265E5E8-B577-49D2-AECD-3A96D09A4BAC}"/>
                </a:ext>
              </a:extLst>
            </p:cNvPr>
            <p:cNvSpPr/>
            <p:nvPr/>
          </p:nvSpPr>
          <p:spPr>
            <a:xfrm>
              <a:off x="6824000" y="1395097"/>
              <a:ext cx="216434" cy="254629"/>
            </a:xfrm>
            <a:custGeom>
              <a:avLst/>
              <a:gdLst>
                <a:gd name="connsiteX0" fmla="*/ 19961 w 216434"/>
                <a:gd name="connsiteY0" fmla="*/ 255032 h 254628"/>
                <a:gd name="connsiteX1" fmla="*/ 73567 w 216434"/>
                <a:gd name="connsiteY1" fmla="*/ 240213 h 254628"/>
                <a:gd name="connsiteX2" fmla="*/ 78144 w 216434"/>
                <a:gd name="connsiteY2" fmla="*/ 214310 h 254628"/>
                <a:gd name="connsiteX3" fmla="*/ 143526 w 216434"/>
                <a:gd name="connsiteY3" fmla="*/ 189278 h 254628"/>
                <a:gd name="connsiteX4" fmla="*/ 179511 w 216434"/>
                <a:gd name="connsiteY4" fmla="*/ 213294 h 254628"/>
                <a:gd name="connsiteX5" fmla="*/ 190060 w 216434"/>
                <a:gd name="connsiteY5" fmla="*/ 211852 h 254628"/>
                <a:gd name="connsiteX6" fmla="*/ 217515 w 216434"/>
                <a:gd name="connsiteY6" fmla="*/ 163505 h 254628"/>
                <a:gd name="connsiteX7" fmla="*/ 173801 w 216434"/>
                <a:gd name="connsiteY7" fmla="*/ 135068 h 254628"/>
                <a:gd name="connsiteX8" fmla="*/ 160128 w 216434"/>
                <a:gd name="connsiteY8" fmla="*/ 74084 h 254628"/>
                <a:gd name="connsiteX9" fmla="*/ 177029 w 216434"/>
                <a:gd name="connsiteY9" fmla="*/ 21262 h 254628"/>
                <a:gd name="connsiteX10" fmla="*/ 124206 w 216434"/>
                <a:gd name="connsiteY10" fmla="*/ 4363 h 254628"/>
                <a:gd name="connsiteX11" fmla="*/ 107311 w 216434"/>
                <a:gd name="connsiteY11" fmla="*/ 57185 h 254628"/>
                <a:gd name="connsiteX12" fmla="*/ 122882 w 216434"/>
                <a:gd name="connsiteY12" fmla="*/ 73367 h 254628"/>
                <a:gd name="connsiteX13" fmla="*/ 122882 w 216434"/>
                <a:gd name="connsiteY13" fmla="*/ 73366 h 254628"/>
                <a:gd name="connsiteX14" fmla="*/ 147963 w 216434"/>
                <a:gd name="connsiteY14" fmla="*/ 78003 h 254628"/>
                <a:gd name="connsiteX15" fmla="*/ 161630 w 216434"/>
                <a:gd name="connsiteY15" fmla="*/ 138954 h 254628"/>
                <a:gd name="connsiteX16" fmla="*/ 140337 w 216434"/>
                <a:gd name="connsiteY16" fmla="*/ 176870 h 254628"/>
                <a:gd name="connsiteX17" fmla="*/ 73974 w 216434"/>
                <a:gd name="connsiteY17" fmla="*/ 202279 h 254628"/>
                <a:gd name="connsiteX18" fmla="*/ 20770 w 216434"/>
                <a:gd name="connsiteY18" fmla="*/ 186163 h 254628"/>
                <a:gd name="connsiteX19" fmla="*/ 4658 w 216434"/>
                <a:gd name="connsiteY19" fmla="*/ 239362 h 254628"/>
                <a:gd name="connsiteX20" fmla="*/ 19961 w 216434"/>
                <a:gd name="connsiteY20" fmla="*/ 255032 h 254628"/>
                <a:gd name="connsiteX21" fmla="*/ 129152 w 216434"/>
                <a:gd name="connsiteY21" fmla="*/ 62289 h 254628"/>
                <a:gd name="connsiteX22" fmla="*/ 119120 w 216434"/>
                <a:gd name="connsiteY22" fmla="*/ 26030 h 254628"/>
                <a:gd name="connsiteX23" fmla="*/ 155379 w 216434"/>
                <a:gd name="connsiteY23" fmla="*/ 15994 h 254628"/>
                <a:gd name="connsiteX24" fmla="*/ 165411 w 216434"/>
                <a:gd name="connsiteY24" fmla="*/ 52253 h 254628"/>
                <a:gd name="connsiteX25" fmla="*/ 165411 w 216434"/>
                <a:gd name="connsiteY25" fmla="*/ 52255 h 254628"/>
                <a:gd name="connsiteX26" fmla="*/ 129413 w 216434"/>
                <a:gd name="connsiteY26" fmla="*/ 62436 h 254628"/>
                <a:gd name="connsiteX27" fmla="*/ 129152 w 216434"/>
                <a:gd name="connsiteY27" fmla="*/ 62289 h 254628"/>
                <a:gd name="connsiteX28" fmla="*/ 156429 w 216434"/>
                <a:gd name="connsiteY28" fmla="*/ 160833 h 254628"/>
                <a:gd name="connsiteX29" fmla="*/ 172477 w 216434"/>
                <a:gd name="connsiteY29" fmla="*/ 148307 h 254628"/>
                <a:gd name="connsiteX30" fmla="*/ 179613 w 216434"/>
                <a:gd name="connsiteY30" fmla="*/ 147331 h 254628"/>
                <a:gd name="connsiteX31" fmla="*/ 206177 w 216434"/>
                <a:gd name="connsiteY31" fmla="*/ 173976 h 254628"/>
                <a:gd name="connsiteX32" fmla="*/ 179531 w 216434"/>
                <a:gd name="connsiteY32" fmla="*/ 200543 h 254628"/>
                <a:gd name="connsiteX33" fmla="*/ 166462 w 216434"/>
                <a:gd name="connsiteY33" fmla="*/ 197088 h 254628"/>
                <a:gd name="connsiteX34" fmla="*/ 166455 w 216434"/>
                <a:gd name="connsiteY34" fmla="*/ 197088 h 254628"/>
                <a:gd name="connsiteX35" fmla="*/ 156423 w 216434"/>
                <a:gd name="connsiteY35" fmla="*/ 160842 h 254628"/>
                <a:gd name="connsiteX36" fmla="*/ 156429 w 216434"/>
                <a:gd name="connsiteY36" fmla="*/ 160833 h 254628"/>
                <a:gd name="connsiteX37" fmla="*/ 16205 w 216434"/>
                <a:gd name="connsiteY37" fmla="*/ 207700 h 254628"/>
                <a:gd name="connsiteX38" fmla="*/ 52465 w 216434"/>
                <a:gd name="connsiteY38" fmla="*/ 197663 h 254628"/>
                <a:gd name="connsiteX39" fmla="*/ 62497 w 216434"/>
                <a:gd name="connsiteY39" fmla="*/ 233919 h 254628"/>
                <a:gd name="connsiteX40" fmla="*/ 26244 w 216434"/>
                <a:gd name="connsiteY40" fmla="*/ 243956 h 254628"/>
                <a:gd name="connsiteX41" fmla="*/ 26237 w 216434"/>
                <a:gd name="connsiteY41" fmla="*/ 243954 h 254628"/>
                <a:gd name="connsiteX42" fmla="*/ 16002 w 216434"/>
                <a:gd name="connsiteY42" fmla="*/ 208058 h 254628"/>
                <a:gd name="connsiteX43" fmla="*/ 16205 w 216434"/>
                <a:gd name="connsiteY43" fmla="*/ 207700 h 25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16434" h="254628">
                  <a:moveTo>
                    <a:pt x="19961" y="255032"/>
                  </a:moveTo>
                  <a:cubicBezTo>
                    <a:pt x="38855" y="265743"/>
                    <a:pt x="62860" y="259108"/>
                    <a:pt x="73567" y="240213"/>
                  </a:cubicBezTo>
                  <a:cubicBezTo>
                    <a:pt x="78023" y="232359"/>
                    <a:pt x="79633" y="223214"/>
                    <a:pt x="78144" y="214310"/>
                  </a:cubicBezTo>
                  <a:lnTo>
                    <a:pt x="143526" y="189278"/>
                  </a:lnTo>
                  <a:cubicBezTo>
                    <a:pt x="149567" y="203819"/>
                    <a:pt x="163762" y="213296"/>
                    <a:pt x="179511" y="213294"/>
                  </a:cubicBezTo>
                  <a:cubicBezTo>
                    <a:pt x="183076" y="213291"/>
                    <a:pt x="186622" y="212806"/>
                    <a:pt x="190060" y="211852"/>
                  </a:cubicBezTo>
                  <a:cubicBezTo>
                    <a:pt x="210996" y="206083"/>
                    <a:pt x="223288" y="184438"/>
                    <a:pt x="217515" y="163505"/>
                  </a:cubicBezTo>
                  <a:cubicBezTo>
                    <a:pt x="212238" y="144335"/>
                    <a:pt x="193471" y="132127"/>
                    <a:pt x="173801" y="135068"/>
                  </a:cubicBezTo>
                  <a:lnTo>
                    <a:pt x="160128" y="74084"/>
                  </a:lnTo>
                  <a:cubicBezTo>
                    <a:pt x="179384" y="64164"/>
                    <a:pt x="186947" y="40515"/>
                    <a:pt x="177029" y="21262"/>
                  </a:cubicBezTo>
                  <a:cubicBezTo>
                    <a:pt x="167111" y="2009"/>
                    <a:pt x="143462" y="-5556"/>
                    <a:pt x="124206" y="4363"/>
                  </a:cubicBezTo>
                  <a:cubicBezTo>
                    <a:pt x="104956" y="14283"/>
                    <a:pt x="97387" y="37932"/>
                    <a:pt x="107311" y="57185"/>
                  </a:cubicBezTo>
                  <a:cubicBezTo>
                    <a:pt x="110812" y="63981"/>
                    <a:pt x="116224" y="69606"/>
                    <a:pt x="122882" y="73367"/>
                  </a:cubicBezTo>
                  <a:lnTo>
                    <a:pt x="122882" y="73366"/>
                  </a:lnTo>
                  <a:cubicBezTo>
                    <a:pt x="130470" y="77719"/>
                    <a:pt x="139318" y="79354"/>
                    <a:pt x="147963" y="78003"/>
                  </a:cubicBezTo>
                  <a:lnTo>
                    <a:pt x="161630" y="138954"/>
                  </a:lnTo>
                  <a:cubicBezTo>
                    <a:pt x="147556" y="146163"/>
                    <a:pt x="139166" y="161101"/>
                    <a:pt x="140337" y="176870"/>
                  </a:cubicBezTo>
                  <a:lnTo>
                    <a:pt x="73974" y="202279"/>
                  </a:lnTo>
                  <a:cubicBezTo>
                    <a:pt x="63732" y="183138"/>
                    <a:pt x="39911" y="175922"/>
                    <a:pt x="20770" y="186163"/>
                  </a:cubicBezTo>
                  <a:cubicBezTo>
                    <a:pt x="1628" y="196403"/>
                    <a:pt x="-5584" y="220222"/>
                    <a:pt x="4658" y="239362"/>
                  </a:cubicBezTo>
                  <a:cubicBezTo>
                    <a:pt x="8172" y="245930"/>
                    <a:pt x="13481" y="251365"/>
                    <a:pt x="19961" y="255032"/>
                  </a:cubicBezTo>
                  <a:close/>
                  <a:moveTo>
                    <a:pt x="129152" y="62289"/>
                  </a:moveTo>
                  <a:cubicBezTo>
                    <a:pt x="116370" y="55047"/>
                    <a:pt x="111876" y="38813"/>
                    <a:pt x="119120" y="26030"/>
                  </a:cubicBezTo>
                  <a:cubicBezTo>
                    <a:pt x="126358" y="13245"/>
                    <a:pt x="142597" y="8753"/>
                    <a:pt x="155379" y="15994"/>
                  </a:cubicBezTo>
                  <a:cubicBezTo>
                    <a:pt x="168161" y="23235"/>
                    <a:pt x="172656" y="39469"/>
                    <a:pt x="165411" y="52253"/>
                  </a:cubicBezTo>
                  <a:cubicBezTo>
                    <a:pt x="165411" y="52254"/>
                    <a:pt x="165411" y="52255"/>
                    <a:pt x="165411" y="52255"/>
                  </a:cubicBezTo>
                  <a:cubicBezTo>
                    <a:pt x="158282" y="65007"/>
                    <a:pt x="142164" y="69565"/>
                    <a:pt x="129413" y="62436"/>
                  </a:cubicBezTo>
                  <a:cubicBezTo>
                    <a:pt x="129330" y="62387"/>
                    <a:pt x="129241" y="62338"/>
                    <a:pt x="129152" y="62289"/>
                  </a:cubicBezTo>
                  <a:close/>
                  <a:moveTo>
                    <a:pt x="156429" y="160833"/>
                  </a:moveTo>
                  <a:cubicBezTo>
                    <a:pt x="159886" y="154681"/>
                    <a:pt x="165666" y="150169"/>
                    <a:pt x="172477" y="148307"/>
                  </a:cubicBezTo>
                  <a:cubicBezTo>
                    <a:pt x="174801" y="147661"/>
                    <a:pt x="177201" y="147332"/>
                    <a:pt x="179613" y="147331"/>
                  </a:cubicBezTo>
                  <a:cubicBezTo>
                    <a:pt x="194305" y="147352"/>
                    <a:pt x="206203" y="159282"/>
                    <a:pt x="206177" y="173976"/>
                  </a:cubicBezTo>
                  <a:cubicBezTo>
                    <a:pt x="206158" y="188670"/>
                    <a:pt x="194229" y="200564"/>
                    <a:pt x="179531" y="200543"/>
                  </a:cubicBezTo>
                  <a:cubicBezTo>
                    <a:pt x="174953" y="200536"/>
                    <a:pt x="170447" y="199346"/>
                    <a:pt x="166462" y="197088"/>
                  </a:cubicBezTo>
                  <a:lnTo>
                    <a:pt x="166455" y="197088"/>
                  </a:lnTo>
                  <a:cubicBezTo>
                    <a:pt x="153679" y="189850"/>
                    <a:pt x="149185" y="173622"/>
                    <a:pt x="156423" y="160842"/>
                  </a:cubicBezTo>
                  <a:cubicBezTo>
                    <a:pt x="156423" y="160839"/>
                    <a:pt x="156423" y="160836"/>
                    <a:pt x="156429" y="160833"/>
                  </a:cubicBezTo>
                  <a:close/>
                  <a:moveTo>
                    <a:pt x="16205" y="207700"/>
                  </a:moveTo>
                  <a:cubicBezTo>
                    <a:pt x="23449" y="194916"/>
                    <a:pt x="39682" y="190423"/>
                    <a:pt x="52465" y="197663"/>
                  </a:cubicBezTo>
                  <a:cubicBezTo>
                    <a:pt x="65247" y="204904"/>
                    <a:pt x="69741" y="221136"/>
                    <a:pt x="62497" y="233919"/>
                  </a:cubicBezTo>
                  <a:cubicBezTo>
                    <a:pt x="55259" y="246703"/>
                    <a:pt x="39026" y="251196"/>
                    <a:pt x="26244" y="243956"/>
                  </a:cubicBezTo>
                  <a:cubicBezTo>
                    <a:pt x="26244" y="243955"/>
                    <a:pt x="26244" y="243954"/>
                    <a:pt x="26237" y="243954"/>
                  </a:cubicBezTo>
                  <a:cubicBezTo>
                    <a:pt x="13500" y="236869"/>
                    <a:pt x="8917" y="220797"/>
                    <a:pt x="16002" y="208058"/>
                  </a:cubicBezTo>
                  <a:cubicBezTo>
                    <a:pt x="16072" y="207938"/>
                    <a:pt x="16135" y="207819"/>
                    <a:pt x="16205" y="207700"/>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1" name="Freeform 30">
              <a:extLst>
                <a:ext uri="{FF2B5EF4-FFF2-40B4-BE49-F238E27FC236}">
                  <a16:creationId xmlns:a16="http://schemas.microsoft.com/office/drawing/2014/main" id="{BA5D4C88-1913-4465-88ED-99A06A355FD7}"/>
                </a:ext>
              </a:extLst>
            </p:cNvPr>
            <p:cNvSpPr/>
            <p:nvPr/>
          </p:nvSpPr>
          <p:spPr>
            <a:xfrm>
              <a:off x="3051985" y="5191167"/>
              <a:ext cx="1489578" cy="623840"/>
            </a:xfrm>
            <a:custGeom>
              <a:avLst/>
              <a:gdLst>
                <a:gd name="connsiteX0" fmla="*/ 1352442 w 1489577"/>
                <a:gd name="connsiteY0" fmla="*/ 297419 h 623840"/>
                <a:gd name="connsiteX1" fmla="*/ 1352442 w 1489577"/>
                <a:gd name="connsiteY1" fmla="*/ 114965 h 623840"/>
                <a:gd name="connsiteX2" fmla="*/ 1324700 w 1489577"/>
                <a:gd name="connsiteY2" fmla="*/ 91100 h 623840"/>
                <a:gd name="connsiteX3" fmla="*/ 1294705 w 1489577"/>
                <a:gd name="connsiteY3" fmla="*/ 91100 h 623840"/>
                <a:gd name="connsiteX4" fmla="*/ 1294705 w 1489577"/>
                <a:gd name="connsiteY4" fmla="*/ 103831 h 623840"/>
                <a:gd name="connsiteX5" fmla="*/ 1324700 w 1489577"/>
                <a:gd name="connsiteY5" fmla="*/ 103831 h 623840"/>
                <a:gd name="connsiteX6" fmla="*/ 1339711 w 1489577"/>
                <a:gd name="connsiteY6" fmla="*/ 114965 h 623840"/>
                <a:gd name="connsiteX7" fmla="*/ 1339711 w 1489577"/>
                <a:gd name="connsiteY7" fmla="*/ 300354 h 623840"/>
                <a:gd name="connsiteX8" fmla="*/ 1474282 w 1489577"/>
                <a:gd name="connsiteY8" fmla="*/ 577078 h 623840"/>
                <a:gd name="connsiteX9" fmla="*/ 1461576 w 1489577"/>
                <a:gd name="connsiteY9" fmla="*/ 613846 h 623840"/>
                <a:gd name="connsiteX10" fmla="*/ 1449538 w 1489577"/>
                <a:gd name="connsiteY10" fmla="*/ 616622 h 623840"/>
                <a:gd name="connsiteX11" fmla="*/ 1130119 w 1489577"/>
                <a:gd name="connsiteY11" fmla="*/ 616622 h 623840"/>
                <a:gd name="connsiteX12" fmla="*/ 1102607 w 1489577"/>
                <a:gd name="connsiteY12" fmla="*/ 589109 h 623840"/>
                <a:gd name="connsiteX13" fmla="*/ 1105147 w 1489577"/>
                <a:gd name="connsiteY13" fmla="*/ 577568 h 623840"/>
                <a:gd name="connsiteX14" fmla="*/ 1234250 w 1489577"/>
                <a:gd name="connsiteY14" fmla="*/ 298272 h 623840"/>
                <a:gd name="connsiteX15" fmla="*/ 1231233 w 1489577"/>
                <a:gd name="connsiteY15" fmla="*/ 91100 h 623840"/>
                <a:gd name="connsiteX16" fmla="*/ 1200021 w 1489577"/>
                <a:gd name="connsiteY16" fmla="*/ 91100 h 623840"/>
                <a:gd name="connsiteX17" fmla="*/ 857775 w 1489577"/>
                <a:gd name="connsiteY17" fmla="*/ 249307 h 623840"/>
                <a:gd name="connsiteX18" fmla="*/ 856731 w 1489577"/>
                <a:gd name="connsiteY18" fmla="*/ 250377 h 623840"/>
                <a:gd name="connsiteX19" fmla="*/ 474163 w 1489577"/>
                <a:gd name="connsiteY19" fmla="*/ 453392 h 623840"/>
                <a:gd name="connsiteX20" fmla="*/ 466166 w 1489577"/>
                <a:gd name="connsiteY20" fmla="*/ 453322 h 623840"/>
                <a:gd name="connsiteX21" fmla="*/ 145505 w 1489577"/>
                <a:gd name="connsiteY21" fmla="*/ 318814 h 623840"/>
                <a:gd name="connsiteX22" fmla="*/ 12733 w 1489577"/>
                <a:gd name="connsiteY22" fmla="*/ 0 h 623840"/>
                <a:gd name="connsiteX23" fmla="*/ 2 w 1489577"/>
                <a:gd name="connsiteY23" fmla="*/ 0 h 623840"/>
                <a:gd name="connsiteX24" fmla="*/ 136535 w 1489577"/>
                <a:gd name="connsiteY24" fmla="*/ 327847 h 623840"/>
                <a:gd name="connsiteX25" fmla="*/ 465936 w 1489577"/>
                <a:gd name="connsiteY25" fmla="*/ 466053 h 623840"/>
                <a:gd name="connsiteX26" fmla="*/ 474244 w 1489577"/>
                <a:gd name="connsiteY26" fmla="*/ 466123 h 623840"/>
                <a:gd name="connsiteX27" fmla="*/ 865866 w 1489577"/>
                <a:gd name="connsiteY27" fmla="*/ 259244 h 623840"/>
                <a:gd name="connsiteX28" fmla="*/ 866910 w 1489577"/>
                <a:gd name="connsiteY28" fmla="*/ 258168 h 623840"/>
                <a:gd name="connsiteX29" fmla="*/ 1200021 w 1489577"/>
                <a:gd name="connsiteY29" fmla="*/ 103831 h 623840"/>
                <a:gd name="connsiteX30" fmla="*/ 1218686 w 1489577"/>
                <a:gd name="connsiteY30" fmla="*/ 103831 h 623840"/>
                <a:gd name="connsiteX31" fmla="*/ 1221474 w 1489577"/>
                <a:gd name="connsiteY31" fmla="*/ 295560 h 623840"/>
                <a:gd name="connsiteX32" fmla="*/ 1093593 w 1489577"/>
                <a:gd name="connsiteY32" fmla="*/ 572221 h 623840"/>
                <a:gd name="connsiteX33" fmla="*/ 1113238 w 1489577"/>
                <a:gd name="connsiteY33" fmla="*/ 625642 h 623840"/>
                <a:gd name="connsiteX34" fmla="*/ 1130119 w 1489577"/>
                <a:gd name="connsiteY34" fmla="*/ 629353 h 623840"/>
                <a:gd name="connsiteX35" fmla="*/ 1449538 w 1489577"/>
                <a:gd name="connsiteY35" fmla="*/ 629353 h 623840"/>
                <a:gd name="connsiteX36" fmla="*/ 1489789 w 1489577"/>
                <a:gd name="connsiteY36" fmla="*/ 589116 h 623840"/>
                <a:gd name="connsiteX37" fmla="*/ 1485734 w 1489577"/>
                <a:gd name="connsiteY37" fmla="*/ 571508 h 62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89577" h="623840">
                  <a:moveTo>
                    <a:pt x="1352442" y="297419"/>
                  </a:moveTo>
                  <a:lnTo>
                    <a:pt x="1352442" y="114965"/>
                  </a:lnTo>
                  <a:cubicBezTo>
                    <a:pt x="1352442" y="100025"/>
                    <a:pt x="1342072" y="91100"/>
                    <a:pt x="1324700" y="91100"/>
                  </a:cubicBezTo>
                  <a:lnTo>
                    <a:pt x="1294705" y="91100"/>
                  </a:lnTo>
                  <a:lnTo>
                    <a:pt x="1294705" y="103831"/>
                  </a:lnTo>
                  <a:lnTo>
                    <a:pt x="1324700" y="103831"/>
                  </a:lnTo>
                  <a:cubicBezTo>
                    <a:pt x="1338005" y="103831"/>
                    <a:pt x="1339711" y="109783"/>
                    <a:pt x="1339711" y="114965"/>
                  </a:cubicBezTo>
                  <a:lnTo>
                    <a:pt x="1339711" y="300354"/>
                  </a:lnTo>
                  <a:lnTo>
                    <a:pt x="1474282" y="577078"/>
                  </a:lnTo>
                  <a:cubicBezTo>
                    <a:pt x="1480928" y="590739"/>
                    <a:pt x="1475243" y="607200"/>
                    <a:pt x="1461576" y="613846"/>
                  </a:cubicBezTo>
                  <a:cubicBezTo>
                    <a:pt x="1457827" y="615673"/>
                    <a:pt x="1453708" y="616622"/>
                    <a:pt x="1449538" y="616622"/>
                  </a:cubicBezTo>
                  <a:lnTo>
                    <a:pt x="1130119" y="616622"/>
                  </a:lnTo>
                  <a:cubicBezTo>
                    <a:pt x="1114925" y="616622"/>
                    <a:pt x="1102607" y="604304"/>
                    <a:pt x="1102607" y="589109"/>
                  </a:cubicBezTo>
                  <a:cubicBezTo>
                    <a:pt x="1102607" y="585124"/>
                    <a:pt x="1103473" y="581184"/>
                    <a:pt x="1105147" y="577568"/>
                  </a:cubicBezTo>
                  <a:lnTo>
                    <a:pt x="1234250" y="298272"/>
                  </a:lnTo>
                  <a:lnTo>
                    <a:pt x="1231233" y="91100"/>
                  </a:lnTo>
                  <a:lnTo>
                    <a:pt x="1200021" y="91100"/>
                  </a:lnTo>
                  <a:cubicBezTo>
                    <a:pt x="1069582" y="91100"/>
                    <a:pt x="964025" y="139893"/>
                    <a:pt x="857775" y="249307"/>
                  </a:cubicBezTo>
                  <a:lnTo>
                    <a:pt x="856731" y="250377"/>
                  </a:lnTo>
                  <a:cubicBezTo>
                    <a:pt x="773334" y="336250"/>
                    <a:pt x="659591" y="453405"/>
                    <a:pt x="474163" y="453392"/>
                  </a:cubicBezTo>
                  <a:cubicBezTo>
                    <a:pt x="471525" y="453392"/>
                    <a:pt x="468836" y="453367"/>
                    <a:pt x="466166" y="453322"/>
                  </a:cubicBezTo>
                  <a:cubicBezTo>
                    <a:pt x="345894" y="451705"/>
                    <a:pt x="230940" y="403485"/>
                    <a:pt x="145505" y="318814"/>
                  </a:cubicBezTo>
                  <a:cubicBezTo>
                    <a:pt x="60253" y="234666"/>
                    <a:pt x="12408" y="119784"/>
                    <a:pt x="12733" y="0"/>
                  </a:cubicBezTo>
                  <a:lnTo>
                    <a:pt x="2" y="0"/>
                  </a:lnTo>
                  <a:cubicBezTo>
                    <a:pt x="-334" y="123177"/>
                    <a:pt x="48866" y="241318"/>
                    <a:pt x="136535" y="327847"/>
                  </a:cubicBezTo>
                  <a:cubicBezTo>
                    <a:pt x="224294" y="414835"/>
                    <a:pt x="342381" y="464379"/>
                    <a:pt x="465936" y="466053"/>
                  </a:cubicBezTo>
                  <a:cubicBezTo>
                    <a:pt x="468731" y="466098"/>
                    <a:pt x="471482" y="466123"/>
                    <a:pt x="474244" y="466123"/>
                  </a:cubicBezTo>
                  <a:cubicBezTo>
                    <a:pt x="664938" y="466110"/>
                    <a:pt x="780896" y="346741"/>
                    <a:pt x="865866" y="259244"/>
                  </a:cubicBezTo>
                  <a:lnTo>
                    <a:pt x="866910" y="258168"/>
                  </a:lnTo>
                  <a:cubicBezTo>
                    <a:pt x="970563" y="151434"/>
                    <a:pt x="1073299" y="103831"/>
                    <a:pt x="1200021" y="103831"/>
                  </a:cubicBezTo>
                  <a:lnTo>
                    <a:pt x="1218686" y="103831"/>
                  </a:lnTo>
                  <a:lnTo>
                    <a:pt x="1221474" y="295560"/>
                  </a:lnTo>
                  <a:lnTo>
                    <a:pt x="1093593" y="572221"/>
                  </a:lnTo>
                  <a:cubicBezTo>
                    <a:pt x="1084267" y="592400"/>
                    <a:pt x="1093065" y="616316"/>
                    <a:pt x="1113238" y="625642"/>
                  </a:cubicBezTo>
                  <a:cubicBezTo>
                    <a:pt x="1118528" y="628086"/>
                    <a:pt x="1124288" y="629353"/>
                    <a:pt x="1130119" y="629353"/>
                  </a:cubicBezTo>
                  <a:lnTo>
                    <a:pt x="1449538" y="629353"/>
                  </a:lnTo>
                  <a:cubicBezTo>
                    <a:pt x="1471761" y="629353"/>
                    <a:pt x="1489783" y="611344"/>
                    <a:pt x="1489789" y="589116"/>
                  </a:cubicBezTo>
                  <a:cubicBezTo>
                    <a:pt x="1489789" y="583017"/>
                    <a:pt x="1488401" y="576995"/>
                    <a:pt x="1485734" y="571508"/>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2" name="Freeform 31">
              <a:extLst>
                <a:ext uri="{FF2B5EF4-FFF2-40B4-BE49-F238E27FC236}">
                  <a16:creationId xmlns:a16="http://schemas.microsoft.com/office/drawing/2014/main" id="{86D277CB-DD48-43D2-B306-6E997210C95D}"/>
                </a:ext>
              </a:extLst>
            </p:cNvPr>
            <p:cNvSpPr/>
            <p:nvPr/>
          </p:nvSpPr>
          <p:spPr>
            <a:xfrm>
              <a:off x="6404001" y="2722441"/>
              <a:ext cx="57291" cy="19097"/>
            </a:xfrm>
            <a:custGeom>
              <a:avLst/>
              <a:gdLst>
                <a:gd name="connsiteX0" fmla="*/ 53682 w 57291"/>
                <a:gd name="connsiteY0" fmla="*/ 0 h 19097"/>
                <a:gd name="connsiteX1" fmla="*/ 7722 w 57291"/>
                <a:gd name="connsiteY1" fmla="*/ 388 h 19097"/>
                <a:gd name="connsiteX2" fmla="*/ 0 w 57291"/>
                <a:gd name="connsiteY2" fmla="*/ 10510 h 19097"/>
                <a:gd name="connsiteX3" fmla="*/ 27780 w 57291"/>
                <a:gd name="connsiteY3" fmla="*/ 19600 h 19097"/>
                <a:gd name="connsiteX4" fmla="*/ 60010 w 57291"/>
                <a:gd name="connsiteY4" fmla="*/ 11051 h 19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1" h="19097">
                  <a:moveTo>
                    <a:pt x="53682" y="0"/>
                  </a:moveTo>
                  <a:cubicBezTo>
                    <a:pt x="53421" y="153"/>
                    <a:pt x="26819" y="14940"/>
                    <a:pt x="7722" y="388"/>
                  </a:cubicBezTo>
                  <a:lnTo>
                    <a:pt x="0" y="10510"/>
                  </a:lnTo>
                  <a:cubicBezTo>
                    <a:pt x="7983" y="16557"/>
                    <a:pt x="17767" y="19759"/>
                    <a:pt x="27780" y="19600"/>
                  </a:cubicBezTo>
                  <a:cubicBezTo>
                    <a:pt x="39047" y="19339"/>
                    <a:pt x="50092" y="16404"/>
                    <a:pt x="60010" y="11051"/>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3" name="Freeform 32">
              <a:extLst>
                <a:ext uri="{FF2B5EF4-FFF2-40B4-BE49-F238E27FC236}">
                  <a16:creationId xmlns:a16="http://schemas.microsoft.com/office/drawing/2014/main" id="{1F3B0FF3-2176-4C34-94A0-5AB0110B51FB}"/>
                </a:ext>
              </a:extLst>
            </p:cNvPr>
            <p:cNvSpPr/>
            <p:nvPr/>
          </p:nvSpPr>
          <p:spPr>
            <a:xfrm>
              <a:off x="5910759" y="1331414"/>
              <a:ext cx="445600" cy="1521406"/>
            </a:xfrm>
            <a:custGeom>
              <a:avLst/>
              <a:gdLst>
                <a:gd name="connsiteX0" fmla="*/ 157520 w 445600"/>
                <a:gd name="connsiteY0" fmla="*/ 1298825 h 1521406"/>
                <a:gd name="connsiteX1" fmla="*/ 185243 w 445600"/>
                <a:gd name="connsiteY1" fmla="*/ 1436389 h 1521406"/>
                <a:gd name="connsiteX2" fmla="*/ 146469 w 445600"/>
                <a:gd name="connsiteY2" fmla="*/ 1514891 h 1521406"/>
                <a:gd name="connsiteX3" fmla="*/ 153217 w 445600"/>
                <a:gd name="connsiteY3" fmla="*/ 1525681 h 1521406"/>
                <a:gd name="connsiteX4" fmla="*/ 197891 w 445600"/>
                <a:gd name="connsiteY4" fmla="*/ 1437808 h 1521406"/>
                <a:gd name="connsiteX5" fmla="*/ 168730 w 445600"/>
                <a:gd name="connsiteY5" fmla="*/ 1292784 h 1521406"/>
                <a:gd name="connsiteX6" fmla="*/ 13107 w 445600"/>
                <a:gd name="connsiteY6" fmla="*/ 829608 h 1521406"/>
                <a:gd name="connsiteX7" fmla="*/ 301086 w 445600"/>
                <a:gd name="connsiteY7" fmla="*/ 350195 h 1521406"/>
                <a:gd name="connsiteX8" fmla="*/ 321902 w 445600"/>
                <a:gd name="connsiteY8" fmla="*/ 270437 h 1521406"/>
                <a:gd name="connsiteX9" fmla="*/ 349676 w 445600"/>
                <a:gd name="connsiteY9" fmla="*/ 109977 h 1521406"/>
                <a:gd name="connsiteX10" fmla="*/ 445747 w 445600"/>
                <a:gd name="connsiteY10" fmla="*/ 58057 h 1521406"/>
                <a:gd name="connsiteX11" fmla="*/ 444900 w 445600"/>
                <a:gd name="connsiteY11" fmla="*/ 45350 h 1521406"/>
                <a:gd name="connsiteX12" fmla="*/ 354895 w 445600"/>
                <a:gd name="connsiteY12" fmla="*/ 85739 h 1521406"/>
                <a:gd name="connsiteX13" fmla="*/ 312353 w 445600"/>
                <a:gd name="connsiteY13" fmla="*/ 3145 h 1521406"/>
                <a:gd name="connsiteX14" fmla="*/ 229758 w 445600"/>
                <a:gd name="connsiteY14" fmla="*/ 45684 h 1521406"/>
                <a:gd name="connsiteX15" fmla="*/ 272300 w 445600"/>
                <a:gd name="connsiteY15" fmla="*/ 128278 h 1521406"/>
                <a:gd name="connsiteX16" fmla="*/ 292276 w 445600"/>
                <a:gd name="connsiteY16" fmla="*/ 131405 h 1521406"/>
                <a:gd name="connsiteX17" fmla="*/ 326721 w 445600"/>
                <a:gd name="connsiteY17" fmla="*/ 121622 h 1521406"/>
                <a:gd name="connsiteX18" fmla="*/ 309291 w 445600"/>
                <a:gd name="connsiteY18" fmla="*/ 272166 h 1521406"/>
                <a:gd name="connsiteX19" fmla="*/ 294402 w 445600"/>
                <a:gd name="connsiteY19" fmla="*/ 339354 h 1521406"/>
                <a:gd name="connsiteX20" fmla="*/ 389 w 445600"/>
                <a:gd name="connsiteY20" fmla="*/ 830079 h 1521406"/>
                <a:gd name="connsiteX21" fmla="*/ 157520 w 445600"/>
                <a:gd name="connsiteY21" fmla="*/ 1298825 h 1521406"/>
                <a:gd name="connsiteX22" fmla="*/ 275165 w 445600"/>
                <a:gd name="connsiteY22" fmla="*/ 115814 h 1521406"/>
                <a:gd name="connsiteX23" fmla="*/ 242152 w 445600"/>
                <a:gd name="connsiteY23" fmla="*/ 48472 h 1521406"/>
                <a:gd name="connsiteX24" fmla="*/ 309495 w 445600"/>
                <a:gd name="connsiteY24" fmla="*/ 15457 h 1521406"/>
                <a:gd name="connsiteX25" fmla="*/ 342508 w 445600"/>
                <a:gd name="connsiteY25" fmla="*/ 82799 h 1521406"/>
                <a:gd name="connsiteX26" fmla="*/ 342508 w 445600"/>
                <a:gd name="connsiteY26" fmla="*/ 82805 h 1521406"/>
                <a:gd name="connsiteX27" fmla="*/ 275865 w 445600"/>
                <a:gd name="connsiteY27" fmla="*/ 116054 h 1521406"/>
                <a:gd name="connsiteX28" fmla="*/ 275165 w 445600"/>
                <a:gd name="connsiteY28" fmla="*/ 115814 h 1521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5600" h="1521406">
                  <a:moveTo>
                    <a:pt x="157520" y="1298825"/>
                  </a:moveTo>
                  <a:cubicBezTo>
                    <a:pt x="180602" y="1340769"/>
                    <a:pt x="190278" y="1388779"/>
                    <a:pt x="185243" y="1436389"/>
                  </a:cubicBezTo>
                  <a:cubicBezTo>
                    <a:pt x="180901" y="1475118"/>
                    <a:pt x="167858" y="1501529"/>
                    <a:pt x="146469" y="1514891"/>
                  </a:cubicBezTo>
                  <a:lnTo>
                    <a:pt x="153217" y="1525681"/>
                  </a:lnTo>
                  <a:cubicBezTo>
                    <a:pt x="178069" y="1510161"/>
                    <a:pt x="193098" y="1480592"/>
                    <a:pt x="197891" y="1437808"/>
                  </a:cubicBezTo>
                  <a:cubicBezTo>
                    <a:pt x="203226" y="1387621"/>
                    <a:pt x="193047" y="1337007"/>
                    <a:pt x="168730" y="1292784"/>
                  </a:cubicBezTo>
                  <a:cubicBezTo>
                    <a:pt x="95200" y="1156380"/>
                    <a:pt x="19212" y="994678"/>
                    <a:pt x="13107" y="829608"/>
                  </a:cubicBezTo>
                  <a:cubicBezTo>
                    <a:pt x="5869" y="633723"/>
                    <a:pt x="102762" y="472425"/>
                    <a:pt x="301086" y="350195"/>
                  </a:cubicBezTo>
                  <a:cubicBezTo>
                    <a:pt x="328083" y="333554"/>
                    <a:pt x="322660" y="277145"/>
                    <a:pt x="321902" y="270437"/>
                  </a:cubicBezTo>
                  <a:cubicBezTo>
                    <a:pt x="310577" y="201552"/>
                    <a:pt x="319922" y="147562"/>
                    <a:pt x="349676" y="109977"/>
                  </a:cubicBezTo>
                  <a:cubicBezTo>
                    <a:pt x="387176" y="62601"/>
                    <a:pt x="445168" y="58094"/>
                    <a:pt x="445747" y="58057"/>
                  </a:cubicBezTo>
                  <a:lnTo>
                    <a:pt x="444900" y="45350"/>
                  </a:lnTo>
                  <a:cubicBezTo>
                    <a:pt x="411391" y="49004"/>
                    <a:pt x="379894" y="63139"/>
                    <a:pt x="354895" y="85739"/>
                  </a:cubicBezTo>
                  <a:cubicBezTo>
                    <a:pt x="365953" y="51185"/>
                    <a:pt x="346913" y="14206"/>
                    <a:pt x="312353" y="3145"/>
                  </a:cubicBezTo>
                  <a:cubicBezTo>
                    <a:pt x="277800" y="-7916"/>
                    <a:pt x="240822" y="11129"/>
                    <a:pt x="229758" y="45684"/>
                  </a:cubicBezTo>
                  <a:cubicBezTo>
                    <a:pt x="218701" y="80238"/>
                    <a:pt x="237747" y="117217"/>
                    <a:pt x="272300" y="128278"/>
                  </a:cubicBezTo>
                  <a:cubicBezTo>
                    <a:pt x="278755" y="130345"/>
                    <a:pt x="285496" y="131399"/>
                    <a:pt x="292276" y="131405"/>
                  </a:cubicBezTo>
                  <a:cubicBezTo>
                    <a:pt x="304441" y="131382"/>
                    <a:pt x="316364" y="127996"/>
                    <a:pt x="326721" y="121622"/>
                  </a:cubicBezTo>
                  <a:cubicBezTo>
                    <a:pt x="305103" y="160293"/>
                    <a:pt x="299208" y="210835"/>
                    <a:pt x="309291" y="272166"/>
                  </a:cubicBezTo>
                  <a:cubicBezTo>
                    <a:pt x="310959" y="287278"/>
                    <a:pt x="311526" y="328805"/>
                    <a:pt x="294402" y="339354"/>
                  </a:cubicBezTo>
                  <a:cubicBezTo>
                    <a:pt x="91889" y="464175"/>
                    <a:pt x="-7034" y="629273"/>
                    <a:pt x="389" y="830079"/>
                  </a:cubicBezTo>
                  <a:cubicBezTo>
                    <a:pt x="6582" y="997765"/>
                    <a:pt x="83296" y="1161135"/>
                    <a:pt x="157520" y="1298825"/>
                  </a:cubicBezTo>
                  <a:close/>
                  <a:moveTo>
                    <a:pt x="275165" y="115814"/>
                  </a:moveTo>
                  <a:cubicBezTo>
                    <a:pt x="247455" y="106335"/>
                    <a:pt x="232674" y="76185"/>
                    <a:pt x="242152" y="48472"/>
                  </a:cubicBezTo>
                  <a:cubicBezTo>
                    <a:pt x="251631" y="20759"/>
                    <a:pt x="281779" y="5978"/>
                    <a:pt x="309495" y="15457"/>
                  </a:cubicBezTo>
                  <a:cubicBezTo>
                    <a:pt x="337205" y="24936"/>
                    <a:pt x="351986" y="55087"/>
                    <a:pt x="342508" y="82799"/>
                  </a:cubicBezTo>
                  <a:cubicBezTo>
                    <a:pt x="342508" y="82801"/>
                    <a:pt x="342508" y="82803"/>
                    <a:pt x="342508" y="82805"/>
                  </a:cubicBezTo>
                  <a:cubicBezTo>
                    <a:pt x="333284" y="110388"/>
                    <a:pt x="303448" y="125274"/>
                    <a:pt x="275865" y="116054"/>
                  </a:cubicBezTo>
                  <a:cubicBezTo>
                    <a:pt x="275630" y="115976"/>
                    <a:pt x="275400" y="115896"/>
                    <a:pt x="275165" y="115814"/>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4" name="Freeform 33">
              <a:extLst>
                <a:ext uri="{FF2B5EF4-FFF2-40B4-BE49-F238E27FC236}">
                  <a16:creationId xmlns:a16="http://schemas.microsoft.com/office/drawing/2014/main" id="{DC554948-3CBC-432E-B294-0DF3EE51C421}"/>
                </a:ext>
              </a:extLst>
            </p:cNvPr>
            <p:cNvSpPr/>
            <p:nvPr/>
          </p:nvSpPr>
          <p:spPr>
            <a:xfrm>
              <a:off x="6202813" y="1404720"/>
              <a:ext cx="693863" cy="668400"/>
            </a:xfrm>
            <a:custGeom>
              <a:avLst/>
              <a:gdLst>
                <a:gd name="connsiteX0" fmla="*/ 122056 w 693863"/>
                <a:gd name="connsiteY0" fmla="*/ 133177 h 668400"/>
                <a:gd name="connsiteX1" fmla="*/ 106027 w 693863"/>
                <a:gd name="connsiteY1" fmla="*/ 157458 h 668400"/>
                <a:gd name="connsiteX2" fmla="*/ 130567 w 693863"/>
                <a:gd name="connsiteY2" fmla="*/ 195870 h 668400"/>
                <a:gd name="connsiteX3" fmla="*/ 137982 w 693863"/>
                <a:gd name="connsiteY3" fmla="*/ 185526 h 668400"/>
                <a:gd name="connsiteX4" fmla="*/ 118752 w 693863"/>
                <a:gd name="connsiteY4" fmla="*/ 157818 h 668400"/>
                <a:gd name="connsiteX5" fmla="*/ 128873 w 693863"/>
                <a:gd name="connsiteY5" fmla="*/ 143931 h 668400"/>
                <a:gd name="connsiteX6" fmla="*/ 137467 w 693863"/>
                <a:gd name="connsiteY6" fmla="*/ 142607 h 668400"/>
                <a:gd name="connsiteX7" fmla="*/ 164750 w 693863"/>
                <a:gd name="connsiteY7" fmla="*/ 172745 h 668400"/>
                <a:gd name="connsiteX8" fmla="*/ 168436 w 693863"/>
                <a:gd name="connsiteY8" fmla="*/ 180161 h 668400"/>
                <a:gd name="connsiteX9" fmla="*/ 174649 w 693863"/>
                <a:gd name="connsiteY9" fmla="*/ 174696 h 668400"/>
                <a:gd name="connsiteX10" fmla="*/ 251719 w 693863"/>
                <a:gd name="connsiteY10" fmla="*/ 34651 h 668400"/>
                <a:gd name="connsiteX11" fmla="*/ 311646 w 693863"/>
                <a:gd name="connsiteY11" fmla="*/ 217261 h 668400"/>
                <a:gd name="connsiteX12" fmla="*/ 279181 w 693863"/>
                <a:gd name="connsiteY12" fmla="*/ 210162 h 668400"/>
                <a:gd name="connsiteX13" fmla="*/ 277360 w 693863"/>
                <a:gd name="connsiteY13" fmla="*/ 215564 h 668400"/>
                <a:gd name="connsiteX14" fmla="*/ 236492 w 693863"/>
                <a:gd name="connsiteY14" fmla="*/ 306269 h 668400"/>
                <a:gd name="connsiteX15" fmla="*/ 140249 w 693863"/>
                <a:gd name="connsiteY15" fmla="*/ 285549 h 668400"/>
                <a:gd name="connsiteX16" fmla="*/ 136506 w 693863"/>
                <a:gd name="connsiteY16" fmla="*/ 282689 h 668400"/>
                <a:gd name="connsiteX17" fmla="*/ 63090 w 693863"/>
                <a:gd name="connsiteY17" fmla="*/ 285450 h 668400"/>
                <a:gd name="connsiteX18" fmla="*/ 731 w 693863"/>
                <a:gd name="connsiteY18" fmla="*/ 402618 h 668400"/>
                <a:gd name="connsiteX19" fmla="*/ 84008 w 693863"/>
                <a:gd name="connsiteY19" fmla="*/ 471740 h 668400"/>
                <a:gd name="connsiteX20" fmla="*/ 100889 w 693863"/>
                <a:gd name="connsiteY20" fmla="*/ 475886 h 668400"/>
                <a:gd name="connsiteX21" fmla="*/ 191302 w 693863"/>
                <a:gd name="connsiteY21" fmla="*/ 567782 h 668400"/>
                <a:gd name="connsiteX22" fmla="*/ 189061 w 693863"/>
                <a:gd name="connsiteY22" fmla="*/ 588152 h 668400"/>
                <a:gd name="connsiteX23" fmla="*/ 187444 w 693863"/>
                <a:gd name="connsiteY23" fmla="*/ 603086 h 668400"/>
                <a:gd name="connsiteX24" fmla="*/ 204479 w 693863"/>
                <a:gd name="connsiteY24" fmla="*/ 656246 h 668400"/>
                <a:gd name="connsiteX25" fmla="*/ 270669 w 693863"/>
                <a:gd name="connsiteY25" fmla="*/ 674331 h 668400"/>
                <a:gd name="connsiteX26" fmla="*/ 296826 w 693863"/>
                <a:gd name="connsiteY26" fmla="*/ 673326 h 668400"/>
                <a:gd name="connsiteX27" fmla="*/ 693964 w 693863"/>
                <a:gd name="connsiteY27" fmla="*/ 666164 h 668400"/>
                <a:gd name="connsiteX28" fmla="*/ 693894 w 693863"/>
                <a:gd name="connsiteY28" fmla="*/ 662300 h 668400"/>
                <a:gd name="connsiteX29" fmla="*/ 693920 w 693863"/>
                <a:gd name="connsiteY29" fmla="*/ 662300 h 668400"/>
                <a:gd name="connsiteX30" fmla="*/ 693773 w 693863"/>
                <a:gd name="connsiteY30" fmla="*/ 655540 h 668400"/>
                <a:gd name="connsiteX31" fmla="*/ 693735 w 693863"/>
                <a:gd name="connsiteY31" fmla="*/ 653433 h 668400"/>
                <a:gd name="connsiteX32" fmla="*/ 693729 w 693863"/>
                <a:gd name="connsiteY32" fmla="*/ 653433 h 668400"/>
                <a:gd name="connsiteX33" fmla="*/ 693646 w 693863"/>
                <a:gd name="connsiteY33" fmla="*/ 649569 h 668400"/>
                <a:gd name="connsiteX34" fmla="*/ 589286 w 693863"/>
                <a:gd name="connsiteY34" fmla="*/ 651809 h 668400"/>
                <a:gd name="connsiteX35" fmla="*/ 588446 w 693863"/>
                <a:gd name="connsiteY35" fmla="*/ 605212 h 668400"/>
                <a:gd name="connsiteX36" fmla="*/ 637188 w 693863"/>
                <a:gd name="connsiteY36" fmla="*/ 604334 h 668400"/>
                <a:gd name="connsiteX37" fmla="*/ 636959 w 693863"/>
                <a:gd name="connsiteY37" fmla="*/ 591602 h 668400"/>
                <a:gd name="connsiteX38" fmla="*/ 534013 w 693863"/>
                <a:gd name="connsiteY38" fmla="*/ 593455 h 668400"/>
                <a:gd name="connsiteX39" fmla="*/ 534242 w 693863"/>
                <a:gd name="connsiteY39" fmla="*/ 606186 h 668400"/>
                <a:gd name="connsiteX40" fmla="*/ 575715 w 693863"/>
                <a:gd name="connsiteY40" fmla="*/ 605435 h 668400"/>
                <a:gd name="connsiteX41" fmla="*/ 576561 w 693863"/>
                <a:gd name="connsiteY41" fmla="*/ 652083 h 668400"/>
                <a:gd name="connsiteX42" fmla="*/ 472705 w 693863"/>
                <a:gd name="connsiteY42" fmla="*/ 654311 h 668400"/>
                <a:gd name="connsiteX43" fmla="*/ 363698 w 693863"/>
                <a:gd name="connsiteY43" fmla="*/ 549356 h 668400"/>
                <a:gd name="connsiteX44" fmla="*/ 398506 w 693863"/>
                <a:gd name="connsiteY44" fmla="*/ 468334 h 668400"/>
                <a:gd name="connsiteX45" fmla="*/ 413433 w 693863"/>
                <a:gd name="connsiteY45" fmla="*/ 472635 h 668400"/>
                <a:gd name="connsiteX46" fmla="*/ 413682 w 693863"/>
                <a:gd name="connsiteY46" fmla="*/ 472635 h 668400"/>
                <a:gd name="connsiteX47" fmla="*/ 441850 w 693863"/>
                <a:gd name="connsiteY47" fmla="*/ 443989 h 668400"/>
                <a:gd name="connsiteX48" fmla="*/ 441691 w 693863"/>
                <a:gd name="connsiteY48" fmla="*/ 442473 h 668400"/>
                <a:gd name="connsiteX49" fmla="*/ 475869 w 693863"/>
                <a:gd name="connsiteY49" fmla="*/ 476079 h 668400"/>
                <a:gd name="connsiteX50" fmla="*/ 487995 w 693863"/>
                <a:gd name="connsiteY50" fmla="*/ 481991 h 668400"/>
                <a:gd name="connsiteX51" fmla="*/ 489822 w 693863"/>
                <a:gd name="connsiteY51" fmla="*/ 482084 h 668400"/>
                <a:gd name="connsiteX52" fmla="*/ 500727 w 693863"/>
                <a:gd name="connsiteY52" fmla="*/ 477683 h 668400"/>
                <a:gd name="connsiteX53" fmla="*/ 502025 w 693863"/>
                <a:gd name="connsiteY53" fmla="*/ 476359 h 668400"/>
                <a:gd name="connsiteX54" fmla="*/ 507041 w 693863"/>
                <a:gd name="connsiteY54" fmla="*/ 481288 h 668400"/>
                <a:gd name="connsiteX55" fmla="*/ 517927 w 693863"/>
                <a:gd name="connsiteY55" fmla="*/ 485746 h 668400"/>
                <a:gd name="connsiteX56" fmla="*/ 518054 w 693863"/>
                <a:gd name="connsiteY56" fmla="*/ 485746 h 668400"/>
                <a:gd name="connsiteX57" fmla="*/ 528990 w 693863"/>
                <a:gd name="connsiteY57" fmla="*/ 481108 h 668400"/>
                <a:gd name="connsiteX58" fmla="*/ 540474 w 693863"/>
                <a:gd name="connsiteY58" fmla="*/ 469427 h 668400"/>
                <a:gd name="connsiteX59" fmla="*/ 540290 w 693863"/>
                <a:gd name="connsiteY59" fmla="*/ 447486 h 668400"/>
                <a:gd name="connsiteX60" fmla="*/ 540290 w 693863"/>
                <a:gd name="connsiteY60" fmla="*/ 447483 h 668400"/>
                <a:gd name="connsiteX61" fmla="*/ 535267 w 693863"/>
                <a:gd name="connsiteY61" fmla="*/ 442547 h 668400"/>
                <a:gd name="connsiteX62" fmla="*/ 539360 w 693863"/>
                <a:gd name="connsiteY62" fmla="*/ 429747 h 668400"/>
                <a:gd name="connsiteX63" fmla="*/ 533249 w 693863"/>
                <a:gd name="connsiteY63" fmla="*/ 417724 h 668400"/>
                <a:gd name="connsiteX64" fmla="*/ 449215 w 693863"/>
                <a:gd name="connsiteY64" fmla="*/ 335102 h 668400"/>
                <a:gd name="connsiteX65" fmla="*/ 437088 w 693863"/>
                <a:gd name="connsiteY65" fmla="*/ 329189 h 668400"/>
                <a:gd name="connsiteX66" fmla="*/ 424357 w 693863"/>
                <a:gd name="connsiteY66" fmla="*/ 333497 h 668400"/>
                <a:gd name="connsiteX67" fmla="*/ 389817 w 693863"/>
                <a:gd name="connsiteY67" fmla="*/ 368633 h 668400"/>
                <a:gd name="connsiteX68" fmla="*/ 385724 w 693863"/>
                <a:gd name="connsiteY68" fmla="*/ 381433 h 668400"/>
                <a:gd name="connsiteX69" fmla="*/ 391834 w 693863"/>
                <a:gd name="connsiteY69" fmla="*/ 393456 h 668400"/>
                <a:gd name="connsiteX70" fmla="*/ 414726 w 693863"/>
                <a:gd name="connsiteY70" fmla="*/ 415962 h 668400"/>
                <a:gd name="connsiteX71" fmla="*/ 385068 w 693863"/>
                <a:gd name="connsiteY71" fmla="*/ 442680 h 668400"/>
                <a:gd name="connsiteX72" fmla="*/ 389435 w 693863"/>
                <a:gd name="connsiteY72" fmla="*/ 459288 h 668400"/>
                <a:gd name="connsiteX73" fmla="*/ 382719 w 693863"/>
                <a:gd name="connsiteY73" fmla="*/ 628479 h 668400"/>
                <a:gd name="connsiteX74" fmla="*/ 425859 w 693863"/>
                <a:gd name="connsiteY74" fmla="*/ 658271 h 668400"/>
                <a:gd name="connsiteX75" fmla="*/ 296266 w 693863"/>
                <a:gd name="connsiteY75" fmla="*/ 660613 h 668400"/>
                <a:gd name="connsiteX76" fmla="*/ 213238 w 693863"/>
                <a:gd name="connsiteY76" fmla="*/ 647010 h 668400"/>
                <a:gd name="connsiteX77" fmla="*/ 200157 w 693863"/>
                <a:gd name="connsiteY77" fmla="*/ 603659 h 668400"/>
                <a:gd name="connsiteX78" fmla="*/ 201710 w 693863"/>
                <a:gd name="connsiteY78" fmla="*/ 589559 h 668400"/>
                <a:gd name="connsiteX79" fmla="*/ 204040 w 693863"/>
                <a:gd name="connsiteY79" fmla="*/ 567553 h 668400"/>
                <a:gd name="connsiteX80" fmla="*/ 103926 w 693863"/>
                <a:gd name="connsiteY80" fmla="*/ 463529 h 668400"/>
                <a:gd name="connsiteX81" fmla="*/ 86834 w 693863"/>
                <a:gd name="connsiteY81" fmla="*/ 459332 h 668400"/>
                <a:gd name="connsiteX82" fmla="*/ 13380 w 693863"/>
                <a:gd name="connsiteY82" fmla="*/ 401164 h 668400"/>
                <a:gd name="connsiteX83" fmla="*/ 69411 w 693863"/>
                <a:gd name="connsiteY83" fmla="*/ 296503 h 668400"/>
                <a:gd name="connsiteX84" fmla="*/ 128829 w 693863"/>
                <a:gd name="connsiteY84" fmla="*/ 292848 h 668400"/>
                <a:gd name="connsiteX85" fmla="*/ 132495 w 693863"/>
                <a:gd name="connsiteY85" fmla="*/ 295645 h 668400"/>
                <a:gd name="connsiteX86" fmla="*/ 245754 w 693863"/>
                <a:gd name="connsiteY86" fmla="*/ 314997 h 668400"/>
                <a:gd name="connsiteX87" fmla="*/ 287564 w 693863"/>
                <a:gd name="connsiteY87" fmla="*/ 225026 h 668400"/>
                <a:gd name="connsiteX88" fmla="*/ 322576 w 693863"/>
                <a:gd name="connsiteY88" fmla="*/ 232678 h 668400"/>
                <a:gd name="connsiteX89" fmla="*/ 323480 w 693863"/>
                <a:gd name="connsiteY89" fmla="*/ 225821 h 668400"/>
                <a:gd name="connsiteX90" fmla="*/ 250357 w 693863"/>
                <a:gd name="connsiteY90" fmla="*/ 12849 h 668400"/>
                <a:gd name="connsiteX91" fmla="*/ 238504 w 693863"/>
                <a:gd name="connsiteY91" fmla="*/ 0 h 668400"/>
                <a:gd name="connsiteX92" fmla="*/ 239325 w 693863"/>
                <a:gd name="connsiteY92" fmla="*/ 17462 h 668400"/>
                <a:gd name="connsiteX93" fmla="*/ 172007 w 693863"/>
                <a:gd name="connsiteY93" fmla="*/ 159628 h 668400"/>
                <a:gd name="connsiteX94" fmla="*/ 140905 w 693863"/>
                <a:gd name="connsiteY94" fmla="*/ 130348 h 668400"/>
                <a:gd name="connsiteX95" fmla="*/ 122056 w 693863"/>
                <a:gd name="connsiteY95" fmla="*/ 133177 h 668400"/>
                <a:gd name="connsiteX96" fmla="*/ 531390 w 693863"/>
                <a:gd name="connsiteY96" fmla="*/ 460501 h 668400"/>
                <a:gd name="connsiteX97" fmla="*/ 519913 w 693863"/>
                <a:gd name="connsiteY97" fmla="*/ 472182 h 668400"/>
                <a:gd name="connsiteX98" fmla="*/ 517933 w 693863"/>
                <a:gd name="connsiteY98" fmla="*/ 473015 h 668400"/>
                <a:gd name="connsiteX99" fmla="*/ 515973 w 693863"/>
                <a:gd name="connsiteY99" fmla="*/ 472213 h 668400"/>
                <a:gd name="connsiteX100" fmla="*/ 510956 w 693863"/>
                <a:gd name="connsiteY100" fmla="*/ 467281 h 668400"/>
                <a:gd name="connsiteX101" fmla="*/ 526342 w 693863"/>
                <a:gd name="connsiteY101" fmla="*/ 451625 h 668400"/>
                <a:gd name="connsiteX102" fmla="*/ 531365 w 693863"/>
                <a:gd name="connsiteY102" fmla="*/ 456559 h 668400"/>
                <a:gd name="connsiteX103" fmla="*/ 532192 w 693863"/>
                <a:gd name="connsiteY103" fmla="*/ 458524 h 668400"/>
                <a:gd name="connsiteX104" fmla="*/ 531390 w 693863"/>
                <a:gd name="connsiteY104" fmla="*/ 460501 h 668400"/>
                <a:gd name="connsiteX105" fmla="*/ 398359 w 693863"/>
                <a:gd name="connsiteY105" fmla="*/ 379885 h 668400"/>
                <a:gd name="connsiteX106" fmla="*/ 398888 w 693863"/>
                <a:gd name="connsiteY106" fmla="*/ 377560 h 668400"/>
                <a:gd name="connsiteX107" fmla="*/ 433435 w 693863"/>
                <a:gd name="connsiteY107" fmla="*/ 342424 h 668400"/>
                <a:gd name="connsiteX108" fmla="*/ 435236 w 693863"/>
                <a:gd name="connsiteY108" fmla="*/ 341828 h 668400"/>
                <a:gd name="connsiteX109" fmla="*/ 435752 w 693863"/>
                <a:gd name="connsiteY109" fmla="*/ 341852 h 668400"/>
                <a:gd name="connsiteX110" fmla="*/ 440284 w 693863"/>
                <a:gd name="connsiteY110" fmla="*/ 344177 h 668400"/>
                <a:gd name="connsiteX111" fmla="*/ 524324 w 693863"/>
                <a:gd name="connsiteY111" fmla="*/ 426801 h 668400"/>
                <a:gd name="connsiteX112" fmla="*/ 526724 w 693863"/>
                <a:gd name="connsiteY112" fmla="*/ 431295 h 668400"/>
                <a:gd name="connsiteX113" fmla="*/ 526196 w 693863"/>
                <a:gd name="connsiteY113" fmla="*/ 433621 h 668400"/>
                <a:gd name="connsiteX114" fmla="*/ 491649 w 693863"/>
                <a:gd name="connsiteY114" fmla="*/ 468757 h 668400"/>
                <a:gd name="connsiteX115" fmla="*/ 489338 w 693863"/>
                <a:gd name="connsiteY115" fmla="*/ 469328 h 668400"/>
                <a:gd name="connsiteX116" fmla="*/ 484799 w 693863"/>
                <a:gd name="connsiteY116" fmla="*/ 467004 h 668400"/>
                <a:gd name="connsiteX117" fmla="*/ 400759 w 693863"/>
                <a:gd name="connsiteY117" fmla="*/ 384380 h 668400"/>
                <a:gd name="connsiteX118" fmla="*/ 398359 w 693863"/>
                <a:gd name="connsiteY118" fmla="*/ 379885 h 668400"/>
                <a:gd name="connsiteX119" fmla="*/ 402261 w 693863"/>
                <a:gd name="connsiteY119" fmla="*/ 433235 h 668400"/>
                <a:gd name="connsiteX120" fmla="*/ 424427 w 693863"/>
                <a:gd name="connsiteY120" fmla="*/ 433051 h 668400"/>
                <a:gd name="connsiteX121" fmla="*/ 424612 w 693863"/>
                <a:gd name="connsiteY121" fmla="*/ 455220 h 668400"/>
                <a:gd name="connsiteX122" fmla="*/ 413574 w 693863"/>
                <a:gd name="connsiteY122" fmla="*/ 459904 h 668400"/>
                <a:gd name="connsiteX123" fmla="*/ 413433 w 693863"/>
                <a:gd name="connsiteY123" fmla="*/ 459904 h 668400"/>
                <a:gd name="connsiteX124" fmla="*/ 397761 w 693863"/>
                <a:gd name="connsiteY124" fmla="*/ 444225 h 668400"/>
                <a:gd name="connsiteX125" fmla="*/ 402261 w 693863"/>
                <a:gd name="connsiteY125" fmla="*/ 433235 h 6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693863" h="668400">
                  <a:moveTo>
                    <a:pt x="122056" y="133177"/>
                  </a:moveTo>
                  <a:cubicBezTo>
                    <a:pt x="112851" y="137934"/>
                    <a:pt x="106784" y="147128"/>
                    <a:pt x="106027" y="157458"/>
                  </a:cubicBezTo>
                  <a:cubicBezTo>
                    <a:pt x="105460" y="177283"/>
                    <a:pt x="127995" y="194030"/>
                    <a:pt x="130567" y="195870"/>
                  </a:cubicBezTo>
                  <a:lnTo>
                    <a:pt x="137982" y="185526"/>
                  </a:lnTo>
                  <a:cubicBezTo>
                    <a:pt x="132896" y="181876"/>
                    <a:pt x="118433" y="168953"/>
                    <a:pt x="118752" y="157818"/>
                  </a:cubicBezTo>
                  <a:cubicBezTo>
                    <a:pt x="119515" y="151759"/>
                    <a:pt x="123341" y="146517"/>
                    <a:pt x="128873" y="143931"/>
                  </a:cubicBezTo>
                  <a:cubicBezTo>
                    <a:pt x="131381" y="142202"/>
                    <a:pt x="134545" y="141714"/>
                    <a:pt x="137467" y="142607"/>
                  </a:cubicBezTo>
                  <a:cubicBezTo>
                    <a:pt x="149173" y="145870"/>
                    <a:pt x="161128" y="165471"/>
                    <a:pt x="164750" y="172745"/>
                  </a:cubicBezTo>
                  <a:lnTo>
                    <a:pt x="168436" y="180161"/>
                  </a:lnTo>
                  <a:lnTo>
                    <a:pt x="174649" y="174696"/>
                  </a:lnTo>
                  <a:cubicBezTo>
                    <a:pt x="177743" y="171979"/>
                    <a:pt x="245404" y="111617"/>
                    <a:pt x="251719" y="34651"/>
                  </a:cubicBezTo>
                  <a:cubicBezTo>
                    <a:pt x="273369" y="63172"/>
                    <a:pt x="319597" y="134761"/>
                    <a:pt x="311646" y="217261"/>
                  </a:cubicBezTo>
                  <a:lnTo>
                    <a:pt x="279181" y="210162"/>
                  </a:lnTo>
                  <a:lnTo>
                    <a:pt x="277360" y="215564"/>
                  </a:lnTo>
                  <a:cubicBezTo>
                    <a:pt x="270453" y="236059"/>
                    <a:pt x="249644" y="292307"/>
                    <a:pt x="236492" y="306269"/>
                  </a:cubicBezTo>
                  <a:cubicBezTo>
                    <a:pt x="210870" y="333435"/>
                    <a:pt x="173459" y="311043"/>
                    <a:pt x="140249" y="285549"/>
                  </a:cubicBezTo>
                  <a:lnTo>
                    <a:pt x="136506" y="282689"/>
                  </a:lnTo>
                  <a:cubicBezTo>
                    <a:pt x="118013" y="268721"/>
                    <a:pt x="90571" y="269740"/>
                    <a:pt x="63090" y="285450"/>
                  </a:cubicBezTo>
                  <a:cubicBezTo>
                    <a:pt x="27658" y="305703"/>
                    <a:pt x="-5367" y="349784"/>
                    <a:pt x="731" y="402618"/>
                  </a:cubicBezTo>
                  <a:cubicBezTo>
                    <a:pt x="6390" y="451673"/>
                    <a:pt x="66063" y="467967"/>
                    <a:pt x="84008" y="471740"/>
                  </a:cubicBezTo>
                  <a:lnTo>
                    <a:pt x="100889" y="475886"/>
                  </a:lnTo>
                  <a:cubicBezTo>
                    <a:pt x="160078" y="490421"/>
                    <a:pt x="188819" y="519626"/>
                    <a:pt x="191302" y="567782"/>
                  </a:cubicBezTo>
                  <a:cubicBezTo>
                    <a:pt x="191105" y="569857"/>
                    <a:pt x="190016" y="579552"/>
                    <a:pt x="189061" y="588152"/>
                  </a:cubicBezTo>
                  <a:cubicBezTo>
                    <a:pt x="187450" y="602539"/>
                    <a:pt x="187450" y="602596"/>
                    <a:pt x="187444" y="603086"/>
                  </a:cubicBezTo>
                  <a:cubicBezTo>
                    <a:pt x="187037" y="627957"/>
                    <a:pt x="192448" y="644845"/>
                    <a:pt x="204479" y="656246"/>
                  </a:cubicBezTo>
                  <a:cubicBezTo>
                    <a:pt x="217522" y="668608"/>
                    <a:pt x="237988" y="674331"/>
                    <a:pt x="270669" y="674331"/>
                  </a:cubicBezTo>
                  <a:cubicBezTo>
                    <a:pt x="278633" y="674331"/>
                    <a:pt x="287341" y="673988"/>
                    <a:pt x="296826" y="673326"/>
                  </a:cubicBezTo>
                  <a:lnTo>
                    <a:pt x="693964" y="666164"/>
                  </a:lnTo>
                  <a:lnTo>
                    <a:pt x="693894" y="662300"/>
                  </a:lnTo>
                  <a:lnTo>
                    <a:pt x="693920" y="662300"/>
                  </a:lnTo>
                  <a:lnTo>
                    <a:pt x="693773" y="655540"/>
                  </a:lnTo>
                  <a:lnTo>
                    <a:pt x="693735" y="653433"/>
                  </a:lnTo>
                  <a:lnTo>
                    <a:pt x="693729" y="653433"/>
                  </a:lnTo>
                  <a:lnTo>
                    <a:pt x="693646" y="649569"/>
                  </a:lnTo>
                  <a:lnTo>
                    <a:pt x="589286" y="651809"/>
                  </a:lnTo>
                  <a:lnTo>
                    <a:pt x="588446" y="605212"/>
                  </a:lnTo>
                  <a:lnTo>
                    <a:pt x="637188" y="604334"/>
                  </a:lnTo>
                  <a:lnTo>
                    <a:pt x="636959" y="591602"/>
                  </a:lnTo>
                  <a:lnTo>
                    <a:pt x="534013" y="593455"/>
                  </a:lnTo>
                  <a:lnTo>
                    <a:pt x="534242" y="606186"/>
                  </a:lnTo>
                  <a:lnTo>
                    <a:pt x="575715" y="605435"/>
                  </a:lnTo>
                  <a:lnTo>
                    <a:pt x="576561" y="652083"/>
                  </a:lnTo>
                  <a:lnTo>
                    <a:pt x="472705" y="654311"/>
                  </a:lnTo>
                  <a:cubicBezTo>
                    <a:pt x="413618" y="655431"/>
                    <a:pt x="364812" y="608440"/>
                    <a:pt x="363698" y="549356"/>
                  </a:cubicBezTo>
                  <a:cubicBezTo>
                    <a:pt x="363113" y="518600"/>
                    <a:pt x="375799" y="489082"/>
                    <a:pt x="398506" y="468334"/>
                  </a:cubicBezTo>
                  <a:cubicBezTo>
                    <a:pt x="402981" y="471139"/>
                    <a:pt x="408150" y="472629"/>
                    <a:pt x="413433" y="472635"/>
                  </a:cubicBezTo>
                  <a:lnTo>
                    <a:pt x="413682" y="472635"/>
                  </a:lnTo>
                  <a:cubicBezTo>
                    <a:pt x="429367" y="472500"/>
                    <a:pt x="441977" y="459677"/>
                    <a:pt x="441850" y="443989"/>
                  </a:cubicBezTo>
                  <a:cubicBezTo>
                    <a:pt x="441844" y="443474"/>
                    <a:pt x="441723" y="442984"/>
                    <a:pt x="441691" y="442473"/>
                  </a:cubicBezTo>
                  <a:lnTo>
                    <a:pt x="475869" y="476079"/>
                  </a:lnTo>
                  <a:cubicBezTo>
                    <a:pt x="479134" y="479355"/>
                    <a:pt x="483405" y="481438"/>
                    <a:pt x="487995" y="481991"/>
                  </a:cubicBezTo>
                  <a:cubicBezTo>
                    <a:pt x="488600" y="482053"/>
                    <a:pt x="489211" y="482084"/>
                    <a:pt x="489822" y="482084"/>
                  </a:cubicBezTo>
                  <a:cubicBezTo>
                    <a:pt x="493903" y="482145"/>
                    <a:pt x="497830" y="480559"/>
                    <a:pt x="500727" y="477683"/>
                  </a:cubicBezTo>
                  <a:lnTo>
                    <a:pt x="502025" y="476359"/>
                  </a:lnTo>
                  <a:lnTo>
                    <a:pt x="507041" y="481288"/>
                  </a:lnTo>
                  <a:cubicBezTo>
                    <a:pt x="509938" y="484154"/>
                    <a:pt x="513853" y="485756"/>
                    <a:pt x="517927" y="485746"/>
                  </a:cubicBezTo>
                  <a:lnTo>
                    <a:pt x="518054" y="485746"/>
                  </a:lnTo>
                  <a:cubicBezTo>
                    <a:pt x="522173" y="485721"/>
                    <a:pt x="526113" y="484052"/>
                    <a:pt x="528990" y="481108"/>
                  </a:cubicBezTo>
                  <a:lnTo>
                    <a:pt x="540474" y="469427"/>
                  </a:lnTo>
                  <a:cubicBezTo>
                    <a:pt x="546483" y="463319"/>
                    <a:pt x="546400" y="453496"/>
                    <a:pt x="540290" y="447486"/>
                  </a:cubicBezTo>
                  <a:cubicBezTo>
                    <a:pt x="540290" y="447485"/>
                    <a:pt x="540290" y="447484"/>
                    <a:pt x="540290" y="447483"/>
                  </a:cubicBezTo>
                  <a:lnTo>
                    <a:pt x="535267" y="442547"/>
                  </a:lnTo>
                  <a:cubicBezTo>
                    <a:pt x="538520" y="439131"/>
                    <a:pt x="540029" y="434415"/>
                    <a:pt x="539360" y="429747"/>
                  </a:cubicBezTo>
                  <a:cubicBezTo>
                    <a:pt x="538736" y="425166"/>
                    <a:pt x="536585" y="420931"/>
                    <a:pt x="533249" y="417724"/>
                  </a:cubicBezTo>
                  <a:lnTo>
                    <a:pt x="449215" y="335102"/>
                  </a:lnTo>
                  <a:cubicBezTo>
                    <a:pt x="445950" y="331825"/>
                    <a:pt x="441678" y="329743"/>
                    <a:pt x="437088" y="329189"/>
                  </a:cubicBezTo>
                  <a:cubicBezTo>
                    <a:pt x="432410" y="328600"/>
                    <a:pt x="427718" y="330188"/>
                    <a:pt x="424357" y="333497"/>
                  </a:cubicBezTo>
                  <a:lnTo>
                    <a:pt x="389817" y="368633"/>
                  </a:lnTo>
                  <a:cubicBezTo>
                    <a:pt x="386564" y="372048"/>
                    <a:pt x="385055" y="376765"/>
                    <a:pt x="385724" y="381433"/>
                  </a:cubicBezTo>
                  <a:cubicBezTo>
                    <a:pt x="386347" y="386014"/>
                    <a:pt x="388499" y="390250"/>
                    <a:pt x="391834" y="393456"/>
                  </a:cubicBezTo>
                  <a:lnTo>
                    <a:pt x="414726" y="415962"/>
                  </a:lnTo>
                  <a:cubicBezTo>
                    <a:pt x="399155" y="415151"/>
                    <a:pt x="385883" y="427114"/>
                    <a:pt x="385068" y="442680"/>
                  </a:cubicBezTo>
                  <a:cubicBezTo>
                    <a:pt x="384762" y="448535"/>
                    <a:pt x="386290" y="454340"/>
                    <a:pt x="389435" y="459288"/>
                  </a:cubicBezTo>
                  <a:cubicBezTo>
                    <a:pt x="340858" y="504155"/>
                    <a:pt x="337853" y="579902"/>
                    <a:pt x="382719" y="628479"/>
                  </a:cubicBezTo>
                  <a:cubicBezTo>
                    <a:pt x="394725" y="641478"/>
                    <a:pt x="409455" y="651650"/>
                    <a:pt x="425859" y="658271"/>
                  </a:cubicBezTo>
                  <a:lnTo>
                    <a:pt x="296266" y="660613"/>
                  </a:lnTo>
                  <a:cubicBezTo>
                    <a:pt x="252044" y="663713"/>
                    <a:pt x="226440" y="659518"/>
                    <a:pt x="213238" y="647010"/>
                  </a:cubicBezTo>
                  <a:cubicBezTo>
                    <a:pt x="203982" y="638231"/>
                    <a:pt x="199826" y="624341"/>
                    <a:pt x="200157" y="603659"/>
                  </a:cubicBezTo>
                  <a:cubicBezTo>
                    <a:pt x="200227" y="602844"/>
                    <a:pt x="200927" y="596574"/>
                    <a:pt x="201710" y="589559"/>
                  </a:cubicBezTo>
                  <a:cubicBezTo>
                    <a:pt x="204078" y="568393"/>
                    <a:pt x="204071" y="568329"/>
                    <a:pt x="204040" y="567553"/>
                  </a:cubicBezTo>
                  <a:cubicBezTo>
                    <a:pt x="201410" y="513454"/>
                    <a:pt x="168665" y="479418"/>
                    <a:pt x="103926" y="463529"/>
                  </a:cubicBezTo>
                  <a:lnTo>
                    <a:pt x="86834" y="459332"/>
                  </a:lnTo>
                  <a:cubicBezTo>
                    <a:pt x="70786" y="455951"/>
                    <a:pt x="18065" y="441758"/>
                    <a:pt x="13380" y="401164"/>
                  </a:cubicBezTo>
                  <a:cubicBezTo>
                    <a:pt x="7944" y="354093"/>
                    <a:pt x="37608" y="314680"/>
                    <a:pt x="69411" y="296503"/>
                  </a:cubicBezTo>
                  <a:cubicBezTo>
                    <a:pt x="92315" y="283405"/>
                    <a:pt x="114531" y="282043"/>
                    <a:pt x="128829" y="292848"/>
                  </a:cubicBezTo>
                  <a:lnTo>
                    <a:pt x="132495" y="295645"/>
                  </a:lnTo>
                  <a:cubicBezTo>
                    <a:pt x="155329" y="313170"/>
                    <a:pt x="208795" y="354230"/>
                    <a:pt x="245754" y="314997"/>
                  </a:cubicBezTo>
                  <a:cubicBezTo>
                    <a:pt x="260936" y="298890"/>
                    <a:pt x="281326" y="242860"/>
                    <a:pt x="287564" y="225026"/>
                  </a:cubicBezTo>
                  <a:lnTo>
                    <a:pt x="322576" y="232678"/>
                  </a:lnTo>
                  <a:lnTo>
                    <a:pt x="323480" y="225821"/>
                  </a:lnTo>
                  <a:cubicBezTo>
                    <a:pt x="338802" y="110219"/>
                    <a:pt x="253979" y="16765"/>
                    <a:pt x="250357" y="12849"/>
                  </a:cubicBezTo>
                  <a:lnTo>
                    <a:pt x="238504" y="0"/>
                  </a:lnTo>
                  <a:lnTo>
                    <a:pt x="239325" y="17462"/>
                  </a:lnTo>
                  <a:cubicBezTo>
                    <a:pt x="242425" y="83581"/>
                    <a:pt x="189793" y="141892"/>
                    <a:pt x="172007" y="159628"/>
                  </a:cubicBezTo>
                  <a:cubicBezTo>
                    <a:pt x="166144" y="149961"/>
                    <a:pt x="154769" y="134227"/>
                    <a:pt x="140905" y="130348"/>
                  </a:cubicBezTo>
                  <a:cubicBezTo>
                    <a:pt x="134507" y="128502"/>
                    <a:pt x="127626" y="129535"/>
                    <a:pt x="122056" y="133177"/>
                  </a:cubicBezTo>
                  <a:close/>
                  <a:moveTo>
                    <a:pt x="531390" y="460501"/>
                  </a:moveTo>
                  <a:lnTo>
                    <a:pt x="519913" y="472182"/>
                  </a:lnTo>
                  <a:cubicBezTo>
                    <a:pt x="519410" y="472740"/>
                    <a:pt x="518684" y="473045"/>
                    <a:pt x="517933" y="473015"/>
                  </a:cubicBezTo>
                  <a:cubicBezTo>
                    <a:pt x="517201" y="473015"/>
                    <a:pt x="516494" y="472727"/>
                    <a:pt x="515973" y="472213"/>
                  </a:cubicBezTo>
                  <a:lnTo>
                    <a:pt x="510956" y="467281"/>
                  </a:lnTo>
                  <a:lnTo>
                    <a:pt x="526342" y="451625"/>
                  </a:lnTo>
                  <a:lnTo>
                    <a:pt x="531365" y="456559"/>
                  </a:lnTo>
                  <a:cubicBezTo>
                    <a:pt x="531893" y="457078"/>
                    <a:pt x="532192" y="457784"/>
                    <a:pt x="532192" y="458524"/>
                  </a:cubicBezTo>
                  <a:cubicBezTo>
                    <a:pt x="532205" y="459264"/>
                    <a:pt x="531919" y="459977"/>
                    <a:pt x="531390" y="460501"/>
                  </a:cubicBezTo>
                  <a:close/>
                  <a:moveTo>
                    <a:pt x="398359" y="379885"/>
                  </a:moveTo>
                  <a:cubicBezTo>
                    <a:pt x="398200" y="379070"/>
                    <a:pt x="398391" y="378225"/>
                    <a:pt x="398888" y="377560"/>
                  </a:cubicBezTo>
                  <a:lnTo>
                    <a:pt x="433435" y="342424"/>
                  </a:lnTo>
                  <a:cubicBezTo>
                    <a:pt x="433931" y="341998"/>
                    <a:pt x="434580" y="341784"/>
                    <a:pt x="435236" y="341828"/>
                  </a:cubicBezTo>
                  <a:cubicBezTo>
                    <a:pt x="435427" y="341828"/>
                    <a:pt x="435605" y="341840"/>
                    <a:pt x="435752" y="341852"/>
                  </a:cubicBezTo>
                  <a:cubicBezTo>
                    <a:pt x="437477" y="342106"/>
                    <a:pt x="439068" y="342924"/>
                    <a:pt x="440284" y="344177"/>
                  </a:cubicBezTo>
                  <a:lnTo>
                    <a:pt x="524324" y="426801"/>
                  </a:lnTo>
                  <a:cubicBezTo>
                    <a:pt x="525597" y="427994"/>
                    <a:pt x="526444" y="429574"/>
                    <a:pt x="526724" y="431295"/>
                  </a:cubicBezTo>
                  <a:cubicBezTo>
                    <a:pt x="526883" y="432111"/>
                    <a:pt x="526692" y="432956"/>
                    <a:pt x="526196" y="433621"/>
                  </a:cubicBezTo>
                  <a:lnTo>
                    <a:pt x="491649" y="468757"/>
                  </a:lnTo>
                  <a:cubicBezTo>
                    <a:pt x="490993" y="469259"/>
                    <a:pt x="490153" y="469466"/>
                    <a:pt x="489338" y="469328"/>
                  </a:cubicBezTo>
                  <a:cubicBezTo>
                    <a:pt x="487607" y="469074"/>
                    <a:pt x="486016" y="468257"/>
                    <a:pt x="484799" y="467004"/>
                  </a:cubicBezTo>
                  <a:lnTo>
                    <a:pt x="400759" y="384380"/>
                  </a:lnTo>
                  <a:cubicBezTo>
                    <a:pt x="399486" y="383187"/>
                    <a:pt x="398640" y="381607"/>
                    <a:pt x="398359" y="379885"/>
                  </a:cubicBezTo>
                  <a:close/>
                  <a:moveTo>
                    <a:pt x="402261" y="433235"/>
                  </a:moveTo>
                  <a:cubicBezTo>
                    <a:pt x="408335" y="427063"/>
                    <a:pt x="418259" y="426980"/>
                    <a:pt x="424427" y="433051"/>
                  </a:cubicBezTo>
                  <a:cubicBezTo>
                    <a:pt x="430602" y="439122"/>
                    <a:pt x="430685" y="449047"/>
                    <a:pt x="424612" y="455220"/>
                  </a:cubicBezTo>
                  <a:cubicBezTo>
                    <a:pt x="421702" y="458184"/>
                    <a:pt x="417731" y="459868"/>
                    <a:pt x="413574" y="459904"/>
                  </a:cubicBezTo>
                  <a:lnTo>
                    <a:pt x="413433" y="459904"/>
                  </a:lnTo>
                  <a:cubicBezTo>
                    <a:pt x="404776" y="459903"/>
                    <a:pt x="397761" y="452883"/>
                    <a:pt x="397761" y="444225"/>
                  </a:cubicBezTo>
                  <a:cubicBezTo>
                    <a:pt x="397761" y="440114"/>
                    <a:pt x="399378" y="436167"/>
                    <a:pt x="402261" y="433235"/>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5" name="Freeform 34">
              <a:extLst>
                <a:ext uri="{FF2B5EF4-FFF2-40B4-BE49-F238E27FC236}">
                  <a16:creationId xmlns:a16="http://schemas.microsoft.com/office/drawing/2014/main" id="{92A82861-F9F1-4204-90E6-740E4F59EA04}"/>
                </a:ext>
              </a:extLst>
            </p:cNvPr>
            <p:cNvSpPr/>
            <p:nvPr/>
          </p:nvSpPr>
          <p:spPr>
            <a:xfrm>
              <a:off x="8334418" y="4562738"/>
              <a:ext cx="324652" cy="305554"/>
            </a:xfrm>
            <a:custGeom>
              <a:avLst/>
              <a:gdLst>
                <a:gd name="connsiteX0" fmla="*/ 51569 w 324651"/>
                <a:gd name="connsiteY0" fmla="*/ 65229 h 305554"/>
                <a:gd name="connsiteX1" fmla="*/ 10796 w 324651"/>
                <a:gd name="connsiteY1" fmla="*/ 0 h 305554"/>
                <a:gd name="connsiteX2" fmla="*/ 0 w 324651"/>
                <a:gd name="connsiteY2" fmla="*/ 6748 h 305554"/>
                <a:gd name="connsiteX3" fmla="*/ 41676 w 324651"/>
                <a:gd name="connsiteY3" fmla="*/ 73422 h 305554"/>
                <a:gd name="connsiteX4" fmla="*/ 41676 w 324651"/>
                <a:gd name="connsiteY4" fmla="*/ 308222 h 305554"/>
                <a:gd name="connsiteX5" fmla="*/ 284662 w 324651"/>
                <a:gd name="connsiteY5" fmla="*/ 308222 h 305554"/>
                <a:gd name="connsiteX6" fmla="*/ 284662 w 324651"/>
                <a:gd name="connsiteY6" fmla="*/ 69711 h 305554"/>
                <a:gd name="connsiteX7" fmla="*/ 328013 w 324651"/>
                <a:gd name="connsiteY7" fmla="*/ 8288 h 305554"/>
                <a:gd name="connsiteX8" fmla="*/ 317611 w 324651"/>
                <a:gd name="connsiteY8" fmla="*/ 948 h 305554"/>
                <a:gd name="connsiteX9" fmla="*/ 272249 w 324651"/>
                <a:gd name="connsiteY9" fmla="*/ 65229 h 305554"/>
                <a:gd name="connsiteX10" fmla="*/ 271931 w 324651"/>
                <a:gd name="connsiteY10" fmla="*/ 295490 h 305554"/>
                <a:gd name="connsiteX11" fmla="*/ 54408 w 324651"/>
                <a:gd name="connsiteY11" fmla="*/ 295490 h 305554"/>
                <a:gd name="connsiteX12" fmla="*/ 54408 w 324651"/>
                <a:gd name="connsiteY12" fmla="*/ 77961 h 305554"/>
                <a:gd name="connsiteX13" fmla="*/ 271931 w 324651"/>
                <a:gd name="connsiteY13" fmla="*/ 77961 h 30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651" h="305554">
                  <a:moveTo>
                    <a:pt x="51569" y="65229"/>
                  </a:moveTo>
                  <a:lnTo>
                    <a:pt x="10796" y="0"/>
                  </a:lnTo>
                  <a:lnTo>
                    <a:pt x="0" y="6748"/>
                  </a:lnTo>
                  <a:lnTo>
                    <a:pt x="41676" y="73422"/>
                  </a:lnTo>
                  <a:lnTo>
                    <a:pt x="41676" y="308222"/>
                  </a:lnTo>
                  <a:lnTo>
                    <a:pt x="284662" y="308222"/>
                  </a:lnTo>
                  <a:lnTo>
                    <a:pt x="284662" y="69711"/>
                  </a:lnTo>
                  <a:lnTo>
                    <a:pt x="328013" y="8288"/>
                  </a:lnTo>
                  <a:lnTo>
                    <a:pt x="317611" y="948"/>
                  </a:lnTo>
                  <a:lnTo>
                    <a:pt x="272249" y="65229"/>
                  </a:lnTo>
                  <a:close/>
                  <a:moveTo>
                    <a:pt x="271931" y="295490"/>
                  </a:moveTo>
                  <a:lnTo>
                    <a:pt x="54408" y="295490"/>
                  </a:lnTo>
                  <a:lnTo>
                    <a:pt x="54408" y="77961"/>
                  </a:lnTo>
                  <a:lnTo>
                    <a:pt x="271931" y="7796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6" name="Freeform 35">
              <a:extLst>
                <a:ext uri="{FF2B5EF4-FFF2-40B4-BE49-F238E27FC236}">
                  <a16:creationId xmlns:a16="http://schemas.microsoft.com/office/drawing/2014/main" id="{A3B37248-6ED7-491B-8769-3D2C4097C405}"/>
                </a:ext>
              </a:extLst>
            </p:cNvPr>
            <p:cNvSpPr/>
            <p:nvPr/>
          </p:nvSpPr>
          <p:spPr>
            <a:xfrm>
              <a:off x="8871066" y="4627967"/>
              <a:ext cx="241897" cy="241897"/>
            </a:xfrm>
            <a:custGeom>
              <a:avLst/>
              <a:gdLst>
                <a:gd name="connsiteX0" fmla="*/ 242986 w 241897"/>
                <a:gd name="connsiteY0" fmla="*/ 0 h 241897"/>
                <a:gd name="connsiteX1" fmla="*/ 0 w 241897"/>
                <a:gd name="connsiteY1" fmla="*/ 0 h 241897"/>
                <a:gd name="connsiteX2" fmla="*/ 0 w 241897"/>
                <a:gd name="connsiteY2" fmla="*/ 242992 h 241897"/>
                <a:gd name="connsiteX3" fmla="*/ 242986 w 241897"/>
                <a:gd name="connsiteY3" fmla="*/ 242992 h 241897"/>
                <a:gd name="connsiteX4" fmla="*/ 140708 w 241897"/>
                <a:gd name="connsiteY4" fmla="*/ 12731 h 241897"/>
                <a:gd name="connsiteX5" fmla="*/ 140708 w 241897"/>
                <a:gd name="connsiteY5" fmla="*/ 85282 h 241897"/>
                <a:gd name="connsiteX6" fmla="*/ 102271 w 241897"/>
                <a:gd name="connsiteY6" fmla="*/ 85282 h 241897"/>
                <a:gd name="connsiteX7" fmla="*/ 102271 w 241897"/>
                <a:gd name="connsiteY7" fmla="*/ 12731 h 241897"/>
                <a:gd name="connsiteX8" fmla="*/ 230254 w 241897"/>
                <a:gd name="connsiteY8" fmla="*/ 230261 h 241897"/>
                <a:gd name="connsiteX9" fmla="*/ 12731 w 241897"/>
                <a:gd name="connsiteY9" fmla="*/ 230261 h 241897"/>
                <a:gd name="connsiteX10" fmla="*/ 12731 w 241897"/>
                <a:gd name="connsiteY10" fmla="*/ 12731 h 241897"/>
                <a:gd name="connsiteX11" fmla="*/ 89540 w 241897"/>
                <a:gd name="connsiteY11" fmla="*/ 12731 h 241897"/>
                <a:gd name="connsiteX12" fmla="*/ 89540 w 241897"/>
                <a:gd name="connsiteY12" fmla="*/ 98013 h 241897"/>
                <a:gd name="connsiteX13" fmla="*/ 153439 w 241897"/>
                <a:gd name="connsiteY13" fmla="*/ 98013 h 241897"/>
                <a:gd name="connsiteX14" fmla="*/ 153439 w 241897"/>
                <a:gd name="connsiteY14" fmla="*/ 12731 h 241897"/>
                <a:gd name="connsiteX15" fmla="*/ 230254 w 241897"/>
                <a:gd name="connsiteY15" fmla="*/ 12731 h 241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1897" h="241897">
                  <a:moveTo>
                    <a:pt x="242986" y="0"/>
                  </a:moveTo>
                  <a:lnTo>
                    <a:pt x="0" y="0"/>
                  </a:lnTo>
                  <a:lnTo>
                    <a:pt x="0" y="242992"/>
                  </a:lnTo>
                  <a:lnTo>
                    <a:pt x="242986" y="242992"/>
                  </a:lnTo>
                  <a:close/>
                  <a:moveTo>
                    <a:pt x="140708" y="12731"/>
                  </a:moveTo>
                  <a:lnTo>
                    <a:pt x="140708" y="85282"/>
                  </a:lnTo>
                  <a:lnTo>
                    <a:pt x="102271" y="85282"/>
                  </a:lnTo>
                  <a:lnTo>
                    <a:pt x="102271" y="12731"/>
                  </a:lnTo>
                  <a:close/>
                  <a:moveTo>
                    <a:pt x="230254" y="230261"/>
                  </a:moveTo>
                  <a:lnTo>
                    <a:pt x="12731" y="230261"/>
                  </a:lnTo>
                  <a:lnTo>
                    <a:pt x="12731" y="12731"/>
                  </a:lnTo>
                  <a:lnTo>
                    <a:pt x="89540" y="12731"/>
                  </a:lnTo>
                  <a:lnTo>
                    <a:pt x="89540" y="98013"/>
                  </a:lnTo>
                  <a:lnTo>
                    <a:pt x="153439" y="98013"/>
                  </a:lnTo>
                  <a:lnTo>
                    <a:pt x="153439" y="12731"/>
                  </a:lnTo>
                  <a:lnTo>
                    <a:pt x="230254"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7" name="Freeform 36">
              <a:extLst>
                <a:ext uri="{FF2B5EF4-FFF2-40B4-BE49-F238E27FC236}">
                  <a16:creationId xmlns:a16="http://schemas.microsoft.com/office/drawing/2014/main" id="{0D5B77BA-22CC-4580-8BAC-D1EB7347B118}"/>
                </a:ext>
              </a:extLst>
            </p:cNvPr>
            <p:cNvSpPr/>
            <p:nvPr/>
          </p:nvSpPr>
          <p:spPr>
            <a:xfrm>
              <a:off x="9365097" y="4627967"/>
              <a:ext cx="241897" cy="241897"/>
            </a:xfrm>
            <a:custGeom>
              <a:avLst/>
              <a:gdLst>
                <a:gd name="connsiteX0" fmla="*/ 243005 w 241897"/>
                <a:gd name="connsiteY0" fmla="*/ 0 h 241897"/>
                <a:gd name="connsiteX1" fmla="*/ 0 w 241897"/>
                <a:gd name="connsiteY1" fmla="*/ 0 h 241897"/>
                <a:gd name="connsiteX2" fmla="*/ 0 w 241897"/>
                <a:gd name="connsiteY2" fmla="*/ 242992 h 241897"/>
                <a:gd name="connsiteX3" fmla="*/ 243005 w 241897"/>
                <a:gd name="connsiteY3" fmla="*/ 242992 h 241897"/>
                <a:gd name="connsiteX4" fmla="*/ 140708 w 241897"/>
                <a:gd name="connsiteY4" fmla="*/ 12731 h 241897"/>
                <a:gd name="connsiteX5" fmla="*/ 140708 w 241897"/>
                <a:gd name="connsiteY5" fmla="*/ 85282 h 241897"/>
                <a:gd name="connsiteX6" fmla="*/ 102259 w 241897"/>
                <a:gd name="connsiteY6" fmla="*/ 85282 h 241897"/>
                <a:gd name="connsiteX7" fmla="*/ 102259 w 241897"/>
                <a:gd name="connsiteY7" fmla="*/ 12731 h 241897"/>
                <a:gd name="connsiteX8" fmla="*/ 230274 w 241897"/>
                <a:gd name="connsiteY8" fmla="*/ 230261 h 241897"/>
                <a:gd name="connsiteX9" fmla="*/ 12731 w 241897"/>
                <a:gd name="connsiteY9" fmla="*/ 230261 h 241897"/>
                <a:gd name="connsiteX10" fmla="*/ 12731 w 241897"/>
                <a:gd name="connsiteY10" fmla="*/ 12731 h 241897"/>
                <a:gd name="connsiteX11" fmla="*/ 89527 w 241897"/>
                <a:gd name="connsiteY11" fmla="*/ 12731 h 241897"/>
                <a:gd name="connsiteX12" fmla="*/ 89527 w 241897"/>
                <a:gd name="connsiteY12" fmla="*/ 98013 h 241897"/>
                <a:gd name="connsiteX13" fmla="*/ 153439 w 241897"/>
                <a:gd name="connsiteY13" fmla="*/ 98013 h 241897"/>
                <a:gd name="connsiteX14" fmla="*/ 153439 w 241897"/>
                <a:gd name="connsiteY14" fmla="*/ 12731 h 241897"/>
                <a:gd name="connsiteX15" fmla="*/ 230274 w 241897"/>
                <a:gd name="connsiteY15" fmla="*/ 12731 h 241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1897" h="241897">
                  <a:moveTo>
                    <a:pt x="243005" y="0"/>
                  </a:moveTo>
                  <a:lnTo>
                    <a:pt x="0" y="0"/>
                  </a:lnTo>
                  <a:lnTo>
                    <a:pt x="0" y="242992"/>
                  </a:lnTo>
                  <a:lnTo>
                    <a:pt x="243005" y="242992"/>
                  </a:lnTo>
                  <a:close/>
                  <a:moveTo>
                    <a:pt x="140708" y="12731"/>
                  </a:moveTo>
                  <a:lnTo>
                    <a:pt x="140708" y="85282"/>
                  </a:lnTo>
                  <a:lnTo>
                    <a:pt x="102259" y="85282"/>
                  </a:lnTo>
                  <a:lnTo>
                    <a:pt x="102259" y="12731"/>
                  </a:lnTo>
                  <a:close/>
                  <a:moveTo>
                    <a:pt x="230274" y="230261"/>
                  </a:moveTo>
                  <a:lnTo>
                    <a:pt x="12731" y="230261"/>
                  </a:lnTo>
                  <a:lnTo>
                    <a:pt x="12731" y="12731"/>
                  </a:lnTo>
                  <a:lnTo>
                    <a:pt x="89527" y="12731"/>
                  </a:lnTo>
                  <a:lnTo>
                    <a:pt x="89527" y="98013"/>
                  </a:lnTo>
                  <a:lnTo>
                    <a:pt x="153439" y="98013"/>
                  </a:lnTo>
                  <a:lnTo>
                    <a:pt x="153439" y="12731"/>
                  </a:lnTo>
                  <a:lnTo>
                    <a:pt x="230274"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8" name="Freeform 37">
              <a:extLst>
                <a:ext uri="{FF2B5EF4-FFF2-40B4-BE49-F238E27FC236}">
                  <a16:creationId xmlns:a16="http://schemas.microsoft.com/office/drawing/2014/main" id="{817BB448-60BE-4A1F-969C-EEAF9962B7DA}"/>
                </a:ext>
              </a:extLst>
            </p:cNvPr>
            <p:cNvSpPr/>
            <p:nvPr/>
          </p:nvSpPr>
          <p:spPr>
            <a:xfrm>
              <a:off x="5568507" y="4482307"/>
              <a:ext cx="95486" cy="95486"/>
            </a:xfrm>
            <a:custGeom>
              <a:avLst/>
              <a:gdLst>
                <a:gd name="connsiteX0" fmla="*/ 48214 w 95485"/>
                <a:gd name="connsiteY0" fmla="*/ 96453 h 95485"/>
                <a:gd name="connsiteX1" fmla="*/ 96441 w 95485"/>
                <a:gd name="connsiteY1" fmla="*/ 48252 h 95485"/>
                <a:gd name="connsiteX2" fmla="*/ 48379 w 95485"/>
                <a:gd name="connsiteY2" fmla="*/ 25 h 95485"/>
                <a:gd name="connsiteX3" fmla="*/ 42014 w 95485"/>
                <a:gd name="connsiteY3" fmla="*/ 0 h 95485"/>
                <a:gd name="connsiteX4" fmla="*/ 41867 w 95485"/>
                <a:gd name="connsiteY4" fmla="*/ 41874 h 95485"/>
                <a:gd name="connsiteX5" fmla="*/ 0 w 95485"/>
                <a:gd name="connsiteY5" fmla="*/ 41874 h 95485"/>
                <a:gd name="connsiteX6" fmla="*/ 0 w 95485"/>
                <a:gd name="connsiteY6" fmla="*/ 48239 h 95485"/>
                <a:gd name="connsiteX7" fmla="*/ 48214 w 95485"/>
                <a:gd name="connsiteY7" fmla="*/ 96453 h 95485"/>
                <a:gd name="connsiteX8" fmla="*/ 54560 w 95485"/>
                <a:gd name="connsiteY8" fmla="*/ 54605 h 95485"/>
                <a:gd name="connsiteX9" fmla="*/ 54701 w 95485"/>
                <a:gd name="connsiteY9" fmla="*/ 13355 h 95485"/>
                <a:gd name="connsiteX10" fmla="*/ 83092 w 95485"/>
                <a:gd name="connsiteY10" fmla="*/ 54726 h 95485"/>
                <a:gd name="connsiteX11" fmla="*/ 41721 w 95485"/>
                <a:gd name="connsiteY11" fmla="*/ 83117 h 95485"/>
                <a:gd name="connsiteX12" fmla="*/ 13304 w 95485"/>
                <a:gd name="connsiteY12" fmla="*/ 54605 h 9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485" h="95485">
                  <a:moveTo>
                    <a:pt x="48214" y="96453"/>
                  </a:moveTo>
                  <a:cubicBezTo>
                    <a:pt x="74842" y="96453"/>
                    <a:pt x="96434" y="74874"/>
                    <a:pt x="96441" y="48252"/>
                  </a:cubicBezTo>
                  <a:cubicBezTo>
                    <a:pt x="96447" y="21682"/>
                    <a:pt x="74950" y="115"/>
                    <a:pt x="48379" y="25"/>
                  </a:cubicBezTo>
                  <a:lnTo>
                    <a:pt x="42014" y="0"/>
                  </a:lnTo>
                  <a:lnTo>
                    <a:pt x="41867" y="41874"/>
                  </a:lnTo>
                  <a:lnTo>
                    <a:pt x="0" y="41874"/>
                  </a:lnTo>
                  <a:lnTo>
                    <a:pt x="0" y="48239"/>
                  </a:lnTo>
                  <a:cubicBezTo>
                    <a:pt x="32" y="74854"/>
                    <a:pt x="21599" y="96422"/>
                    <a:pt x="48214" y="96453"/>
                  </a:cubicBezTo>
                  <a:close/>
                  <a:moveTo>
                    <a:pt x="54560" y="54605"/>
                  </a:moveTo>
                  <a:lnTo>
                    <a:pt x="54701" y="13355"/>
                  </a:lnTo>
                  <a:cubicBezTo>
                    <a:pt x="73970" y="16939"/>
                    <a:pt x="86676" y="35464"/>
                    <a:pt x="83092" y="54726"/>
                  </a:cubicBezTo>
                  <a:cubicBezTo>
                    <a:pt x="79508" y="73995"/>
                    <a:pt x="60983" y="86707"/>
                    <a:pt x="41721" y="83117"/>
                  </a:cubicBezTo>
                  <a:cubicBezTo>
                    <a:pt x="27252" y="80431"/>
                    <a:pt x="15946" y="69087"/>
                    <a:pt x="13304" y="54605"/>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9" name="Freeform 38">
              <a:extLst>
                <a:ext uri="{FF2B5EF4-FFF2-40B4-BE49-F238E27FC236}">
                  <a16:creationId xmlns:a16="http://schemas.microsoft.com/office/drawing/2014/main" id="{380099DA-9506-4181-9F13-79436FCB9EB4}"/>
                </a:ext>
              </a:extLst>
            </p:cNvPr>
            <p:cNvSpPr/>
            <p:nvPr/>
          </p:nvSpPr>
          <p:spPr>
            <a:xfrm>
              <a:off x="5557438" y="4628792"/>
              <a:ext cx="114583" cy="12731"/>
            </a:xfrm>
            <a:custGeom>
              <a:avLst/>
              <a:gdLst>
                <a:gd name="connsiteX0" fmla="*/ 0 w 114582"/>
                <a:gd name="connsiteY0" fmla="*/ 0 h 12731"/>
                <a:gd name="connsiteX1" fmla="*/ 118561 w 114582"/>
                <a:gd name="connsiteY1" fmla="*/ 0 h 12731"/>
                <a:gd name="connsiteX2" fmla="*/ 118561 w 114582"/>
                <a:gd name="connsiteY2" fmla="*/ 12731 h 12731"/>
                <a:gd name="connsiteX3" fmla="*/ 0 w 114582"/>
                <a:gd name="connsiteY3" fmla="*/ 12731 h 12731"/>
              </a:gdLst>
              <a:ahLst/>
              <a:cxnLst>
                <a:cxn ang="0">
                  <a:pos x="connsiteX0" y="connsiteY0"/>
                </a:cxn>
                <a:cxn ang="0">
                  <a:pos x="connsiteX1" y="connsiteY1"/>
                </a:cxn>
                <a:cxn ang="0">
                  <a:pos x="connsiteX2" y="connsiteY2"/>
                </a:cxn>
                <a:cxn ang="0">
                  <a:pos x="connsiteX3" y="connsiteY3"/>
                </a:cxn>
              </a:cxnLst>
              <a:rect l="l" t="t" r="r" b="b"/>
              <a:pathLst>
                <a:path w="114582" h="12731">
                  <a:moveTo>
                    <a:pt x="0" y="0"/>
                  </a:moveTo>
                  <a:lnTo>
                    <a:pt x="118561" y="0"/>
                  </a:lnTo>
                  <a:lnTo>
                    <a:pt x="118561"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0" name="Freeform 39">
              <a:extLst>
                <a:ext uri="{FF2B5EF4-FFF2-40B4-BE49-F238E27FC236}">
                  <a16:creationId xmlns:a16="http://schemas.microsoft.com/office/drawing/2014/main" id="{D1141120-029C-4CDF-BF53-F9E12E6F2367}"/>
                </a:ext>
              </a:extLst>
            </p:cNvPr>
            <p:cNvSpPr/>
            <p:nvPr/>
          </p:nvSpPr>
          <p:spPr>
            <a:xfrm>
              <a:off x="5559768" y="4667152"/>
              <a:ext cx="114583" cy="12731"/>
            </a:xfrm>
            <a:custGeom>
              <a:avLst/>
              <a:gdLst>
                <a:gd name="connsiteX0" fmla="*/ 0 w 114582"/>
                <a:gd name="connsiteY0" fmla="*/ 0 h 12731"/>
                <a:gd name="connsiteX1" fmla="*/ 118561 w 114582"/>
                <a:gd name="connsiteY1" fmla="*/ 0 h 12731"/>
                <a:gd name="connsiteX2" fmla="*/ 118561 w 114582"/>
                <a:gd name="connsiteY2" fmla="*/ 12731 h 12731"/>
                <a:gd name="connsiteX3" fmla="*/ 0 w 114582"/>
                <a:gd name="connsiteY3" fmla="*/ 12731 h 12731"/>
              </a:gdLst>
              <a:ahLst/>
              <a:cxnLst>
                <a:cxn ang="0">
                  <a:pos x="connsiteX0" y="connsiteY0"/>
                </a:cxn>
                <a:cxn ang="0">
                  <a:pos x="connsiteX1" y="connsiteY1"/>
                </a:cxn>
                <a:cxn ang="0">
                  <a:pos x="connsiteX2" y="connsiteY2"/>
                </a:cxn>
                <a:cxn ang="0">
                  <a:pos x="connsiteX3" y="connsiteY3"/>
                </a:cxn>
              </a:cxnLst>
              <a:rect l="l" t="t" r="r" b="b"/>
              <a:pathLst>
                <a:path w="114582" h="12731">
                  <a:moveTo>
                    <a:pt x="0" y="0"/>
                  </a:moveTo>
                  <a:lnTo>
                    <a:pt x="118561" y="0"/>
                  </a:lnTo>
                  <a:lnTo>
                    <a:pt x="118561"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1" name="Freeform 40">
              <a:extLst>
                <a:ext uri="{FF2B5EF4-FFF2-40B4-BE49-F238E27FC236}">
                  <a16:creationId xmlns:a16="http://schemas.microsoft.com/office/drawing/2014/main" id="{DC99F62F-8E25-48E6-8400-E6D3D0988B2C}"/>
                </a:ext>
              </a:extLst>
            </p:cNvPr>
            <p:cNvSpPr/>
            <p:nvPr/>
          </p:nvSpPr>
          <p:spPr>
            <a:xfrm>
              <a:off x="8449695" y="4438190"/>
              <a:ext cx="95486" cy="127314"/>
            </a:xfrm>
            <a:custGeom>
              <a:avLst/>
              <a:gdLst>
                <a:gd name="connsiteX0" fmla="*/ 42459 w 95485"/>
                <a:gd name="connsiteY0" fmla="*/ 0 h 127314"/>
                <a:gd name="connsiteX1" fmla="*/ 42459 w 95485"/>
                <a:gd name="connsiteY1" fmla="*/ 107014 h 127314"/>
                <a:gd name="connsiteX2" fmla="*/ 8765 w 95485"/>
                <a:gd name="connsiteY2" fmla="*/ 75033 h 127314"/>
                <a:gd name="connsiteX3" fmla="*/ 0 w 95485"/>
                <a:gd name="connsiteY3" fmla="*/ 84269 h 127314"/>
                <a:gd name="connsiteX4" fmla="*/ 50785 w 95485"/>
                <a:gd name="connsiteY4" fmla="*/ 132464 h 127314"/>
                <a:gd name="connsiteX5" fmla="*/ 97898 w 95485"/>
                <a:gd name="connsiteY5" fmla="*/ 82831 h 127314"/>
                <a:gd name="connsiteX6" fmla="*/ 88655 w 95485"/>
                <a:gd name="connsiteY6" fmla="*/ 74065 h 127314"/>
                <a:gd name="connsiteX7" fmla="*/ 55191 w 95485"/>
                <a:gd name="connsiteY7" fmla="*/ 109325 h 127314"/>
                <a:gd name="connsiteX8" fmla="*/ 55191 w 95485"/>
                <a:gd name="connsiteY8" fmla="*/ 0 h 127314"/>
                <a:gd name="connsiteX9" fmla="*/ 42459 w 95485"/>
                <a:gd name="connsiteY9" fmla="*/ 0 h 127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485" h="127314">
                  <a:moveTo>
                    <a:pt x="42459" y="0"/>
                  </a:moveTo>
                  <a:lnTo>
                    <a:pt x="42459" y="107014"/>
                  </a:lnTo>
                  <a:lnTo>
                    <a:pt x="8765" y="75033"/>
                  </a:lnTo>
                  <a:lnTo>
                    <a:pt x="0" y="84269"/>
                  </a:lnTo>
                  <a:lnTo>
                    <a:pt x="50785" y="132464"/>
                  </a:lnTo>
                  <a:lnTo>
                    <a:pt x="97898" y="82831"/>
                  </a:lnTo>
                  <a:lnTo>
                    <a:pt x="88655" y="74065"/>
                  </a:lnTo>
                  <a:lnTo>
                    <a:pt x="55191" y="109325"/>
                  </a:lnTo>
                  <a:lnTo>
                    <a:pt x="55191" y="0"/>
                  </a:lnTo>
                  <a:lnTo>
                    <a:pt x="42459" y="0"/>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2" name="Freeform 41">
              <a:extLst>
                <a:ext uri="{FF2B5EF4-FFF2-40B4-BE49-F238E27FC236}">
                  <a16:creationId xmlns:a16="http://schemas.microsoft.com/office/drawing/2014/main" id="{017393C1-159A-4CF3-B9C6-8A650B32DC2A}"/>
                </a:ext>
              </a:extLst>
            </p:cNvPr>
            <p:cNvSpPr/>
            <p:nvPr/>
          </p:nvSpPr>
          <p:spPr>
            <a:xfrm>
              <a:off x="5083541" y="4353904"/>
              <a:ext cx="50926" cy="50926"/>
            </a:xfrm>
            <a:custGeom>
              <a:avLst/>
              <a:gdLst>
                <a:gd name="connsiteX0" fmla="*/ 0 w 50925"/>
                <a:gd name="connsiteY0" fmla="*/ 56496 h 50925"/>
                <a:gd name="connsiteX1" fmla="*/ 56496 w 50925"/>
                <a:gd name="connsiteY1" fmla="*/ 56496 h 50925"/>
                <a:gd name="connsiteX2" fmla="*/ 56496 w 50925"/>
                <a:gd name="connsiteY2" fmla="*/ 0 h 50925"/>
                <a:gd name="connsiteX3" fmla="*/ 0 w 50925"/>
                <a:gd name="connsiteY3" fmla="*/ 0 h 50925"/>
                <a:gd name="connsiteX4" fmla="*/ 12731 w 50925"/>
                <a:gd name="connsiteY4" fmla="*/ 12731 h 50925"/>
                <a:gd name="connsiteX5" fmla="*/ 43764 w 50925"/>
                <a:gd name="connsiteY5" fmla="*/ 12731 h 50925"/>
                <a:gd name="connsiteX6" fmla="*/ 43764 w 50925"/>
                <a:gd name="connsiteY6" fmla="*/ 43764 h 50925"/>
                <a:gd name="connsiteX7" fmla="*/ 12731 w 50925"/>
                <a:gd name="connsiteY7" fmla="*/ 43764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0" y="56496"/>
                  </a:moveTo>
                  <a:lnTo>
                    <a:pt x="56496" y="56496"/>
                  </a:lnTo>
                  <a:lnTo>
                    <a:pt x="56496" y="0"/>
                  </a:lnTo>
                  <a:lnTo>
                    <a:pt x="0" y="0"/>
                  </a:lnTo>
                  <a:close/>
                  <a:moveTo>
                    <a:pt x="12731" y="12731"/>
                  </a:moveTo>
                  <a:lnTo>
                    <a:pt x="43764" y="12731"/>
                  </a:lnTo>
                  <a:lnTo>
                    <a:pt x="43764" y="43764"/>
                  </a:lnTo>
                  <a:lnTo>
                    <a:pt x="12731" y="43764"/>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3" name="Freeform 42">
              <a:extLst>
                <a:ext uri="{FF2B5EF4-FFF2-40B4-BE49-F238E27FC236}">
                  <a16:creationId xmlns:a16="http://schemas.microsoft.com/office/drawing/2014/main" id="{655488C9-F580-45C5-88F4-F7165C8F3B02}"/>
                </a:ext>
              </a:extLst>
            </p:cNvPr>
            <p:cNvSpPr/>
            <p:nvPr/>
          </p:nvSpPr>
          <p:spPr>
            <a:xfrm>
              <a:off x="5083541" y="4461777"/>
              <a:ext cx="50926" cy="50926"/>
            </a:xfrm>
            <a:custGeom>
              <a:avLst/>
              <a:gdLst>
                <a:gd name="connsiteX0" fmla="*/ 0 w 50925"/>
                <a:gd name="connsiteY0" fmla="*/ 56496 h 50925"/>
                <a:gd name="connsiteX1" fmla="*/ 56496 w 50925"/>
                <a:gd name="connsiteY1" fmla="*/ 56496 h 50925"/>
                <a:gd name="connsiteX2" fmla="*/ 56496 w 50925"/>
                <a:gd name="connsiteY2" fmla="*/ 0 h 50925"/>
                <a:gd name="connsiteX3" fmla="*/ 0 w 50925"/>
                <a:gd name="connsiteY3" fmla="*/ 0 h 50925"/>
                <a:gd name="connsiteX4" fmla="*/ 12731 w 50925"/>
                <a:gd name="connsiteY4" fmla="*/ 12731 h 50925"/>
                <a:gd name="connsiteX5" fmla="*/ 43764 w 50925"/>
                <a:gd name="connsiteY5" fmla="*/ 12731 h 50925"/>
                <a:gd name="connsiteX6" fmla="*/ 43764 w 50925"/>
                <a:gd name="connsiteY6" fmla="*/ 43764 h 50925"/>
                <a:gd name="connsiteX7" fmla="*/ 12731 w 50925"/>
                <a:gd name="connsiteY7" fmla="*/ 43764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0" y="56496"/>
                  </a:moveTo>
                  <a:lnTo>
                    <a:pt x="56496" y="56496"/>
                  </a:lnTo>
                  <a:lnTo>
                    <a:pt x="56496" y="0"/>
                  </a:lnTo>
                  <a:lnTo>
                    <a:pt x="0" y="0"/>
                  </a:lnTo>
                  <a:close/>
                  <a:moveTo>
                    <a:pt x="12731" y="12731"/>
                  </a:moveTo>
                  <a:lnTo>
                    <a:pt x="43764" y="12731"/>
                  </a:lnTo>
                  <a:lnTo>
                    <a:pt x="43764" y="43764"/>
                  </a:lnTo>
                  <a:lnTo>
                    <a:pt x="12731" y="43764"/>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4" name="Freeform 43">
              <a:extLst>
                <a:ext uri="{FF2B5EF4-FFF2-40B4-BE49-F238E27FC236}">
                  <a16:creationId xmlns:a16="http://schemas.microsoft.com/office/drawing/2014/main" id="{1FD008CD-BB59-4674-A41C-11776CAE4DDD}"/>
                </a:ext>
              </a:extLst>
            </p:cNvPr>
            <p:cNvSpPr/>
            <p:nvPr/>
          </p:nvSpPr>
          <p:spPr>
            <a:xfrm>
              <a:off x="5083541" y="4569651"/>
              <a:ext cx="50926" cy="50926"/>
            </a:xfrm>
            <a:custGeom>
              <a:avLst/>
              <a:gdLst>
                <a:gd name="connsiteX0" fmla="*/ 0 w 50925"/>
                <a:gd name="connsiteY0" fmla="*/ 56496 h 50925"/>
                <a:gd name="connsiteX1" fmla="*/ 56496 w 50925"/>
                <a:gd name="connsiteY1" fmla="*/ 56496 h 50925"/>
                <a:gd name="connsiteX2" fmla="*/ 56496 w 50925"/>
                <a:gd name="connsiteY2" fmla="*/ 0 h 50925"/>
                <a:gd name="connsiteX3" fmla="*/ 0 w 50925"/>
                <a:gd name="connsiteY3" fmla="*/ 0 h 50925"/>
                <a:gd name="connsiteX4" fmla="*/ 12731 w 50925"/>
                <a:gd name="connsiteY4" fmla="*/ 12731 h 50925"/>
                <a:gd name="connsiteX5" fmla="*/ 43764 w 50925"/>
                <a:gd name="connsiteY5" fmla="*/ 12731 h 50925"/>
                <a:gd name="connsiteX6" fmla="*/ 43764 w 50925"/>
                <a:gd name="connsiteY6" fmla="*/ 43764 h 50925"/>
                <a:gd name="connsiteX7" fmla="*/ 12731 w 50925"/>
                <a:gd name="connsiteY7" fmla="*/ 43764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0" y="56496"/>
                  </a:moveTo>
                  <a:lnTo>
                    <a:pt x="56496" y="56496"/>
                  </a:lnTo>
                  <a:lnTo>
                    <a:pt x="56496" y="0"/>
                  </a:lnTo>
                  <a:lnTo>
                    <a:pt x="0" y="0"/>
                  </a:lnTo>
                  <a:close/>
                  <a:moveTo>
                    <a:pt x="12731" y="12731"/>
                  </a:moveTo>
                  <a:lnTo>
                    <a:pt x="43764" y="12731"/>
                  </a:lnTo>
                  <a:lnTo>
                    <a:pt x="43764" y="43764"/>
                  </a:lnTo>
                  <a:lnTo>
                    <a:pt x="12731" y="43764"/>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5" name="Freeform 44">
              <a:extLst>
                <a:ext uri="{FF2B5EF4-FFF2-40B4-BE49-F238E27FC236}">
                  <a16:creationId xmlns:a16="http://schemas.microsoft.com/office/drawing/2014/main" id="{476D86C9-89BB-4FFA-9192-E250F1E4E101}"/>
                </a:ext>
              </a:extLst>
            </p:cNvPr>
            <p:cNvSpPr/>
            <p:nvPr/>
          </p:nvSpPr>
          <p:spPr>
            <a:xfrm>
              <a:off x="4816245" y="4795341"/>
              <a:ext cx="95486" cy="140046"/>
            </a:xfrm>
            <a:custGeom>
              <a:avLst/>
              <a:gdLst>
                <a:gd name="connsiteX0" fmla="*/ 44547 w 95485"/>
                <a:gd name="connsiteY0" fmla="*/ 0 h 140045"/>
                <a:gd name="connsiteX1" fmla="*/ 0 w 95485"/>
                <a:gd name="connsiteY1" fmla="*/ 0 h 140045"/>
                <a:gd name="connsiteX2" fmla="*/ 0 w 95485"/>
                <a:gd name="connsiteY2" fmla="*/ 142656 h 140045"/>
                <a:gd name="connsiteX3" fmla="*/ 101043 w 95485"/>
                <a:gd name="connsiteY3" fmla="*/ 142656 h 140045"/>
                <a:gd name="connsiteX4" fmla="*/ 101043 w 95485"/>
                <a:gd name="connsiteY4" fmla="*/ 0 h 140045"/>
                <a:gd name="connsiteX5" fmla="*/ 44547 w 95485"/>
                <a:gd name="connsiteY5" fmla="*/ 0 h 140045"/>
                <a:gd name="connsiteX6" fmla="*/ 43764 w 95485"/>
                <a:gd name="connsiteY6" fmla="*/ 129924 h 140045"/>
                <a:gd name="connsiteX7" fmla="*/ 12731 w 95485"/>
                <a:gd name="connsiteY7" fmla="*/ 129924 h 140045"/>
                <a:gd name="connsiteX8" fmla="*/ 12731 w 95485"/>
                <a:gd name="connsiteY8" fmla="*/ 12731 h 140045"/>
                <a:gd name="connsiteX9" fmla="*/ 43764 w 95485"/>
                <a:gd name="connsiteY9" fmla="*/ 12731 h 140045"/>
                <a:gd name="connsiteX10" fmla="*/ 57279 w 95485"/>
                <a:gd name="connsiteY10" fmla="*/ 12731 h 140045"/>
                <a:gd name="connsiteX11" fmla="*/ 88312 w 95485"/>
                <a:gd name="connsiteY11" fmla="*/ 12731 h 140045"/>
                <a:gd name="connsiteX12" fmla="*/ 88312 w 95485"/>
                <a:gd name="connsiteY12" fmla="*/ 129924 h 140045"/>
                <a:gd name="connsiteX13" fmla="*/ 57279 w 95485"/>
                <a:gd name="connsiteY13" fmla="*/ 129924 h 1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485" h="140045">
                  <a:moveTo>
                    <a:pt x="44547" y="0"/>
                  </a:moveTo>
                  <a:lnTo>
                    <a:pt x="0" y="0"/>
                  </a:lnTo>
                  <a:lnTo>
                    <a:pt x="0" y="142656"/>
                  </a:lnTo>
                  <a:lnTo>
                    <a:pt x="101043" y="142656"/>
                  </a:lnTo>
                  <a:lnTo>
                    <a:pt x="101043" y="0"/>
                  </a:lnTo>
                  <a:lnTo>
                    <a:pt x="44547" y="0"/>
                  </a:lnTo>
                  <a:close/>
                  <a:moveTo>
                    <a:pt x="43764" y="129924"/>
                  </a:moveTo>
                  <a:lnTo>
                    <a:pt x="12731" y="129924"/>
                  </a:lnTo>
                  <a:lnTo>
                    <a:pt x="12731" y="12731"/>
                  </a:lnTo>
                  <a:lnTo>
                    <a:pt x="43764" y="12731"/>
                  </a:lnTo>
                  <a:close/>
                  <a:moveTo>
                    <a:pt x="57279" y="12731"/>
                  </a:moveTo>
                  <a:lnTo>
                    <a:pt x="88312" y="12731"/>
                  </a:lnTo>
                  <a:lnTo>
                    <a:pt x="88312" y="129924"/>
                  </a:lnTo>
                  <a:lnTo>
                    <a:pt x="57279" y="129924"/>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6" name="Freeform 45">
              <a:extLst>
                <a:ext uri="{FF2B5EF4-FFF2-40B4-BE49-F238E27FC236}">
                  <a16:creationId xmlns:a16="http://schemas.microsoft.com/office/drawing/2014/main" id="{CA21E7D5-C343-4576-A042-0D2473794F55}"/>
                </a:ext>
              </a:extLst>
            </p:cNvPr>
            <p:cNvSpPr/>
            <p:nvPr/>
          </p:nvSpPr>
          <p:spPr>
            <a:xfrm>
              <a:off x="5182280" y="4353904"/>
              <a:ext cx="50926" cy="50926"/>
            </a:xfrm>
            <a:custGeom>
              <a:avLst/>
              <a:gdLst>
                <a:gd name="connsiteX0" fmla="*/ 0 w 50925"/>
                <a:gd name="connsiteY0" fmla="*/ 56496 h 50925"/>
                <a:gd name="connsiteX1" fmla="*/ 56496 w 50925"/>
                <a:gd name="connsiteY1" fmla="*/ 56496 h 50925"/>
                <a:gd name="connsiteX2" fmla="*/ 56496 w 50925"/>
                <a:gd name="connsiteY2" fmla="*/ 0 h 50925"/>
                <a:gd name="connsiteX3" fmla="*/ 0 w 50925"/>
                <a:gd name="connsiteY3" fmla="*/ 0 h 50925"/>
                <a:gd name="connsiteX4" fmla="*/ 12731 w 50925"/>
                <a:gd name="connsiteY4" fmla="*/ 12731 h 50925"/>
                <a:gd name="connsiteX5" fmla="*/ 43764 w 50925"/>
                <a:gd name="connsiteY5" fmla="*/ 12731 h 50925"/>
                <a:gd name="connsiteX6" fmla="*/ 43764 w 50925"/>
                <a:gd name="connsiteY6" fmla="*/ 43764 h 50925"/>
                <a:gd name="connsiteX7" fmla="*/ 12731 w 50925"/>
                <a:gd name="connsiteY7" fmla="*/ 43764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0" y="56496"/>
                  </a:moveTo>
                  <a:lnTo>
                    <a:pt x="56496" y="56496"/>
                  </a:lnTo>
                  <a:lnTo>
                    <a:pt x="56496" y="0"/>
                  </a:lnTo>
                  <a:lnTo>
                    <a:pt x="0" y="0"/>
                  </a:lnTo>
                  <a:close/>
                  <a:moveTo>
                    <a:pt x="12731" y="12731"/>
                  </a:moveTo>
                  <a:lnTo>
                    <a:pt x="43764" y="12731"/>
                  </a:lnTo>
                  <a:lnTo>
                    <a:pt x="43764" y="43764"/>
                  </a:lnTo>
                  <a:lnTo>
                    <a:pt x="12731" y="43764"/>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7" name="Freeform 46">
              <a:extLst>
                <a:ext uri="{FF2B5EF4-FFF2-40B4-BE49-F238E27FC236}">
                  <a16:creationId xmlns:a16="http://schemas.microsoft.com/office/drawing/2014/main" id="{F64EC936-EE10-4D7E-9B95-45640F0E5631}"/>
                </a:ext>
              </a:extLst>
            </p:cNvPr>
            <p:cNvSpPr/>
            <p:nvPr/>
          </p:nvSpPr>
          <p:spPr>
            <a:xfrm>
              <a:off x="5473021" y="4037477"/>
              <a:ext cx="50926" cy="50926"/>
            </a:xfrm>
            <a:custGeom>
              <a:avLst/>
              <a:gdLst>
                <a:gd name="connsiteX0" fmla="*/ 56496 w 50925"/>
                <a:gd name="connsiteY0" fmla="*/ 0 h 50925"/>
                <a:gd name="connsiteX1" fmla="*/ 0 w 50925"/>
                <a:gd name="connsiteY1" fmla="*/ 0 h 50925"/>
                <a:gd name="connsiteX2" fmla="*/ 0 w 50925"/>
                <a:gd name="connsiteY2" fmla="*/ 56496 h 50925"/>
                <a:gd name="connsiteX3" fmla="*/ 56496 w 50925"/>
                <a:gd name="connsiteY3" fmla="*/ 56496 h 50925"/>
                <a:gd name="connsiteX4" fmla="*/ 43764 w 50925"/>
                <a:gd name="connsiteY4" fmla="*/ 43764 h 50925"/>
                <a:gd name="connsiteX5" fmla="*/ 12731 w 50925"/>
                <a:gd name="connsiteY5" fmla="*/ 43764 h 50925"/>
                <a:gd name="connsiteX6" fmla="*/ 12731 w 50925"/>
                <a:gd name="connsiteY6" fmla="*/ 12731 h 50925"/>
                <a:gd name="connsiteX7" fmla="*/ 43764 w 50925"/>
                <a:gd name="connsiteY7" fmla="*/ 12731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56496" y="0"/>
                  </a:moveTo>
                  <a:lnTo>
                    <a:pt x="0" y="0"/>
                  </a:lnTo>
                  <a:lnTo>
                    <a:pt x="0" y="56496"/>
                  </a:lnTo>
                  <a:lnTo>
                    <a:pt x="56496" y="56496"/>
                  </a:lnTo>
                  <a:close/>
                  <a:moveTo>
                    <a:pt x="43764" y="43764"/>
                  </a:moveTo>
                  <a:lnTo>
                    <a:pt x="12731" y="43764"/>
                  </a:lnTo>
                  <a:lnTo>
                    <a:pt x="12731" y="12731"/>
                  </a:lnTo>
                  <a:lnTo>
                    <a:pt x="43764"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8" name="Freeform 47">
              <a:extLst>
                <a:ext uri="{FF2B5EF4-FFF2-40B4-BE49-F238E27FC236}">
                  <a16:creationId xmlns:a16="http://schemas.microsoft.com/office/drawing/2014/main" id="{0F26393D-B215-47F3-90EF-D7114335A5C7}"/>
                </a:ext>
              </a:extLst>
            </p:cNvPr>
            <p:cNvSpPr/>
            <p:nvPr/>
          </p:nvSpPr>
          <p:spPr>
            <a:xfrm>
              <a:off x="5571760" y="4037477"/>
              <a:ext cx="50926" cy="50926"/>
            </a:xfrm>
            <a:custGeom>
              <a:avLst/>
              <a:gdLst>
                <a:gd name="connsiteX0" fmla="*/ 56496 w 50925"/>
                <a:gd name="connsiteY0" fmla="*/ 0 h 50925"/>
                <a:gd name="connsiteX1" fmla="*/ 0 w 50925"/>
                <a:gd name="connsiteY1" fmla="*/ 0 h 50925"/>
                <a:gd name="connsiteX2" fmla="*/ 0 w 50925"/>
                <a:gd name="connsiteY2" fmla="*/ 56496 h 50925"/>
                <a:gd name="connsiteX3" fmla="*/ 56496 w 50925"/>
                <a:gd name="connsiteY3" fmla="*/ 56496 h 50925"/>
                <a:gd name="connsiteX4" fmla="*/ 43764 w 50925"/>
                <a:gd name="connsiteY4" fmla="*/ 43764 h 50925"/>
                <a:gd name="connsiteX5" fmla="*/ 12731 w 50925"/>
                <a:gd name="connsiteY5" fmla="*/ 43764 h 50925"/>
                <a:gd name="connsiteX6" fmla="*/ 12731 w 50925"/>
                <a:gd name="connsiteY6" fmla="*/ 12731 h 50925"/>
                <a:gd name="connsiteX7" fmla="*/ 43764 w 50925"/>
                <a:gd name="connsiteY7" fmla="*/ 12731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56496" y="0"/>
                  </a:moveTo>
                  <a:lnTo>
                    <a:pt x="0" y="0"/>
                  </a:lnTo>
                  <a:lnTo>
                    <a:pt x="0" y="56496"/>
                  </a:lnTo>
                  <a:lnTo>
                    <a:pt x="56496" y="56496"/>
                  </a:lnTo>
                  <a:close/>
                  <a:moveTo>
                    <a:pt x="43764" y="43764"/>
                  </a:moveTo>
                  <a:lnTo>
                    <a:pt x="12731" y="43764"/>
                  </a:lnTo>
                  <a:lnTo>
                    <a:pt x="12731" y="12731"/>
                  </a:lnTo>
                  <a:lnTo>
                    <a:pt x="43764"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9" name="Freeform 48">
              <a:extLst>
                <a:ext uri="{FF2B5EF4-FFF2-40B4-BE49-F238E27FC236}">
                  <a16:creationId xmlns:a16="http://schemas.microsoft.com/office/drawing/2014/main" id="{962167BD-3850-49F2-982D-C18B6E354231}"/>
                </a:ext>
              </a:extLst>
            </p:cNvPr>
            <p:cNvSpPr/>
            <p:nvPr/>
          </p:nvSpPr>
          <p:spPr>
            <a:xfrm>
              <a:off x="5473021" y="4125871"/>
              <a:ext cx="50926" cy="50926"/>
            </a:xfrm>
            <a:custGeom>
              <a:avLst/>
              <a:gdLst>
                <a:gd name="connsiteX0" fmla="*/ 56496 w 50925"/>
                <a:gd name="connsiteY0" fmla="*/ 0 h 50925"/>
                <a:gd name="connsiteX1" fmla="*/ 0 w 50925"/>
                <a:gd name="connsiteY1" fmla="*/ 0 h 50925"/>
                <a:gd name="connsiteX2" fmla="*/ 0 w 50925"/>
                <a:gd name="connsiteY2" fmla="*/ 56496 h 50925"/>
                <a:gd name="connsiteX3" fmla="*/ 56496 w 50925"/>
                <a:gd name="connsiteY3" fmla="*/ 56496 h 50925"/>
                <a:gd name="connsiteX4" fmla="*/ 43764 w 50925"/>
                <a:gd name="connsiteY4" fmla="*/ 43764 h 50925"/>
                <a:gd name="connsiteX5" fmla="*/ 12731 w 50925"/>
                <a:gd name="connsiteY5" fmla="*/ 43764 h 50925"/>
                <a:gd name="connsiteX6" fmla="*/ 12731 w 50925"/>
                <a:gd name="connsiteY6" fmla="*/ 12731 h 50925"/>
                <a:gd name="connsiteX7" fmla="*/ 43764 w 50925"/>
                <a:gd name="connsiteY7" fmla="*/ 12731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56496" y="0"/>
                  </a:moveTo>
                  <a:lnTo>
                    <a:pt x="0" y="0"/>
                  </a:lnTo>
                  <a:lnTo>
                    <a:pt x="0" y="56496"/>
                  </a:lnTo>
                  <a:lnTo>
                    <a:pt x="56496" y="56496"/>
                  </a:lnTo>
                  <a:close/>
                  <a:moveTo>
                    <a:pt x="43764" y="43764"/>
                  </a:moveTo>
                  <a:lnTo>
                    <a:pt x="12731" y="43764"/>
                  </a:lnTo>
                  <a:lnTo>
                    <a:pt x="12731" y="12731"/>
                  </a:lnTo>
                  <a:lnTo>
                    <a:pt x="43764"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0" name="Freeform 49">
              <a:extLst>
                <a:ext uri="{FF2B5EF4-FFF2-40B4-BE49-F238E27FC236}">
                  <a16:creationId xmlns:a16="http://schemas.microsoft.com/office/drawing/2014/main" id="{F4CC5692-0D00-4B3A-948A-5F79B6F2C811}"/>
                </a:ext>
              </a:extLst>
            </p:cNvPr>
            <p:cNvSpPr/>
            <p:nvPr/>
          </p:nvSpPr>
          <p:spPr>
            <a:xfrm>
              <a:off x="5571760" y="4125871"/>
              <a:ext cx="50926" cy="50926"/>
            </a:xfrm>
            <a:custGeom>
              <a:avLst/>
              <a:gdLst>
                <a:gd name="connsiteX0" fmla="*/ 56496 w 50925"/>
                <a:gd name="connsiteY0" fmla="*/ 0 h 50925"/>
                <a:gd name="connsiteX1" fmla="*/ 0 w 50925"/>
                <a:gd name="connsiteY1" fmla="*/ 0 h 50925"/>
                <a:gd name="connsiteX2" fmla="*/ 0 w 50925"/>
                <a:gd name="connsiteY2" fmla="*/ 56496 h 50925"/>
                <a:gd name="connsiteX3" fmla="*/ 56496 w 50925"/>
                <a:gd name="connsiteY3" fmla="*/ 56496 h 50925"/>
                <a:gd name="connsiteX4" fmla="*/ 43764 w 50925"/>
                <a:gd name="connsiteY4" fmla="*/ 43764 h 50925"/>
                <a:gd name="connsiteX5" fmla="*/ 12731 w 50925"/>
                <a:gd name="connsiteY5" fmla="*/ 43764 h 50925"/>
                <a:gd name="connsiteX6" fmla="*/ 12731 w 50925"/>
                <a:gd name="connsiteY6" fmla="*/ 12731 h 50925"/>
                <a:gd name="connsiteX7" fmla="*/ 43764 w 50925"/>
                <a:gd name="connsiteY7" fmla="*/ 12731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56496" y="0"/>
                  </a:moveTo>
                  <a:lnTo>
                    <a:pt x="0" y="0"/>
                  </a:lnTo>
                  <a:lnTo>
                    <a:pt x="0" y="56496"/>
                  </a:lnTo>
                  <a:lnTo>
                    <a:pt x="56496" y="56496"/>
                  </a:lnTo>
                  <a:close/>
                  <a:moveTo>
                    <a:pt x="43764" y="43764"/>
                  </a:moveTo>
                  <a:lnTo>
                    <a:pt x="12731" y="43764"/>
                  </a:lnTo>
                  <a:lnTo>
                    <a:pt x="12731" y="12731"/>
                  </a:lnTo>
                  <a:lnTo>
                    <a:pt x="43764"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1" name="Freeform 50">
              <a:extLst>
                <a:ext uri="{FF2B5EF4-FFF2-40B4-BE49-F238E27FC236}">
                  <a16:creationId xmlns:a16="http://schemas.microsoft.com/office/drawing/2014/main" id="{AF88A51E-2D59-4371-B3AF-7E311DEE5446}"/>
                </a:ext>
              </a:extLst>
            </p:cNvPr>
            <p:cNvSpPr/>
            <p:nvPr/>
          </p:nvSpPr>
          <p:spPr>
            <a:xfrm>
              <a:off x="5182280" y="4461777"/>
              <a:ext cx="50926" cy="50926"/>
            </a:xfrm>
            <a:custGeom>
              <a:avLst/>
              <a:gdLst>
                <a:gd name="connsiteX0" fmla="*/ 0 w 50925"/>
                <a:gd name="connsiteY0" fmla="*/ 56496 h 50925"/>
                <a:gd name="connsiteX1" fmla="*/ 56496 w 50925"/>
                <a:gd name="connsiteY1" fmla="*/ 56496 h 50925"/>
                <a:gd name="connsiteX2" fmla="*/ 56496 w 50925"/>
                <a:gd name="connsiteY2" fmla="*/ 0 h 50925"/>
                <a:gd name="connsiteX3" fmla="*/ 0 w 50925"/>
                <a:gd name="connsiteY3" fmla="*/ 0 h 50925"/>
                <a:gd name="connsiteX4" fmla="*/ 12731 w 50925"/>
                <a:gd name="connsiteY4" fmla="*/ 12731 h 50925"/>
                <a:gd name="connsiteX5" fmla="*/ 43764 w 50925"/>
                <a:gd name="connsiteY5" fmla="*/ 12731 h 50925"/>
                <a:gd name="connsiteX6" fmla="*/ 43764 w 50925"/>
                <a:gd name="connsiteY6" fmla="*/ 43764 h 50925"/>
                <a:gd name="connsiteX7" fmla="*/ 12731 w 50925"/>
                <a:gd name="connsiteY7" fmla="*/ 43764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0" y="56496"/>
                  </a:moveTo>
                  <a:lnTo>
                    <a:pt x="56496" y="56496"/>
                  </a:lnTo>
                  <a:lnTo>
                    <a:pt x="56496" y="0"/>
                  </a:lnTo>
                  <a:lnTo>
                    <a:pt x="0" y="0"/>
                  </a:lnTo>
                  <a:close/>
                  <a:moveTo>
                    <a:pt x="12731" y="12731"/>
                  </a:moveTo>
                  <a:lnTo>
                    <a:pt x="43764" y="12731"/>
                  </a:lnTo>
                  <a:lnTo>
                    <a:pt x="43764" y="43764"/>
                  </a:lnTo>
                  <a:lnTo>
                    <a:pt x="12731" y="43764"/>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2" name="Freeform 51">
              <a:extLst>
                <a:ext uri="{FF2B5EF4-FFF2-40B4-BE49-F238E27FC236}">
                  <a16:creationId xmlns:a16="http://schemas.microsoft.com/office/drawing/2014/main" id="{6FAEBE19-BB53-48E6-8D44-A3C6669EBE44}"/>
                </a:ext>
              </a:extLst>
            </p:cNvPr>
            <p:cNvSpPr/>
            <p:nvPr/>
          </p:nvSpPr>
          <p:spPr>
            <a:xfrm>
              <a:off x="5182280" y="4569651"/>
              <a:ext cx="50926" cy="50926"/>
            </a:xfrm>
            <a:custGeom>
              <a:avLst/>
              <a:gdLst>
                <a:gd name="connsiteX0" fmla="*/ 0 w 50925"/>
                <a:gd name="connsiteY0" fmla="*/ 56496 h 50925"/>
                <a:gd name="connsiteX1" fmla="*/ 56496 w 50925"/>
                <a:gd name="connsiteY1" fmla="*/ 56496 h 50925"/>
                <a:gd name="connsiteX2" fmla="*/ 56496 w 50925"/>
                <a:gd name="connsiteY2" fmla="*/ 0 h 50925"/>
                <a:gd name="connsiteX3" fmla="*/ 0 w 50925"/>
                <a:gd name="connsiteY3" fmla="*/ 0 h 50925"/>
                <a:gd name="connsiteX4" fmla="*/ 12731 w 50925"/>
                <a:gd name="connsiteY4" fmla="*/ 12731 h 50925"/>
                <a:gd name="connsiteX5" fmla="*/ 43764 w 50925"/>
                <a:gd name="connsiteY5" fmla="*/ 12731 h 50925"/>
                <a:gd name="connsiteX6" fmla="*/ 43764 w 50925"/>
                <a:gd name="connsiteY6" fmla="*/ 43764 h 50925"/>
                <a:gd name="connsiteX7" fmla="*/ 12731 w 50925"/>
                <a:gd name="connsiteY7" fmla="*/ 43764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0" y="56496"/>
                  </a:moveTo>
                  <a:lnTo>
                    <a:pt x="56496" y="56496"/>
                  </a:lnTo>
                  <a:lnTo>
                    <a:pt x="56496" y="0"/>
                  </a:lnTo>
                  <a:lnTo>
                    <a:pt x="0" y="0"/>
                  </a:lnTo>
                  <a:close/>
                  <a:moveTo>
                    <a:pt x="12731" y="12731"/>
                  </a:moveTo>
                  <a:lnTo>
                    <a:pt x="43764" y="12731"/>
                  </a:lnTo>
                  <a:lnTo>
                    <a:pt x="43764" y="43764"/>
                  </a:lnTo>
                  <a:lnTo>
                    <a:pt x="12731" y="43764"/>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3" name="Freeform 52">
              <a:extLst>
                <a:ext uri="{FF2B5EF4-FFF2-40B4-BE49-F238E27FC236}">
                  <a16:creationId xmlns:a16="http://schemas.microsoft.com/office/drawing/2014/main" id="{1DE50771-C69B-4547-BA04-079FBE3D00DD}"/>
                </a:ext>
              </a:extLst>
            </p:cNvPr>
            <p:cNvSpPr/>
            <p:nvPr/>
          </p:nvSpPr>
          <p:spPr>
            <a:xfrm>
              <a:off x="9614849" y="5158492"/>
              <a:ext cx="31829" cy="31829"/>
            </a:xfrm>
            <a:custGeom>
              <a:avLst/>
              <a:gdLst>
                <a:gd name="connsiteX0" fmla="*/ 0 w 31828"/>
                <a:gd name="connsiteY0" fmla="*/ 23038 h 31828"/>
                <a:gd name="connsiteX1" fmla="*/ 5920 w 31828"/>
                <a:gd name="connsiteY1" fmla="*/ 34298 h 31828"/>
                <a:gd name="connsiteX2" fmla="*/ 36475 w 31828"/>
                <a:gd name="connsiteY2" fmla="*/ 7257 h 31828"/>
                <a:gd name="connsiteX3" fmla="*/ 26036 w 31828"/>
                <a:gd name="connsiteY3" fmla="*/ 0 h 31828"/>
                <a:gd name="connsiteX4" fmla="*/ 0 w 31828"/>
                <a:gd name="connsiteY4" fmla="*/ 23038 h 3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28" h="31828">
                  <a:moveTo>
                    <a:pt x="0" y="23038"/>
                  </a:moveTo>
                  <a:lnTo>
                    <a:pt x="5920" y="34298"/>
                  </a:lnTo>
                  <a:cubicBezTo>
                    <a:pt x="18142" y="27857"/>
                    <a:pt x="28582" y="18582"/>
                    <a:pt x="36475" y="7257"/>
                  </a:cubicBezTo>
                  <a:lnTo>
                    <a:pt x="26036" y="0"/>
                  </a:lnTo>
                  <a:cubicBezTo>
                    <a:pt x="19288" y="9644"/>
                    <a:pt x="10376" y="17544"/>
                    <a:pt x="0" y="23038"/>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4" name="Freeform 53">
              <a:extLst>
                <a:ext uri="{FF2B5EF4-FFF2-40B4-BE49-F238E27FC236}">
                  <a16:creationId xmlns:a16="http://schemas.microsoft.com/office/drawing/2014/main" id="{356D00AE-1DB8-42F6-9FAA-78FDD2153E43}"/>
                </a:ext>
              </a:extLst>
            </p:cNvPr>
            <p:cNvSpPr/>
            <p:nvPr/>
          </p:nvSpPr>
          <p:spPr>
            <a:xfrm>
              <a:off x="9143552"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5" name="Freeform 54">
              <a:extLst>
                <a:ext uri="{FF2B5EF4-FFF2-40B4-BE49-F238E27FC236}">
                  <a16:creationId xmlns:a16="http://schemas.microsoft.com/office/drawing/2014/main" id="{9B27D93A-580E-4C94-B0D8-1D7AE50E42E8}"/>
                </a:ext>
              </a:extLst>
            </p:cNvPr>
            <p:cNvSpPr/>
            <p:nvPr/>
          </p:nvSpPr>
          <p:spPr>
            <a:xfrm>
              <a:off x="9161369"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6" name="Freeform 55">
              <a:extLst>
                <a:ext uri="{FF2B5EF4-FFF2-40B4-BE49-F238E27FC236}">
                  <a16:creationId xmlns:a16="http://schemas.microsoft.com/office/drawing/2014/main" id="{DD4645F2-5D18-44AC-9FCC-CFD3A034E9A2}"/>
                </a:ext>
              </a:extLst>
            </p:cNvPr>
            <p:cNvSpPr/>
            <p:nvPr/>
          </p:nvSpPr>
          <p:spPr>
            <a:xfrm>
              <a:off x="9237643"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7" name="Freeform 56">
              <a:extLst>
                <a:ext uri="{FF2B5EF4-FFF2-40B4-BE49-F238E27FC236}">
                  <a16:creationId xmlns:a16="http://schemas.microsoft.com/office/drawing/2014/main" id="{7469150B-DD76-41EB-8927-0DA6E2119AF4}"/>
                </a:ext>
              </a:extLst>
            </p:cNvPr>
            <p:cNvSpPr/>
            <p:nvPr/>
          </p:nvSpPr>
          <p:spPr>
            <a:xfrm>
              <a:off x="9219826"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8" name="Freeform 57">
              <a:extLst>
                <a:ext uri="{FF2B5EF4-FFF2-40B4-BE49-F238E27FC236}">
                  <a16:creationId xmlns:a16="http://schemas.microsoft.com/office/drawing/2014/main" id="{ADC2CDAC-0A57-4BAA-A2BD-E439E9199E19}"/>
                </a:ext>
              </a:extLst>
            </p:cNvPr>
            <p:cNvSpPr/>
            <p:nvPr/>
          </p:nvSpPr>
          <p:spPr>
            <a:xfrm>
              <a:off x="8914736"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9" name="Freeform 58">
              <a:extLst>
                <a:ext uri="{FF2B5EF4-FFF2-40B4-BE49-F238E27FC236}">
                  <a16:creationId xmlns:a16="http://schemas.microsoft.com/office/drawing/2014/main" id="{871B14C9-A8FF-4BB6-91F8-92D9794AAF04}"/>
                </a:ext>
              </a:extLst>
            </p:cNvPr>
            <p:cNvSpPr/>
            <p:nvPr/>
          </p:nvSpPr>
          <p:spPr>
            <a:xfrm>
              <a:off x="8295262" y="5105969"/>
              <a:ext cx="12731" cy="38194"/>
            </a:xfrm>
            <a:custGeom>
              <a:avLst/>
              <a:gdLst>
                <a:gd name="connsiteX0" fmla="*/ 13324 w 12731"/>
                <a:gd name="connsiteY0" fmla="*/ 1617 h 38194"/>
                <a:gd name="connsiteX1" fmla="*/ 687 w 12731"/>
                <a:gd name="connsiteY1" fmla="*/ 0 h 38194"/>
                <a:gd name="connsiteX2" fmla="*/ 0 w 12731"/>
                <a:gd name="connsiteY2" fmla="*/ 10936 h 38194"/>
                <a:gd name="connsiteX3" fmla="*/ 5245 w 12731"/>
                <a:gd name="connsiteY3" fmla="*/ 40524 h 38194"/>
                <a:gd name="connsiteX4" fmla="*/ 17194 w 12731"/>
                <a:gd name="connsiteY4" fmla="*/ 36138 h 38194"/>
                <a:gd name="connsiteX5" fmla="*/ 12732 w 12731"/>
                <a:gd name="connsiteY5" fmla="*/ 10936 h 38194"/>
                <a:gd name="connsiteX6" fmla="*/ 13324 w 12731"/>
                <a:gd name="connsiteY6" fmla="*/ 1617 h 3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31" h="38194">
                  <a:moveTo>
                    <a:pt x="13324" y="1617"/>
                  </a:moveTo>
                  <a:lnTo>
                    <a:pt x="687" y="0"/>
                  </a:lnTo>
                  <a:cubicBezTo>
                    <a:pt x="229" y="3629"/>
                    <a:pt x="0" y="7276"/>
                    <a:pt x="0" y="10936"/>
                  </a:cubicBezTo>
                  <a:cubicBezTo>
                    <a:pt x="-13" y="21032"/>
                    <a:pt x="1763" y="31046"/>
                    <a:pt x="5245" y="40524"/>
                  </a:cubicBezTo>
                  <a:lnTo>
                    <a:pt x="17194" y="36138"/>
                  </a:lnTo>
                  <a:cubicBezTo>
                    <a:pt x="14234" y="28066"/>
                    <a:pt x="12719" y="19530"/>
                    <a:pt x="12732" y="10936"/>
                  </a:cubicBezTo>
                  <a:cubicBezTo>
                    <a:pt x="12732" y="7817"/>
                    <a:pt x="12929" y="4704"/>
                    <a:pt x="13324" y="1617"/>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0" name="Freeform 59">
              <a:extLst>
                <a:ext uri="{FF2B5EF4-FFF2-40B4-BE49-F238E27FC236}">
                  <a16:creationId xmlns:a16="http://schemas.microsoft.com/office/drawing/2014/main" id="{230E67DB-E4AD-47AE-901D-0C5A424F7C7A}"/>
                </a:ext>
              </a:extLst>
            </p:cNvPr>
            <p:cNvSpPr/>
            <p:nvPr/>
          </p:nvSpPr>
          <p:spPr>
            <a:xfrm>
              <a:off x="9067278"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1" name="Freeform 60">
              <a:extLst>
                <a:ext uri="{FF2B5EF4-FFF2-40B4-BE49-F238E27FC236}">
                  <a16:creationId xmlns:a16="http://schemas.microsoft.com/office/drawing/2014/main" id="{5E60FD8F-31FC-4A53-9094-DAC00E75D4D8}"/>
                </a:ext>
              </a:extLst>
            </p:cNvPr>
            <p:cNvSpPr/>
            <p:nvPr/>
          </p:nvSpPr>
          <p:spPr>
            <a:xfrm>
              <a:off x="8991010"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2" name="Freeform 61">
              <a:extLst>
                <a:ext uri="{FF2B5EF4-FFF2-40B4-BE49-F238E27FC236}">
                  <a16:creationId xmlns:a16="http://schemas.microsoft.com/office/drawing/2014/main" id="{5BE8FB0B-C9E9-4834-A5D2-BC0FBDB150EC}"/>
                </a:ext>
              </a:extLst>
            </p:cNvPr>
            <p:cNvSpPr/>
            <p:nvPr/>
          </p:nvSpPr>
          <p:spPr>
            <a:xfrm>
              <a:off x="9085095"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3" name="Freeform 62">
              <a:extLst>
                <a:ext uri="{FF2B5EF4-FFF2-40B4-BE49-F238E27FC236}">
                  <a16:creationId xmlns:a16="http://schemas.microsoft.com/office/drawing/2014/main" id="{EF54E8D2-87A5-4F52-86A6-4D7E2F857871}"/>
                </a:ext>
              </a:extLst>
            </p:cNvPr>
            <p:cNvSpPr/>
            <p:nvPr/>
          </p:nvSpPr>
          <p:spPr>
            <a:xfrm>
              <a:off x="9008828"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4" name="Freeform 63">
              <a:extLst>
                <a:ext uri="{FF2B5EF4-FFF2-40B4-BE49-F238E27FC236}">
                  <a16:creationId xmlns:a16="http://schemas.microsoft.com/office/drawing/2014/main" id="{6BC2FED3-B5C7-4B24-BB4C-4603BAC8D2DD}"/>
                </a:ext>
              </a:extLst>
            </p:cNvPr>
            <p:cNvSpPr/>
            <p:nvPr/>
          </p:nvSpPr>
          <p:spPr>
            <a:xfrm>
              <a:off x="9542727" y="5189911"/>
              <a:ext cx="38194" cy="12731"/>
            </a:xfrm>
            <a:custGeom>
              <a:avLst/>
              <a:gdLst>
                <a:gd name="connsiteX0" fmla="*/ 0 w 38194"/>
                <a:gd name="connsiteY0" fmla="*/ 0 h 12731"/>
                <a:gd name="connsiteX1" fmla="*/ 0 w 38194"/>
                <a:gd name="connsiteY1" fmla="*/ 12731 h 12731"/>
                <a:gd name="connsiteX2" fmla="*/ 38449 w 38194"/>
                <a:gd name="connsiteY2" fmla="*/ 12731 h 12731"/>
                <a:gd name="connsiteX3" fmla="*/ 38131 w 38194"/>
                <a:gd name="connsiteY3" fmla="*/ 0 h 12731"/>
                <a:gd name="connsiteX4" fmla="*/ 0 w 38194"/>
                <a:gd name="connsiteY4" fmla="*/ 0 h 1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4" h="12731">
                  <a:moveTo>
                    <a:pt x="0" y="0"/>
                  </a:moveTo>
                  <a:lnTo>
                    <a:pt x="0" y="12731"/>
                  </a:lnTo>
                  <a:lnTo>
                    <a:pt x="38449" y="12731"/>
                  </a:lnTo>
                  <a:lnTo>
                    <a:pt x="38131" y="0"/>
                  </a:lnTo>
                  <a:lnTo>
                    <a:pt x="0" y="0"/>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5" name="Freeform 64">
              <a:extLst>
                <a:ext uri="{FF2B5EF4-FFF2-40B4-BE49-F238E27FC236}">
                  <a16:creationId xmlns:a16="http://schemas.microsoft.com/office/drawing/2014/main" id="{359C8015-CEAB-4DD7-A46C-8784B81D5B6A}"/>
                </a:ext>
              </a:extLst>
            </p:cNvPr>
            <p:cNvSpPr/>
            <p:nvPr/>
          </p:nvSpPr>
          <p:spPr>
            <a:xfrm>
              <a:off x="9599317" y="5033934"/>
              <a:ext cx="38194" cy="25463"/>
            </a:xfrm>
            <a:custGeom>
              <a:avLst/>
              <a:gdLst>
                <a:gd name="connsiteX0" fmla="*/ 39086 w 38194"/>
                <a:gd name="connsiteY0" fmla="*/ 19428 h 25462"/>
                <a:gd name="connsiteX1" fmla="*/ 3247 w 38194"/>
                <a:gd name="connsiteY1" fmla="*/ 0 h 25462"/>
                <a:gd name="connsiteX2" fmla="*/ 0 w 38194"/>
                <a:gd name="connsiteY2" fmla="*/ 12324 h 25462"/>
                <a:gd name="connsiteX3" fmla="*/ 30555 w 38194"/>
                <a:gd name="connsiteY3" fmla="*/ 28869 h 25462"/>
              </a:gdLst>
              <a:ahLst/>
              <a:cxnLst>
                <a:cxn ang="0">
                  <a:pos x="connsiteX0" y="connsiteY0"/>
                </a:cxn>
                <a:cxn ang="0">
                  <a:pos x="connsiteX1" y="connsiteY1"/>
                </a:cxn>
                <a:cxn ang="0">
                  <a:pos x="connsiteX2" y="connsiteY2"/>
                </a:cxn>
                <a:cxn ang="0">
                  <a:pos x="connsiteX3" y="connsiteY3"/>
                </a:cxn>
              </a:cxnLst>
              <a:rect l="l" t="t" r="r" b="b"/>
              <a:pathLst>
                <a:path w="38194" h="25462">
                  <a:moveTo>
                    <a:pt x="39086" y="19428"/>
                  </a:moveTo>
                  <a:cubicBezTo>
                    <a:pt x="28900" y="10173"/>
                    <a:pt x="16614" y="3508"/>
                    <a:pt x="3247" y="0"/>
                  </a:cubicBezTo>
                  <a:lnTo>
                    <a:pt x="0" y="12324"/>
                  </a:lnTo>
                  <a:cubicBezTo>
                    <a:pt x="11394" y="15310"/>
                    <a:pt x="21834" y="20982"/>
                    <a:pt x="30555" y="28869"/>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6" name="Freeform 65">
              <a:extLst>
                <a:ext uri="{FF2B5EF4-FFF2-40B4-BE49-F238E27FC236}">
                  <a16:creationId xmlns:a16="http://schemas.microsoft.com/office/drawing/2014/main" id="{F136A197-D0E0-47C0-BF04-7065703A082E}"/>
                </a:ext>
              </a:extLst>
            </p:cNvPr>
            <p:cNvSpPr/>
            <p:nvPr/>
          </p:nvSpPr>
          <p:spPr>
            <a:xfrm>
              <a:off x="9524903"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7" name="Freeform 66">
              <a:extLst>
                <a:ext uri="{FF2B5EF4-FFF2-40B4-BE49-F238E27FC236}">
                  <a16:creationId xmlns:a16="http://schemas.microsoft.com/office/drawing/2014/main" id="{BAD0E95B-2917-499C-8BF2-0CD0B2C6EB2C}"/>
                </a:ext>
              </a:extLst>
            </p:cNvPr>
            <p:cNvSpPr/>
            <p:nvPr/>
          </p:nvSpPr>
          <p:spPr>
            <a:xfrm>
              <a:off x="9296093"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8" name="Freeform 67">
              <a:extLst>
                <a:ext uri="{FF2B5EF4-FFF2-40B4-BE49-F238E27FC236}">
                  <a16:creationId xmlns:a16="http://schemas.microsoft.com/office/drawing/2014/main" id="{128C5E66-E2E2-4B3B-B9EA-B242DC521A07}"/>
                </a:ext>
              </a:extLst>
            </p:cNvPr>
            <p:cNvSpPr/>
            <p:nvPr/>
          </p:nvSpPr>
          <p:spPr>
            <a:xfrm>
              <a:off x="9649352" y="5087145"/>
              <a:ext cx="12731" cy="38194"/>
            </a:xfrm>
            <a:custGeom>
              <a:avLst/>
              <a:gdLst>
                <a:gd name="connsiteX0" fmla="*/ 0 w 12731"/>
                <a:gd name="connsiteY0" fmla="*/ 4411 h 38194"/>
                <a:gd name="connsiteX1" fmla="*/ 4519 w 12731"/>
                <a:gd name="connsiteY1" fmla="*/ 29760 h 38194"/>
                <a:gd name="connsiteX2" fmla="*/ 3947 w 12731"/>
                <a:gd name="connsiteY2" fmla="*/ 38933 h 38194"/>
                <a:gd name="connsiteX3" fmla="*/ 16551 w 12731"/>
                <a:gd name="connsiteY3" fmla="*/ 40512 h 38194"/>
                <a:gd name="connsiteX4" fmla="*/ 17251 w 12731"/>
                <a:gd name="connsiteY4" fmla="*/ 29760 h 38194"/>
                <a:gd name="connsiteX5" fmla="*/ 11968 w 12731"/>
                <a:gd name="connsiteY5" fmla="*/ 0 h 3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31" h="38194">
                  <a:moveTo>
                    <a:pt x="0" y="4411"/>
                  </a:moveTo>
                  <a:cubicBezTo>
                    <a:pt x="2992" y="12528"/>
                    <a:pt x="4519" y="21109"/>
                    <a:pt x="4519" y="29760"/>
                  </a:cubicBezTo>
                  <a:cubicBezTo>
                    <a:pt x="4519" y="32822"/>
                    <a:pt x="4328" y="35890"/>
                    <a:pt x="3947" y="38933"/>
                  </a:cubicBezTo>
                  <a:lnTo>
                    <a:pt x="16551" y="40512"/>
                  </a:lnTo>
                  <a:cubicBezTo>
                    <a:pt x="16997" y="36947"/>
                    <a:pt x="17251" y="33350"/>
                    <a:pt x="17251" y="29760"/>
                  </a:cubicBezTo>
                  <a:cubicBezTo>
                    <a:pt x="17251" y="19600"/>
                    <a:pt x="15468" y="9523"/>
                    <a:pt x="11968" y="0"/>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69" name="Freeform 68">
              <a:extLst>
                <a:ext uri="{FF2B5EF4-FFF2-40B4-BE49-F238E27FC236}">
                  <a16:creationId xmlns:a16="http://schemas.microsoft.com/office/drawing/2014/main" id="{4C1366D2-A347-4DC1-85CF-99436E0A6BD6}"/>
                </a:ext>
              </a:extLst>
            </p:cNvPr>
            <p:cNvSpPr/>
            <p:nvPr/>
          </p:nvSpPr>
          <p:spPr>
            <a:xfrm>
              <a:off x="9448642"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0" name="Freeform 69">
              <a:extLst>
                <a:ext uri="{FF2B5EF4-FFF2-40B4-BE49-F238E27FC236}">
                  <a16:creationId xmlns:a16="http://schemas.microsoft.com/office/drawing/2014/main" id="{76C0CDBF-DE7E-4D8A-9175-A267C4C32C97}"/>
                </a:ext>
              </a:extLst>
            </p:cNvPr>
            <p:cNvSpPr/>
            <p:nvPr/>
          </p:nvSpPr>
          <p:spPr>
            <a:xfrm>
              <a:off x="9390185"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1" name="Freeform 70">
              <a:extLst>
                <a:ext uri="{FF2B5EF4-FFF2-40B4-BE49-F238E27FC236}">
                  <a16:creationId xmlns:a16="http://schemas.microsoft.com/office/drawing/2014/main" id="{C00063DA-B7C6-43EE-A382-1A84BD555433}"/>
                </a:ext>
              </a:extLst>
            </p:cNvPr>
            <p:cNvSpPr/>
            <p:nvPr/>
          </p:nvSpPr>
          <p:spPr>
            <a:xfrm>
              <a:off x="9372361"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2" name="Freeform 71">
              <a:extLst>
                <a:ext uri="{FF2B5EF4-FFF2-40B4-BE49-F238E27FC236}">
                  <a16:creationId xmlns:a16="http://schemas.microsoft.com/office/drawing/2014/main" id="{4A64FAF5-8B33-41F8-8C32-CB92A31E92D7}"/>
                </a:ext>
              </a:extLst>
            </p:cNvPr>
            <p:cNvSpPr/>
            <p:nvPr/>
          </p:nvSpPr>
          <p:spPr>
            <a:xfrm>
              <a:off x="9466466"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3" name="Freeform 72">
              <a:extLst>
                <a:ext uri="{FF2B5EF4-FFF2-40B4-BE49-F238E27FC236}">
                  <a16:creationId xmlns:a16="http://schemas.microsoft.com/office/drawing/2014/main" id="{EFFCEE64-DFED-4F7C-BB43-6C3F661A4439}"/>
                </a:ext>
              </a:extLst>
            </p:cNvPr>
            <p:cNvSpPr/>
            <p:nvPr/>
          </p:nvSpPr>
          <p:spPr>
            <a:xfrm>
              <a:off x="9313911"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4" name="Freeform 73">
              <a:extLst>
                <a:ext uri="{FF2B5EF4-FFF2-40B4-BE49-F238E27FC236}">
                  <a16:creationId xmlns:a16="http://schemas.microsoft.com/office/drawing/2014/main" id="{C8CD1618-2E49-4868-81E3-04A5F421F393}"/>
                </a:ext>
              </a:extLst>
            </p:cNvPr>
            <p:cNvSpPr/>
            <p:nvPr/>
          </p:nvSpPr>
          <p:spPr>
            <a:xfrm>
              <a:off x="8398661"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5" name="Freeform 74">
              <a:extLst>
                <a:ext uri="{FF2B5EF4-FFF2-40B4-BE49-F238E27FC236}">
                  <a16:creationId xmlns:a16="http://schemas.microsoft.com/office/drawing/2014/main" id="{62D1CABD-B0AE-4054-8672-7E67F7A7DB92}"/>
                </a:ext>
              </a:extLst>
            </p:cNvPr>
            <p:cNvSpPr/>
            <p:nvPr/>
          </p:nvSpPr>
          <p:spPr>
            <a:xfrm>
              <a:off x="8457111"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6" name="Freeform 75">
              <a:extLst>
                <a:ext uri="{FF2B5EF4-FFF2-40B4-BE49-F238E27FC236}">
                  <a16:creationId xmlns:a16="http://schemas.microsoft.com/office/drawing/2014/main" id="{FB913A0C-C298-4B01-B5E7-D00B8DD5F0D9}"/>
                </a:ext>
              </a:extLst>
            </p:cNvPr>
            <p:cNvSpPr/>
            <p:nvPr/>
          </p:nvSpPr>
          <p:spPr>
            <a:xfrm>
              <a:off x="8474929"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7" name="Freeform 76">
              <a:extLst>
                <a:ext uri="{FF2B5EF4-FFF2-40B4-BE49-F238E27FC236}">
                  <a16:creationId xmlns:a16="http://schemas.microsoft.com/office/drawing/2014/main" id="{18E5FEC5-0AC6-4C5D-9837-34C3ADEE021B}"/>
                </a:ext>
              </a:extLst>
            </p:cNvPr>
            <p:cNvSpPr/>
            <p:nvPr/>
          </p:nvSpPr>
          <p:spPr>
            <a:xfrm>
              <a:off x="8551196" y="5189911"/>
              <a:ext cx="31829" cy="12731"/>
            </a:xfrm>
            <a:custGeom>
              <a:avLst/>
              <a:gdLst>
                <a:gd name="connsiteX0" fmla="*/ 0 w 31828"/>
                <a:gd name="connsiteY0" fmla="*/ 0 h 12731"/>
                <a:gd name="connsiteX1" fmla="*/ 38139 w 31828"/>
                <a:gd name="connsiteY1" fmla="*/ 0 h 12731"/>
                <a:gd name="connsiteX2" fmla="*/ 38139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9" y="0"/>
                  </a:lnTo>
                  <a:lnTo>
                    <a:pt x="38139"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8" name="Freeform 77">
              <a:extLst>
                <a:ext uri="{FF2B5EF4-FFF2-40B4-BE49-F238E27FC236}">
                  <a16:creationId xmlns:a16="http://schemas.microsoft.com/office/drawing/2014/main" id="{FC79D2A1-2357-4479-9E73-40FE4842676C}"/>
                </a:ext>
              </a:extLst>
            </p:cNvPr>
            <p:cNvSpPr/>
            <p:nvPr/>
          </p:nvSpPr>
          <p:spPr>
            <a:xfrm>
              <a:off x="8310635" y="5040924"/>
              <a:ext cx="31829" cy="31829"/>
            </a:xfrm>
            <a:custGeom>
              <a:avLst/>
              <a:gdLst>
                <a:gd name="connsiteX0" fmla="*/ 36501 w 31828"/>
                <a:gd name="connsiteY0" fmla="*/ 11280 h 31828"/>
                <a:gd name="connsiteX1" fmla="*/ 30587 w 31828"/>
                <a:gd name="connsiteY1" fmla="*/ 0 h 31828"/>
                <a:gd name="connsiteX2" fmla="*/ 0 w 31828"/>
                <a:gd name="connsiteY2" fmla="*/ 26978 h 31828"/>
                <a:gd name="connsiteX3" fmla="*/ 10440 w 31828"/>
                <a:gd name="connsiteY3" fmla="*/ 34267 h 31828"/>
                <a:gd name="connsiteX4" fmla="*/ 36501 w 31828"/>
                <a:gd name="connsiteY4" fmla="*/ 11280 h 3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28" h="31828">
                  <a:moveTo>
                    <a:pt x="36501" y="11280"/>
                  </a:moveTo>
                  <a:lnTo>
                    <a:pt x="30587" y="0"/>
                  </a:lnTo>
                  <a:cubicBezTo>
                    <a:pt x="18384" y="6429"/>
                    <a:pt x="7900" y="15679"/>
                    <a:pt x="0" y="26978"/>
                  </a:cubicBezTo>
                  <a:lnTo>
                    <a:pt x="10440" y="34267"/>
                  </a:lnTo>
                  <a:cubicBezTo>
                    <a:pt x="17168" y="24635"/>
                    <a:pt x="26106" y="16755"/>
                    <a:pt x="36501" y="11280"/>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9" name="Freeform 78">
              <a:extLst>
                <a:ext uri="{FF2B5EF4-FFF2-40B4-BE49-F238E27FC236}">
                  <a16:creationId xmlns:a16="http://schemas.microsoft.com/office/drawing/2014/main" id="{CD34A58D-5E35-46C4-B6B0-BE37E7912E40}"/>
                </a:ext>
              </a:extLst>
            </p:cNvPr>
            <p:cNvSpPr/>
            <p:nvPr/>
          </p:nvSpPr>
          <p:spPr>
            <a:xfrm>
              <a:off x="8380837" y="5031163"/>
              <a:ext cx="31829" cy="12731"/>
            </a:xfrm>
            <a:custGeom>
              <a:avLst/>
              <a:gdLst>
                <a:gd name="connsiteX0" fmla="*/ 38137 w 31828"/>
                <a:gd name="connsiteY0" fmla="*/ 0 h 12731"/>
                <a:gd name="connsiteX1" fmla="*/ 0 w 31828"/>
                <a:gd name="connsiteY1" fmla="*/ 0 h 12731"/>
                <a:gd name="connsiteX2" fmla="*/ 166 w 31828"/>
                <a:gd name="connsiteY2" fmla="*/ 12731 h 12731"/>
                <a:gd name="connsiteX3" fmla="*/ 38137 w 31828"/>
                <a:gd name="connsiteY3" fmla="*/ 12731 h 12731"/>
                <a:gd name="connsiteX4" fmla="*/ 38137 w 31828"/>
                <a:gd name="connsiteY4" fmla="*/ 0 h 1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28" h="12731">
                  <a:moveTo>
                    <a:pt x="38137" y="0"/>
                  </a:moveTo>
                  <a:lnTo>
                    <a:pt x="0" y="0"/>
                  </a:lnTo>
                  <a:lnTo>
                    <a:pt x="166" y="12731"/>
                  </a:lnTo>
                  <a:lnTo>
                    <a:pt x="38137" y="12731"/>
                  </a:lnTo>
                  <a:lnTo>
                    <a:pt x="38137" y="0"/>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0" name="Freeform 79">
              <a:extLst>
                <a:ext uri="{FF2B5EF4-FFF2-40B4-BE49-F238E27FC236}">
                  <a16:creationId xmlns:a16="http://schemas.microsoft.com/office/drawing/2014/main" id="{BC8EA6B7-7DB4-4EE2-B4F3-39F633C3CBB1}"/>
                </a:ext>
              </a:extLst>
            </p:cNvPr>
            <p:cNvSpPr/>
            <p:nvPr/>
          </p:nvSpPr>
          <p:spPr>
            <a:xfrm>
              <a:off x="8323303" y="5170912"/>
              <a:ext cx="38194" cy="25463"/>
            </a:xfrm>
            <a:custGeom>
              <a:avLst/>
              <a:gdLst>
                <a:gd name="connsiteX0" fmla="*/ 0 w 38194"/>
                <a:gd name="connsiteY0" fmla="*/ 9409 h 25462"/>
                <a:gd name="connsiteX1" fmla="*/ 35833 w 38194"/>
                <a:gd name="connsiteY1" fmla="*/ 28913 h 25462"/>
                <a:gd name="connsiteX2" fmla="*/ 39067 w 38194"/>
                <a:gd name="connsiteY2" fmla="*/ 16602 h 25462"/>
                <a:gd name="connsiteX3" fmla="*/ 8568 w 38194"/>
                <a:gd name="connsiteY3" fmla="*/ 0 h 25462"/>
              </a:gdLst>
              <a:ahLst/>
              <a:cxnLst>
                <a:cxn ang="0">
                  <a:pos x="connsiteX0" y="connsiteY0"/>
                </a:cxn>
                <a:cxn ang="0">
                  <a:pos x="connsiteX1" y="connsiteY1"/>
                </a:cxn>
                <a:cxn ang="0">
                  <a:pos x="connsiteX2" y="connsiteY2"/>
                </a:cxn>
                <a:cxn ang="0">
                  <a:pos x="connsiteX3" y="connsiteY3"/>
                </a:cxn>
              </a:cxnLst>
              <a:rect l="l" t="t" r="r" b="b"/>
              <a:pathLst>
                <a:path w="38194" h="25462">
                  <a:moveTo>
                    <a:pt x="0" y="9409"/>
                  </a:moveTo>
                  <a:cubicBezTo>
                    <a:pt x="10204" y="18696"/>
                    <a:pt x="22490" y="25387"/>
                    <a:pt x="35833" y="28913"/>
                  </a:cubicBezTo>
                  <a:lnTo>
                    <a:pt x="39067" y="16602"/>
                  </a:lnTo>
                  <a:cubicBezTo>
                    <a:pt x="27716" y="13597"/>
                    <a:pt x="17257" y="7906"/>
                    <a:pt x="8568" y="0"/>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1" name="Freeform 80">
              <a:extLst>
                <a:ext uri="{FF2B5EF4-FFF2-40B4-BE49-F238E27FC236}">
                  <a16:creationId xmlns:a16="http://schemas.microsoft.com/office/drawing/2014/main" id="{D4F3301C-FE0A-4C29-8689-9831BD87D907}"/>
                </a:ext>
              </a:extLst>
            </p:cNvPr>
            <p:cNvSpPr/>
            <p:nvPr/>
          </p:nvSpPr>
          <p:spPr>
            <a:xfrm>
              <a:off x="8627470"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2" name="Freeform 81">
              <a:extLst>
                <a:ext uri="{FF2B5EF4-FFF2-40B4-BE49-F238E27FC236}">
                  <a16:creationId xmlns:a16="http://schemas.microsoft.com/office/drawing/2014/main" id="{B3811BB5-6E1A-4B78-B0CD-C1675D6A3D3B}"/>
                </a:ext>
              </a:extLst>
            </p:cNvPr>
            <p:cNvSpPr/>
            <p:nvPr/>
          </p:nvSpPr>
          <p:spPr>
            <a:xfrm>
              <a:off x="8932560"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3" name="Freeform 82">
              <a:extLst>
                <a:ext uri="{FF2B5EF4-FFF2-40B4-BE49-F238E27FC236}">
                  <a16:creationId xmlns:a16="http://schemas.microsoft.com/office/drawing/2014/main" id="{1914E618-FB1D-4FF5-97CD-113BDF8D4350}"/>
                </a:ext>
              </a:extLst>
            </p:cNvPr>
            <p:cNvSpPr/>
            <p:nvPr/>
          </p:nvSpPr>
          <p:spPr>
            <a:xfrm>
              <a:off x="8533379" y="5031163"/>
              <a:ext cx="31829" cy="12731"/>
            </a:xfrm>
            <a:custGeom>
              <a:avLst/>
              <a:gdLst>
                <a:gd name="connsiteX0" fmla="*/ 0 w 31828"/>
                <a:gd name="connsiteY0" fmla="*/ 0 h 12731"/>
                <a:gd name="connsiteX1" fmla="*/ 38138 w 31828"/>
                <a:gd name="connsiteY1" fmla="*/ 0 h 12731"/>
                <a:gd name="connsiteX2" fmla="*/ 38138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8" y="0"/>
                  </a:lnTo>
                  <a:lnTo>
                    <a:pt x="38138"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4" name="Freeform 83">
              <a:extLst>
                <a:ext uri="{FF2B5EF4-FFF2-40B4-BE49-F238E27FC236}">
                  <a16:creationId xmlns:a16="http://schemas.microsoft.com/office/drawing/2014/main" id="{66CEA637-405B-4248-8426-561CA47209E8}"/>
                </a:ext>
              </a:extLst>
            </p:cNvPr>
            <p:cNvSpPr/>
            <p:nvPr/>
          </p:nvSpPr>
          <p:spPr>
            <a:xfrm>
              <a:off x="8856286" y="5189911"/>
              <a:ext cx="31829" cy="12731"/>
            </a:xfrm>
            <a:custGeom>
              <a:avLst/>
              <a:gdLst>
                <a:gd name="connsiteX0" fmla="*/ 0 w 31828"/>
                <a:gd name="connsiteY0" fmla="*/ 0 h 12731"/>
                <a:gd name="connsiteX1" fmla="*/ 38139 w 31828"/>
                <a:gd name="connsiteY1" fmla="*/ 0 h 12731"/>
                <a:gd name="connsiteX2" fmla="*/ 38139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9" y="0"/>
                  </a:lnTo>
                  <a:lnTo>
                    <a:pt x="38139"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5" name="Freeform 84">
              <a:extLst>
                <a:ext uri="{FF2B5EF4-FFF2-40B4-BE49-F238E27FC236}">
                  <a16:creationId xmlns:a16="http://schemas.microsoft.com/office/drawing/2014/main" id="{041D87B3-B608-405A-9B74-F59F1C997DF5}"/>
                </a:ext>
              </a:extLst>
            </p:cNvPr>
            <p:cNvSpPr/>
            <p:nvPr/>
          </p:nvSpPr>
          <p:spPr>
            <a:xfrm>
              <a:off x="8780012"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6" name="Freeform 85">
              <a:extLst>
                <a:ext uri="{FF2B5EF4-FFF2-40B4-BE49-F238E27FC236}">
                  <a16:creationId xmlns:a16="http://schemas.microsoft.com/office/drawing/2014/main" id="{86C6282F-0425-4FC5-AF11-04701C7C0B19}"/>
                </a:ext>
              </a:extLst>
            </p:cNvPr>
            <p:cNvSpPr/>
            <p:nvPr/>
          </p:nvSpPr>
          <p:spPr>
            <a:xfrm>
              <a:off x="8762194"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7" name="Freeform 86">
              <a:extLst>
                <a:ext uri="{FF2B5EF4-FFF2-40B4-BE49-F238E27FC236}">
                  <a16:creationId xmlns:a16="http://schemas.microsoft.com/office/drawing/2014/main" id="{455457FF-7AEF-4FF7-9B4B-C83C041AC43E}"/>
                </a:ext>
              </a:extLst>
            </p:cNvPr>
            <p:cNvSpPr/>
            <p:nvPr/>
          </p:nvSpPr>
          <p:spPr>
            <a:xfrm>
              <a:off x="8838468"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8" name="Freeform 87">
              <a:extLst>
                <a:ext uri="{FF2B5EF4-FFF2-40B4-BE49-F238E27FC236}">
                  <a16:creationId xmlns:a16="http://schemas.microsoft.com/office/drawing/2014/main" id="{50B43559-305B-4CA4-9F2D-0F2FF6FC91CD}"/>
                </a:ext>
              </a:extLst>
            </p:cNvPr>
            <p:cNvSpPr/>
            <p:nvPr/>
          </p:nvSpPr>
          <p:spPr>
            <a:xfrm>
              <a:off x="8685920"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89" name="Freeform 88">
              <a:extLst>
                <a:ext uri="{FF2B5EF4-FFF2-40B4-BE49-F238E27FC236}">
                  <a16:creationId xmlns:a16="http://schemas.microsoft.com/office/drawing/2014/main" id="{BA17403D-6D19-4BDF-8FE6-F9561507AA42}"/>
                </a:ext>
              </a:extLst>
            </p:cNvPr>
            <p:cNvSpPr/>
            <p:nvPr/>
          </p:nvSpPr>
          <p:spPr>
            <a:xfrm>
              <a:off x="8703744"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0" name="Freeform 89">
              <a:extLst>
                <a:ext uri="{FF2B5EF4-FFF2-40B4-BE49-F238E27FC236}">
                  <a16:creationId xmlns:a16="http://schemas.microsoft.com/office/drawing/2014/main" id="{2A807530-FABF-4173-8503-EDCDAA1C9315}"/>
                </a:ext>
              </a:extLst>
            </p:cNvPr>
            <p:cNvSpPr/>
            <p:nvPr/>
          </p:nvSpPr>
          <p:spPr>
            <a:xfrm>
              <a:off x="8609653"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1" name="Freeform 90">
              <a:extLst>
                <a:ext uri="{FF2B5EF4-FFF2-40B4-BE49-F238E27FC236}">
                  <a16:creationId xmlns:a16="http://schemas.microsoft.com/office/drawing/2014/main" id="{F2008534-3E3D-4927-8457-73F3BB4D9347}"/>
                </a:ext>
              </a:extLst>
            </p:cNvPr>
            <p:cNvSpPr/>
            <p:nvPr/>
          </p:nvSpPr>
          <p:spPr>
            <a:xfrm>
              <a:off x="7212250" y="4075856"/>
              <a:ext cx="534720" cy="521989"/>
            </a:xfrm>
            <a:custGeom>
              <a:avLst/>
              <a:gdLst>
                <a:gd name="connsiteX0" fmla="*/ 450324 w 534720"/>
                <a:gd name="connsiteY0" fmla="*/ 317815 h 521988"/>
                <a:gd name="connsiteX1" fmla="*/ 535656 w 534720"/>
                <a:gd name="connsiteY1" fmla="*/ 319610 h 521988"/>
                <a:gd name="connsiteX2" fmla="*/ 537750 w 534720"/>
                <a:gd name="connsiteY2" fmla="*/ 219725 h 521988"/>
                <a:gd name="connsiteX3" fmla="*/ 452462 w 534720"/>
                <a:gd name="connsiteY3" fmla="*/ 217937 h 521988"/>
                <a:gd name="connsiteX4" fmla="*/ 390976 w 534720"/>
                <a:gd name="connsiteY4" fmla="*/ 119427 h 521988"/>
                <a:gd name="connsiteX5" fmla="*/ 426866 w 534720"/>
                <a:gd name="connsiteY5" fmla="*/ 42020 h 521988"/>
                <a:gd name="connsiteX6" fmla="*/ 336224 w 534720"/>
                <a:gd name="connsiteY6" fmla="*/ 0 h 521988"/>
                <a:gd name="connsiteX7" fmla="*/ 300322 w 534720"/>
                <a:gd name="connsiteY7" fmla="*/ 77452 h 521988"/>
                <a:gd name="connsiteX8" fmla="*/ 215238 w 534720"/>
                <a:gd name="connsiteY8" fmla="*/ 82544 h 521988"/>
                <a:gd name="connsiteX9" fmla="*/ 170309 w 534720"/>
                <a:gd name="connsiteY9" fmla="*/ 9994 h 521988"/>
                <a:gd name="connsiteX10" fmla="*/ 85371 w 534720"/>
                <a:gd name="connsiteY10" fmla="*/ 62601 h 521988"/>
                <a:gd name="connsiteX11" fmla="*/ 130300 w 534720"/>
                <a:gd name="connsiteY11" fmla="*/ 135144 h 521988"/>
                <a:gd name="connsiteX12" fmla="*/ 87427 w 534720"/>
                <a:gd name="connsiteY12" fmla="*/ 210285 h 521988"/>
                <a:gd name="connsiteX13" fmla="*/ 2094 w 534720"/>
                <a:gd name="connsiteY13" fmla="*/ 208490 h 521988"/>
                <a:gd name="connsiteX14" fmla="*/ 0 w 534720"/>
                <a:gd name="connsiteY14" fmla="*/ 308374 h 521988"/>
                <a:gd name="connsiteX15" fmla="*/ 85294 w 534720"/>
                <a:gd name="connsiteY15" fmla="*/ 310157 h 521988"/>
                <a:gd name="connsiteX16" fmla="*/ 146774 w 534720"/>
                <a:gd name="connsiteY16" fmla="*/ 408673 h 521988"/>
                <a:gd name="connsiteX17" fmla="*/ 110891 w 534720"/>
                <a:gd name="connsiteY17" fmla="*/ 486080 h 521988"/>
                <a:gd name="connsiteX18" fmla="*/ 201526 w 534720"/>
                <a:gd name="connsiteY18" fmla="*/ 528106 h 521988"/>
                <a:gd name="connsiteX19" fmla="*/ 237429 w 534720"/>
                <a:gd name="connsiteY19" fmla="*/ 450648 h 521988"/>
                <a:gd name="connsiteX20" fmla="*/ 322519 w 534720"/>
                <a:gd name="connsiteY20" fmla="*/ 445556 h 521988"/>
                <a:gd name="connsiteX21" fmla="*/ 367442 w 534720"/>
                <a:gd name="connsiteY21" fmla="*/ 518099 h 521988"/>
                <a:gd name="connsiteX22" fmla="*/ 452380 w 534720"/>
                <a:gd name="connsiteY22" fmla="*/ 465506 h 521988"/>
                <a:gd name="connsiteX23" fmla="*/ 407457 w 534720"/>
                <a:gd name="connsiteY23" fmla="*/ 392956 h 521988"/>
                <a:gd name="connsiteX24" fmla="*/ 450324 w 534720"/>
                <a:gd name="connsiteY24" fmla="*/ 317815 h 521988"/>
                <a:gd name="connsiteX25" fmla="*/ 434855 w 534720"/>
                <a:gd name="connsiteY25" fmla="*/ 461381 h 521988"/>
                <a:gd name="connsiteX26" fmla="*/ 371567 w 534720"/>
                <a:gd name="connsiteY26" fmla="*/ 500568 h 521988"/>
                <a:gd name="connsiteX27" fmla="*/ 328121 w 534720"/>
                <a:gd name="connsiteY27" fmla="*/ 430418 h 521988"/>
                <a:gd name="connsiteX28" fmla="*/ 323366 w 534720"/>
                <a:gd name="connsiteY28" fmla="*/ 431958 h 521988"/>
                <a:gd name="connsiteX29" fmla="*/ 234952 w 534720"/>
                <a:gd name="connsiteY29" fmla="*/ 437255 h 521988"/>
                <a:gd name="connsiteX30" fmla="*/ 230051 w 534720"/>
                <a:gd name="connsiteY30" fmla="*/ 436300 h 521988"/>
                <a:gd name="connsiteX31" fmla="*/ 195332 w 534720"/>
                <a:gd name="connsiteY31" fmla="*/ 511193 h 521988"/>
                <a:gd name="connsiteX32" fmla="*/ 127792 w 534720"/>
                <a:gd name="connsiteY32" fmla="*/ 479886 h 521988"/>
                <a:gd name="connsiteX33" fmla="*/ 162498 w 534720"/>
                <a:gd name="connsiteY33" fmla="*/ 405019 h 521988"/>
                <a:gd name="connsiteX34" fmla="*/ 158602 w 534720"/>
                <a:gd name="connsiteY34" fmla="*/ 401900 h 521988"/>
                <a:gd name="connsiteX35" fmla="*/ 96568 w 534720"/>
                <a:gd name="connsiteY35" fmla="*/ 302512 h 521988"/>
                <a:gd name="connsiteX36" fmla="*/ 95480 w 534720"/>
                <a:gd name="connsiteY36" fmla="*/ 297636 h 521988"/>
                <a:gd name="connsiteX37" fmla="*/ 12999 w 534720"/>
                <a:gd name="connsiteY37" fmla="*/ 295917 h 521988"/>
                <a:gd name="connsiteX38" fmla="*/ 14558 w 534720"/>
                <a:gd name="connsiteY38" fmla="*/ 221482 h 521988"/>
                <a:gd name="connsiteX39" fmla="*/ 97077 w 534720"/>
                <a:gd name="connsiteY39" fmla="*/ 223220 h 521988"/>
                <a:gd name="connsiteX40" fmla="*/ 98363 w 534720"/>
                <a:gd name="connsiteY40" fmla="*/ 218395 h 521988"/>
                <a:gd name="connsiteX41" fmla="*/ 142847 w 534720"/>
                <a:gd name="connsiteY41" fmla="*/ 140441 h 521988"/>
                <a:gd name="connsiteX42" fmla="*/ 146348 w 534720"/>
                <a:gd name="connsiteY42" fmla="*/ 136876 h 521988"/>
                <a:gd name="connsiteX43" fmla="*/ 102895 w 534720"/>
                <a:gd name="connsiteY43" fmla="*/ 66713 h 521988"/>
                <a:gd name="connsiteX44" fmla="*/ 166190 w 534720"/>
                <a:gd name="connsiteY44" fmla="*/ 27525 h 521988"/>
                <a:gd name="connsiteX45" fmla="*/ 209636 w 534720"/>
                <a:gd name="connsiteY45" fmla="*/ 97682 h 521988"/>
                <a:gd name="connsiteX46" fmla="*/ 214384 w 534720"/>
                <a:gd name="connsiteY46" fmla="*/ 96141 h 521988"/>
                <a:gd name="connsiteX47" fmla="*/ 302798 w 534720"/>
                <a:gd name="connsiteY47" fmla="*/ 90839 h 521988"/>
                <a:gd name="connsiteX48" fmla="*/ 307700 w 534720"/>
                <a:gd name="connsiteY48" fmla="*/ 91794 h 521988"/>
                <a:gd name="connsiteX49" fmla="*/ 342425 w 534720"/>
                <a:gd name="connsiteY49" fmla="*/ 16907 h 521988"/>
                <a:gd name="connsiteX50" fmla="*/ 409959 w 534720"/>
                <a:gd name="connsiteY50" fmla="*/ 48214 h 521988"/>
                <a:gd name="connsiteX51" fmla="*/ 375253 w 534720"/>
                <a:gd name="connsiteY51" fmla="*/ 123081 h 521988"/>
                <a:gd name="connsiteX52" fmla="*/ 379155 w 534720"/>
                <a:gd name="connsiteY52" fmla="*/ 126200 h 521988"/>
                <a:gd name="connsiteX53" fmla="*/ 441189 w 534720"/>
                <a:gd name="connsiteY53" fmla="*/ 225582 h 521988"/>
                <a:gd name="connsiteX54" fmla="*/ 442277 w 534720"/>
                <a:gd name="connsiteY54" fmla="*/ 230458 h 521988"/>
                <a:gd name="connsiteX55" fmla="*/ 524758 w 534720"/>
                <a:gd name="connsiteY55" fmla="*/ 232183 h 521988"/>
                <a:gd name="connsiteX56" fmla="*/ 523192 w 534720"/>
                <a:gd name="connsiteY56" fmla="*/ 306617 h 521988"/>
                <a:gd name="connsiteX57" fmla="*/ 440679 w 534720"/>
                <a:gd name="connsiteY57" fmla="*/ 304880 h 521988"/>
                <a:gd name="connsiteX58" fmla="*/ 439387 w 534720"/>
                <a:gd name="connsiteY58" fmla="*/ 309705 h 521988"/>
                <a:gd name="connsiteX59" fmla="*/ 394910 w 534720"/>
                <a:gd name="connsiteY59" fmla="*/ 387660 h 521988"/>
                <a:gd name="connsiteX60" fmla="*/ 391409 w 534720"/>
                <a:gd name="connsiteY60" fmla="*/ 391224 h 52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34720" h="521988">
                  <a:moveTo>
                    <a:pt x="450324" y="317815"/>
                  </a:moveTo>
                  <a:lnTo>
                    <a:pt x="535656" y="319610"/>
                  </a:lnTo>
                  <a:lnTo>
                    <a:pt x="537750" y="219725"/>
                  </a:lnTo>
                  <a:lnTo>
                    <a:pt x="452462" y="217937"/>
                  </a:lnTo>
                  <a:cubicBezTo>
                    <a:pt x="442978" y="179392"/>
                    <a:pt x="421436" y="144884"/>
                    <a:pt x="390976" y="119427"/>
                  </a:cubicBezTo>
                  <a:lnTo>
                    <a:pt x="426866" y="42020"/>
                  </a:lnTo>
                  <a:lnTo>
                    <a:pt x="336224" y="0"/>
                  </a:lnTo>
                  <a:lnTo>
                    <a:pt x="300322" y="77452"/>
                  </a:lnTo>
                  <a:cubicBezTo>
                    <a:pt x="271944" y="72665"/>
                    <a:pt x="242846" y="74409"/>
                    <a:pt x="215238" y="82544"/>
                  </a:cubicBezTo>
                  <a:lnTo>
                    <a:pt x="170309" y="9994"/>
                  </a:lnTo>
                  <a:lnTo>
                    <a:pt x="85371" y="62601"/>
                  </a:lnTo>
                  <a:lnTo>
                    <a:pt x="130300" y="135144"/>
                  </a:lnTo>
                  <a:cubicBezTo>
                    <a:pt x="110407" y="156552"/>
                    <a:pt x="95734" y="182263"/>
                    <a:pt x="87427" y="210285"/>
                  </a:cubicBezTo>
                  <a:lnTo>
                    <a:pt x="2094" y="208490"/>
                  </a:lnTo>
                  <a:lnTo>
                    <a:pt x="0" y="308374"/>
                  </a:lnTo>
                  <a:lnTo>
                    <a:pt x="85294" y="310157"/>
                  </a:lnTo>
                  <a:cubicBezTo>
                    <a:pt x="94773" y="348708"/>
                    <a:pt x="116315" y="383223"/>
                    <a:pt x="146774" y="408673"/>
                  </a:cubicBezTo>
                  <a:lnTo>
                    <a:pt x="110891" y="486080"/>
                  </a:lnTo>
                  <a:lnTo>
                    <a:pt x="201526" y="528106"/>
                  </a:lnTo>
                  <a:lnTo>
                    <a:pt x="237429" y="450648"/>
                  </a:lnTo>
                  <a:cubicBezTo>
                    <a:pt x="265813" y="455435"/>
                    <a:pt x="294911" y="453697"/>
                    <a:pt x="322519" y="445556"/>
                  </a:cubicBezTo>
                  <a:lnTo>
                    <a:pt x="367442" y="518099"/>
                  </a:lnTo>
                  <a:lnTo>
                    <a:pt x="452380" y="465506"/>
                  </a:lnTo>
                  <a:lnTo>
                    <a:pt x="407457" y="392956"/>
                  </a:lnTo>
                  <a:cubicBezTo>
                    <a:pt x="427350" y="371548"/>
                    <a:pt x="442023" y="345837"/>
                    <a:pt x="450324" y="317815"/>
                  </a:cubicBezTo>
                  <a:close/>
                  <a:moveTo>
                    <a:pt x="434855" y="461381"/>
                  </a:moveTo>
                  <a:lnTo>
                    <a:pt x="371567" y="500568"/>
                  </a:lnTo>
                  <a:lnTo>
                    <a:pt x="328121" y="430418"/>
                  </a:lnTo>
                  <a:lnTo>
                    <a:pt x="323366" y="431958"/>
                  </a:lnTo>
                  <a:cubicBezTo>
                    <a:pt x="294822" y="441202"/>
                    <a:pt x="264394" y="443022"/>
                    <a:pt x="234952" y="437255"/>
                  </a:cubicBezTo>
                  <a:lnTo>
                    <a:pt x="230051" y="436300"/>
                  </a:lnTo>
                  <a:lnTo>
                    <a:pt x="195332" y="511193"/>
                  </a:lnTo>
                  <a:lnTo>
                    <a:pt x="127792" y="479886"/>
                  </a:lnTo>
                  <a:lnTo>
                    <a:pt x="162498" y="405019"/>
                  </a:lnTo>
                  <a:lnTo>
                    <a:pt x="158602" y="401900"/>
                  </a:lnTo>
                  <a:cubicBezTo>
                    <a:pt x="127053" y="376940"/>
                    <a:pt x="105130" y="341820"/>
                    <a:pt x="96568" y="302512"/>
                  </a:cubicBezTo>
                  <a:lnTo>
                    <a:pt x="95480" y="297636"/>
                  </a:lnTo>
                  <a:lnTo>
                    <a:pt x="12999" y="295917"/>
                  </a:lnTo>
                  <a:lnTo>
                    <a:pt x="14558" y="221482"/>
                  </a:lnTo>
                  <a:lnTo>
                    <a:pt x="97077" y="223220"/>
                  </a:lnTo>
                  <a:lnTo>
                    <a:pt x="98363" y="218395"/>
                  </a:lnTo>
                  <a:cubicBezTo>
                    <a:pt x="106231" y="189011"/>
                    <a:pt x="121554" y="162160"/>
                    <a:pt x="142847" y="140441"/>
                  </a:cubicBezTo>
                  <a:lnTo>
                    <a:pt x="146348" y="136876"/>
                  </a:lnTo>
                  <a:lnTo>
                    <a:pt x="102895" y="66713"/>
                  </a:lnTo>
                  <a:lnTo>
                    <a:pt x="166190" y="27525"/>
                  </a:lnTo>
                  <a:lnTo>
                    <a:pt x="209636" y="97682"/>
                  </a:lnTo>
                  <a:lnTo>
                    <a:pt x="214384" y="96141"/>
                  </a:lnTo>
                  <a:cubicBezTo>
                    <a:pt x="242928" y="86892"/>
                    <a:pt x="273357" y="85065"/>
                    <a:pt x="302798" y="90839"/>
                  </a:cubicBezTo>
                  <a:lnTo>
                    <a:pt x="307700" y="91794"/>
                  </a:lnTo>
                  <a:lnTo>
                    <a:pt x="342425" y="16907"/>
                  </a:lnTo>
                  <a:lnTo>
                    <a:pt x="409959" y="48214"/>
                  </a:lnTo>
                  <a:lnTo>
                    <a:pt x="375253" y="123081"/>
                  </a:lnTo>
                  <a:lnTo>
                    <a:pt x="379155" y="126200"/>
                  </a:lnTo>
                  <a:cubicBezTo>
                    <a:pt x="410697" y="151160"/>
                    <a:pt x="432621" y="186280"/>
                    <a:pt x="441189" y="225582"/>
                  </a:cubicBezTo>
                  <a:lnTo>
                    <a:pt x="442277" y="230458"/>
                  </a:lnTo>
                  <a:lnTo>
                    <a:pt x="524758" y="232183"/>
                  </a:lnTo>
                  <a:lnTo>
                    <a:pt x="523192" y="306617"/>
                  </a:lnTo>
                  <a:lnTo>
                    <a:pt x="440679" y="304880"/>
                  </a:lnTo>
                  <a:lnTo>
                    <a:pt x="439387" y="309705"/>
                  </a:lnTo>
                  <a:cubicBezTo>
                    <a:pt x="431519" y="339089"/>
                    <a:pt x="416203" y="365940"/>
                    <a:pt x="394910" y="387660"/>
                  </a:cubicBezTo>
                  <a:lnTo>
                    <a:pt x="391409" y="391224"/>
                  </a:ln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2" name="Freeform 91">
              <a:extLst>
                <a:ext uri="{FF2B5EF4-FFF2-40B4-BE49-F238E27FC236}">
                  <a16:creationId xmlns:a16="http://schemas.microsoft.com/office/drawing/2014/main" id="{21027ACE-2B63-481E-BBC7-913F532E5869}"/>
                </a:ext>
              </a:extLst>
            </p:cNvPr>
            <p:cNvSpPr/>
            <p:nvPr/>
          </p:nvSpPr>
          <p:spPr>
            <a:xfrm>
              <a:off x="7429468" y="4288267"/>
              <a:ext cx="101851" cy="101851"/>
            </a:xfrm>
            <a:custGeom>
              <a:avLst/>
              <a:gdLst>
                <a:gd name="connsiteX0" fmla="*/ 63472 w 101851"/>
                <a:gd name="connsiteY0" fmla="*/ 1387 h 101851"/>
                <a:gd name="connsiteX1" fmla="*/ 1387 w 101851"/>
                <a:gd name="connsiteY1" fmla="*/ 39792 h 101851"/>
                <a:gd name="connsiteX2" fmla="*/ 39792 w 101851"/>
                <a:gd name="connsiteY2" fmla="*/ 101877 h 101851"/>
                <a:gd name="connsiteX3" fmla="*/ 39843 w 101851"/>
                <a:gd name="connsiteY3" fmla="*/ 101889 h 101851"/>
                <a:gd name="connsiteX4" fmla="*/ 51759 w 101851"/>
                <a:gd name="connsiteY4" fmla="*/ 103277 h 101851"/>
                <a:gd name="connsiteX5" fmla="*/ 103283 w 101851"/>
                <a:gd name="connsiteY5" fmla="*/ 51549 h 101851"/>
                <a:gd name="connsiteX6" fmla="*/ 63472 w 101851"/>
                <a:gd name="connsiteY6" fmla="*/ 1387 h 101851"/>
                <a:gd name="connsiteX7" fmla="*/ 72136 w 101851"/>
                <a:gd name="connsiteY7" fmla="*/ 84695 h 101851"/>
                <a:gd name="connsiteX8" fmla="*/ 18613 w 101851"/>
                <a:gd name="connsiteY8" fmla="*/ 72066 h 101851"/>
                <a:gd name="connsiteX9" fmla="*/ 31243 w 101851"/>
                <a:gd name="connsiteY9" fmla="*/ 18543 h 101851"/>
                <a:gd name="connsiteX10" fmla="*/ 51587 w 101851"/>
                <a:gd name="connsiteY10" fmla="*/ 12737 h 101851"/>
                <a:gd name="connsiteX11" fmla="*/ 60563 w 101851"/>
                <a:gd name="connsiteY11" fmla="*/ 13781 h 101851"/>
                <a:gd name="connsiteX12" fmla="*/ 89514 w 101851"/>
                <a:gd name="connsiteY12" fmla="*/ 60538 h 101851"/>
                <a:gd name="connsiteX13" fmla="*/ 72136 w 101851"/>
                <a:gd name="connsiteY13" fmla="*/ 84695 h 10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1851" h="101851">
                  <a:moveTo>
                    <a:pt x="63472" y="1387"/>
                  </a:moveTo>
                  <a:cubicBezTo>
                    <a:pt x="35724" y="-5150"/>
                    <a:pt x="7931" y="12044"/>
                    <a:pt x="1387" y="39792"/>
                  </a:cubicBezTo>
                  <a:cubicBezTo>
                    <a:pt x="-5150" y="67540"/>
                    <a:pt x="12044" y="95333"/>
                    <a:pt x="39792" y="101877"/>
                  </a:cubicBezTo>
                  <a:cubicBezTo>
                    <a:pt x="39811" y="101877"/>
                    <a:pt x="39830" y="101883"/>
                    <a:pt x="39843" y="101889"/>
                  </a:cubicBezTo>
                  <a:cubicBezTo>
                    <a:pt x="43751" y="102812"/>
                    <a:pt x="47742" y="103277"/>
                    <a:pt x="51759" y="103277"/>
                  </a:cubicBezTo>
                  <a:cubicBezTo>
                    <a:pt x="80271" y="103220"/>
                    <a:pt x="103341" y="80061"/>
                    <a:pt x="103283" y="51549"/>
                  </a:cubicBezTo>
                  <a:cubicBezTo>
                    <a:pt x="103239" y="27627"/>
                    <a:pt x="86764" y="6868"/>
                    <a:pt x="63472" y="1387"/>
                  </a:cubicBezTo>
                  <a:close/>
                  <a:moveTo>
                    <a:pt x="72136" y="84695"/>
                  </a:moveTo>
                  <a:cubicBezTo>
                    <a:pt x="53866" y="95988"/>
                    <a:pt x="29906" y="90336"/>
                    <a:pt x="18613" y="72066"/>
                  </a:cubicBezTo>
                  <a:cubicBezTo>
                    <a:pt x="7320" y="53803"/>
                    <a:pt x="12973" y="29836"/>
                    <a:pt x="31243" y="18543"/>
                  </a:cubicBezTo>
                  <a:cubicBezTo>
                    <a:pt x="37354" y="14762"/>
                    <a:pt x="44401" y="12757"/>
                    <a:pt x="51587" y="12737"/>
                  </a:cubicBezTo>
                  <a:cubicBezTo>
                    <a:pt x="54611" y="12737"/>
                    <a:pt x="57622" y="13088"/>
                    <a:pt x="60563" y="13781"/>
                  </a:cubicBezTo>
                  <a:cubicBezTo>
                    <a:pt x="81468" y="18696"/>
                    <a:pt x="94435" y="39632"/>
                    <a:pt x="89514" y="60538"/>
                  </a:cubicBezTo>
                  <a:cubicBezTo>
                    <a:pt x="87153" y="70576"/>
                    <a:pt x="80902" y="79266"/>
                    <a:pt x="72136" y="84695"/>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3" name="Freeform 92">
              <a:extLst>
                <a:ext uri="{FF2B5EF4-FFF2-40B4-BE49-F238E27FC236}">
                  <a16:creationId xmlns:a16="http://schemas.microsoft.com/office/drawing/2014/main" id="{AD7DAB89-DC8C-42FB-9BA6-CF55DB303E5C}"/>
                </a:ext>
              </a:extLst>
            </p:cNvPr>
            <p:cNvSpPr/>
            <p:nvPr/>
          </p:nvSpPr>
          <p:spPr>
            <a:xfrm>
              <a:off x="7366405" y="4225241"/>
              <a:ext cx="229166" cy="229166"/>
            </a:xfrm>
            <a:custGeom>
              <a:avLst/>
              <a:gdLst>
                <a:gd name="connsiteX0" fmla="*/ 54335 w 229165"/>
                <a:gd name="connsiteY0" fmla="*/ 17149 h 229165"/>
                <a:gd name="connsiteX1" fmla="*/ 17197 w 229165"/>
                <a:gd name="connsiteY1" fmla="*/ 175050 h 229165"/>
                <a:gd name="connsiteX2" fmla="*/ 175099 w 229165"/>
                <a:gd name="connsiteY2" fmla="*/ 212188 h 229165"/>
                <a:gd name="connsiteX3" fmla="*/ 212236 w 229165"/>
                <a:gd name="connsiteY3" fmla="*/ 54286 h 229165"/>
                <a:gd name="connsiteX4" fmla="*/ 212236 w 229165"/>
                <a:gd name="connsiteY4" fmla="*/ 54280 h 229165"/>
                <a:gd name="connsiteX5" fmla="*/ 54335 w 229165"/>
                <a:gd name="connsiteY5" fmla="*/ 17149 h 229165"/>
                <a:gd name="connsiteX6" fmla="*/ 168408 w 229165"/>
                <a:gd name="connsiteY6" fmla="*/ 201353 h 229165"/>
                <a:gd name="connsiteX7" fmla="*/ 28064 w 229165"/>
                <a:gd name="connsiteY7" fmla="*/ 168328 h 229165"/>
                <a:gd name="connsiteX8" fmla="*/ 61089 w 229165"/>
                <a:gd name="connsiteY8" fmla="*/ 27983 h 229165"/>
                <a:gd name="connsiteX9" fmla="*/ 201415 w 229165"/>
                <a:gd name="connsiteY9" fmla="*/ 60977 h 229165"/>
                <a:gd name="connsiteX10" fmla="*/ 168408 w 229165"/>
                <a:gd name="connsiteY10" fmla="*/ 201353 h 22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9165" h="229165">
                  <a:moveTo>
                    <a:pt x="54335" y="17149"/>
                  </a:moveTo>
                  <a:cubicBezTo>
                    <a:pt x="475" y="50492"/>
                    <a:pt x="-16153" y="121190"/>
                    <a:pt x="17197" y="175050"/>
                  </a:cubicBezTo>
                  <a:cubicBezTo>
                    <a:pt x="50547" y="228910"/>
                    <a:pt x="121245" y="245538"/>
                    <a:pt x="175099" y="212188"/>
                  </a:cubicBezTo>
                  <a:cubicBezTo>
                    <a:pt x="228959" y="178838"/>
                    <a:pt x="245587" y="108140"/>
                    <a:pt x="212236" y="54286"/>
                  </a:cubicBezTo>
                  <a:cubicBezTo>
                    <a:pt x="212236" y="54280"/>
                    <a:pt x="212236" y="54280"/>
                    <a:pt x="212236" y="54280"/>
                  </a:cubicBezTo>
                  <a:cubicBezTo>
                    <a:pt x="178836" y="489"/>
                    <a:pt x="108201" y="-16125"/>
                    <a:pt x="54335" y="17149"/>
                  </a:cubicBezTo>
                  <a:close/>
                  <a:moveTo>
                    <a:pt x="168408" y="201353"/>
                  </a:moveTo>
                  <a:cubicBezTo>
                    <a:pt x="120532" y="230992"/>
                    <a:pt x="57696" y="216204"/>
                    <a:pt x="28064" y="168328"/>
                  </a:cubicBezTo>
                  <a:cubicBezTo>
                    <a:pt x="-1575" y="120451"/>
                    <a:pt x="13212" y="57622"/>
                    <a:pt x="61089" y="27983"/>
                  </a:cubicBezTo>
                  <a:cubicBezTo>
                    <a:pt x="108946" y="-1643"/>
                    <a:pt x="171770" y="13125"/>
                    <a:pt x="201415" y="60977"/>
                  </a:cubicBezTo>
                  <a:cubicBezTo>
                    <a:pt x="230990" y="108872"/>
                    <a:pt x="216228" y="171664"/>
                    <a:pt x="168408" y="201353"/>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4" name="Freeform 93">
              <a:extLst>
                <a:ext uri="{FF2B5EF4-FFF2-40B4-BE49-F238E27FC236}">
                  <a16:creationId xmlns:a16="http://schemas.microsoft.com/office/drawing/2014/main" id="{23CF1734-9360-41CF-8EBB-D73D063F8E57}"/>
                </a:ext>
              </a:extLst>
            </p:cNvPr>
            <p:cNvSpPr/>
            <p:nvPr/>
          </p:nvSpPr>
          <p:spPr>
            <a:xfrm>
              <a:off x="7488614" y="2277925"/>
              <a:ext cx="439234" cy="229166"/>
            </a:xfrm>
            <a:custGeom>
              <a:avLst/>
              <a:gdLst>
                <a:gd name="connsiteX0" fmla="*/ 258 w 439234"/>
                <a:gd name="connsiteY0" fmla="*/ 100607 h 229165"/>
                <a:gd name="connsiteX1" fmla="*/ 36129 w 439234"/>
                <a:gd name="connsiteY1" fmla="*/ 145562 h 229165"/>
                <a:gd name="connsiteX2" fmla="*/ 38414 w 439234"/>
                <a:gd name="connsiteY2" fmla="*/ 145759 h 229165"/>
                <a:gd name="connsiteX3" fmla="*/ 75876 w 439234"/>
                <a:gd name="connsiteY3" fmla="*/ 147854 h 229165"/>
                <a:gd name="connsiteX4" fmla="*/ 68715 w 439234"/>
                <a:gd name="connsiteY4" fmla="*/ 167823 h 229165"/>
                <a:gd name="connsiteX5" fmla="*/ 104337 w 439234"/>
                <a:gd name="connsiteY5" fmla="*/ 210225 h 229165"/>
                <a:gd name="connsiteX6" fmla="*/ 274710 w 439234"/>
                <a:gd name="connsiteY6" fmla="*/ 232123 h 229165"/>
                <a:gd name="connsiteX7" fmla="*/ 306251 w 439234"/>
                <a:gd name="connsiteY7" fmla="*/ 234166 h 229165"/>
                <a:gd name="connsiteX8" fmla="*/ 400681 w 439234"/>
                <a:gd name="connsiteY8" fmla="*/ 202357 h 229165"/>
                <a:gd name="connsiteX9" fmla="*/ 440294 w 439234"/>
                <a:gd name="connsiteY9" fmla="*/ 105827 h 229165"/>
                <a:gd name="connsiteX10" fmla="*/ 427570 w 439234"/>
                <a:gd name="connsiteY10" fmla="*/ 106254 h 229165"/>
                <a:gd name="connsiteX11" fmla="*/ 391991 w 439234"/>
                <a:gd name="connsiteY11" fmla="*/ 193044 h 229165"/>
                <a:gd name="connsiteX12" fmla="*/ 276269 w 439234"/>
                <a:gd name="connsiteY12" fmla="*/ 219493 h 229165"/>
                <a:gd name="connsiteX13" fmla="*/ 106069 w 439234"/>
                <a:gd name="connsiteY13" fmla="*/ 197614 h 229165"/>
                <a:gd name="connsiteX14" fmla="*/ 81440 w 439234"/>
                <a:gd name="connsiteY14" fmla="*/ 168275 h 229165"/>
                <a:gd name="connsiteX15" fmla="*/ 93974 w 439234"/>
                <a:gd name="connsiteY15" fmla="*/ 149706 h 229165"/>
                <a:gd name="connsiteX16" fmla="*/ 93929 w 439234"/>
                <a:gd name="connsiteY16" fmla="*/ 148859 h 229165"/>
                <a:gd name="connsiteX17" fmla="*/ 257624 w 439234"/>
                <a:gd name="connsiteY17" fmla="*/ 158020 h 229165"/>
                <a:gd name="connsiteX18" fmla="*/ 258337 w 439234"/>
                <a:gd name="connsiteY18" fmla="*/ 145314 h 229165"/>
                <a:gd name="connsiteX19" fmla="*/ 39121 w 439234"/>
                <a:gd name="connsiteY19" fmla="*/ 133047 h 229165"/>
                <a:gd name="connsiteX20" fmla="*/ 12779 w 439234"/>
                <a:gd name="connsiteY20" fmla="*/ 103586 h 229165"/>
                <a:gd name="connsiteX21" fmla="*/ 42240 w 439234"/>
                <a:gd name="connsiteY21" fmla="*/ 77239 h 229165"/>
                <a:gd name="connsiteX22" fmla="*/ 42883 w 439234"/>
                <a:gd name="connsiteY22" fmla="*/ 77283 h 229165"/>
                <a:gd name="connsiteX23" fmla="*/ 47192 w 439234"/>
                <a:gd name="connsiteY23" fmla="*/ 77621 h 229165"/>
                <a:gd name="connsiteX24" fmla="*/ 254396 w 439234"/>
                <a:gd name="connsiteY24" fmla="*/ 93923 h 229165"/>
                <a:gd name="connsiteX25" fmla="*/ 255396 w 439234"/>
                <a:gd name="connsiteY25" fmla="*/ 81230 h 229165"/>
                <a:gd name="connsiteX26" fmla="*/ 51827 w 439234"/>
                <a:gd name="connsiteY26" fmla="*/ 65207 h 229165"/>
                <a:gd name="connsiteX27" fmla="*/ 51827 w 439234"/>
                <a:gd name="connsiteY27" fmla="*/ 65207 h 229165"/>
                <a:gd name="connsiteX28" fmla="*/ 48497 w 439234"/>
                <a:gd name="connsiteY28" fmla="*/ 64946 h 229165"/>
                <a:gd name="connsiteX29" fmla="*/ 39006 w 439234"/>
                <a:gd name="connsiteY29" fmla="*/ 64202 h 229165"/>
                <a:gd name="connsiteX30" fmla="*/ 15338 w 439234"/>
                <a:gd name="connsiteY30" fmla="*/ 36485 h 229165"/>
                <a:gd name="connsiteX31" fmla="*/ 42609 w 439234"/>
                <a:gd name="connsiteY31" fmla="*/ 12786 h 229165"/>
                <a:gd name="connsiteX32" fmla="*/ 209003 w 439234"/>
                <a:gd name="connsiteY32" fmla="*/ 23009 h 229165"/>
                <a:gd name="connsiteX33" fmla="*/ 209785 w 439234"/>
                <a:gd name="connsiteY33" fmla="*/ 10303 h 229165"/>
                <a:gd name="connsiteX34" fmla="*/ 43392 w 439234"/>
                <a:gd name="connsiteY34" fmla="*/ 80 h 229165"/>
                <a:gd name="connsiteX35" fmla="*/ 2600 w 439234"/>
                <a:gd name="connsiteY35" fmla="*/ 35976 h 229165"/>
                <a:gd name="connsiteX36" fmla="*/ 19591 w 439234"/>
                <a:gd name="connsiteY36" fmla="*/ 70370 h 229165"/>
                <a:gd name="connsiteX37" fmla="*/ 258 w 439234"/>
                <a:gd name="connsiteY37" fmla="*/ 100607 h 22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9234" h="229165">
                  <a:moveTo>
                    <a:pt x="258" y="100607"/>
                  </a:moveTo>
                  <a:cubicBezTo>
                    <a:pt x="-2250" y="122925"/>
                    <a:pt x="13810" y="143054"/>
                    <a:pt x="36129" y="145562"/>
                  </a:cubicBezTo>
                  <a:cubicBezTo>
                    <a:pt x="36886" y="145651"/>
                    <a:pt x="37650" y="145715"/>
                    <a:pt x="38414" y="145759"/>
                  </a:cubicBezTo>
                  <a:lnTo>
                    <a:pt x="75876" y="147854"/>
                  </a:lnTo>
                  <a:cubicBezTo>
                    <a:pt x="71669" y="153710"/>
                    <a:pt x="69186" y="160630"/>
                    <a:pt x="68715" y="167823"/>
                  </a:cubicBezTo>
                  <a:cubicBezTo>
                    <a:pt x="67887" y="189027"/>
                    <a:pt x="83311" y="207386"/>
                    <a:pt x="104337" y="210225"/>
                  </a:cubicBezTo>
                  <a:cubicBezTo>
                    <a:pt x="131774" y="213993"/>
                    <a:pt x="183610" y="220849"/>
                    <a:pt x="274710" y="232123"/>
                  </a:cubicBezTo>
                  <a:cubicBezTo>
                    <a:pt x="285175" y="233447"/>
                    <a:pt x="295704" y="234134"/>
                    <a:pt x="306251" y="234166"/>
                  </a:cubicBezTo>
                  <a:cubicBezTo>
                    <a:pt x="345859" y="234166"/>
                    <a:pt x="377541" y="223510"/>
                    <a:pt x="400681" y="202357"/>
                  </a:cubicBezTo>
                  <a:cubicBezTo>
                    <a:pt x="441797" y="164755"/>
                    <a:pt x="440371" y="108221"/>
                    <a:pt x="440294" y="105827"/>
                  </a:cubicBezTo>
                  <a:lnTo>
                    <a:pt x="427570" y="106254"/>
                  </a:lnTo>
                  <a:cubicBezTo>
                    <a:pt x="427582" y="106782"/>
                    <a:pt x="428792" y="159484"/>
                    <a:pt x="391991" y="193044"/>
                  </a:cubicBezTo>
                  <a:cubicBezTo>
                    <a:pt x="365886" y="216864"/>
                    <a:pt x="326953" y="225770"/>
                    <a:pt x="276269" y="219493"/>
                  </a:cubicBezTo>
                  <a:cubicBezTo>
                    <a:pt x="185239" y="208226"/>
                    <a:pt x="133467" y="201383"/>
                    <a:pt x="106069" y="197614"/>
                  </a:cubicBezTo>
                  <a:cubicBezTo>
                    <a:pt x="91523" y="195641"/>
                    <a:pt x="80861" y="182935"/>
                    <a:pt x="81440" y="168275"/>
                  </a:cubicBezTo>
                  <a:cubicBezTo>
                    <a:pt x="81682" y="161209"/>
                    <a:pt x="87398" y="150088"/>
                    <a:pt x="93974" y="149706"/>
                  </a:cubicBezTo>
                  <a:lnTo>
                    <a:pt x="93929" y="148859"/>
                  </a:lnTo>
                  <a:lnTo>
                    <a:pt x="257624" y="158020"/>
                  </a:lnTo>
                  <a:lnTo>
                    <a:pt x="258337" y="145314"/>
                  </a:lnTo>
                  <a:lnTo>
                    <a:pt x="39121" y="133047"/>
                  </a:lnTo>
                  <a:cubicBezTo>
                    <a:pt x="23709" y="132188"/>
                    <a:pt x="11914" y="118998"/>
                    <a:pt x="12779" y="103586"/>
                  </a:cubicBezTo>
                  <a:cubicBezTo>
                    <a:pt x="13639" y="88175"/>
                    <a:pt x="26829" y="76379"/>
                    <a:pt x="42240" y="77239"/>
                  </a:cubicBezTo>
                  <a:cubicBezTo>
                    <a:pt x="42456" y="77251"/>
                    <a:pt x="42666" y="77264"/>
                    <a:pt x="42883" y="77283"/>
                  </a:cubicBezTo>
                  <a:lnTo>
                    <a:pt x="47192" y="77621"/>
                  </a:lnTo>
                  <a:lnTo>
                    <a:pt x="254396" y="93923"/>
                  </a:lnTo>
                  <a:lnTo>
                    <a:pt x="255396" y="81230"/>
                  </a:lnTo>
                  <a:lnTo>
                    <a:pt x="51827" y="65207"/>
                  </a:lnTo>
                  <a:lnTo>
                    <a:pt x="51827" y="65207"/>
                  </a:lnTo>
                  <a:lnTo>
                    <a:pt x="48497" y="64946"/>
                  </a:lnTo>
                  <a:lnTo>
                    <a:pt x="39006" y="64202"/>
                  </a:lnTo>
                  <a:cubicBezTo>
                    <a:pt x="24817" y="63081"/>
                    <a:pt x="14218" y="50675"/>
                    <a:pt x="15338" y="36485"/>
                  </a:cubicBezTo>
                  <a:cubicBezTo>
                    <a:pt x="16446" y="22468"/>
                    <a:pt x="28579" y="11926"/>
                    <a:pt x="42609" y="12786"/>
                  </a:cubicBezTo>
                  <a:lnTo>
                    <a:pt x="209003" y="23009"/>
                  </a:lnTo>
                  <a:lnTo>
                    <a:pt x="209785" y="10303"/>
                  </a:lnTo>
                  <a:lnTo>
                    <a:pt x="43392" y="80"/>
                  </a:lnTo>
                  <a:cubicBezTo>
                    <a:pt x="22213" y="-1276"/>
                    <a:pt x="3950" y="14797"/>
                    <a:pt x="2600" y="35976"/>
                  </a:cubicBezTo>
                  <a:cubicBezTo>
                    <a:pt x="1722" y="49650"/>
                    <a:pt x="8202" y="62757"/>
                    <a:pt x="19591" y="70370"/>
                  </a:cubicBezTo>
                  <a:cubicBezTo>
                    <a:pt x="8788" y="76882"/>
                    <a:pt x="1639" y="88067"/>
                    <a:pt x="258" y="100607"/>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5" name="Freeform 94">
              <a:extLst>
                <a:ext uri="{FF2B5EF4-FFF2-40B4-BE49-F238E27FC236}">
                  <a16:creationId xmlns:a16="http://schemas.microsoft.com/office/drawing/2014/main" id="{E021A4A6-26BA-4997-AD91-35C85C5596CD}"/>
                </a:ext>
              </a:extLst>
            </p:cNvPr>
            <p:cNvSpPr/>
            <p:nvPr/>
          </p:nvSpPr>
          <p:spPr>
            <a:xfrm>
              <a:off x="6913883" y="2644692"/>
              <a:ext cx="203703" cy="299189"/>
            </a:xfrm>
            <a:custGeom>
              <a:avLst/>
              <a:gdLst>
                <a:gd name="connsiteX0" fmla="*/ 159314 w 203702"/>
                <a:gd name="connsiteY0" fmla="*/ 148784 h 299188"/>
                <a:gd name="connsiteX1" fmla="*/ 171415 w 203702"/>
                <a:gd name="connsiteY1" fmla="*/ 152737 h 299188"/>
                <a:gd name="connsiteX2" fmla="*/ 205428 w 203702"/>
                <a:gd name="connsiteY2" fmla="*/ 48676 h 299188"/>
                <a:gd name="connsiteX3" fmla="*/ 188081 w 203702"/>
                <a:gd name="connsiteY3" fmla="*/ 14091 h 299188"/>
                <a:gd name="connsiteX4" fmla="*/ 163637 w 203702"/>
                <a:gd name="connsiteY4" fmla="*/ 17745 h 299188"/>
                <a:gd name="connsiteX5" fmla="*/ 125856 w 203702"/>
                <a:gd name="connsiteY5" fmla="*/ 2245 h 299188"/>
                <a:gd name="connsiteX6" fmla="*/ 109496 w 203702"/>
                <a:gd name="connsiteY6" fmla="*/ 20082 h 299188"/>
                <a:gd name="connsiteX7" fmla="*/ 101857 w 203702"/>
                <a:gd name="connsiteY7" fmla="*/ 43896 h 299188"/>
                <a:gd name="connsiteX8" fmla="*/ 91812 w 203702"/>
                <a:gd name="connsiteY8" fmla="*/ 38116 h 299188"/>
                <a:gd name="connsiteX9" fmla="*/ 55082 w 203702"/>
                <a:gd name="connsiteY9" fmla="*/ 55602 h 299188"/>
                <a:gd name="connsiteX10" fmla="*/ 11108 w 203702"/>
                <a:gd name="connsiteY10" fmla="*/ 164972 h 299188"/>
                <a:gd name="connsiteX11" fmla="*/ 9204 w 203702"/>
                <a:gd name="connsiteY11" fmla="*/ 255428 h 299188"/>
                <a:gd name="connsiteX12" fmla="*/ 67794 w 203702"/>
                <a:gd name="connsiteY12" fmla="*/ 299422 h 299188"/>
                <a:gd name="connsiteX13" fmla="*/ 70576 w 203702"/>
                <a:gd name="connsiteY13" fmla="*/ 287002 h 299188"/>
                <a:gd name="connsiteX14" fmla="*/ 20465 w 203702"/>
                <a:gd name="connsiteY14" fmla="*/ 249483 h 299188"/>
                <a:gd name="connsiteX15" fmla="*/ 22948 w 203702"/>
                <a:gd name="connsiteY15" fmla="*/ 169663 h 299188"/>
                <a:gd name="connsiteX16" fmla="*/ 66852 w 203702"/>
                <a:gd name="connsiteY16" fmla="*/ 60447 h 299188"/>
                <a:gd name="connsiteX17" fmla="*/ 88177 w 203702"/>
                <a:gd name="connsiteY17" fmla="*/ 50319 h 299188"/>
                <a:gd name="connsiteX18" fmla="*/ 96943 w 203702"/>
                <a:gd name="connsiteY18" fmla="*/ 59224 h 299188"/>
                <a:gd name="connsiteX19" fmla="*/ 65458 w 203702"/>
                <a:gd name="connsiteY19" fmla="*/ 157377 h 299188"/>
                <a:gd name="connsiteX20" fmla="*/ 77585 w 203702"/>
                <a:gd name="connsiteY20" fmla="*/ 161267 h 299188"/>
                <a:gd name="connsiteX21" fmla="*/ 109413 w 203702"/>
                <a:gd name="connsiteY21" fmla="*/ 62019 h 299188"/>
                <a:gd name="connsiteX22" fmla="*/ 109439 w 203702"/>
                <a:gd name="connsiteY22" fmla="*/ 62025 h 299188"/>
                <a:gd name="connsiteX23" fmla="*/ 109445 w 203702"/>
                <a:gd name="connsiteY23" fmla="*/ 61923 h 299188"/>
                <a:gd name="connsiteX24" fmla="*/ 121623 w 203702"/>
                <a:gd name="connsiteY24" fmla="*/ 23971 h 299188"/>
                <a:gd name="connsiteX25" fmla="*/ 141948 w 203702"/>
                <a:gd name="connsiteY25" fmla="*/ 13499 h 299188"/>
                <a:gd name="connsiteX26" fmla="*/ 152420 w 203702"/>
                <a:gd name="connsiteY26" fmla="*/ 33825 h 299188"/>
                <a:gd name="connsiteX27" fmla="*/ 152312 w 203702"/>
                <a:gd name="connsiteY27" fmla="*/ 34143 h 299188"/>
                <a:gd name="connsiteX28" fmla="*/ 106752 w 203702"/>
                <a:gd name="connsiteY28" fmla="*/ 165876 h 299188"/>
                <a:gd name="connsiteX29" fmla="*/ 118790 w 203702"/>
                <a:gd name="connsiteY29" fmla="*/ 170039 h 299188"/>
                <a:gd name="connsiteX30" fmla="*/ 162618 w 203702"/>
                <a:gd name="connsiteY30" fmla="*/ 43304 h 299188"/>
                <a:gd name="connsiteX31" fmla="*/ 162618 w 203702"/>
                <a:gd name="connsiteY31" fmla="*/ 43304 h 299188"/>
                <a:gd name="connsiteX32" fmla="*/ 164331 w 203702"/>
                <a:gd name="connsiteY32" fmla="*/ 38358 h 299188"/>
                <a:gd name="connsiteX33" fmla="*/ 164343 w 203702"/>
                <a:gd name="connsiteY33" fmla="*/ 38313 h 299188"/>
                <a:gd name="connsiteX34" fmla="*/ 165381 w 203702"/>
                <a:gd name="connsiteY34" fmla="*/ 35321 h 299188"/>
                <a:gd name="connsiteX35" fmla="*/ 182333 w 203702"/>
                <a:gd name="connsiteY35" fmla="*/ 25709 h 299188"/>
                <a:gd name="connsiteX36" fmla="*/ 193733 w 203702"/>
                <a:gd name="connsiteY36" fmla="*/ 43176 h 299188"/>
                <a:gd name="connsiteX37" fmla="*/ 193320 w 203702"/>
                <a:gd name="connsiteY37" fmla="*/ 44723 h 29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3702" h="299188">
                  <a:moveTo>
                    <a:pt x="159314" y="148784"/>
                  </a:moveTo>
                  <a:lnTo>
                    <a:pt x="171415" y="152737"/>
                  </a:lnTo>
                  <a:lnTo>
                    <a:pt x="205428" y="48676"/>
                  </a:lnTo>
                  <a:cubicBezTo>
                    <a:pt x="210183" y="34334"/>
                    <a:pt x="202423" y="18853"/>
                    <a:pt x="188081" y="14091"/>
                  </a:cubicBezTo>
                  <a:cubicBezTo>
                    <a:pt x="179818" y="11348"/>
                    <a:pt x="170741" y="12704"/>
                    <a:pt x="163637" y="17745"/>
                  </a:cubicBezTo>
                  <a:cubicBezTo>
                    <a:pt x="157481" y="3028"/>
                    <a:pt x="140567" y="-3911"/>
                    <a:pt x="125856" y="2245"/>
                  </a:cubicBezTo>
                  <a:cubicBezTo>
                    <a:pt x="118058" y="5510"/>
                    <a:pt x="112074" y="12023"/>
                    <a:pt x="109496" y="20082"/>
                  </a:cubicBezTo>
                  <a:lnTo>
                    <a:pt x="101857" y="43896"/>
                  </a:lnTo>
                  <a:cubicBezTo>
                    <a:pt x="98954" y="41286"/>
                    <a:pt x="95530" y="39319"/>
                    <a:pt x="91812" y="38116"/>
                  </a:cubicBezTo>
                  <a:cubicBezTo>
                    <a:pt x="76891" y="33609"/>
                    <a:pt x="60996" y="41178"/>
                    <a:pt x="55082" y="55602"/>
                  </a:cubicBezTo>
                  <a:cubicBezTo>
                    <a:pt x="47793" y="73280"/>
                    <a:pt x="34247" y="106611"/>
                    <a:pt x="11108" y="164972"/>
                  </a:cubicBezTo>
                  <a:cubicBezTo>
                    <a:pt x="-3037" y="200632"/>
                    <a:pt x="-3674" y="231067"/>
                    <a:pt x="9204" y="255428"/>
                  </a:cubicBezTo>
                  <a:cubicBezTo>
                    <a:pt x="27499" y="290039"/>
                    <a:pt x="66158" y="299059"/>
                    <a:pt x="67794" y="299422"/>
                  </a:cubicBezTo>
                  <a:lnTo>
                    <a:pt x="70576" y="287002"/>
                  </a:lnTo>
                  <a:cubicBezTo>
                    <a:pt x="70239" y="286926"/>
                    <a:pt x="36042" y="278956"/>
                    <a:pt x="20465" y="249483"/>
                  </a:cubicBezTo>
                  <a:cubicBezTo>
                    <a:pt x="9402" y="228559"/>
                    <a:pt x="10235" y="201702"/>
                    <a:pt x="22948" y="169663"/>
                  </a:cubicBezTo>
                  <a:cubicBezTo>
                    <a:pt x="46055" y="111366"/>
                    <a:pt x="59576" y="78099"/>
                    <a:pt x="66852" y="60447"/>
                  </a:cubicBezTo>
                  <a:cubicBezTo>
                    <a:pt x="70283" y="52076"/>
                    <a:pt x="79520" y="47683"/>
                    <a:pt x="88177" y="50319"/>
                  </a:cubicBezTo>
                  <a:cubicBezTo>
                    <a:pt x="92086" y="51477"/>
                    <a:pt x="97134" y="56239"/>
                    <a:pt x="96943" y="59224"/>
                  </a:cubicBezTo>
                  <a:lnTo>
                    <a:pt x="65458" y="157377"/>
                  </a:lnTo>
                  <a:lnTo>
                    <a:pt x="77585" y="161267"/>
                  </a:lnTo>
                  <a:lnTo>
                    <a:pt x="109413" y="62019"/>
                  </a:lnTo>
                  <a:lnTo>
                    <a:pt x="109439" y="62025"/>
                  </a:lnTo>
                  <a:cubicBezTo>
                    <a:pt x="109451" y="61987"/>
                    <a:pt x="109439" y="61955"/>
                    <a:pt x="109445" y="61923"/>
                  </a:cubicBezTo>
                  <a:lnTo>
                    <a:pt x="121623" y="23971"/>
                  </a:lnTo>
                  <a:cubicBezTo>
                    <a:pt x="124341" y="15466"/>
                    <a:pt x="133444" y="10781"/>
                    <a:pt x="141948" y="13499"/>
                  </a:cubicBezTo>
                  <a:cubicBezTo>
                    <a:pt x="150453" y="16224"/>
                    <a:pt x="155138" y="25327"/>
                    <a:pt x="152420" y="33825"/>
                  </a:cubicBezTo>
                  <a:cubicBezTo>
                    <a:pt x="152382" y="33933"/>
                    <a:pt x="152350" y="34042"/>
                    <a:pt x="152312" y="34143"/>
                  </a:cubicBezTo>
                  <a:lnTo>
                    <a:pt x="106752" y="165876"/>
                  </a:lnTo>
                  <a:lnTo>
                    <a:pt x="118790" y="170039"/>
                  </a:lnTo>
                  <a:lnTo>
                    <a:pt x="162618" y="43304"/>
                  </a:lnTo>
                  <a:lnTo>
                    <a:pt x="162618" y="43304"/>
                  </a:lnTo>
                  <a:lnTo>
                    <a:pt x="164331" y="38358"/>
                  </a:lnTo>
                  <a:lnTo>
                    <a:pt x="164343" y="38313"/>
                  </a:lnTo>
                  <a:lnTo>
                    <a:pt x="165381" y="35321"/>
                  </a:lnTo>
                  <a:cubicBezTo>
                    <a:pt x="167819" y="28319"/>
                    <a:pt x="175069" y="24207"/>
                    <a:pt x="182333" y="25709"/>
                  </a:cubicBezTo>
                  <a:cubicBezTo>
                    <a:pt x="190302" y="27383"/>
                    <a:pt x="195408" y="35206"/>
                    <a:pt x="193733" y="43176"/>
                  </a:cubicBezTo>
                  <a:cubicBezTo>
                    <a:pt x="193625" y="43698"/>
                    <a:pt x="193485" y="44214"/>
                    <a:pt x="193320" y="44723"/>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6" name="Freeform 95">
              <a:extLst>
                <a:ext uri="{FF2B5EF4-FFF2-40B4-BE49-F238E27FC236}">
                  <a16:creationId xmlns:a16="http://schemas.microsoft.com/office/drawing/2014/main" id="{DFF3E702-6E82-4E5E-A99F-EDD0EA1AA119}"/>
                </a:ext>
              </a:extLst>
            </p:cNvPr>
            <p:cNvSpPr/>
            <p:nvPr/>
          </p:nvSpPr>
          <p:spPr>
            <a:xfrm>
              <a:off x="8354775" y="5078813"/>
              <a:ext cx="70023" cy="70023"/>
            </a:xfrm>
            <a:custGeom>
              <a:avLst/>
              <a:gdLst>
                <a:gd name="connsiteX0" fmla="*/ 76166 w 70022"/>
                <a:gd name="connsiteY0" fmla="*/ 38092 h 70022"/>
                <a:gd name="connsiteX1" fmla="*/ 38086 w 70022"/>
                <a:gd name="connsiteY1" fmla="*/ 0 h 70022"/>
                <a:gd name="connsiteX2" fmla="*/ 0 w 70022"/>
                <a:gd name="connsiteY2" fmla="*/ 38086 h 70022"/>
                <a:gd name="connsiteX3" fmla="*/ 38080 w 70022"/>
                <a:gd name="connsiteY3" fmla="*/ 76172 h 70022"/>
                <a:gd name="connsiteX4" fmla="*/ 38080 w 70022"/>
                <a:gd name="connsiteY4" fmla="*/ 76172 h 70022"/>
                <a:gd name="connsiteX5" fmla="*/ 76166 w 70022"/>
                <a:gd name="connsiteY5" fmla="*/ 38092 h 70022"/>
                <a:gd name="connsiteX6" fmla="*/ 38080 w 70022"/>
                <a:gd name="connsiteY6" fmla="*/ 63441 h 70022"/>
                <a:gd name="connsiteX7" fmla="*/ 12738 w 70022"/>
                <a:gd name="connsiteY7" fmla="*/ 38086 h 70022"/>
                <a:gd name="connsiteX8" fmla="*/ 38086 w 70022"/>
                <a:gd name="connsiteY8" fmla="*/ 12738 h 70022"/>
                <a:gd name="connsiteX9" fmla="*/ 63434 w 70022"/>
                <a:gd name="connsiteY9" fmla="*/ 38092 h 70022"/>
                <a:gd name="connsiteX10" fmla="*/ 38080 w 70022"/>
                <a:gd name="connsiteY10" fmla="*/ 63441 h 7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22" h="70022">
                  <a:moveTo>
                    <a:pt x="76166" y="38092"/>
                  </a:moveTo>
                  <a:cubicBezTo>
                    <a:pt x="76172" y="17053"/>
                    <a:pt x="59118" y="0"/>
                    <a:pt x="38086" y="0"/>
                  </a:cubicBezTo>
                  <a:cubicBezTo>
                    <a:pt x="17054" y="0"/>
                    <a:pt x="0" y="17047"/>
                    <a:pt x="0" y="38086"/>
                  </a:cubicBezTo>
                  <a:cubicBezTo>
                    <a:pt x="-7" y="59118"/>
                    <a:pt x="17047" y="76172"/>
                    <a:pt x="38080" y="76172"/>
                  </a:cubicBezTo>
                  <a:cubicBezTo>
                    <a:pt x="38080" y="76172"/>
                    <a:pt x="38080" y="76172"/>
                    <a:pt x="38080" y="76172"/>
                  </a:cubicBezTo>
                  <a:cubicBezTo>
                    <a:pt x="59106" y="76147"/>
                    <a:pt x="76140" y="59112"/>
                    <a:pt x="76166" y="38092"/>
                  </a:cubicBezTo>
                  <a:close/>
                  <a:moveTo>
                    <a:pt x="38080" y="63441"/>
                  </a:moveTo>
                  <a:cubicBezTo>
                    <a:pt x="24082" y="63441"/>
                    <a:pt x="12731" y="52091"/>
                    <a:pt x="12738" y="38086"/>
                  </a:cubicBezTo>
                  <a:cubicBezTo>
                    <a:pt x="12738" y="24088"/>
                    <a:pt x="24088" y="12738"/>
                    <a:pt x="38086" y="12738"/>
                  </a:cubicBezTo>
                  <a:cubicBezTo>
                    <a:pt x="52091" y="12738"/>
                    <a:pt x="63434" y="24088"/>
                    <a:pt x="63434" y="38092"/>
                  </a:cubicBezTo>
                  <a:cubicBezTo>
                    <a:pt x="63422" y="52084"/>
                    <a:pt x="52078" y="63428"/>
                    <a:pt x="38080" y="63441"/>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97" name="Freeform 96">
              <a:extLst>
                <a:ext uri="{FF2B5EF4-FFF2-40B4-BE49-F238E27FC236}">
                  <a16:creationId xmlns:a16="http://schemas.microsoft.com/office/drawing/2014/main" id="{6DA5967A-6EBA-4B10-8CA0-4BC1B50C646F}"/>
                </a:ext>
              </a:extLst>
            </p:cNvPr>
            <p:cNvSpPr/>
            <p:nvPr/>
          </p:nvSpPr>
          <p:spPr>
            <a:xfrm>
              <a:off x="9524838" y="5078819"/>
              <a:ext cx="70023" cy="70023"/>
            </a:xfrm>
            <a:custGeom>
              <a:avLst/>
              <a:gdLst>
                <a:gd name="connsiteX0" fmla="*/ 38067 w 70022"/>
                <a:gd name="connsiteY0" fmla="*/ 0 h 70022"/>
                <a:gd name="connsiteX1" fmla="*/ 0 w 70022"/>
                <a:gd name="connsiteY1" fmla="*/ 38086 h 70022"/>
                <a:gd name="connsiteX2" fmla="*/ 38067 w 70022"/>
                <a:gd name="connsiteY2" fmla="*/ 76166 h 70022"/>
                <a:gd name="connsiteX3" fmla="*/ 76134 w 70022"/>
                <a:gd name="connsiteY3" fmla="*/ 38086 h 70022"/>
                <a:gd name="connsiteX4" fmla="*/ 38067 w 70022"/>
                <a:gd name="connsiteY4" fmla="*/ 0 h 70022"/>
                <a:gd name="connsiteX5" fmla="*/ 38067 w 70022"/>
                <a:gd name="connsiteY5" fmla="*/ 63435 h 70022"/>
                <a:gd name="connsiteX6" fmla="*/ 12731 w 70022"/>
                <a:gd name="connsiteY6" fmla="*/ 38080 h 70022"/>
                <a:gd name="connsiteX7" fmla="*/ 38067 w 70022"/>
                <a:gd name="connsiteY7" fmla="*/ 12731 h 70022"/>
                <a:gd name="connsiteX8" fmla="*/ 63403 w 70022"/>
                <a:gd name="connsiteY8" fmla="*/ 38086 h 70022"/>
                <a:gd name="connsiteX9" fmla="*/ 38067 w 70022"/>
                <a:gd name="connsiteY9" fmla="*/ 63435 h 7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022" h="70022">
                  <a:moveTo>
                    <a:pt x="38067" y="0"/>
                  </a:moveTo>
                  <a:cubicBezTo>
                    <a:pt x="17060" y="0"/>
                    <a:pt x="0" y="17054"/>
                    <a:pt x="0" y="38086"/>
                  </a:cubicBezTo>
                  <a:cubicBezTo>
                    <a:pt x="0" y="59118"/>
                    <a:pt x="17060" y="76166"/>
                    <a:pt x="38067" y="76166"/>
                  </a:cubicBezTo>
                  <a:cubicBezTo>
                    <a:pt x="59074" y="76166"/>
                    <a:pt x="76134" y="59112"/>
                    <a:pt x="76134" y="38086"/>
                  </a:cubicBezTo>
                  <a:cubicBezTo>
                    <a:pt x="76134" y="17060"/>
                    <a:pt x="59074" y="26"/>
                    <a:pt x="38067" y="0"/>
                  </a:cubicBezTo>
                  <a:close/>
                  <a:moveTo>
                    <a:pt x="38067" y="63435"/>
                  </a:moveTo>
                  <a:cubicBezTo>
                    <a:pt x="24062" y="63435"/>
                    <a:pt x="12731" y="52084"/>
                    <a:pt x="12731" y="38080"/>
                  </a:cubicBezTo>
                  <a:cubicBezTo>
                    <a:pt x="12731" y="24082"/>
                    <a:pt x="24062" y="12731"/>
                    <a:pt x="38067" y="12731"/>
                  </a:cubicBezTo>
                  <a:cubicBezTo>
                    <a:pt x="52072" y="12731"/>
                    <a:pt x="63403" y="24082"/>
                    <a:pt x="63403" y="38086"/>
                  </a:cubicBezTo>
                  <a:cubicBezTo>
                    <a:pt x="63403" y="52078"/>
                    <a:pt x="52072" y="63422"/>
                    <a:pt x="38067" y="63435"/>
                  </a:cubicBezTo>
                  <a:close/>
                </a:path>
              </a:pathLst>
            </a:custGeom>
            <a:solidFill>
              <a:srgbClr val="001965"/>
            </a:solidFill>
            <a:ln w="6362" cap="flat">
              <a:noFill/>
              <a:prstDash val="solid"/>
              <a:miter/>
            </a:ln>
          </p:spPr>
          <p:txBody>
            <a:bodyPr rtlCol="0" anchor="ctr"/>
            <a:lstStyle/>
            <a:p>
              <a:endParaRPr lang="en-GB">
                <a:latin typeface="Apis For Office" panose="020B0504010101010104" pitchFamily="34" charset="0"/>
                <a:ea typeface="Apis For Office" panose="020B0504010101010104" pitchFamily="34" charset="0"/>
                <a:cs typeface="Apis For Office" panose="020B0504010101010104" pitchFamily="34" charset="0"/>
              </a:endParaRPr>
            </a:p>
          </p:txBody>
        </p:sp>
      </p:grpSp>
      <p:sp>
        <p:nvSpPr>
          <p:cNvPr id="8" name="Text Placeholder 7">
            <a:extLst>
              <a:ext uri="{FF2B5EF4-FFF2-40B4-BE49-F238E27FC236}">
                <a16:creationId xmlns:a16="http://schemas.microsoft.com/office/drawing/2014/main" id="{8558637E-C472-4EF1-A94C-091A9BAA6B49}"/>
              </a:ext>
            </a:extLst>
          </p:cNvPr>
          <p:cNvSpPr>
            <a:spLocks noGrp="1"/>
          </p:cNvSpPr>
          <p:nvPr>
            <p:ph type="body" sz="quarter" idx="16"/>
          </p:nvPr>
        </p:nvSpPr>
        <p:spPr>
          <a:xfrm>
            <a:off x="5693740" y="5363277"/>
            <a:ext cx="1801515" cy="1061668"/>
          </a:xfrm>
        </p:spPr>
        <p:txBody>
          <a:bodyPr/>
          <a:lstStyle/>
          <a:p>
            <a:pPr algn="l">
              <a:lnSpc>
                <a:spcPct val="120000"/>
              </a:lnSpc>
            </a:pPr>
            <a:r>
              <a:rPr lang="en-GB"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VILJA STEHLE                                             PHILIP VAN BERKOM                                    PAULINA FORSBERG </a:t>
            </a:r>
          </a:p>
          <a:p>
            <a:pPr algn="l">
              <a:lnSpc>
                <a:spcPct val="120000"/>
              </a:lnSpc>
            </a:pPr>
            <a:r>
              <a:rPr lang="en-GB"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Procurement Graduates                               Denmark</a:t>
            </a:r>
          </a:p>
        </p:txBody>
      </p:sp>
      <p:sp>
        <p:nvSpPr>
          <p:cNvPr id="4" name="Footer Placeholder 3">
            <a:extLst>
              <a:ext uri="{FF2B5EF4-FFF2-40B4-BE49-F238E27FC236}">
                <a16:creationId xmlns:a16="http://schemas.microsoft.com/office/drawing/2014/main" id="{D5F5F775-CDEE-4747-BCFE-1883E7EAF611}"/>
              </a:ext>
            </a:extLst>
          </p:cNvPr>
          <p:cNvSpPr>
            <a:spLocks noGrp="1"/>
          </p:cNvSpPr>
          <p:nvPr>
            <p:ph type="ftr" sz="quarter" idx="11"/>
          </p:nvPr>
        </p:nvSpPr>
        <p:spPr/>
        <p:txBody>
          <a:bodyPr/>
          <a:lstStyle/>
          <a:p>
            <a:r>
              <a:rPr lang="en-GB">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Graduate Programme Introduction</a:t>
            </a:r>
            <a:endParaRPr lang="en-GB"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5" name="Slide Number Placeholder 4">
            <a:extLst>
              <a:ext uri="{FF2B5EF4-FFF2-40B4-BE49-F238E27FC236}">
                <a16:creationId xmlns:a16="http://schemas.microsoft.com/office/drawing/2014/main" id="{124A026F-2BFD-458C-BBD0-87D6BD096E4B}"/>
              </a:ext>
            </a:extLst>
          </p:cNvPr>
          <p:cNvSpPr>
            <a:spLocks noGrp="1"/>
          </p:cNvSpPr>
          <p:nvPr>
            <p:ph type="sldNum" sz="quarter" idx="12"/>
          </p:nvPr>
        </p:nvSpPr>
        <p:spPr/>
        <p:txBody>
          <a:bodyPr/>
          <a:lstStyle/>
          <a:p>
            <a:fld id="{23AA811B-2EBD-4900-905E-5BE206449611}" type="slidenum">
              <a:rPr lang="en-GB" smtClean="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1</a:t>
            </a:fld>
            <a:endParaRPr lang="en-GB"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7" name="Rectangle 6">
            <a:extLst>
              <a:ext uri="{FF2B5EF4-FFF2-40B4-BE49-F238E27FC236}">
                <a16:creationId xmlns:a16="http://schemas.microsoft.com/office/drawing/2014/main" id="{6FDE24C8-C6AC-4654-A771-0167FA3E7BD9}"/>
              </a:ext>
            </a:extLst>
          </p:cNvPr>
          <p:cNvSpPr/>
          <p:nvPr/>
        </p:nvSpPr>
        <p:spPr>
          <a:xfrm>
            <a:off x="480741" y="2322084"/>
            <a:ext cx="2986715" cy="338554"/>
          </a:xfrm>
          <a:prstGeom prst="rect">
            <a:avLst/>
          </a:prstGeom>
        </p:spPr>
        <p:txBody>
          <a:bodyPr wrap="none">
            <a:spAutoFit/>
          </a:bodyPr>
          <a:lstStyle/>
          <a:p>
            <a:pPr lvl="0" algn="ctr"/>
            <a:r>
              <a:rPr lang="en-US" sz="16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London, 10</a:t>
            </a:r>
            <a:r>
              <a:rPr lang="en-US" sz="1600" baseline="300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th</a:t>
            </a:r>
            <a:r>
              <a:rPr lang="en-US" sz="16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 November 2020</a:t>
            </a:r>
            <a:endParaRPr lang="en-GB" sz="16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3" name="Date Placeholder 2">
            <a:extLst>
              <a:ext uri="{FF2B5EF4-FFF2-40B4-BE49-F238E27FC236}">
                <a16:creationId xmlns:a16="http://schemas.microsoft.com/office/drawing/2014/main" id="{4AA33609-E537-4C24-A900-398630BDC686}"/>
              </a:ext>
            </a:extLst>
          </p:cNvPr>
          <p:cNvSpPr>
            <a:spLocks noGrp="1"/>
          </p:cNvSpPr>
          <p:nvPr>
            <p:ph type="dt" sz="half" idx="10"/>
          </p:nvPr>
        </p:nvSpPr>
        <p:spPr/>
        <p:txBody>
          <a:bodyPr/>
          <a:lstStyle/>
          <a:p>
            <a:r>
              <a:rPr lang="en-US"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10 November 2020</a:t>
            </a:r>
          </a:p>
        </p:txBody>
      </p:sp>
      <p:pic>
        <p:nvPicPr>
          <p:cNvPr id="2062" name="Picture 14" descr="LSHTM 120 | LSHTM">
            <a:extLst>
              <a:ext uri="{FF2B5EF4-FFF2-40B4-BE49-F238E27FC236}">
                <a16:creationId xmlns:a16="http://schemas.microsoft.com/office/drawing/2014/main" id="{2EC2A8C9-62A6-4DA3-9F4E-49BF6A6D7DBA}"/>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r="58927"/>
          <a:stretch/>
        </p:blipFill>
        <p:spPr bwMode="auto">
          <a:xfrm>
            <a:off x="609985" y="2612525"/>
            <a:ext cx="2327399" cy="1090488"/>
          </a:xfrm>
          <a:prstGeom prst="rect">
            <a:avLst/>
          </a:prstGeom>
          <a:noFill/>
          <a:extLst>
            <a:ext uri="{909E8E84-426E-40DD-AFC4-6F175D3DCCD1}">
              <a14:hiddenFill xmlns:a14="http://schemas.microsoft.com/office/drawing/2010/main">
                <a:solidFill>
                  <a:srgbClr val="FFFFFF"/>
                </a:solidFill>
              </a14:hiddenFill>
            </a:ext>
          </a:extLst>
        </p:spPr>
      </p:pic>
    </p:spTree>
    <p:custDataLst>
      <p:custData r:id="rId2"/>
      <p:custData r:id="rId3"/>
      <p:tags r:id="rId4"/>
    </p:custDataLst>
    <p:extLst>
      <p:ext uri="{BB962C8B-B14F-4D97-AF65-F5344CB8AC3E}">
        <p14:creationId xmlns:p14="http://schemas.microsoft.com/office/powerpoint/2010/main" val="1657504994"/>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circuit board&#10;&#10;Description automatically generated">
            <a:extLst>
              <a:ext uri="{FF2B5EF4-FFF2-40B4-BE49-F238E27FC236}">
                <a16:creationId xmlns:a16="http://schemas.microsoft.com/office/drawing/2014/main" id="{1F9DE3CF-0A98-40FA-A74F-D9F0B227F1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39612" y="-3982064"/>
            <a:ext cx="19271224" cy="10840064"/>
          </a:xfrm>
          <a:prstGeom prst="rect">
            <a:avLst/>
          </a:prstGeom>
        </p:spPr>
      </p:pic>
      <p:sp>
        <p:nvSpPr>
          <p:cNvPr id="15" name="Rektangel 10">
            <a:extLst>
              <a:ext uri="{FF2B5EF4-FFF2-40B4-BE49-F238E27FC236}">
                <a16:creationId xmlns:a16="http://schemas.microsoft.com/office/drawing/2014/main" id="{87DC8ECE-C1CF-409A-B60C-FF45D5FA7A95}"/>
              </a:ext>
            </a:extLst>
          </p:cNvPr>
          <p:cNvSpPr/>
          <p:nvPr/>
        </p:nvSpPr>
        <p:spPr>
          <a:xfrm>
            <a:off x="-600" y="0"/>
            <a:ext cx="12193200"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Pladsholder til sidefod 1">
            <a:extLst>
              <a:ext uri="{FF2B5EF4-FFF2-40B4-BE49-F238E27FC236}">
                <a16:creationId xmlns:a16="http://schemas.microsoft.com/office/drawing/2014/main" id="{526BDEB7-7D3A-C349-9CFE-A1D814E2F3BB}"/>
              </a:ext>
            </a:extLst>
          </p:cNvPr>
          <p:cNvSpPr>
            <a:spLocks noGrp="1"/>
          </p:cNvSpPr>
          <p:nvPr>
            <p:ph type="ftr" sz="quarter" idx="11"/>
          </p:nvPr>
        </p:nvSpPr>
        <p:spPr/>
        <p:txBody>
          <a:bodyPr/>
          <a:lstStyle/>
          <a:p>
            <a:r>
              <a:rPr lang="en-GB">
                <a:solidFill>
                  <a:schemeClr val="bg1"/>
                </a:solidFill>
              </a:rPr>
              <a:t>Novo Nordisk company presentation</a:t>
            </a:r>
            <a:endParaRPr lang="en-GB" dirty="0">
              <a:solidFill>
                <a:schemeClr val="bg1"/>
              </a:solidFill>
            </a:endParaRPr>
          </a:p>
        </p:txBody>
      </p:sp>
      <p:sp>
        <p:nvSpPr>
          <p:cNvPr id="3" name="Pladsholder til slidenummer 2">
            <a:extLst>
              <a:ext uri="{FF2B5EF4-FFF2-40B4-BE49-F238E27FC236}">
                <a16:creationId xmlns:a16="http://schemas.microsoft.com/office/drawing/2014/main" id="{DB1A8C5C-DC05-224C-BCD7-0E8F2EA398AC}"/>
              </a:ext>
            </a:extLst>
          </p:cNvPr>
          <p:cNvSpPr>
            <a:spLocks noGrp="1"/>
          </p:cNvSpPr>
          <p:nvPr>
            <p:ph type="sldNum" sz="quarter" idx="12"/>
          </p:nvPr>
        </p:nvSpPr>
        <p:spPr/>
        <p:txBody>
          <a:bodyPr/>
          <a:lstStyle/>
          <a:p>
            <a:fld id="{23AA811B-2EBD-4900-905E-5BE206449611}" type="slidenum">
              <a:rPr lang="en-GB" smtClean="0">
                <a:solidFill>
                  <a:schemeClr val="bg1"/>
                </a:solidFill>
              </a:rPr>
              <a:pPr/>
              <a:t>10</a:t>
            </a:fld>
            <a:endParaRPr lang="en-GB" dirty="0">
              <a:solidFill>
                <a:schemeClr val="bg1"/>
              </a:solidFill>
            </a:endParaRPr>
          </a:p>
        </p:txBody>
      </p:sp>
      <p:sp>
        <p:nvSpPr>
          <p:cNvPr id="6" name="Titel 1">
            <a:extLst>
              <a:ext uri="{FF2B5EF4-FFF2-40B4-BE49-F238E27FC236}">
                <a16:creationId xmlns:a16="http://schemas.microsoft.com/office/drawing/2014/main" id="{F43D3F7D-11CF-6E46-BB96-10CF19CFC9B3}"/>
              </a:ext>
            </a:extLst>
          </p:cNvPr>
          <p:cNvSpPr txBox="1">
            <a:spLocks/>
          </p:cNvSpPr>
          <p:nvPr/>
        </p:nvSpPr>
        <p:spPr>
          <a:xfrm>
            <a:off x="532771" y="3491193"/>
            <a:ext cx="11451534" cy="3139605"/>
          </a:xfrm>
          <a:prstGeom prst="rect">
            <a:avLst/>
          </a:prstGeom>
        </p:spPr>
        <p:txBody>
          <a:bodyPr vert="horz" lIns="0" tIns="0" rIns="0" bIns="144000" rtlCol="0" anchor="b" anchorCtr="0">
            <a:noAutofit/>
          </a:bodyPr>
          <a:lstStyle>
            <a:lvl1pPr algn="l" defTabSz="914400" rtl="0" eaLnBrk="1" latinLnBrk="0" hangingPunct="1">
              <a:lnSpc>
                <a:spcPct val="120000"/>
              </a:lnSpc>
              <a:spcBef>
                <a:spcPct val="0"/>
              </a:spcBef>
              <a:buNone/>
              <a:defRPr sz="4400" kern="1200">
                <a:solidFill>
                  <a:schemeClr val="bg1"/>
                </a:solidFill>
                <a:latin typeface="+mj-lt"/>
                <a:ea typeface="+mj-ea"/>
                <a:cs typeface="+mj-cs"/>
              </a:defRPr>
            </a:lvl1pPr>
          </a:lstStyle>
          <a:p>
            <a:pPr>
              <a:lnSpc>
                <a:spcPct val="100000"/>
              </a:lnSpc>
            </a:pPr>
            <a:r>
              <a:rPr lang="en-GB" sz="11400" dirty="0"/>
              <a:t>Urgent global health challenge</a:t>
            </a:r>
          </a:p>
        </p:txBody>
      </p:sp>
      <p:sp>
        <p:nvSpPr>
          <p:cNvPr id="7" name="Tekstfelt 6">
            <a:extLst>
              <a:ext uri="{FF2B5EF4-FFF2-40B4-BE49-F238E27FC236}">
                <a16:creationId xmlns:a16="http://schemas.microsoft.com/office/drawing/2014/main" id="{D79B4DB1-41B9-2142-A282-7960D70A8A3D}"/>
              </a:ext>
            </a:extLst>
          </p:cNvPr>
          <p:cNvSpPr txBox="1"/>
          <p:nvPr/>
        </p:nvSpPr>
        <p:spPr>
          <a:xfrm>
            <a:off x="659428" y="1902023"/>
            <a:ext cx="1919289" cy="816570"/>
          </a:xfrm>
          <a:prstGeom prst="rect">
            <a:avLst/>
          </a:prstGeom>
          <a:noFill/>
        </p:spPr>
        <p:txBody>
          <a:bodyPr wrap="square" lIns="0" tIns="0" rIns="0" bIns="0" rtlCol="0">
            <a:spAutoFit/>
          </a:bodyPr>
          <a:lstStyle/>
          <a:p>
            <a:pPr lvl="0">
              <a:lnSpc>
                <a:spcPct val="130000"/>
              </a:lnSpc>
              <a:defRPr/>
            </a:pPr>
            <a:r>
              <a:rPr lang="en-GB" sz="1400" dirty="0">
                <a:solidFill>
                  <a:schemeClr val="bg1"/>
                </a:solidFill>
                <a:ea typeface="Apis For Office Medium" panose="020B0504010101010104" pitchFamily="34" charset="0"/>
                <a:cs typeface="Apis For Office Medium" panose="020B0504010101010104" pitchFamily="34" charset="0"/>
              </a:rPr>
              <a:t>Chronic diseases </a:t>
            </a:r>
          </a:p>
          <a:p>
            <a:pPr lvl="0">
              <a:lnSpc>
                <a:spcPct val="130000"/>
              </a:lnSpc>
              <a:defRPr/>
            </a:pPr>
            <a:r>
              <a:rPr lang="en-GB" sz="1400" dirty="0">
                <a:solidFill>
                  <a:schemeClr val="bg1"/>
                </a:solidFill>
                <a:ea typeface="Apis For Office Medium" panose="020B0504010101010104" pitchFamily="34" charset="0"/>
                <a:cs typeface="Apis For Office Medium" panose="020B0504010101010104" pitchFamily="34" charset="0"/>
              </a:rPr>
              <a:t>are an urgent global health challenge</a:t>
            </a:r>
          </a:p>
        </p:txBody>
      </p:sp>
      <p:pic>
        <p:nvPicPr>
          <p:cNvPr id="13" name="Billede 12">
            <a:extLst>
              <a:ext uri="{FF2B5EF4-FFF2-40B4-BE49-F238E27FC236}">
                <a16:creationId xmlns:a16="http://schemas.microsoft.com/office/drawing/2014/main" id="{1117C732-5225-BB45-B70E-2DC292CFDC0F}"/>
              </a:ext>
            </a:extLst>
          </p:cNvPr>
          <p:cNvPicPr>
            <a:picLocks noChangeAspect="1"/>
          </p:cNvPicPr>
          <p:nvPr/>
        </p:nvPicPr>
        <p:blipFill>
          <a:blip r:embed="rId5"/>
          <a:stretch>
            <a:fillRect/>
          </a:stretch>
        </p:blipFill>
        <p:spPr>
          <a:xfrm>
            <a:off x="11173345" y="320676"/>
            <a:ext cx="705810" cy="501650"/>
          </a:xfrm>
          <a:prstGeom prst="rect">
            <a:avLst/>
          </a:prstGeom>
        </p:spPr>
      </p:pic>
    </p:spTree>
    <p:custDataLst>
      <p:tags r:id="rId1"/>
    </p:custDataLst>
    <p:extLst>
      <p:ext uri="{BB962C8B-B14F-4D97-AF65-F5344CB8AC3E}">
        <p14:creationId xmlns:p14="http://schemas.microsoft.com/office/powerpoint/2010/main" val="41125752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fill="hold" nodeType="withEffect">
                                  <p:stCondLst>
                                    <p:cond delay="0"/>
                                  </p:stCondLst>
                                  <p:childTnLst>
                                    <p:animMotion origin="layout" path="M 0 -2.22222E-6 L 0 0.56875 " pathEditMode="relative" rAng="0" ptsTypes="AA">
                                      <p:cBhvr>
                                        <p:cTn id="6" dur="20000" fill="hold"/>
                                        <p:tgtEl>
                                          <p:spTgt spid="14"/>
                                        </p:tgtEl>
                                        <p:attrNameLst>
                                          <p:attrName>ppt_x</p:attrName>
                                          <p:attrName>ppt_y</p:attrName>
                                        </p:attrNameLst>
                                      </p:cBhvr>
                                      <p:rCtr x="0" y="2842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702E9-19FD-40D9-940A-82F4B0DA30BE}"/>
              </a:ext>
            </a:extLst>
          </p:cNvPr>
          <p:cNvSpPr>
            <a:spLocks noGrp="1"/>
          </p:cNvSpPr>
          <p:nvPr>
            <p:ph type="title"/>
          </p:nvPr>
        </p:nvSpPr>
        <p:spPr/>
        <p:txBody>
          <a:bodyPr/>
          <a:lstStyle/>
          <a:p>
            <a:r>
              <a:rPr lang="en-GB" dirty="0"/>
              <a:t>Non-communicable diseases (NCDs) are the leading cause of death and disability globally</a:t>
            </a:r>
            <a:r>
              <a:rPr lang="en-GB" sz="2800" baseline="50000" dirty="0"/>
              <a:t>1</a:t>
            </a:r>
            <a:r>
              <a:rPr lang="en-GB" dirty="0"/>
              <a:t> </a:t>
            </a:r>
          </a:p>
        </p:txBody>
      </p:sp>
      <p:sp>
        <p:nvSpPr>
          <p:cNvPr id="5" name="Pladsholder til sidefod 4">
            <a:extLst>
              <a:ext uri="{FF2B5EF4-FFF2-40B4-BE49-F238E27FC236}">
                <a16:creationId xmlns:a16="http://schemas.microsoft.com/office/drawing/2014/main" id="{EAD7737D-1D56-3341-A022-A42BC11D2C5E}"/>
              </a:ext>
            </a:extLst>
          </p:cNvPr>
          <p:cNvSpPr>
            <a:spLocks noGrp="1"/>
          </p:cNvSpPr>
          <p:nvPr>
            <p:ph type="ftr" sz="quarter" idx="11"/>
          </p:nvPr>
        </p:nvSpPr>
        <p:spPr/>
        <p:txBody>
          <a:bodyPr/>
          <a:lstStyle/>
          <a:p>
            <a:r>
              <a:rPr lang="en-GB"/>
              <a:t>Novo Nordisk company presentation</a:t>
            </a:r>
          </a:p>
        </p:txBody>
      </p:sp>
      <p:sp>
        <p:nvSpPr>
          <p:cNvPr id="6" name="Pladsholder til slidenummer 5">
            <a:extLst>
              <a:ext uri="{FF2B5EF4-FFF2-40B4-BE49-F238E27FC236}">
                <a16:creationId xmlns:a16="http://schemas.microsoft.com/office/drawing/2014/main" id="{9D289B41-49FE-AA4F-8E81-1F4D00D9F5E0}"/>
              </a:ext>
            </a:extLst>
          </p:cNvPr>
          <p:cNvSpPr>
            <a:spLocks noGrp="1"/>
          </p:cNvSpPr>
          <p:nvPr>
            <p:ph type="sldNum" sz="quarter" idx="12"/>
          </p:nvPr>
        </p:nvSpPr>
        <p:spPr/>
        <p:txBody>
          <a:bodyPr/>
          <a:lstStyle/>
          <a:p>
            <a:fld id="{23AA811B-2EBD-4900-905E-5BE206449611}" type="slidenum">
              <a:rPr lang="en-GB" smtClean="0"/>
              <a:t>11</a:t>
            </a:fld>
            <a:endParaRPr lang="en-GB"/>
          </a:p>
        </p:txBody>
      </p:sp>
      <p:sp>
        <p:nvSpPr>
          <p:cNvPr id="4" name="Pladsholder til tekst 3">
            <a:extLst>
              <a:ext uri="{FF2B5EF4-FFF2-40B4-BE49-F238E27FC236}">
                <a16:creationId xmlns:a16="http://schemas.microsoft.com/office/drawing/2014/main" id="{60755ADC-2829-174D-874B-3597847DA880}"/>
              </a:ext>
            </a:extLst>
          </p:cNvPr>
          <p:cNvSpPr>
            <a:spLocks noGrp="1"/>
          </p:cNvSpPr>
          <p:nvPr>
            <p:ph type="body" sz="quarter" idx="13"/>
          </p:nvPr>
        </p:nvSpPr>
        <p:spPr/>
        <p:txBody>
          <a:bodyPr/>
          <a:lstStyle/>
          <a:p>
            <a:r>
              <a:rPr lang="en-GB" dirty="0">
                <a:solidFill>
                  <a:srgbClr val="D4D7DC"/>
                </a:solidFill>
              </a:rPr>
              <a:t>1. Roth GA, et al. Global, regional, and national age-sex-specific mortality for 282 causes of death in 195 countries and territories, 1980–2017: a systematic analysis for the Global Burden of Disease Study 2017. The Lancet. 2018;392(10159):1736–1788.</a:t>
            </a:r>
          </a:p>
        </p:txBody>
      </p:sp>
      <p:sp>
        <p:nvSpPr>
          <p:cNvPr id="7" name="Ellipse 6">
            <a:extLst>
              <a:ext uri="{FF2B5EF4-FFF2-40B4-BE49-F238E27FC236}">
                <a16:creationId xmlns:a16="http://schemas.microsoft.com/office/drawing/2014/main" id="{F521B85D-5CCD-6E45-9FBD-8883692D83AB}"/>
              </a:ext>
            </a:extLst>
          </p:cNvPr>
          <p:cNvSpPr/>
          <p:nvPr/>
        </p:nvSpPr>
        <p:spPr>
          <a:xfrm>
            <a:off x="5804805" y="2496123"/>
            <a:ext cx="3479988" cy="3479988"/>
          </a:xfrm>
          <a:prstGeom prst="ellipse">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solidFill>
                <a:srgbClr val="DFEFEE"/>
              </a:solidFill>
            </a:endParaRPr>
          </a:p>
        </p:txBody>
      </p:sp>
      <p:sp>
        <p:nvSpPr>
          <p:cNvPr id="8" name="Pladsholder til slidenummer 2">
            <a:extLst>
              <a:ext uri="{FF2B5EF4-FFF2-40B4-BE49-F238E27FC236}">
                <a16:creationId xmlns:a16="http://schemas.microsoft.com/office/drawing/2014/main" id="{E13C8C66-1163-9144-A8D3-E4B212728289}"/>
              </a:ext>
            </a:extLst>
          </p:cNvPr>
          <p:cNvSpPr txBox="1">
            <a:spLocks/>
          </p:cNvSpPr>
          <p:nvPr/>
        </p:nvSpPr>
        <p:spPr>
          <a:xfrm>
            <a:off x="324000" y="324000"/>
            <a:ext cx="324000" cy="125850"/>
          </a:xfrm>
          <a:prstGeom prst="rect">
            <a:avLst/>
          </a:prstGeom>
        </p:spPr>
        <p:txBody>
          <a:bodyPr vert="horz" lIns="0" tIns="0" rIns="0" bIns="0" rtlCol="0" anchor="t"/>
          <a:lstStyle>
            <a:defPPr>
              <a:defRPr lang="en-US"/>
            </a:defPPr>
            <a:lvl1pPr marL="0" algn="l" defTabSz="914400" rtl="0" eaLnBrk="1" latinLnBrk="0" hangingPunct="1">
              <a:defRPr sz="6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mtClean="0"/>
              <a:pPr/>
              <a:t>11</a:t>
            </a:fld>
            <a:endParaRPr lang="en-GB"/>
          </a:p>
        </p:txBody>
      </p:sp>
      <p:sp>
        <p:nvSpPr>
          <p:cNvPr id="10" name="Tekstfelt 9">
            <a:extLst>
              <a:ext uri="{FF2B5EF4-FFF2-40B4-BE49-F238E27FC236}">
                <a16:creationId xmlns:a16="http://schemas.microsoft.com/office/drawing/2014/main" id="{7AFF579A-C275-F542-9F45-C69F28B0B218}"/>
              </a:ext>
            </a:extLst>
          </p:cNvPr>
          <p:cNvSpPr txBox="1"/>
          <p:nvPr/>
        </p:nvSpPr>
        <p:spPr>
          <a:xfrm>
            <a:off x="619655" y="3194676"/>
            <a:ext cx="3397778" cy="1853328"/>
          </a:xfrm>
          <a:prstGeom prst="rect">
            <a:avLst/>
          </a:prstGeom>
          <a:noFill/>
        </p:spPr>
        <p:txBody>
          <a:bodyPr wrap="square" lIns="0" tIns="0" rIns="0" bIns="0" rtlCol="0">
            <a:spAutoFit/>
          </a:bodyPr>
          <a:lstStyle/>
          <a:p>
            <a:pPr algn="l">
              <a:lnSpc>
                <a:spcPct val="120000"/>
              </a:lnSpc>
            </a:pPr>
            <a:r>
              <a:rPr lang="en-GB" sz="10800">
                <a:solidFill>
                  <a:schemeClr val="tx2"/>
                </a:solidFill>
              </a:rPr>
              <a:t>71%</a:t>
            </a:r>
            <a:endParaRPr lang="en-GB" sz="10800" dirty="0">
              <a:solidFill>
                <a:schemeClr val="tx2"/>
              </a:solidFill>
            </a:endParaRPr>
          </a:p>
        </p:txBody>
      </p:sp>
      <p:sp>
        <p:nvSpPr>
          <p:cNvPr id="11" name="Tekstfelt 10">
            <a:extLst>
              <a:ext uri="{FF2B5EF4-FFF2-40B4-BE49-F238E27FC236}">
                <a16:creationId xmlns:a16="http://schemas.microsoft.com/office/drawing/2014/main" id="{653A29D3-E848-7249-AC7F-C7999AC2D03F}"/>
              </a:ext>
            </a:extLst>
          </p:cNvPr>
          <p:cNvSpPr txBox="1"/>
          <p:nvPr/>
        </p:nvSpPr>
        <p:spPr>
          <a:xfrm>
            <a:off x="667762" y="5028486"/>
            <a:ext cx="3251720" cy="757323"/>
          </a:xfrm>
          <a:prstGeom prst="rect">
            <a:avLst/>
          </a:prstGeom>
          <a:noFill/>
        </p:spPr>
        <p:txBody>
          <a:bodyPr wrap="square" lIns="0" tIns="0" rIns="0" bIns="0" rtlCol="0">
            <a:spAutoFit/>
          </a:bodyPr>
          <a:lstStyle/>
          <a:p>
            <a:pPr>
              <a:lnSpc>
                <a:spcPct val="120000"/>
              </a:lnSpc>
            </a:pPr>
            <a:r>
              <a:rPr lang="en-GB" sz="1400" b="1" dirty="0">
                <a:solidFill>
                  <a:schemeClr val="tx2"/>
                </a:solidFill>
              </a:rPr>
              <a:t>of global deaths </a:t>
            </a:r>
            <a:endParaRPr lang="en-GB" sz="1400" dirty="0">
              <a:solidFill>
                <a:schemeClr val="tx2"/>
              </a:solidFill>
            </a:endParaRPr>
          </a:p>
          <a:p>
            <a:pPr>
              <a:lnSpc>
                <a:spcPct val="120000"/>
              </a:lnSpc>
            </a:pPr>
            <a:r>
              <a:rPr lang="en-GB" sz="1400" b="1" dirty="0">
                <a:solidFill>
                  <a:schemeClr val="tx2"/>
                </a:solidFill>
              </a:rPr>
              <a:t>in 2016 were due to NCDs</a:t>
            </a:r>
            <a:r>
              <a:rPr lang="en-GB" sz="1400" b="1" baseline="30000" dirty="0">
                <a:solidFill>
                  <a:schemeClr val="tx2"/>
                </a:solidFill>
              </a:rPr>
              <a:t>1</a:t>
            </a:r>
            <a:endParaRPr lang="en-GB" sz="1400" b="1" dirty="0">
              <a:solidFill>
                <a:schemeClr val="tx2"/>
              </a:solidFill>
            </a:endParaRPr>
          </a:p>
          <a:p>
            <a:pPr>
              <a:lnSpc>
                <a:spcPct val="120000"/>
              </a:lnSpc>
            </a:pPr>
            <a:r>
              <a:rPr lang="en-GB" sz="1400" dirty="0">
                <a:solidFill>
                  <a:schemeClr val="tx2"/>
                </a:solidFill>
              </a:rPr>
              <a:t> </a:t>
            </a:r>
          </a:p>
        </p:txBody>
      </p:sp>
      <p:sp>
        <p:nvSpPr>
          <p:cNvPr id="12" name="Ellipse 11">
            <a:extLst>
              <a:ext uri="{FF2B5EF4-FFF2-40B4-BE49-F238E27FC236}">
                <a16:creationId xmlns:a16="http://schemas.microsoft.com/office/drawing/2014/main" id="{27831420-67AF-314B-92A2-32FD5265C63E}"/>
              </a:ext>
            </a:extLst>
          </p:cNvPr>
          <p:cNvSpPr/>
          <p:nvPr/>
        </p:nvSpPr>
        <p:spPr>
          <a:xfrm>
            <a:off x="5805432" y="3081542"/>
            <a:ext cx="2309150" cy="2309150"/>
          </a:xfrm>
          <a:prstGeom prst="ellipse">
            <a:avLst/>
          </a:prstGeom>
          <a:solidFill>
            <a:srgbClr val="0019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cxnSp>
        <p:nvCxnSpPr>
          <p:cNvPr id="13" name="Lige forbindelse 12">
            <a:extLst>
              <a:ext uri="{FF2B5EF4-FFF2-40B4-BE49-F238E27FC236}">
                <a16:creationId xmlns:a16="http://schemas.microsoft.com/office/drawing/2014/main" id="{0B2CB0F9-9F8A-B540-8B9A-EB2D0ED4D358}"/>
              </a:ext>
            </a:extLst>
          </p:cNvPr>
          <p:cNvCxnSpPr>
            <a:cxnSpLocks/>
          </p:cNvCxnSpPr>
          <p:nvPr/>
        </p:nvCxnSpPr>
        <p:spPr>
          <a:xfrm flipH="1">
            <a:off x="3916144" y="4239954"/>
            <a:ext cx="2179856" cy="0"/>
          </a:xfrm>
          <a:prstGeom prst="line">
            <a:avLst/>
          </a:prstGeom>
          <a:ln w="25400">
            <a:solidFill>
              <a:srgbClr val="001965"/>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9415070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711A43EB-39D1-4413-9A92-FCDCC9D0448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628901" y="1279571"/>
            <a:ext cx="15300000" cy="4833612"/>
          </a:xfrm>
          <a:prstGeom prst="rect">
            <a:avLst/>
          </a:prstGeom>
        </p:spPr>
      </p:pic>
      <p:sp>
        <p:nvSpPr>
          <p:cNvPr id="2" name="Title 1">
            <a:extLst>
              <a:ext uri="{FF2B5EF4-FFF2-40B4-BE49-F238E27FC236}">
                <a16:creationId xmlns:a16="http://schemas.microsoft.com/office/drawing/2014/main" id="{4EFFF03C-C73F-4D89-891D-E3148C5CEF47}"/>
              </a:ext>
            </a:extLst>
          </p:cNvPr>
          <p:cNvSpPr>
            <a:spLocks noGrp="1"/>
          </p:cNvSpPr>
          <p:nvPr>
            <p:ph type="title"/>
          </p:nvPr>
        </p:nvSpPr>
        <p:spPr/>
        <p:txBody>
          <a:bodyPr/>
          <a:lstStyle/>
          <a:p>
            <a:r>
              <a:rPr lang="en-GB" dirty="0"/>
              <a:t>Four major NCDs drive the burden, accounting for 38 million deaths</a:t>
            </a:r>
            <a:r>
              <a:rPr lang="en-GB" sz="2800" baseline="50000" dirty="0"/>
              <a:t>1</a:t>
            </a:r>
            <a:r>
              <a:rPr lang="en-GB" dirty="0"/>
              <a:t> </a:t>
            </a:r>
            <a:br>
              <a:rPr lang="en-GB" dirty="0"/>
            </a:br>
            <a:endParaRPr lang="en-US" dirty="0"/>
          </a:p>
        </p:txBody>
      </p:sp>
      <p:sp>
        <p:nvSpPr>
          <p:cNvPr id="5" name="Pladsholder til sidefod 4">
            <a:extLst>
              <a:ext uri="{FF2B5EF4-FFF2-40B4-BE49-F238E27FC236}">
                <a16:creationId xmlns:a16="http://schemas.microsoft.com/office/drawing/2014/main" id="{EAD7737D-1D56-3341-A022-A42BC11D2C5E}"/>
              </a:ext>
            </a:extLst>
          </p:cNvPr>
          <p:cNvSpPr>
            <a:spLocks noGrp="1"/>
          </p:cNvSpPr>
          <p:nvPr>
            <p:ph type="ftr" sz="quarter" idx="11"/>
          </p:nvPr>
        </p:nvSpPr>
        <p:spPr/>
        <p:txBody>
          <a:bodyPr/>
          <a:lstStyle/>
          <a:p>
            <a:r>
              <a:rPr lang="en-GB"/>
              <a:t>Novo Nordisk company presentation</a:t>
            </a:r>
          </a:p>
        </p:txBody>
      </p:sp>
      <p:sp>
        <p:nvSpPr>
          <p:cNvPr id="6" name="Pladsholder til slidenummer 5">
            <a:extLst>
              <a:ext uri="{FF2B5EF4-FFF2-40B4-BE49-F238E27FC236}">
                <a16:creationId xmlns:a16="http://schemas.microsoft.com/office/drawing/2014/main" id="{9D289B41-49FE-AA4F-8E81-1F4D00D9F5E0}"/>
              </a:ext>
            </a:extLst>
          </p:cNvPr>
          <p:cNvSpPr>
            <a:spLocks noGrp="1"/>
          </p:cNvSpPr>
          <p:nvPr>
            <p:ph type="sldNum" sz="quarter" idx="12"/>
          </p:nvPr>
        </p:nvSpPr>
        <p:spPr/>
        <p:txBody>
          <a:bodyPr/>
          <a:lstStyle/>
          <a:p>
            <a:fld id="{23AA811B-2EBD-4900-905E-5BE206449611}" type="slidenum">
              <a:rPr lang="en-GB" smtClean="0"/>
              <a:t>12</a:t>
            </a:fld>
            <a:endParaRPr lang="en-GB"/>
          </a:p>
        </p:txBody>
      </p:sp>
      <p:sp>
        <p:nvSpPr>
          <p:cNvPr id="4" name="Pladsholder til tekst 3">
            <a:extLst>
              <a:ext uri="{FF2B5EF4-FFF2-40B4-BE49-F238E27FC236}">
                <a16:creationId xmlns:a16="http://schemas.microsoft.com/office/drawing/2014/main" id="{60755ADC-2829-174D-874B-3597847DA880}"/>
              </a:ext>
            </a:extLst>
          </p:cNvPr>
          <p:cNvSpPr>
            <a:spLocks noGrp="1"/>
          </p:cNvSpPr>
          <p:nvPr>
            <p:ph type="body" sz="quarter" idx="13"/>
          </p:nvPr>
        </p:nvSpPr>
        <p:spPr/>
        <p:txBody>
          <a:bodyPr/>
          <a:lstStyle/>
          <a:p>
            <a:r>
              <a:rPr lang="en-GB" dirty="0">
                <a:solidFill>
                  <a:srgbClr val="D4D7DC"/>
                </a:solidFill>
              </a:rPr>
              <a:t>1. Roth GA, et al. Global, regional, and national age-sex-specific mortality for 282 causes of death in 195 countries and territories, 1980–2017: a systematic analysis for the Global Burden of Disease Study 2017. The Lancet. 2018;392(10159):1736–1788.</a:t>
            </a:r>
          </a:p>
        </p:txBody>
      </p:sp>
      <p:sp>
        <p:nvSpPr>
          <p:cNvPr id="8" name="Pladsholder til slidenummer 2">
            <a:extLst>
              <a:ext uri="{FF2B5EF4-FFF2-40B4-BE49-F238E27FC236}">
                <a16:creationId xmlns:a16="http://schemas.microsoft.com/office/drawing/2014/main" id="{0E3A38CD-78C5-4742-A6F4-3A7257300395}"/>
              </a:ext>
            </a:extLst>
          </p:cNvPr>
          <p:cNvSpPr txBox="1">
            <a:spLocks/>
          </p:cNvSpPr>
          <p:nvPr/>
        </p:nvSpPr>
        <p:spPr>
          <a:xfrm>
            <a:off x="324000" y="324000"/>
            <a:ext cx="324000" cy="125850"/>
          </a:xfrm>
          <a:prstGeom prst="rect">
            <a:avLst/>
          </a:prstGeom>
        </p:spPr>
        <p:txBody>
          <a:bodyPr vert="horz" lIns="0" tIns="0" rIns="0" bIns="0" rtlCol="0" anchor="t"/>
          <a:lstStyle>
            <a:defPPr>
              <a:defRPr lang="en-US"/>
            </a:defPPr>
            <a:lvl1pPr marL="0" algn="l" defTabSz="914400" rtl="0" eaLnBrk="1" latinLnBrk="0" hangingPunct="1">
              <a:defRPr sz="6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mtClean="0"/>
              <a:pPr/>
              <a:t>12</a:t>
            </a:fld>
            <a:endParaRPr lang="en-GB"/>
          </a:p>
        </p:txBody>
      </p:sp>
      <p:sp>
        <p:nvSpPr>
          <p:cNvPr id="10" name="Tekstfelt 9">
            <a:extLst>
              <a:ext uri="{FF2B5EF4-FFF2-40B4-BE49-F238E27FC236}">
                <a16:creationId xmlns:a16="http://schemas.microsoft.com/office/drawing/2014/main" id="{61682364-5BF6-1543-B1EB-0BA9C8359BC7}"/>
              </a:ext>
            </a:extLst>
          </p:cNvPr>
          <p:cNvSpPr txBox="1"/>
          <p:nvPr/>
        </p:nvSpPr>
        <p:spPr>
          <a:xfrm>
            <a:off x="1607644" y="2850603"/>
            <a:ext cx="1191986" cy="240259"/>
          </a:xfrm>
          <a:prstGeom prst="rect">
            <a:avLst/>
          </a:prstGeom>
          <a:noFill/>
        </p:spPr>
        <p:txBody>
          <a:bodyPr wrap="square" lIns="0" tIns="0" rIns="0" bIns="0" rtlCol="0">
            <a:spAutoFit/>
          </a:bodyPr>
          <a:lstStyle/>
          <a:p>
            <a:pPr lvl="0">
              <a:lnSpc>
                <a:spcPct val="120000"/>
              </a:lnSpc>
              <a:defRPr/>
            </a:pPr>
            <a:r>
              <a:rPr lang="en-GB" sz="14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Diabetes</a:t>
            </a:r>
          </a:p>
        </p:txBody>
      </p:sp>
      <p:sp>
        <p:nvSpPr>
          <p:cNvPr id="11" name="Tekstfelt 10">
            <a:extLst>
              <a:ext uri="{FF2B5EF4-FFF2-40B4-BE49-F238E27FC236}">
                <a16:creationId xmlns:a16="http://schemas.microsoft.com/office/drawing/2014/main" id="{2F95A95C-1EC8-7F45-9D8F-A7816776AA54}"/>
              </a:ext>
            </a:extLst>
          </p:cNvPr>
          <p:cNvSpPr txBox="1">
            <a:spLocks/>
          </p:cNvSpPr>
          <p:nvPr/>
        </p:nvSpPr>
        <p:spPr>
          <a:xfrm>
            <a:off x="3696438" y="2850603"/>
            <a:ext cx="2205842" cy="498791"/>
          </a:xfrm>
          <a:prstGeom prst="rect">
            <a:avLst/>
          </a:prstGeom>
          <a:noFill/>
        </p:spPr>
        <p:txBody>
          <a:bodyPr wrap="square" lIns="0" tIns="0" rIns="0" bIns="0" rtlCol="0">
            <a:spAutoFit/>
          </a:bodyPr>
          <a:lstStyle/>
          <a:p>
            <a:pPr lvl="0" algn="ctr">
              <a:lnSpc>
                <a:spcPct val="120000"/>
              </a:lnSpc>
              <a:defRPr/>
            </a:pPr>
            <a:r>
              <a:rPr lang="en-GB" sz="14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Cardiovascular </a:t>
            </a:r>
            <a:br>
              <a:rPr lang="en-GB" sz="14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br>
            <a:r>
              <a:rPr lang="en-GB" sz="14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diseases</a:t>
            </a:r>
          </a:p>
        </p:txBody>
      </p:sp>
      <p:sp>
        <p:nvSpPr>
          <p:cNvPr id="12" name="Tekstfelt 11">
            <a:extLst>
              <a:ext uri="{FF2B5EF4-FFF2-40B4-BE49-F238E27FC236}">
                <a16:creationId xmlns:a16="http://schemas.microsoft.com/office/drawing/2014/main" id="{A04C6E38-3D2A-314E-B9E9-CF9912C905C5}"/>
              </a:ext>
            </a:extLst>
          </p:cNvPr>
          <p:cNvSpPr txBox="1"/>
          <p:nvPr/>
        </p:nvSpPr>
        <p:spPr>
          <a:xfrm>
            <a:off x="7157982" y="2850603"/>
            <a:ext cx="906618" cy="240259"/>
          </a:xfrm>
          <a:prstGeom prst="rect">
            <a:avLst/>
          </a:prstGeom>
          <a:noFill/>
        </p:spPr>
        <p:txBody>
          <a:bodyPr wrap="square" lIns="0" tIns="0" rIns="0" bIns="0" rtlCol="0">
            <a:spAutoFit/>
          </a:bodyPr>
          <a:lstStyle/>
          <a:p>
            <a:pPr lvl="0" algn="ctr">
              <a:lnSpc>
                <a:spcPct val="120000"/>
              </a:lnSpc>
              <a:defRPr/>
            </a:pPr>
            <a:r>
              <a:rPr lang="en-GB" sz="14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Cancer</a:t>
            </a:r>
          </a:p>
        </p:txBody>
      </p:sp>
      <p:sp>
        <p:nvSpPr>
          <p:cNvPr id="13" name="Tekstfelt 12">
            <a:extLst>
              <a:ext uri="{FF2B5EF4-FFF2-40B4-BE49-F238E27FC236}">
                <a16:creationId xmlns:a16="http://schemas.microsoft.com/office/drawing/2014/main" id="{E0C7B2B9-32B9-CF47-9722-C1B0B3F0AE0D}"/>
              </a:ext>
            </a:extLst>
          </p:cNvPr>
          <p:cNvSpPr txBox="1">
            <a:spLocks/>
          </p:cNvSpPr>
          <p:nvPr/>
        </p:nvSpPr>
        <p:spPr>
          <a:xfrm>
            <a:off x="9032718" y="2850603"/>
            <a:ext cx="2066374" cy="498791"/>
          </a:xfrm>
          <a:prstGeom prst="rect">
            <a:avLst/>
          </a:prstGeom>
          <a:noFill/>
        </p:spPr>
        <p:txBody>
          <a:bodyPr wrap="square" lIns="0" tIns="0" rIns="0" bIns="0" rtlCol="0">
            <a:spAutoFit/>
          </a:bodyPr>
          <a:lstStyle/>
          <a:p>
            <a:pPr lvl="0" algn="ctr">
              <a:lnSpc>
                <a:spcPct val="120000"/>
              </a:lnSpc>
              <a:defRPr/>
            </a:pPr>
            <a:r>
              <a:rPr lang="en-GB" sz="1400"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Chronic respiratory disease</a:t>
            </a:r>
          </a:p>
        </p:txBody>
      </p:sp>
    </p:spTree>
    <p:custDataLst>
      <p:tags r:id="rId1"/>
    </p:custDataLst>
    <p:extLst>
      <p:ext uri="{BB962C8B-B14F-4D97-AF65-F5344CB8AC3E}">
        <p14:creationId xmlns:p14="http://schemas.microsoft.com/office/powerpoint/2010/main" val="39320157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DFED9-4864-4983-8B3F-CBE1886DA4A6}"/>
              </a:ext>
            </a:extLst>
          </p:cNvPr>
          <p:cNvSpPr>
            <a:spLocks noGrp="1"/>
          </p:cNvSpPr>
          <p:nvPr>
            <p:ph type="title"/>
          </p:nvPr>
        </p:nvSpPr>
        <p:spPr/>
        <p:txBody>
          <a:bodyPr/>
          <a:lstStyle/>
          <a:p>
            <a:r>
              <a:rPr lang="en-GB" dirty="0"/>
              <a:t>Diabetes is a rapidly growing </a:t>
            </a:r>
            <a:br>
              <a:rPr lang="en-GB" dirty="0"/>
            </a:br>
            <a:r>
              <a:rPr lang="en-GB" dirty="0"/>
              <a:t>social challenge worldwide</a:t>
            </a:r>
            <a:endParaRPr lang="en-US" dirty="0"/>
          </a:p>
        </p:txBody>
      </p:sp>
      <p:sp>
        <p:nvSpPr>
          <p:cNvPr id="5" name="Pladsholder til sidefod 4">
            <a:extLst>
              <a:ext uri="{FF2B5EF4-FFF2-40B4-BE49-F238E27FC236}">
                <a16:creationId xmlns:a16="http://schemas.microsoft.com/office/drawing/2014/main" id="{EAD7737D-1D56-3341-A022-A42BC11D2C5E}"/>
              </a:ext>
            </a:extLst>
          </p:cNvPr>
          <p:cNvSpPr>
            <a:spLocks noGrp="1"/>
          </p:cNvSpPr>
          <p:nvPr>
            <p:ph type="ftr" sz="quarter" idx="11"/>
          </p:nvPr>
        </p:nvSpPr>
        <p:spPr/>
        <p:txBody>
          <a:bodyPr/>
          <a:lstStyle/>
          <a:p>
            <a:r>
              <a:rPr lang="en-GB"/>
              <a:t>Novo Nordisk company presentation</a:t>
            </a:r>
          </a:p>
        </p:txBody>
      </p:sp>
      <p:sp>
        <p:nvSpPr>
          <p:cNvPr id="6" name="Pladsholder til slidenummer 5">
            <a:extLst>
              <a:ext uri="{FF2B5EF4-FFF2-40B4-BE49-F238E27FC236}">
                <a16:creationId xmlns:a16="http://schemas.microsoft.com/office/drawing/2014/main" id="{9D289B41-49FE-AA4F-8E81-1F4D00D9F5E0}"/>
              </a:ext>
            </a:extLst>
          </p:cNvPr>
          <p:cNvSpPr>
            <a:spLocks noGrp="1"/>
          </p:cNvSpPr>
          <p:nvPr>
            <p:ph type="sldNum" sz="quarter" idx="12"/>
          </p:nvPr>
        </p:nvSpPr>
        <p:spPr/>
        <p:txBody>
          <a:bodyPr/>
          <a:lstStyle/>
          <a:p>
            <a:fld id="{23AA811B-2EBD-4900-905E-5BE206449611}" type="slidenum">
              <a:rPr lang="en-GB" smtClean="0"/>
              <a:t>13</a:t>
            </a:fld>
            <a:endParaRPr lang="en-GB"/>
          </a:p>
        </p:txBody>
      </p:sp>
      <p:sp>
        <p:nvSpPr>
          <p:cNvPr id="4" name="Pladsholder til tekst 3">
            <a:extLst>
              <a:ext uri="{FF2B5EF4-FFF2-40B4-BE49-F238E27FC236}">
                <a16:creationId xmlns:a16="http://schemas.microsoft.com/office/drawing/2014/main" id="{60755ADC-2829-174D-874B-3597847DA880}"/>
              </a:ext>
            </a:extLst>
          </p:cNvPr>
          <p:cNvSpPr>
            <a:spLocks noGrp="1"/>
          </p:cNvSpPr>
          <p:nvPr>
            <p:ph type="body" sz="quarter" idx="13"/>
          </p:nvPr>
        </p:nvSpPr>
        <p:spPr/>
        <p:txBody>
          <a:bodyPr/>
          <a:lstStyle/>
          <a:p>
            <a:pPr>
              <a:lnSpc>
                <a:spcPct val="150000"/>
              </a:lnSpc>
            </a:pPr>
            <a:r>
              <a:rPr lang="en-GB" noProof="1">
                <a:solidFill>
                  <a:srgbClr val="D4D7DC"/>
                </a:solidFill>
                <a:latin typeface="Apis For Office" panose="020B0504010101010104" pitchFamily="34" charset="0"/>
                <a:ea typeface="Apis For Office" panose="020B0504010101010104" pitchFamily="34" charset="0"/>
                <a:cs typeface="Apis For Office" panose="020B0504010101010104" pitchFamily="34" charset="0"/>
              </a:rPr>
              <a:t>1. International Diabetes Federation. IDF Diabetes Atlas, 5th edn. Brussels, Belgium: International Diabetes Federation. 2011. </a:t>
            </a:r>
            <a:br>
              <a:rPr lang="en-GB" noProof="1">
                <a:solidFill>
                  <a:srgbClr val="D4D7DC"/>
                </a:solidFill>
                <a:latin typeface="Apis For Office" panose="020B0504010101010104" pitchFamily="34" charset="0"/>
                <a:ea typeface="Apis For Office" panose="020B0504010101010104" pitchFamily="34" charset="0"/>
                <a:cs typeface="Apis For Office" panose="020B0504010101010104" pitchFamily="34" charset="0"/>
              </a:rPr>
            </a:br>
            <a:r>
              <a:rPr lang="en-GB" noProof="1">
                <a:solidFill>
                  <a:srgbClr val="D4D7DC"/>
                </a:solidFill>
                <a:latin typeface="Apis For Office" panose="020B0504010101010104" pitchFamily="34" charset="0"/>
                <a:ea typeface="Apis For Office" panose="020B0504010101010104" pitchFamily="34" charset="0"/>
                <a:cs typeface="Apis For Office" panose="020B0504010101010104" pitchFamily="34" charset="0"/>
              </a:rPr>
              <a:t>2. International Diabetes Federation. IDF Diabetes Atlas, 9th edn. Brussels, Belgium: International Diabetes Federation. 2019. </a:t>
            </a:r>
          </a:p>
        </p:txBody>
      </p:sp>
      <p:sp>
        <p:nvSpPr>
          <p:cNvPr id="7" name="Pladsholder til slidenummer 2">
            <a:extLst>
              <a:ext uri="{FF2B5EF4-FFF2-40B4-BE49-F238E27FC236}">
                <a16:creationId xmlns:a16="http://schemas.microsoft.com/office/drawing/2014/main" id="{946968AD-AF59-4B4A-9FD5-EA814E97367D}"/>
              </a:ext>
            </a:extLst>
          </p:cNvPr>
          <p:cNvSpPr txBox="1">
            <a:spLocks/>
          </p:cNvSpPr>
          <p:nvPr/>
        </p:nvSpPr>
        <p:spPr>
          <a:xfrm>
            <a:off x="324000" y="324000"/>
            <a:ext cx="324000" cy="125850"/>
          </a:xfrm>
          <a:prstGeom prst="rect">
            <a:avLst/>
          </a:prstGeom>
        </p:spPr>
        <p:txBody>
          <a:bodyPr vert="horz" lIns="0" tIns="0" rIns="0" bIns="0" rtlCol="0" anchor="t"/>
          <a:lstStyle>
            <a:defPPr>
              <a:defRPr lang="en-US"/>
            </a:defPPr>
            <a:lvl1pPr marL="0" algn="l" defTabSz="914400" rtl="0" eaLnBrk="1" latinLnBrk="0" hangingPunct="1">
              <a:defRPr sz="6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mtClean="0"/>
              <a:pPr/>
              <a:t>13</a:t>
            </a:fld>
            <a:endParaRPr lang="en-GB"/>
          </a:p>
        </p:txBody>
      </p:sp>
      <p:sp>
        <p:nvSpPr>
          <p:cNvPr id="9" name="Tekstfelt 8">
            <a:extLst>
              <a:ext uri="{FF2B5EF4-FFF2-40B4-BE49-F238E27FC236}">
                <a16:creationId xmlns:a16="http://schemas.microsoft.com/office/drawing/2014/main" id="{3168AA6B-127D-4448-9118-D8CEC773375A}"/>
              </a:ext>
            </a:extLst>
          </p:cNvPr>
          <p:cNvSpPr txBox="1">
            <a:spLocks/>
          </p:cNvSpPr>
          <p:nvPr/>
        </p:nvSpPr>
        <p:spPr>
          <a:xfrm>
            <a:off x="666885" y="2416692"/>
            <a:ext cx="2723964" cy="498791"/>
          </a:xfrm>
          <a:prstGeom prst="rect">
            <a:avLst/>
          </a:prstGeom>
          <a:noFill/>
        </p:spPr>
        <p:txBody>
          <a:bodyPr wrap="square" lIns="0" tIns="0" rIns="0" bIns="0" rtlCol="0">
            <a:spAutoFit/>
          </a:bodyPr>
          <a:lstStyle/>
          <a:p>
            <a:pPr>
              <a:lnSpc>
                <a:spcPct val="120000"/>
              </a:lnSpc>
            </a:pPr>
            <a:r>
              <a:rPr lang="en-GB" sz="1400">
                <a:solidFill>
                  <a:schemeClr val="tx2"/>
                </a:solidFill>
              </a:rPr>
              <a:t>The increasing global prevalence of diabetes </a:t>
            </a:r>
            <a:r>
              <a:rPr lang="en-GB" sz="1400" baseline="30000">
                <a:solidFill>
                  <a:schemeClr val="tx2"/>
                </a:solidFill>
              </a:rPr>
              <a:t>1,2</a:t>
            </a:r>
          </a:p>
        </p:txBody>
      </p:sp>
      <p:sp>
        <p:nvSpPr>
          <p:cNvPr id="10" name="Rektangel 9">
            <a:extLst>
              <a:ext uri="{FF2B5EF4-FFF2-40B4-BE49-F238E27FC236}">
                <a16:creationId xmlns:a16="http://schemas.microsoft.com/office/drawing/2014/main" id="{61DA909A-FB20-9D4E-81FD-C941D4438958}"/>
              </a:ext>
            </a:extLst>
          </p:cNvPr>
          <p:cNvSpPr/>
          <p:nvPr/>
        </p:nvSpPr>
        <p:spPr>
          <a:xfrm>
            <a:off x="666885" y="3719130"/>
            <a:ext cx="8859795" cy="2168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1" name="Rektangel 10">
            <a:extLst>
              <a:ext uri="{FF2B5EF4-FFF2-40B4-BE49-F238E27FC236}">
                <a16:creationId xmlns:a16="http://schemas.microsoft.com/office/drawing/2014/main" id="{D12F0B96-5CC8-754A-BA42-B9F256FBFF47}"/>
              </a:ext>
            </a:extLst>
          </p:cNvPr>
          <p:cNvSpPr/>
          <p:nvPr/>
        </p:nvSpPr>
        <p:spPr>
          <a:xfrm>
            <a:off x="666885" y="4262593"/>
            <a:ext cx="5169315" cy="2168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2" name="Rektangel 11">
            <a:extLst>
              <a:ext uri="{FF2B5EF4-FFF2-40B4-BE49-F238E27FC236}">
                <a16:creationId xmlns:a16="http://schemas.microsoft.com/office/drawing/2014/main" id="{311DBE82-E7A3-0044-8404-04146C4898CD}"/>
              </a:ext>
            </a:extLst>
          </p:cNvPr>
          <p:cNvSpPr/>
          <p:nvPr/>
        </p:nvSpPr>
        <p:spPr>
          <a:xfrm>
            <a:off x="666885" y="4789571"/>
            <a:ext cx="2089685" cy="19995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a:p>
        </p:txBody>
      </p:sp>
      <p:sp>
        <p:nvSpPr>
          <p:cNvPr id="13" name="Tekstfelt 12">
            <a:extLst>
              <a:ext uri="{FF2B5EF4-FFF2-40B4-BE49-F238E27FC236}">
                <a16:creationId xmlns:a16="http://schemas.microsoft.com/office/drawing/2014/main" id="{F5B9CBA7-2B99-0B45-AE48-B760A34F6982}"/>
              </a:ext>
            </a:extLst>
          </p:cNvPr>
          <p:cNvSpPr txBox="1">
            <a:spLocks/>
          </p:cNvSpPr>
          <p:nvPr/>
        </p:nvSpPr>
        <p:spPr>
          <a:xfrm>
            <a:off x="3004642" y="4726030"/>
            <a:ext cx="1649738" cy="369332"/>
          </a:xfrm>
          <a:prstGeom prst="rect">
            <a:avLst/>
          </a:prstGeom>
          <a:noFill/>
        </p:spPr>
        <p:txBody>
          <a:bodyPr wrap="square" lIns="0" tIns="0" rIns="0" bIns="0" rtlCol="0">
            <a:spAutoFit/>
          </a:bodyPr>
          <a:lstStyle/>
          <a:p>
            <a:r>
              <a:rPr lang="en-GB" sz="2400">
                <a:solidFill>
                  <a:schemeClr val="accent5"/>
                </a:solidFill>
                <a:latin typeface="Apis For Office Medium" panose="020B0504010101010104" pitchFamily="34" charset="0"/>
                <a:ea typeface="Apis For Office Medium" panose="020B0504010101010104" pitchFamily="34" charset="0"/>
                <a:cs typeface="Apis For Office Medium" panose="020B0504010101010104" pitchFamily="34" charset="0"/>
              </a:rPr>
              <a:t>285 million</a:t>
            </a:r>
            <a:endParaRPr lang="en-GB" sz="2400" dirty="0">
              <a:solidFill>
                <a:schemeClr val="accent5"/>
              </a:solidFill>
              <a:latin typeface="Apis For Office Medium" panose="020B0504010101010104" pitchFamily="34" charset="0"/>
              <a:ea typeface="Apis For Office Medium" panose="020B0504010101010104" pitchFamily="34" charset="0"/>
              <a:cs typeface="Apis For Office Medium" panose="020B0504010101010104" pitchFamily="34" charset="0"/>
            </a:endParaRPr>
          </a:p>
        </p:txBody>
      </p:sp>
      <p:sp>
        <p:nvSpPr>
          <p:cNvPr id="14" name="Tekstfelt 13">
            <a:extLst>
              <a:ext uri="{FF2B5EF4-FFF2-40B4-BE49-F238E27FC236}">
                <a16:creationId xmlns:a16="http://schemas.microsoft.com/office/drawing/2014/main" id="{88D294AD-A31F-6949-ACEC-34F1AE5BE220}"/>
              </a:ext>
            </a:extLst>
          </p:cNvPr>
          <p:cNvSpPr txBox="1"/>
          <p:nvPr/>
        </p:nvSpPr>
        <p:spPr>
          <a:xfrm>
            <a:off x="3004642" y="5155700"/>
            <a:ext cx="1649738" cy="153888"/>
          </a:xfrm>
          <a:prstGeom prst="rect">
            <a:avLst/>
          </a:prstGeom>
          <a:noFill/>
        </p:spPr>
        <p:txBody>
          <a:bodyPr wrap="square" lIns="0" tIns="0" rIns="0" bIns="0" rtlCol="0">
            <a:spAutoFit/>
          </a:bodyPr>
          <a:lstStyle/>
          <a:p>
            <a:pPr lvl="0">
              <a:defRPr/>
            </a:pPr>
            <a:r>
              <a:rPr lang="en-GB" sz="1000" dirty="0">
                <a:solidFill>
                  <a:schemeClr val="accent5"/>
                </a:solidFill>
                <a:latin typeface="Apis For Office" panose="020B0504010101010104" pitchFamily="34" charset="0"/>
                <a:ea typeface="Apis For Office" panose="020B0504010101010104" pitchFamily="34" charset="0"/>
                <a:cs typeface="Apis For Office" panose="020B0504010101010104" pitchFamily="34" charset="0"/>
              </a:rPr>
              <a:t>adults with diabetes</a:t>
            </a:r>
            <a:r>
              <a:rPr lang="en-GB" sz="1000" baseline="30000" dirty="0">
                <a:solidFill>
                  <a:schemeClr val="accent5"/>
                </a:solidFill>
                <a:latin typeface="Apis For Office" panose="020B0504010101010104" pitchFamily="34" charset="0"/>
                <a:ea typeface="Apis For Office" panose="020B0504010101010104" pitchFamily="34" charset="0"/>
                <a:cs typeface="Apis For Office" panose="020B0504010101010104" pitchFamily="34" charset="0"/>
              </a:rPr>
              <a:t>1</a:t>
            </a:r>
          </a:p>
        </p:txBody>
      </p:sp>
      <p:sp>
        <p:nvSpPr>
          <p:cNvPr id="15" name="Tekstfelt 14">
            <a:extLst>
              <a:ext uri="{FF2B5EF4-FFF2-40B4-BE49-F238E27FC236}">
                <a16:creationId xmlns:a16="http://schemas.microsoft.com/office/drawing/2014/main" id="{AAA05395-14DD-044E-9704-5B4E432A4DE2}"/>
              </a:ext>
            </a:extLst>
          </p:cNvPr>
          <p:cNvSpPr txBox="1"/>
          <p:nvPr/>
        </p:nvSpPr>
        <p:spPr>
          <a:xfrm>
            <a:off x="666885" y="5082301"/>
            <a:ext cx="1649738" cy="153888"/>
          </a:xfrm>
          <a:prstGeom prst="rect">
            <a:avLst/>
          </a:prstGeom>
          <a:noFill/>
        </p:spPr>
        <p:txBody>
          <a:bodyPr wrap="square" lIns="0" tIns="0" rIns="0" bIns="0" rtlCol="0">
            <a:spAutoFit/>
          </a:bodyPr>
          <a:lstStyle/>
          <a:p>
            <a:pPr lvl="0">
              <a:defRPr/>
            </a:pPr>
            <a:r>
              <a:rPr lang="en-GB" sz="1000" dirty="0">
                <a:solidFill>
                  <a:schemeClr val="accent5"/>
                </a:solidFill>
                <a:latin typeface="Apis For Office" panose="020B0504010101010104" pitchFamily="34" charset="0"/>
                <a:ea typeface="Apis For Office" panose="020B0504010101010104" pitchFamily="34" charset="0"/>
                <a:cs typeface="Apis For Office" panose="020B0504010101010104" pitchFamily="34" charset="0"/>
              </a:rPr>
              <a:t>2010</a:t>
            </a:r>
            <a:endParaRPr lang="en-GB" sz="1000" baseline="30000" dirty="0">
              <a:solidFill>
                <a:schemeClr val="accent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6" name="Tekstfelt 15">
            <a:extLst>
              <a:ext uri="{FF2B5EF4-FFF2-40B4-BE49-F238E27FC236}">
                <a16:creationId xmlns:a16="http://schemas.microsoft.com/office/drawing/2014/main" id="{817E9C4D-5B22-334C-95DA-96B2EDF464E4}"/>
              </a:ext>
            </a:extLst>
          </p:cNvPr>
          <p:cNvSpPr txBox="1"/>
          <p:nvPr/>
        </p:nvSpPr>
        <p:spPr>
          <a:xfrm>
            <a:off x="666885" y="4561609"/>
            <a:ext cx="1649738" cy="153888"/>
          </a:xfrm>
          <a:prstGeom prst="rect">
            <a:avLst/>
          </a:prstGeom>
          <a:noFill/>
        </p:spPr>
        <p:txBody>
          <a:bodyPr wrap="square" lIns="0" tIns="0" rIns="0" bIns="0" rtlCol="0">
            <a:spAutoFit/>
          </a:bodyPr>
          <a:lstStyle/>
          <a:p>
            <a:pPr lvl="0">
              <a:defRPr/>
            </a:pPr>
            <a:r>
              <a:rPr lang="en-GB" sz="1000" dirty="0">
                <a:solidFill>
                  <a:schemeClr val="accent3"/>
                </a:solidFill>
                <a:latin typeface="Apis For Office" panose="020B0504010101010104" pitchFamily="34" charset="0"/>
                <a:ea typeface="Apis For Office" panose="020B0504010101010104" pitchFamily="34" charset="0"/>
                <a:cs typeface="Apis For Office" panose="020B0504010101010104" pitchFamily="34" charset="0"/>
              </a:rPr>
              <a:t>2019</a:t>
            </a:r>
            <a:endParaRPr lang="en-GB" sz="1000" baseline="30000" dirty="0">
              <a:solidFill>
                <a:schemeClr val="accent3"/>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7" name="Tekstfelt 16">
            <a:extLst>
              <a:ext uri="{FF2B5EF4-FFF2-40B4-BE49-F238E27FC236}">
                <a16:creationId xmlns:a16="http://schemas.microsoft.com/office/drawing/2014/main" id="{0E0457AF-C78D-C64A-BAB5-18C677BE3368}"/>
              </a:ext>
            </a:extLst>
          </p:cNvPr>
          <p:cNvSpPr txBox="1"/>
          <p:nvPr/>
        </p:nvSpPr>
        <p:spPr>
          <a:xfrm>
            <a:off x="666885" y="4000892"/>
            <a:ext cx="1649738" cy="153888"/>
          </a:xfrm>
          <a:prstGeom prst="rect">
            <a:avLst/>
          </a:prstGeom>
          <a:noFill/>
        </p:spPr>
        <p:txBody>
          <a:bodyPr wrap="square" lIns="0" tIns="0" rIns="0" bIns="0" rtlCol="0">
            <a:spAutoFit/>
          </a:bodyPr>
          <a:lstStyle/>
          <a:p>
            <a:pPr lvl="0">
              <a:defRPr/>
            </a:pPr>
            <a:r>
              <a:rPr lang="en-GB" sz="1000" dirty="0">
                <a:solidFill>
                  <a:schemeClr val="accent4"/>
                </a:solidFill>
                <a:latin typeface="Apis For Office" panose="020B0504010101010104" pitchFamily="34" charset="0"/>
                <a:ea typeface="Apis For Office" panose="020B0504010101010104" pitchFamily="34" charset="0"/>
                <a:cs typeface="Apis For Office" panose="020B0504010101010104" pitchFamily="34" charset="0"/>
              </a:rPr>
              <a:t>2045</a:t>
            </a:r>
            <a:endParaRPr lang="en-GB" sz="1000" baseline="30000" dirty="0">
              <a:solidFill>
                <a:schemeClr val="accent4"/>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18" name="Tekstfelt 17">
            <a:extLst>
              <a:ext uri="{FF2B5EF4-FFF2-40B4-BE49-F238E27FC236}">
                <a16:creationId xmlns:a16="http://schemas.microsoft.com/office/drawing/2014/main" id="{685E6243-4B05-4C4E-B4F6-38333670B576}"/>
              </a:ext>
            </a:extLst>
          </p:cNvPr>
          <p:cNvSpPr txBox="1">
            <a:spLocks/>
          </p:cNvSpPr>
          <p:nvPr/>
        </p:nvSpPr>
        <p:spPr>
          <a:xfrm>
            <a:off x="5998009" y="4217072"/>
            <a:ext cx="1783016" cy="369332"/>
          </a:xfrm>
          <a:prstGeom prst="rect">
            <a:avLst/>
          </a:prstGeom>
          <a:noFill/>
        </p:spPr>
        <p:txBody>
          <a:bodyPr wrap="square" lIns="0" tIns="0" rIns="0" bIns="0" rtlCol="0">
            <a:spAutoFit/>
          </a:bodyPr>
          <a:lstStyle/>
          <a:p>
            <a:r>
              <a:rPr lang="en-GB" sz="2400">
                <a:solidFill>
                  <a:srgbClr val="2A918B"/>
                </a:solidFill>
                <a:latin typeface="Apis For Office Medium" panose="020B0504010101010104" pitchFamily="34" charset="0"/>
                <a:ea typeface="Apis For Office Medium" panose="020B0504010101010104" pitchFamily="34" charset="0"/>
                <a:cs typeface="Apis For Office Medium" panose="020B0504010101010104" pitchFamily="34" charset="0"/>
              </a:rPr>
              <a:t>463 million</a:t>
            </a:r>
            <a:endParaRPr lang="en-GB" sz="2400" dirty="0">
              <a:solidFill>
                <a:srgbClr val="2A918B"/>
              </a:solidFill>
              <a:latin typeface="Apis For Office Medium" panose="020B0504010101010104" pitchFamily="34" charset="0"/>
              <a:ea typeface="Apis For Office Medium" panose="020B0504010101010104" pitchFamily="34" charset="0"/>
              <a:cs typeface="Apis For Office Medium" panose="020B0504010101010104" pitchFamily="34" charset="0"/>
            </a:endParaRPr>
          </a:p>
        </p:txBody>
      </p:sp>
      <p:sp>
        <p:nvSpPr>
          <p:cNvPr id="19" name="Tekstfelt 18">
            <a:extLst>
              <a:ext uri="{FF2B5EF4-FFF2-40B4-BE49-F238E27FC236}">
                <a16:creationId xmlns:a16="http://schemas.microsoft.com/office/drawing/2014/main" id="{50BD74F6-39D7-7D4E-8536-1A316477164F}"/>
              </a:ext>
            </a:extLst>
          </p:cNvPr>
          <p:cNvSpPr txBox="1"/>
          <p:nvPr/>
        </p:nvSpPr>
        <p:spPr>
          <a:xfrm>
            <a:off x="5998009" y="4631626"/>
            <a:ext cx="1649738" cy="153888"/>
          </a:xfrm>
          <a:prstGeom prst="rect">
            <a:avLst/>
          </a:prstGeom>
          <a:noFill/>
        </p:spPr>
        <p:txBody>
          <a:bodyPr wrap="square" lIns="0" tIns="0" rIns="0" bIns="0" rtlCol="0">
            <a:spAutoFit/>
          </a:bodyPr>
          <a:lstStyle/>
          <a:p>
            <a:pPr lvl="0">
              <a:defRPr/>
            </a:pPr>
            <a:r>
              <a:rPr lang="en-GB" sz="1000" dirty="0">
                <a:solidFill>
                  <a:srgbClr val="2A918B"/>
                </a:solidFill>
                <a:latin typeface="Apis For Office" panose="020B0504010101010104" pitchFamily="34" charset="0"/>
                <a:ea typeface="Apis For Office" panose="020B0504010101010104" pitchFamily="34" charset="0"/>
                <a:cs typeface="Apis For Office" panose="020B0504010101010104" pitchFamily="34" charset="0"/>
              </a:rPr>
              <a:t>adults with diabetes</a:t>
            </a:r>
            <a:r>
              <a:rPr lang="en-GB" sz="1000" baseline="30000" dirty="0">
                <a:solidFill>
                  <a:srgbClr val="2A918B"/>
                </a:solidFill>
                <a:latin typeface="Apis For Office" panose="020B0504010101010104" pitchFamily="34" charset="0"/>
                <a:ea typeface="Apis For Office" panose="020B0504010101010104" pitchFamily="34" charset="0"/>
                <a:cs typeface="Apis For Office" panose="020B0504010101010104" pitchFamily="34" charset="0"/>
              </a:rPr>
              <a:t>2</a:t>
            </a:r>
          </a:p>
        </p:txBody>
      </p:sp>
      <p:sp>
        <p:nvSpPr>
          <p:cNvPr id="20" name="Tekstfelt 19">
            <a:extLst>
              <a:ext uri="{FF2B5EF4-FFF2-40B4-BE49-F238E27FC236}">
                <a16:creationId xmlns:a16="http://schemas.microsoft.com/office/drawing/2014/main" id="{16655649-3266-8B49-9CA6-3A8FF3AADB91}"/>
              </a:ext>
            </a:extLst>
          </p:cNvPr>
          <p:cNvSpPr txBox="1"/>
          <p:nvPr/>
        </p:nvSpPr>
        <p:spPr>
          <a:xfrm>
            <a:off x="7543178" y="2783331"/>
            <a:ext cx="881580" cy="369332"/>
          </a:xfrm>
          <a:prstGeom prst="rect">
            <a:avLst/>
          </a:prstGeom>
          <a:noFill/>
        </p:spPr>
        <p:txBody>
          <a:bodyPr wrap="square" lIns="0" tIns="0" rIns="0" bIns="0" rtlCol="0">
            <a:spAutoFit/>
          </a:bodyPr>
          <a:lstStyle/>
          <a:p>
            <a:r>
              <a:rPr lang="en-GB" sz="2400" dirty="0">
                <a:solidFill>
                  <a:schemeClr val="tx2"/>
                </a:solidFill>
                <a:latin typeface="Apis For Office Medium" panose="020B0504010101010104" pitchFamily="34" charset="0"/>
                <a:ea typeface="Apis For Office Medium" panose="020B0504010101010104" pitchFamily="34" charset="0"/>
                <a:cs typeface="Apis For Office Medium" panose="020B0504010101010104" pitchFamily="34" charset="0"/>
              </a:rPr>
              <a:t>51%</a:t>
            </a:r>
          </a:p>
        </p:txBody>
      </p:sp>
      <p:sp>
        <p:nvSpPr>
          <p:cNvPr id="21" name="Tekstfelt 20">
            <a:extLst>
              <a:ext uri="{FF2B5EF4-FFF2-40B4-BE49-F238E27FC236}">
                <a16:creationId xmlns:a16="http://schemas.microsoft.com/office/drawing/2014/main" id="{39C88AD1-AF2E-0949-BB12-CE73E7221D1A}"/>
              </a:ext>
            </a:extLst>
          </p:cNvPr>
          <p:cNvSpPr txBox="1"/>
          <p:nvPr/>
        </p:nvSpPr>
        <p:spPr>
          <a:xfrm>
            <a:off x="7122394" y="3212525"/>
            <a:ext cx="1649738" cy="307777"/>
          </a:xfrm>
          <a:prstGeom prst="rect">
            <a:avLst/>
          </a:prstGeom>
          <a:noFill/>
        </p:spPr>
        <p:txBody>
          <a:bodyPr wrap="square" lIns="0" tIns="0" rIns="0" bIns="0" rtlCol="0">
            <a:spAutoFit/>
          </a:bodyPr>
          <a:lstStyle/>
          <a:p>
            <a:pPr lvl="0" algn="ctr">
              <a:defRPr/>
            </a:pPr>
            <a:r>
              <a:rPr lang="en-GB"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increase in number </a:t>
            </a:r>
          </a:p>
          <a:p>
            <a:pPr lvl="0" algn="ctr">
              <a:defRPr/>
            </a:pPr>
            <a:r>
              <a:rPr lang="en-GB" sz="1000" dirty="0">
                <a:solidFill>
                  <a:schemeClr val="tx2"/>
                </a:solidFill>
                <a:latin typeface="Apis For Office" panose="020B0504010101010104" pitchFamily="34" charset="0"/>
                <a:ea typeface="Apis For Office" panose="020B0504010101010104" pitchFamily="34" charset="0"/>
                <a:cs typeface="Apis For Office" panose="020B0504010101010104" pitchFamily="34" charset="0"/>
              </a:rPr>
              <a:t>of adults with diabetes</a:t>
            </a:r>
          </a:p>
        </p:txBody>
      </p:sp>
      <p:pic>
        <p:nvPicPr>
          <p:cNvPr id="22" name="Billede 21">
            <a:extLst>
              <a:ext uri="{FF2B5EF4-FFF2-40B4-BE49-F238E27FC236}">
                <a16:creationId xmlns:a16="http://schemas.microsoft.com/office/drawing/2014/main" id="{C8C476C3-AC6C-BB45-B147-EE7C3A4203F4}"/>
              </a:ext>
            </a:extLst>
          </p:cNvPr>
          <p:cNvPicPr>
            <a:picLocks noChangeAspect="1"/>
          </p:cNvPicPr>
          <p:nvPr/>
        </p:nvPicPr>
        <p:blipFill>
          <a:blip r:embed="rId4"/>
          <a:stretch>
            <a:fillRect/>
          </a:stretch>
        </p:blipFill>
        <p:spPr>
          <a:xfrm>
            <a:off x="5834882" y="3301199"/>
            <a:ext cx="1178222" cy="1178222"/>
          </a:xfrm>
          <a:prstGeom prst="rect">
            <a:avLst/>
          </a:prstGeom>
        </p:spPr>
      </p:pic>
      <p:pic>
        <p:nvPicPr>
          <p:cNvPr id="23" name="Billede 22">
            <a:extLst>
              <a:ext uri="{FF2B5EF4-FFF2-40B4-BE49-F238E27FC236}">
                <a16:creationId xmlns:a16="http://schemas.microsoft.com/office/drawing/2014/main" id="{F2677727-1488-6745-9546-5C52460264A9}"/>
              </a:ext>
            </a:extLst>
          </p:cNvPr>
          <p:cNvPicPr>
            <a:picLocks noChangeAspect="1"/>
          </p:cNvPicPr>
          <p:nvPr/>
        </p:nvPicPr>
        <p:blipFill>
          <a:blip r:embed="rId5"/>
          <a:stretch>
            <a:fillRect/>
          </a:stretch>
        </p:blipFill>
        <p:spPr>
          <a:xfrm rot="5400000">
            <a:off x="8868301" y="3277579"/>
            <a:ext cx="658379" cy="658379"/>
          </a:xfrm>
          <a:prstGeom prst="rect">
            <a:avLst/>
          </a:prstGeom>
        </p:spPr>
      </p:pic>
      <p:sp>
        <p:nvSpPr>
          <p:cNvPr id="25" name="Tekstfelt 24">
            <a:extLst>
              <a:ext uri="{FF2B5EF4-FFF2-40B4-BE49-F238E27FC236}">
                <a16:creationId xmlns:a16="http://schemas.microsoft.com/office/drawing/2014/main" id="{3EB7B51B-B919-D34D-97E5-1625AC45C95E}"/>
              </a:ext>
            </a:extLst>
          </p:cNvPr>
          <p:cNvSpPr txBox="1"/>
          <p:nvPr/>
        </p:nvSpPr>
        <p:spPr>
          <a:xfrm>
            <a:off x="9803544" y="3655541"/>
            <a:ext cx="3314400" cy="369332"/>
          </a:xfrm>
          <a:prstGeom prst="rect">
            <a:avLst/>
          </a:prstGeom>
          <a:noFill/>
        </p:spPr>
        <p:txBody>
          <a:bodyPr wrap="square" lIns="0" tIns="0" rIns="0" bIns="0" rtlCol="0">
            <a:spAutoFit/>
          </a:bodyPr>
          <a:lstStyle/>
          <a:p>
            <a:r>
              <a:rPr lang="en-GB" sz="2400">
                <a:solidFill>
                  <a:schemeClr val="accent4"/>
                </a:solidFill>
                <a:latin typeface="Apis For Office Medium" panose="020B0504010101010104" pitchFamily="34" charset="0"/>
                <a:ea typeface="Apis For Office Medium" panose="020B0504010101010104" pitchFamily="34" charset="0"/>
                <a:cs typeface="Apis For Office Medium" panose="020B0504010101010104" pitchFamily="34" charset="0"/>
              </a:rPr>
              <a:t>700 million</a:t>
            </a:r>
            <a:endParaRPr lang="en-GB" sz="2400" dirty="0">
              <a:solidFill>
                <a:schemeClr val="accent4"/>
              </a:solidFill>
              <a:latin typeface="Apis For Office Medium" panose="020B0504010101010104" pitchFamily="34" charset="0"/>
              <a:ea typeface="Apis For Office Medium" panose="020B0504010101010104" pitchFamily="34" charset="0"/>
              <a:cs typeface="Apis For Office Medium" panose="020B0504010101010104" pitchFamily="34" charset="0"/>
            </a:endParaRPr>
          </a:p>
        </p:txBody>
      </p:sp>
      <p:sp>
        <p:nvSpPr>
          <p:cNvPr id="24" name="Tekstfelt 18">
            <a:extLst>
              <a:ext uri="{FF2B5EF4-FFF2-40B4-BE49-F238E27FC236}">
                <a16:creationId xmlns:a16="http://schemas.microsoft.com/office/drawing/2014/main" id="{F6323B36-43EE-F24A-872A-783CB3F9EAED}"/>
              </a:ext>
            </a:extLst>
          </p:cNvPr>
          <p:cNvSpPr txBox="1"/>
          <p:nvPr/>
        </p:nvSpPr>
        <p:spPr>
          <a:xfrm>
            <a:off x="9849818" y="4081367"/>
            <a:ext cx="1649738" cy="153888"/>
          </a:xfrm>
          <a:prstGeom prst="rect">
            <a:avLst/>
          </a:prstGeom>
          <a:noFill/>
        </p:spPr>
        <p:txBody>
          <a:bodyPr wrap="square" lIns="0" tIns="0" rIns="0" bIns="0" rtlCol="0">
            <a:spAutoFit/>
          </a:bodyPr>
          <a:lstStyle/>
          <a:p>
            <a:pPr lvl="0">
              <a:defRPr/>
            </a:pPr>
            <a:r>
              <a:rPr lang="en-GB" sz="1000" dirty="0">
                <a:solidFill>
                  <a:srgbClr val="EEA7BF"/>
                </a:solidFill>
                <a:latin typeface="Apis For Office" panose="020B0504010101010104" pitchFamily="34" charset="0"/>
                <a:ea typeface="Apis For Office" panose="020B0504010101010104" pitchFamily="34" charset="0"/>
                <a:cs typeface="Apis For Office" panose="020B0504010101010104" pitchFamily="34" charset="0"/>
              </a:rPr>
              <a:t>adults with diabetes</a:t>
            </a:r>
            <a:r>
              <a:rPr lang="en-GB" sz="1000" baseline="30000" dirty="0">
                <a:solidFill>
                  <a:srgbClr val="EEA7BF"/>
                </a:solidFill>
                <a:latin typeface="Apis For Office" panose="020B0504010101010104" pitchFamily="34" charset="0"/>
                <a:ea typeface="Apis For Office" panose="020B0504010101010104" pitchFamily="34" charset="0"/>
                <a:cs typeface="Apis For Office" panose="020B0504010101010104" pitchFamily="34" charset="0"/>
              </a:rPr>
              <a:t>2</a:t>
            </a:r>
          </a:p>
        </p:txBody>
      </p:sp>
    </p:spTree>
    <p:custDataLst>
      <p:tags r:id="rId1"/>
    </p:custDataLst>
    <p:extLst>
      <p:ext uri="{BB962C8B-B14F-4D97-AF65-F5344CB8AC3E}">
        <p14:creationId xmlns:p14="http://schemas.microsoft.com/office/powerpoint/2010/main" val="6163364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19ED95F3-F87D-41DC-A83D-DA116B5B7FEC}"/>
              </a:ext>
            </a:extLst>
          </p:cNvPr>
          <p:cNvSpPr>
            <a:spLocks noGrp="1"/>
          </p:cNvSpPr>
          <p:nvPr>
            <p:ph type="title"/>
          </p:nvPr>
        </p:nvSpPr>
        <p:spPr/>
        <p:txBody>
          <a:bodyPr/>
          <a:lstStyle/>
          <a:p>
            <a:r>
              <a:rPr lang="en-GB" dirty="0"/>
              <a:t>Obesity is a </a:t>
            </a:r>
            <a:br>
              <a:rPr lang="en-GB" dirty="0"/>
            </a:br>
            <a:r>
              <a:rPr lang="en-GB" dirty="0"/>
              <a:t>global pandemic</a:t>
            </a:r>
            <a:endParaRPr lang="en-US" dirty="0"/>
          </a:p>
        </p:txBody>
      </p:sp>
      <p:sp>
        <p:nvSpPr>
          <p:cNvPr id="5" name="Pladsholder til sidefod 4">
            <a:extLst>
              <a:ext uri="{FF2B5EF4-FFF2-40B4-BE49-F238E27FC236}">
                <a16:creationId xmlns:a16="http://schemas.microsoft.com/office/drawing/2014/main" id="{EAD7737D-1D56-3341-A022-A42BC11D2C5E}"/>
              </a:ext>
            </a:extLst>
          </p:cNvPr>
          <p:cNvSpPr>
            <a:spLocks noGrp="1"/>
          </p:cNvSpPr>
          <p:nvPr>
            <p:ph type="ftr" sz="quarter" idx="11"/>
          </p:nvPr>
        </p:nvSpPr>
        <p:spPr/>
        <p:txBody>
          <a:bodyPr/>
          <a:lstStyle/>
          <a:p>
            <a:r>
              <a:rPr lang="en-GB"/>
              <a:t>Novo Nordisk company presentation</a:t>
            </a:r>
          </a:p>
        </p:txBody>
      </p:sp>
      <p:sp>
        <p:nvSpPr>
          <p:cNvPr id="6" name="Pladsholder til slidenummer 5">
            <a:extLst>
              <a:ext uri="{FF2B5EF4-FFF2-40B4-BE49-F238E27FC236}">
                <a16:creationId xmlns:a16="http://schemas.microsoft.com/office/drawing/2014/main" id="{9D289B41-49FE-AA4F-8E81-1F4D00D9F5E0}"/>
              </a:ext>
            </a:extLst>
          </p:cNvPr>
          <p:cNvSpPr>
            <a:spLocks noGrp="1"/>
          </p:cNvSpPr>
          <p:nvPr>
            <p:ph type="sldNum" sz="quarter" idx="12"/>
          </p:nvPr>
        </p:nvSpPr>
        <p:spPr/>
        <p:txBody>
          <a:bodyPr/>
          <a:lstStyle/>
          <a:p>
            <a:fld id="{23AA811B-2EBD-4900-905E-5BE206449611}" type="slidenum">
              <a:rPr lang="en-GB" smtClean="0"/>
              <a:pPr/>
              <a:t>14</a:t>
            </a:fld>
            <a:endParaRPr lang="en-GB"/>
          </a:p>
        </p:txBody>
      </p:sp>
      <p:sp>
        <p:nvSpPr>
          <p:cNvPr id="4" name="Pladsholder til tekst 3">
            <a:extLst>
              <a:ext uri="{FF2B5EF4-FFF2-40B4-BE49-F238E27FC236}">
                <a16:creationId xmlns:a16="http://schemas.microsoft.com/office/drawing/2014/main" id="{60755ADC-2829-174D-874B-3597847DA880}"/>
              </a:ext>
            </a:extLst>
          </p:cNvPr>
          <p:cNvSpPr>
            <a:spLocks noGrp="1"/>
          </p:cNvSpPr>
          <p:nvPr>
            <p:ph type="body" sz="quarter" idx="13"/>
          </p:nvPr>
        </p:nvSpPr>
        <p:spPr/>
        <p:txBody>
          <a:bodyPr/>
          <a:lstStyle/>
          <a:p>
            <a:r>
              <a:rPr lang="en-GB" dirty="0">
                <a:solidFill>
                  <a:srgbClr val="D4D7DC"/>
                </a:solidFill>
              </a:rPr>
              <a:t>1. Yuen M, Earle R</a:t>
            </a:r>
            <a:r>
              <a:rPr lang="en-GB" noProof="1">
                <a:solidFill>
                  <a:srgbClr val="D4D7DC"/>
                </a:solidFill>
              </a:rPr>
              <a:t>, Kadambi </a:t>
            </a:r>
            <a:r>
              <a:rPr lang="en-GB" dirty="0">
                <a:solidFill>
                  <a:srgbClr val="D4D7DC"/>
                </a:solidFill>
              </a:rPr>
              <a:t>N, et al. A systematic review and evaluation of current evidence reveals 195 obesity-associated disorders. Poster abstract presentation at: The Obesity Society Annual Meeting at Obesity Week 2016; Oct. 31 - Nov. 4, 2016; New Orleans.</a:t>
            </a:r>
            <a:br>
              <a:rPr lang="en-GB" dirty="0">
                <a:solidFill>
                  <a:srgbClr val="D4D7DC"/>
                </a:solidFill>
              </a:rPr>
            </a:br>
            <a:r>
              <a:rPr lang="en-GB" dirty="0">
                <a:solidFill>
                  <a:srgbClr val="D4D7DC"/>
                </a:solidFill>
              </a:rPr>
              <a:t>2. World Health Organization. Obesity and Overweight Fact Sheet no. 311. Available at: </a:t>
            </a:r>
            <a:r>
              <a:rPr lang="en-GB" dirty="0">
                <a:solidFill>
                  <a:srgbClr val="D4D7DC"/>
                </a:solidFill>
                <a:hlinkClick r:id="rId4">
                  <a:extLst>
                    <a:ext uri="{A12FA001-AC4F-418D-AE19-62706E023703}">
                      <ahyp:hlinkClr xmlns:ahyp="http://schemas.microsoft.com/office/drawing/2018/hyperlinkcolor" val="tx"/>
                    </a:ext>
                  </a:extLst>
                </a:hlinkClick>
              </a:rPr>
              <a:t>http://www.who.int/mediacentre/factsheets/fs311/en/</a:t>
            </a:r>
            <a:r>
              <a:rPr lang="en-GB" dirty="0">
                <a:solidFill>
                  <a:srgbClr val="D4D7DC"/>
                </a:solidFill>
              </a:rPr>
              <a:t> Accessed: November 2018. </a:t>
            </a:r>
            <a:br>
              <a:rPr lang="en-GB" dirty="0">
                <a:solidFill>
                  <a:srgbClr val="D4D7DC"/>
                </a:solidFill>
              </a:rPr>
            </a:br>
            <a:r>
              <a:rPr lang="en-GB" dirty="0">
                <a:solidFill>
                  <a:srgbClr val="D4D7DC"/>
                </a:solidFill>
              </a:rPr>
              <a:t>3. Kaplan LM, Golden A, et al. Perceptions of Barriers to Effective Obesity Care: Results from the National ACTION Study. Obesity. 2018;26(1):61-9.</a:t>
            </a:r>
          </a:p>
        </p:txBody>
      </p:sp>
      <p:sp>
        <p:nvSpPr>
          <p:cNvPr id="7" name="Pladsholder til slidenummer 2">
            <a:extLst>
              <a:ext uri="{FF2B5EF4-FFF2-40B4-BE49-F238E27FC236}">
                <a16:creationId xmlns:a16="http://schemas.microsoft.com/office/drawing/2014/main" id="{0A24B89D-5125-264E-B81F-1939D077079E}"/>
              </a:ext>
            </a:extLst>
          </p:cNvPr>
          <p:cNvSpPr txBox="1">
            <a:spLocks/>
          </p:cNvSpPr>
          <p:nvPr/>
        </p:nvSpPr>
        <p:spPr>
          <a:xfrm>
            <a:off x="324000" y="324000"/>
            <a:ext cx="324000" cy="125850"/>
          </a:xfrm>
          <a:prstGeom prst="rect">
            <a:avLst/>
          </a:prstGeom>
        </p:spPr>
        <p:txBody>
          <a:bodyPr vert="horz" lIns="0" tIns="0" rIns="0" bIns="0" rtlCol="0" anchor="t"/>
          <a:lstStyle>
            <a:defPPr>
              <a:defRPr lang="en-US"/>
            </a:defPPr>
            <a:lvl1pPr marL="0" algn="l" defTabSz="914400" rtl="0" eaLnBrk="1" latinLnBrk="0" hangingPunct="1">
              <a:defRPr sz="6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mtClean="0"/>
              <a:pPr/>
              <a:t>14</a:t>
            </a:fld>
            <a:endParaRPr lang="en-GB"/>
          </a:p>
        </p:txBody>
      </p:sp>
      <p:sp>
        <p:nvSpPr>
          <p:cNvPr id="9" name="Pladsholder til indhold 2">
            <a:extLst>
              <a:ext uri="{FF2B5EF4-FFF2-40B4-BE49-F238E27FC236}">
                <a16:creationId xmlns:a16="http://schemas.microsoft.com/office/drawing/2014/main" id="{078A96F3-749E-734B-A38B-1620D2461837}"/>
              </a:ext>
            </a:extLst>
          </p:cNvPr>
          <p:cNvSpPr txBox="1">
            <a:spLocks/>
          </p:cNvSpPr>
          <p:nvPr/>
        </p:nvSpPr>
        <p:spPr>
          <a:xfrm>
            <a:off x="2549523" y="2665607"/>
            <a:ext cx="2652672" cy="2781000"/>
          </a:xfrm>
          <a:prstGeom prst="rect">
            <a:avLst/>
          </a:prstGeom>
        </p:spPr>
        <p:txBody>
          <a:bodyPr/>
          <a:lstStyle>
            <a:lvl1pPr marL="27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2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2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2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2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2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2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2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indent="0">
              <a:buFont typeface="Arial" panose="020B0604020202020204" pitchFamily="34" charset="0"/>
              <a:buNone/>
            </a:pPr>
            <a:r>
              <a:rPr lang="en-GB" b="1" spc="-5" dirty="0">
                <a:cs typeface="Verdana"/>
              </a:rPr>
              <a:t>Obesity </a:t>
            </a:r>
            <a:r>
              <a:rPr lang="en-GB" spc="-5" dirty="0">
                <a:solidFill>
                  <a:srgbClr val="001965"/>
                </a:solidFill>
                <a:cs typeface="Verdana"/>
              </a:rPr>
              <a:t>is linked to </a:t>
            </a:r>
            <a:r>
              <a:rPr lang="en-GB" b="1" spc="-5" dirty="0">
                <a:cs typeface="Verdana"/>
              </a:rPr>
              <a:t>multiple health complications,</a:t>
            </a:r>
            <a:r>
              <a:rPr lang="en-GB" b="1" spc="-5" dirty="0">
                <a:solidFill>
                  <a:srgbClr val="001965"/>
                </a:solidFill>
                <a:cs typeface="Verdana"/>
              </a:rPr>
              <a:t> </a:t>
            </a:r>
            <a:r>
              <a:rPr lang="en-GB" spc="-5" dirty="0">
                <a:solidFill>
                  <a:srgbClr val="001965"/>
                </a:solidFill>
                <a:cs typeface="Verdana"/>
              </a:rPr>
              <a:t>including </a:t>
            </a:r>
            <a:r>
              <a:rPr lang="en-GB" dirty="0">
                <a:solidFill>
                  <a:srgbClr val="001965"/>
                </a:solidFill>
                <a:cs typeface="Verdana"/>
              </a:rPr>
              <a:t>heart </a:t>
            </a:r>
            <a:r>
              <a:rPr lang="en-GB" spc="-5" dirty="0">
                <a:solidFill>
                  <a:srgbClr val="001965"/>
                </a:solidFill>
                <a:cs typeface="Verdana"/>
              </a:rPr>
              <a:t>disease, type </a:t>
            </a:r>
            <a:r>
              <a:rPr lang="en-GB" dirty="0">
                <a:solidFill>
                  <a:srgbClr val="001965"/>
                </a:solidFill>
                <a:cs typeface="Verdana"/>
              </a:rPr>
              <a:t>2 </a:t>
            </a:r>
            <a:r>
              <a:rPr lang="en-GB" spc="-5" dirty="0">
                <a:solidFill>
                  <a:srgbClr val="001965"/>
                </a:solidFill>
                <a:cs typeface="Verdana"/>
              </a:rPr>
              <a:t>diabetes </a:t>
            </a:r>
            <a:r>
              <a:rPr lang="en-GB" dirty="0">
                <a:solidFill>
                  <a:srgbClr val="001965"/>
                </a:solidFill>
                <a:cs typeface="Verdana"/>
              </a:rPr>
              <a:t>and certain </a:t>
            </a:r>
            <a:r>
              <a:rPr lang="en-GB" spc="-5" dirty="0">
                <a:solidFill>
                  <a:srgbClr val="001965"/>
                </a:solidFill>
                <a:cs typeface="Verdana"/>
              </a:rPr>
              <a:t>types </a:t>
            </a:r>
            <a:r>
              <a:rPr lang="en-GB" dirty="0">
                <a:solidFill>
                  <a:srgbClr val="001965"/>
                </a:solidFill>
                <a:cs typeface="Verdana"/>
              </a:rPr>
              <a:t>of</a:t>
            </a:r>
            <a:r>
              <a:rPr lang="en-GB" spc="-25" dirty="0">
                <a:solidFill>
                  <a:srgbClr val="001965"/>
                </a:solidFill>
                <a:cs typeface="Verdana"/>
              </a:rPr>
              <a:t> </a:t>
            </a:r>
            <a:r>
              <a:rPr lang="en-GB" spc="-5" dirty="0">
                <a:solidFill>
                  <a:srgbClr val="001965"/>
                </a:solidFill>
                <a:cs typeface="Verdana"/>
              </a:rPr>
              <a:t>cancers</a:t>
            </a:r>
            <a:r>
              <a:rPr lang="en-GB" spc="-7" baseline="31746" dirty="0">
                <a:solidFill>
                  <a:srgbClr val="001965"/>
                </a:solidFill>
                <a:cs typeface="Verdana"/>
              </a:rPr>
              <a:t>1</a:t>
            </a:r>
            <a:endParaRPr lang="en-GB" baseline="31746" dirty="0">
              <a:solidFill>
                <a:srgbClr val="001965"/>
              </a:solidFill>
              <a:cs typeface="Verdana"/>
            </a:endParaRPr>
          </a:p>
          <a:p>
            <a:endParaRPr lang="da-DK" dirty="0"/>
          </a:p>
        </p:txBody>
      </p:sp>
      <p:pic>
        <p:nvPicPr>
          <p:cNvPr id="11" name="Billede 10">
            <a:extLst>
              <a:ext uri="{FF2B5EF4-FFF2-40B4-BE49-F238E27FC236}">
                <a16:creationId xmlns:a16="http://schemas.microsoft.com/office/drawing/2014/main" id="{598488C5-F66E-B94F-8FBF-CDC4FE9BD07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72852" y="2669936"/>
            <a:ext cx="1441284" cy="696350"/>
          </a:xfrm>
          <a:prstGeom prst="rect">
            <a:avLst/>
          </a:prstGeom>
        </p:spPr>
      </p:pic>
      <p:sp>
        <p:nvSpPr>
          <p:cNvPr id="12" name="Tekstfelt 11">
            <a:extLst>
              <a:ext uri="{FF2B5EF4-FFF2-40B4-BE49-F238E27FC236}">
                <a16:creationId xmlns:a16="http://schemas.microsoft.com/office/drawing/2014/main" id="{F060ACD9-71FD-7447-A0DA-1B179F0E308B}"/>
              </a:ext>
            </a:extLst>
          </p:cNvPr>
          <p:cNvSpPr txBox="1"/>
          <p:nvPr/>
        </p:nvSpPr>
        <p:spPr>
          <a:xfrm>
            <a:off x="7214542" y="3107307"/>
            <a:ext cx="2260599" cy="1029641"/>
          </a:xfrm>
          <a:prstGeom prst="rect">
            <a:avLst/>
          </a:prstGeom>
          <a:noFill/>
        </p:spPr>
        <p:txBody>
          <a:bodyPr wrap="square" lIns="0" tIns="0" rIns="0" bIns="0" rtlCol="0">
            <a:spAutoFit/>
          </a:bodyPr>
          <a:lstStyle/>
          <a:p>
            <a:pPr algn="l">
              <a:lnSpc>
                <a:spcPct val="120000"/>
              </a:lnSpc>
            </a:pPr>
            <a:r>
              <a:rPr lang="en-GB" sz="6000">
                <a:solidFill>
                  <a:schemeClr val="tx2"/>
                </a:solidFill>
              </a:rPr>
              <a:t>120M</a:t>
            </a:r>
            <a:endParaRPr lang="en-GB" sz="6000" dirty="0">
              <a:solidFill>
                <a:schemeClr val="tx2"/>
              </a:solidFill>
            </a:endParaRPr>
          </a:p>
        </p:txBody>
      </p:sp>
      <p:sp>
        <p:nvSpPr>
          <p:cNvPr id="13" name="Tekstfelt 12">
            <a:extLst>
              <a:ext uri="{FF2B5EF4-FFF2-40B4-BE49-F238E27FC236}">
                <a16:creationId xmlns:a16="http://schemas.microsoft.com/office/drawing/2014/main" id="{D7418D3E-DFB9-A74E-A55B-C8E644B2BB16}"/>
              </a:ext>
            </a:extLst>
          </p:cNvPr>
          <p:cNvSpPr txBox="1"/>
          <p:nvPr/>
        </p:nvSpPr>
        <p:spPr>
          <a:xfrm>
            <a:off x="9699738" y="3368366"/>
            <a:ext cx="1544911" cy="595035"/>
          </a:xfrm>
          <a:prstGeom prst="rect">
            <a:avLst/>
          </a:prstGeom>
          <a:noFill/>
        </p:spPr>
        <p:txBody>
          <a:bodyPr wrap="square" lIns="0" tIns="0" rIns="0" bIns="0" rtlCol="0">
            <a:spAutoFit/>
          </a:bodyPr>
          <a:lstStyle/>
          <a:p>
            <a:pPr lvl="0">
              <a:lnSpc>
                <a:spcPct val="120000"/>
              </a:lnSpc>
              <a:defRPr/>
            </a:pPr>
            <a:r>
              <a:rPr lang="en-GB" sz="1100" dirty="0">
                <a:solidFill>
                  <a:srgbClr val="001965"/>
                </a:solidFill>
                <a:cs typeface="Verdana"/>
              </a:rPr>
              <a:t>children and</a:t>
            </a:r>
            <a:r>
              <a:rPr lang="en-GB" sz="1100" spc="-100" dirty="0">
                <a:solidFill>
                  <a:srgbClr val="001965"/>
                </a:solidFill>
                <a:cs typeface="Verdana"/>
              </a:rPr>
              <a:t> </a:t>
            </a:r>
            <a:r>
              <a:rPr lang="en-GB" sz="1100" dirty="0">
                <a:solidFill>
                  <a:srgbClr val="001965"/>
                </a:solidFill>
                <a:cs typeface="Verdana"/>
              </a:rPr>
              <a:t>adolescents </a:t>
            </a:r>
            <a:r>
              <a:rPr lang="en-GB" sz="1100" spc="-10" dirty="0">
                <a:solidFill>
                  <a:srgbClr val="001965"/>
                </a:solidFill>
                <a:cs typeface="Verdana"/>
              </a:rPr>
              <a:t>live </a:t>
            </a:r>
            <a:r>
              <a:rPr lang="en-GB" sz="1100" spc="-5" dirty="0">
                <a:solidFill>
                  <a:srgbClr val="001965"/>
                </a:solidFill>
                <a:cs typeface="Verdana"/>
              </a:rPr>
              <a:t>with</a:t>
            </a:r>
            <a:r>
              <a:rPr lang="en-GB" sz="1100" spc="-10" dirty="0">
                <a:solidFill>
                  <a:srgbClr val="001965"/>
                </a:solidFill>
                <a:cs typeface="Verdana"/>
              </a:rPr>
              <a:t> </a:t>
            </a:r>
            <a:r>
              <a:rPr lang="en-GB" sz="1100" spc="-5" dirty="0">
                <a:solidFill>
                  <a:srgbClr val="001965"/>
                </a:solidFill>
                <a:cs typeface="Verdana"/>
              </a:rPr>
              <a:t>obesity</a:t>
            </a:r>
            <a:r>
              <a:rPr lang="en-GB" sz="1100" spc="-7" baseline="30000" dirty="0">
                <a:solidFill>
                  <a:srgbClr val="001965"/>
                </a:solidFill>
                <a:cs typeface="Verdana"/>
              </a:rPr>
              <a:t>2</a:t>
            </a:r>
            <a:endParaRPr lang="en-GB" sz="1100" dirty="0">
              <a:solidFill>
                <a:schemeClr val="tx2"/>
              </a:solidFill>
            </a:endParaRPr>
          </a:p>
        </p:txBody>
      </p:sp>
      <p:sp>
        <p:nvSpPr>
          <p:cNvPr id="14" name="Tekstfelt 13">
            <a:extLst>
              <a:ext uri="{FF2B5EF4-FFF2-40B4-BE49-F238E27FC236}">
                <a16:creationId xmlns:a16="http://schemas.microsoft.com/office/drawing/2014/main" id="{29E42FFE-DE6C-6446-A1DD-E06F99A073F0}"/>
              </a:ext>
            </a:extLst>
          </p:cNvPr>
          <p:cNvSpPr txBox="1"/>
          <p:nvPr/>
        </p:nvSpPr>
        <p:spPr>
          <a:xfrm>
            <a:off x="7214542" y="1590808"/>
            <a:ext cx="2012794" cy="1029641"/>
          </a:xfrm>
          <a:prstGeom prst="rect">
            <a:avLst/>
          </a:prstGeom>
          <a:noFill/>
        </p:spPr>
        <p:txBody>
          <a:bodyPr wrap="square" lIns="0" tIns="0" rIns="0" bIns="0" rtlCol="0">
            <a:spAutoFit/>
          </a:bodyPr>
          <a:lstStyle/>
          <a:p>
            <a:pPr algn="l">
              <a:lnSpc>
                <a:spcPct val="120000"/>
              </a:lnSpc>
            </a:pPr>
            <a:r>
              <a:rPr lang="en-GB" sz="6000">
                <a:solidFill>
                  <a:schemeClr val="tx2"/>
                </a:solidFill>
              </a:rPr>
              <a:t>650M</a:t>
            </a:r>
            <a:endParaRPr lang="en-GB" sz="6000" dirty="0">
              <a:solidFill>
                <a:schemeClr val="tx2"/>
              </a:solidFill>
            </a:endParaRPr>
          </a:p>
        </p:txBody>
      </p:sp>
      <p:sp>
        <p:nvSpPr>
          <p:cNvPr id="15" name="Tekstfelt 14">
            <a:extLst>
              <a:ext uri="{FF2B5EF4-FFF2-40B4-BE49-F238E27FC236}">
                <a16:creationId xmlns:a16="http://schemas.microsoft.com/office/drawing/2014/main" id="{ECF3AE93-C23A-C349-A449-C3B9E8AEC0AD}"/>
              </a:ext>
            </a:extLst>
          </p:cNvPr>
          <p:cNvSpPr txBox="1"/>
          <p:nvPr/>
        </p:nvSpPr>
        <p:spPr>
          <a:xfrm>
            <a:off x="9699738" y="1946415"/>
            <a:ext cx="1305419" cy="391902"/>
          </a:xfrm>
          <a:prstGeom prst="rect">
            <a:avLst/>
          </a:prstGeom>
          <a:noFill/>
        </p:spPr>
        <p:txBody>
          <a:bodyPr wrap="square" lIns="0" tIns="0" rIns="0" bIns="0" rtlCol="0">
            <a:spAutoFit/>
          </a:bodyPr>
          <a:lstStyle/>
          <a:p>
            <a:pPr>
              <a:lnSpc>
                <a:spcPct val="120000"/>
              </a:lnSpc>
            </a:pPr>
            <a:r>
              <a:rPr lang="en-GB" sz="1100" dirty="0">
                <a:solidFill>
                  <a:srgbClr val="001965"/>
                </a:solidFill>
                <a:cs typeface="Verdana"/>
              </a:rPr>
              <a:t>adults live with </a:t>
            </a:r>
          </a:p>
          <a:p>
            <a:pPr>
              <a:lnSpc>
                <a:spcPct val="120000"/>
              </a:lnSpc>
            </a:pPr>
            <a:r>
              <a:rPr lang="en-GB" sz="1100" dirty="0">
                <a:solidFill>
                  <a:srgbClr val="001965"/>
                </a:solidFill>
                <a:cs typeface="Verdana"/>
              </a:rPr>
              <a:t>obesity</a:t>
            </a:r>
            <a:r>
              <a:rPr lang="en-GB" sz="1100" baseline="30000" dirty="0">
                <a:solidFill>
                  <a:srgbClr val="001965"/>
                </a:solidFill>
                <a:cs typeface="Verdana"/>
              </a:rPr>
              <a:t>2</a:t>
            </a:r>
          </a:p>
        </p:txBody>
      </p:sp>
      <p:sp>
        <p:nvSpPr>
          <p:cNvPr id="16" name="Tekstfelt 15">
            <a:extLst>
              <a:ext uri="{FF2B5EF4-FFF2-40B4-BE49-F238E27FC236}">
                <a16:creationId xmlns:a16="http://schemas.microsoft.com/office/drawing/2014/main" id="{5F29C1BD-BD18-A544-A89F-295469DA300A}"/>
              </a:ext>
            </a:extLst>
          </p:cNvPr>
          <p:cNvSpPr txBox="1"/>
          <p:nvPr/>
        </p:nvSpPr>
        <p:spPr>
          <a:xfrm>
            <a:off x="7254883" y="4524843"/>
            <a:ext cx="1830280" cy="1029641"/>
          </a:xfrm>
          <a:prstGeom prst="rect">
            <a:avLst/>
          </a:prstGeom>
          <a:noFill/>
        </p:spPr>
        <p:txBody>
          <a:bodyPr wrap="square" lIns="0" tIns="0" rIns="0" bIns="0" rtlCol="0">
            <a:spAutoFit/>
          </a:bodyPr>
          <a:lstStyle/>
          <a:p>
            <a:pPr algn="l">
              <a:lnSpc>
                <a:spcPct val="120000"/>
              </a:lnSpc>
            </a:pPr>
            <a:r>
              <a:rPr lang="en-GB" sz="6000">
                <a:solidFill>
                  <a:schemeClr val="tx2"/>
                </a:solidFill>
              </a:rPr>
              <a:t>45%</a:t>
            </a:r>
            <a:endParaRPr lang="en-GB" sz="6000" dirty="0">
              <a:solidFill>
                <a:schemeClr val="tx2"/>
              </a:solidFill>
            </a:endParaRPr>
          </a:p>
        </p:txBody>
      </p:sp>
      <p:sp>
        <p:nvSpPr>
          <p:cNvPr id="17" name="Tekstfelt 16">
            <a:extLst>
              <a:ext uri="{FF2B5EF4-FFF2-40B4-BE49-F238E27FC236}">
                <a16:creationId xmlns:a16="http://schemas.microsoft.com/office/drawing/2014/main" id="{5F5B4931-0414-5049-94A2-F9914D0AEB63}"/>
              </a:ext>
            </a:extLst>
          </p:cNvPr>
          <p:cNvSpPr txBox="1"/>
          <p:nvPr/>
        </p:nvSpPr>
        <p:spPr>
          <a:xfrm>
            <a:off x="9699738" y="4778885"/>
            <a:ext cx="1399137" cy="595035"/>
          </a:xfrm>
          <a:prstGeom prst="rect">
            <a:avLst/>
          </a:prstGeom>
          <a:noFill/>
        </p:spPr>
        <p:txBody>
          <a:bodyPr wrap="square" lIns="0" tIns="0" rIns="0" bIns="0" rtlCol="0">
            <a:spAutoFit/>
          </a:bodyPr>
          <a:lstStyle/>
          <a:p>
            <a:pPr>
              <a:lnSpc>
                <a:spcPct val="120000"/>
              </a:lnSpc>
            </a:pPr>
            <a:r>
              <a:rPr lang="en-GB" sz="1100" dirty="0">
                <a:solidFill>
                  <a:srgbClr val="001965"/>
                </a:solidFill>
                <a:cs typeface="Verdana"/>
              </a:rPr>
              <a:t>of people with obesity are not diagnosed</a:t>
            </a:r>
            <a:r>
              <a:rPr lang="en-GB" sz="1100" baseline="30000" dirty="0">
                <a:solidFill>
                  <a:srgbClr val="001965"/>
                </a:solidFill>
                <a:cs typeface="Verdana"/>
              </a:rPr>
              <a:t>3</a:t>
            </a:r>
          </a:p>
        </p:txBody>
      </p:sp>
      <p:cxnSp>
        <p:nvCxnSpPr>
          <p:cNvPr id="18" name="Straight Connector 4">
            <a:extLst>
              <a:ext uri="{FF2B5EF4-FFF2-40B4-BE49-F238E27FC236}">
                <a16:creationId xmlns:a16="http://schemas.microsoft.com/office/drawing/2014/main" id="{9FA8D06B-D3E9-314C-ADBE-2B599B565841}"/>
              </a:ext>
            </a:extLst>
          </p:cNvPr>
          <p:cNvCxnSpPr/>
          <p:nvPr/>
        </p:nvCxnSpPr>
        <p:spPr>
          <a:xfrm>
            <a:off x="7254883" y="2755557"/>
            <a:ext cx="398976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AFDC501-CA88-BF4B-A6E5-394BE8D80DF4}"/>
              </a:ext>
            </a:extLst>
          </p:cNvPr>
          <p:cNvCxnSpPr/>
          <p:nvPr/>
        </p:nvCxnSpPr>
        <p:spPr>
          <a:xfrm>
            <a:off x="7254883" y="4386649"/>
            <a:ext cx="3989766"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9302094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4365E-EC00-4E3C-A779-D412AA0BBB2E}"/>
              </a:ext>
            </a:extLst>
          </p:cNvPr>
          <p:cNvSpPr>
            <a:spLocks noGrp="1"/>
          </p:cNvSpPr>
          <p:nvPr>
            <p:ph type="title"/>
          </p:nvPr>
        </p:nvSpPr>
        <p:spPr/>
        <p:txBody>
          <a:bodyPr/>
          <a:lstStyle/>
          <a:p>
            <a:r>
              <a:rPr lang="en-GB"/>
              <a:t>Our corporate strategy</a:t>
            </a:r>
            <a:endParaRPr lang="en-GB" dirty="0"/>
          </a:p>
        </p:txBody>
      </p:sp>
      <p:sp>
        <p:nvSpPr>
          <p:cNvPr id="4" name="Text Placeholder 3">
            <a:extLst>
              <a:ext uri="{FF2B5EF4-FFF2-40B4-BE49-F238E27FC236}">
                <a16:creationId xmlns:a16="http://schemas.microsoft.com/office/drawing/2014/main" id="{32B97CCF-78F8-4E65-9DAF-79A484917651}"/>
              </a:ext>
            </a:extLst>
          </p:cNvPr>
          <p:cNvSpPr>
            <a:spLocks noGrp="1"/>
          </p:cNvSpPr>
          <p:nvPr>
            <p:ph type="body" sz="quarter" idx="13"/>
          </p:nvPr>
        </p:nvSpPr>
        <p:spPr/>
        <p:txBody>
          <a:bodyPr/>
          <a:lstStyle/>
          <a:p>
            <a:endParaRPr lang="en-GB"/>
          </a:p>
        </p:txBody>
      </p:sp>
      <p:sp>
        <p:nvSpPr>
          <p:cNvPr id="5" name="Footer Placeholder 4">
            <a:extLst>
              <a:ext uri="{FF2B5EF4-FFF2-40B4-BE49-F238E27FC236}">
                <a16:creationId xmlns:a16="http://schemas.microsoft.com/office/drawing/2014/main" id="{D51A7AFA-BF80-4800-90DA-0E89183C9121}"/>
              </a:ext>
            </a:extLst>
          </p:cNvPr>
          <p:cNvSpPr>
            <a:spLocks noGrp="1"/>
          </p:cNvSpPr>
          <p:nvPr>
            <p:ph type="ftr" sz="quarter" idx="11"/>
          </p:nvPr>
        </p:nvSpPr>
        <p:spPr/>
        <p:txBody>
          <a:bodyPr/>
          <a:lstStyle/>
          <a:p>
            <a:r>
              <a:rPr lang="en-GB"/>
              <a:t>Novo Nordisk company presentation</a:t>
            </a:r>
            <a:endParaRPr lang="en-GB" dirty="0"/>
          </a:p>
        </p:txBody>
      </p:sp>
      <p:grpSp>
        <p:nvGrpSpPr>
          <p:cNvPr id="6" name="Group 5">
            <a:extLst>
              <a:ext uri="{FF2B5EF4-FFF2-40B4-BE49-F238E27FC236}">
                <a16:creationId xmlns:a16="http://schemas.microsoft.com/office/drawing/2014/main" id="{989D9BBB-C2DD-4050-9B89-04A172C80545}"/>
              </a:ext>
            </a:extLst>
          </p:cNvPr>
          <p:cNvGrpSpPr>
            <a:grpSpLocks noChangeAspect="1"/>
          </p:cNvGrpSpPr>
          <p:nvPr/>
        </p:nvGrpSpPr>
        <p:grpSpPr>
          <a:xfrm>
            <a:off x="2567287" y="2142150"/>
            <a:ext cx="7375659" cy="3652225"/>
            <a:chOff x="1331277" y="1062355"/>
            <a:chExt cx="6478588" cy="3208020"/>
          </a:xfrm>
        </p:grpSpPr>
        <p:sp>
          <p:nvSpPr>
            <p:cNvPr id="7" name="Freeform: Shape 6">
              <a:extLst>
                <a:ext uri="{FF2B5EF4-FFF2-40B4-BE49-F238E27FC236}">
                  <a16:creationId xmlns:a16="http://schemas.microsoft.com/office/drawing/2014/main" id="{55EF7E2B-87F4-4F73-AEE3-3DF10A48725A}"/>
                </a:ext>
              </a:extLst>
            </p:cNvPr>
            <p:cNvSpPr/>
            <p:nvPr/>
          </p:nvSpPr>
          <p:spPr>
            <a:xfrm>
              <a:off x="1334453" y="1065530"/>
              <a:ext cx="3206750" cy="1571625"/>
            </a:xfrm>
            <a:custGeom>
              <a:avLst/>
              <a:gdLst>
                <a:gd name="connsiteX0" fmla="*/ 0 w 3206750"/>
                <a:gd name="connsiteY0" fmla="*/ 0 h 1571625"/>
                <a:gd name="connsiteX1" fmla="*/ 3209290 w 3206750"/>
                <a:gd name="connsiteY1" fmla="*/ 0 h 1571625"/>
                <a:gd name="connsiteX2" fmla="*/ 3209290 w 3206750"/>
                <a:gd name="connsiteY2" fmla="*/ 1574165 h 1571625"/>
                <a:gd name="connsiteX3" fmla="*/ 0 w 3206750"/>
                <a:gd name="connsiteY3" fmla="*/ 1574165 h 1571625"/>
              </a:gdLst>
              <a:ahLst/>
              <a:cxnLst>
                <a:cxn ang="0">
                  <a:pos x="connsiteX0" y="connsiteY0"/>
                </a:cxn>
                <a:cxn ang="0">
                  <a:pos x="connsiteX1" y="connsiteY1"/>
                </a:cxn>
                <a:cxn ang="0">
                  <a:pos x="connsiteX2" y="connsiteY2"/>
                </a:cxn>
                <a:cxn ang="0">
                  <a:pos x="connsiteX3" y="connsiteY3"/>
                </a:cxn>
              </a:cxnLst>
              <a:rect l="l" t="t" r="r" b="b"/>
              <a:pathLst>
                <a:path w="3206750" h="1571625">
                  <a:moveTo>
                    <a:pt x="0" y="0"/>
                  </a:moveTo>
                  <a:lnTo>
                    <a:pt x="3209290" y="0"/>
                  </a:lnTo>
                  <a:lnTo>
                    <a:pt x="3209290" y="1574165"/>
                  </a:lnTo>
                  <a:lnTo>
                    <a:pt x="0" y="1574165"/>
                  </a:lnTo>
                  <a:close/>
                </a:path>
              </a:pathLst>
            </a:custGeom>
            <a:solidFill>
              <a:srgbClr val="F7F6F5"/>
            </a:solidFill>
            <a:ln w="3175" cap="flat">
              <a:noFill/>
              <a:prstDash val="solid"/>
              <a:miter/>
            </a:ln>
          </p:spPr>
          <p:txBody>
            <a:bodyPr rtlCol="0" anchor="ctr"/>
            <a:lstStyle/>
            <a:p>
              <a:endParaRPr lang="en-GB" dirty="0">
                <a:solidFill>
                  <a:srgbClr val="000000"/>
                </a:solidFill>
                <a:latin typeface="Verdana"/>
              </a:endParaRPr>
            </a:p>
          </p:txBody>
        </p:sp>
        <p:sp>
          <p:nvSpPr>
            <p:cNvPr id="8" name="Freeform: Shape 7">
              <a:extLst>
                <a:ext uri="{FF2B5EF4-FFF2-40B4-BE49-F238E27FC236}">
                  <a16:creationId xmlns:a16="http://schemas.microsoft.com/office/drawing/2014/main" id="{A51543F2-90DB-4B34-ACA1-7F80FF78776F}"/>
                </a:ext>
              </a:extLst>
            </p:cNvPr>
            <p:cNvSpPr/>
            <p:nvPr/>
          </p:nvSpPr>
          <p:spPr>
            <a:xfrm>
              <a:off x="4599940" y="1065530"/>
              <a:ext cx="3206750" cy="1571625"/>
            </a:xfrm>
            <a:custGeom>
              <a:avLst/>
              <a:gdLst>
                <a:gd name="connsiteX0" fmla="*/ 0 w 3206750"/>
                <a:gd name="connsiteY0" fmla="*/ 0 h 1571625"/>
                <a:gd name="connsiteX1" fmla="*/ 3209290 w 3206750"/>
                <a:gd name="connsiteY1" fmla="*/ 0 h 1571625"/>
                <a:gd name="connsiteX2" fmla="*/ 3209290 w 3206750"/>
                <a:gd name="connsiteY2" fmla="*/ 1574165 h 1571625"/>
                <a:gd name="connsiteX3" fmla="*/ 0 w 3206750"/>
                <a:gd name="connsiteY3" fmla="*/ 1574165 h 1571625"/>
              </a:gdLst>
              <a:ahLst/>
              <a:cxnLst>
                <a:cxn ang="0">
                  <a:pos x="connsiteX0" y="connsiteY0"/>
                </a:cxn>
                <a:cxn ang="0">
                  <a:pos x="connsiteX1" y="connsiteY1"/>
                </a:cxn>
                <a:cxn ang="0">
                  <a:pos x="connsiteX2" y="connsiteY2"/>
                </a:cxn>
                <a:cxn ang="0">
                  <a:pos x="connsiteX3" y="connsiteY3"/>
                </a:cxn>
              </a:cxnLst>
              <a:rect l="l" t="t" r="r" b="b"/>
              <a:pathLst>
                <a:path w="3206750" h="1571625">
                  <a:moveTo>
                    <a:pt x="0" y="0"/>
                  </a:moveTo>
                  <a:lnTo>
                    <a:pt x="3209290" y="0"/>
                  </a:lnTo>
                  <a:lnTo>
                    <a:pt x="3209290" y="1574165"/>
                  </a:lnTo>
                  <a:lnTo>
                    <a:pt x="0" y="1574165"/>
                  </a:lnTo>
                  <a:close/>
                </a:path>
              </a:pathLst>
            </a:custGeom>
            <a:solidFill>
              <a:srgbClr val="F7F6F5"/>
            </a:solidFill>
            <a:ln w="3175" cap="flat">
              <a:noFill/>
              <a:prstDash val="solid"/>
              <a:miter/>
            </a:ln>
          </p:spPr>
          <p:txBody>
            <a:bodyPr rtlCol="0" anchor="ctr"/>
            <a:lstStyle/>
            <a:p>
              <a:endParaRPr lang="en-GB">
                <a:solidFill>
                  <a:srgbClr val="000000"/>
                </a:solidFill>
                <a:latin typeface="Verdana"/>
              </a:endParaRPr>
            </a:p>
          </p:txBody>
        </p:sp>
        <p:sp>
          <p:nvSpPr>
            <p:cNvPr id="9" name="Freeform: Shape 8">
              <a:extLst>
                <a:ext uri="{FF2B5EF4-FFF2-40B4-BE49-F238E27FC236}">
                  <a16:creationId xmlns:a16="http://schemas.microsoft.com/office/drawing/2014/main" id="{8765322B-1082-47B1-BA50-AD043B325778}"/>
                </a:ext>
              </a:extLst>
            </p:cNvPr>
            <p:cNvSpPr/>
            <p:nvPr/>
          </p:nvSpPr>
          <p:spPr>
            <a:xfrm>
              <a:off x="1334453" y="2695575"/>
              <a:ext cx="3206750" cy="1571625"/>
            </a:xfrm>
            <a:custGeom>
              <a:avLst/>
              <a:gdLst>
                <a:gd name="connsiteX0" fmla="*/ 0 w 3206750"/>
                <a:gd name="connsiteY0" fmla="*/ 0 h 1571625"/>
                <a:gd name="connsiteX1" fmla="*/ 3209290 w 3206750"/>
                <a:gd name="connsiteY1" fmla="*/ 0 h 1571625"/>
                <a:gd name="connsiteX2" fmla="*/ 3209290 w 3206750"/>
                <a:gd name="connsiteY2" fmla="*/ 1574165 h 1571625"/>
                <a:gd name="connsiteX3" fmla="*/ 0 w 3206750"/>
                <a:gd name="connsiteY3" fmla="*/ 1574165 h 1571625"/>
              </a:gdLst>
              <a:ahLst/>
              <a:cxnLst>
                <a:cxn ang="0">
                  <a:pos x="connsiteX0" y="connsiteY0"/>
                </a:cxn>
                <a:cxn ang="0">
                  <a:pos x="connsiteX1" y="connsiteY1"/>
                </a:cxn>
                <a:cxn ang="0">
                  <a:pos x="connsiteX2" y="connsiteY2"/>
                </a:cxn>
                <a:cxn ang="0">
                  <a:pos x="connsiteX3" y="connsiteY3"/>
                </a:cxn>
              </a:cxnLst>
              <a:rect l="l" t="t" r="r" b="b"/>
              <a:pathLst>
                <a:path w="3206750" h="1571625">
                  <a:moveTo>
                    <a:pt x="0" y="0"/>
                  </a:moveTo>
                  <a:lnTo>
                    <a:pt x="3209290" y="0"/>
                  </a:lnTo>
                  <a:lnTo>
                    <a:pt x="3209290" y="1574165"/>
                  </a:lnTo>
                  <a:lnTo>
                    <a:pt x="0" y="1574165"/>
                  </a:lnTo>
                  <a:close/>
                </a:path>
              </a:pathLst>
            </a:custGeom>
            <a:solidFill>
              <a:srgbClr val="F7F6F5"/>
            </a:solidFill>
            <a:ln w="3175" cap="flat">
              <a:noFill/>
              <a:prstDash val="solid"/>
              <a:miter/>
            </a:ln>
          </p:spPr>
          <p:txBody>
            <a:bodyPr rtlCol="0" anchor="ctr"/>
            <a:lstStyle/>
            <a:p>
              <a:endParaRPr lang="en-GB">
                <a:solidFill>
                  <a:srgbClr val="000000"/>
                </a:solidFill>
                <a:latin typeface="Verdana"/>
              </a:endParaRPr>
            </a:p>
          </p:txBody>
        </p:sp>
        <p:sp>
          <p:nvSpPr>
            <p:cNvPr id="10" name="Freeform: Shape 9">
              <a:extLst>
                <a:ext uri="{FF2B5EF4-FFF2-40B4-BE49-F238E27FC236}">
                  <a16:creationId xmlns:a16="http://schemas.microsoft.com/office/drawing/2014/main" id="{1F4677CC-F3E4-41A0-8316-5A3BEA9709B5}"/>
                </a:ext>
              </a:extLst>
            </p:cNvPr>
            <p:cNvSpPr/>
            <p:nvPr/>
          </p:nvSpPr>
          <p:spPr>
            <a:xfrm>
              <a:off x="4599940" y="2695575"/>
              <a:ext cx="3206750" cy="1571625"/>
            </a:xfrm>
            <a:custGeom>
              <a:avLst/>
              <a:gdLst>
                <a:gd name="connsiteX0" fmla="*/ 0 w 3206750"/>
                <a:gd name="connsiteY0" fmla="*/ 0 h 1571625"/>
                <a:gd name="connsiteX1" fmla="*/ 3209290 w 3206750"/>
                <a:gd name="connsiteY1" fmla="*/ 0 h 1571625"/>
                <a:gd name="connsiteX2" fmla="*/ 3209290 w 3206750"/>
                <a:gd name="connsiteY2" fmla="*/ 1574165 h 1571625"/>
                <a:gd name="connsiteX3" fmla="*/ 0 w 3206750"/>
                <a:gd name="connsiteY3" fmla="*/ 1574165 h 1571625"/>
              </a:gdLst>
              <a:ahLst/>
              <a:cxnLst>
                <a:cxn ang="0">
                  <a:pos x="connsiteX0" y="connsiteY0"/>
                </a:cxn>
                <a:cxn ang="0">
                  <a:pos x="connsiteX1" y="connsiteY1"/>
                </a:cxn>
                <a:cxn ang="0">
                  <a:pos x="connsiteX2" y="connsiteY2"/>
                </a:cxn>
                <a:cxn ang="0">
                  <a:pos x="connsiteX3" y="connsiteY3"/>
                </a:cxn>
              </a:cxnLst>
              <a:rect l="l" t="t" r="r" b="b"/>
              <a:pathLst>
                <a:path w="3206750" h="1571625">
                  <a:moveTo>
                    <a:pt x="0" y="0"/>
                  </a:moveTo>
                  <a:lnTo>
                    <a:pt x="3209290" y="0"/>
                  </a:lnTo>
                  <a:lnTo>
                    <a:pt x="3209290" y="1574165"/>
                  </a:lnTo>
                  <a:lnTo>
                    <a:pt x="0" y="1574165"/>
                  </a:lnTo>
                  <a:close/>
                </a:path>
              </a:pathLst>
            </a:custGeom>
            <a:solidFill>
              <a:srgbClr val="F7F6F5"/>
            </a:solidFill>
            <a:ln w="3175" cap="flat">
              <a:noFill/>
              <a:prstDash val="solid"/>
              <a:miter/>
            </a:ln>
          </p:spPr>
          <p:txBody>
            <a:bodyPr rtlCol="0" anchor="ctr"/>
            <a:lstStyle/>
            <a:p>
              <a:endParaRPr lang="en-GB">
                <a:solidFill>
                  <a:srgbClr val="000000"/>
                </a:solidFill>
                <a:latin typeface="Verdana"/>
              </a:endParaRPr>
            </a:p>
          </p:txBody>
        </p:sp>
        <p:sp>
          <p:nvSpPr>
            <p:cNvPr id="11" name="Freeform: Shape 10">
              <a:extLst>
                <a:ext uri="{FF2B5EF4-FFF2-40B4-BE49-F238E27FC236}">
                  <a16:creationId xmlns:a16="http://schemas.microsoft.com/office/drawing/2014/main" id="{19E33301-BD28-4B20-A678-7AE341A7C4BE}"/>
                </a:ext>
              </a:extLst>
            </p:cNvPr>
            <p:cNvSpPr/>
            <p:nvPr/>
          </p:nvSpPr>
          <p:spPr>
            <a:xfrm>
              <a:off x="1331277" y="2692400"/>
              <a:ext cx="3213100" cy="1577975"/>
            </a:xfrm>
            <a:custGeom>
              <a:avLst/>
              <a:gdLst>
                <a:gd name="connsiteX0" fmla="*/ 3215958 w 3213100"/>
                <a:gd name="connsiteY0" fmla="*/ 1580515 h 1577975"/>
                <a:gd name="connsiteX1" fmla="*/ 0 w 3213100"/>
                <a:gd name="connsiteY1" fmla="*/ 1580515 h 1577975"/>
                <a:gd name="connsiteX2" fmla="*/ 0 w 3213100"/>
                <a:gd name="connsiteY2" fmla="*/ 0 h 1577975"/>
                <a:gd name="connsiteX3" fmla="*/ 3215640 w 3213100"/>
                <a:gd name="connsiteY3" fmla="*/ 0 h 1577975"/>
                <a:gd name="connsiteX4" fmla="*/ 3215640 w 3213100"/>
                <a:gd name="connsiteY4" fmla="*/ 1580515 h 1577975"/>
                <a:gd name="connsiteX5" fmla="*/ 6350 w 3213100"/>
                <a:gd name="connsiteY5" fmla="*/ 1574165 h 1577975"/>
                <a:gd name="connsiteX6" fmla="*/ 3209290 w 3213100"/>
                <a:gd name="connsiteY6" fmla="*/ 1574165 h 1577975"/>
                <a:gd name="connsiteX7" fmla="*/ 3209290 w 3213100"/>
                <a:gd name="connsiteY7" fmla="*/ 6350 h 1577975"/>
                <a:gd name="connsiteX8" fmla="*/ 6350 w 3213100"/>
                <a:gd name="connsiteY8" fmla="*/ 6350 h 1577975"/>
                <a:gd name="connsiteX9" fmla="*/ 6350 w 3213100"/>
                <a:gd name="connsiteY9" fmla="*/ 1574165 h 157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3100" h="1577975">
                  <a:moveTo>
                    <a:pt x="3215958" y="1580515"/>
                  </a:moveTo>
                  <a:lnTo>
                    <a:pt x="0" y="1580515"/>
                  </a:lnTo>
                  <a:lnTo>
                    <a:pt x="0" y="0"/>
                  </a:lnTo>
                  <a:lnTo>
                    <a:pt x="3215640" y="0"/>
                  </a:lnTo>
                  <a:lnTo>
                    <a:pt x="3215640" y="1580515"/>
                  </a:lnTo>
                  <a:close/>
                  <a:moveTo>
                    <a:pt x="6350" y="1574165"/>
                  </a:moveTo>
                  <a:lnTo>
                    <a:pt x="3209290" y="1574165"/>
                  </a:lnTo>
                  <a:lnTo>
                    <a:pt x="3209290" y="6350"/>
                  </a:lnTo>
                  <a:lnTo>
                    <a:pt x="6350" y="6350"/>
                  </a:lnTo>
                  <a:lnTo>
                    <a:pt x="6350" y="1574165"/>
                  </a:lnTo>
                  <a:close/>
                </a:path>
              </a:pathLst>
            </a:custGeom>
            <a:solidFill>
              <a:srgbClr val="EAAB00"/>
            </a:solidFill>
            <a:ln w="3175" cap="flat">
              <a:noFill/>
              <a:prstDash val="solid"/>
              <a:miter/>
            </a:ln>
          </p:spPr>
          <p:txBody>
            <a:bodyPr rtlCol="0" anchor="ctr"/>
            <a:lstStyle/>
            <a:p>
              <a:endParaRPr lang="en-GB">
                <a:solidFill>
                  <a:srgbClr val="000000"/>
                </a:solidFill>
                <a:latin typeface="Verdana"/>
              </a:endParaRPr>
            </a:p>
          </p:txBody>
        </p:sp>
        <p:sp>
          <p:nvSpPr>
            <p:cNvPr id="12" name="Freeform: Shape 11">
              <a:extLst>
                <a:ext uri="{FF2B5EF4-FFF2-40B4-BE49-F238E27FC236}">
                  <a16:creationId xmlns:a16="http://schemas.microsoft.com/office/drawing/2014/main" id="{D389A0EA-3544-429A-8631-4103E7E68CF1}"/>
                </a:ext>
              </a:extLst>
            </p:cNvPr>
            <p:cNvSpPr/>
            <p:nvPr/>
          </p:nvSpPr>
          <p:spPr>
            <a:xfrm>
              <a:off x="1331277" y="1062355"/>
              <a:ext cx="3213100" cy="1577975"/>
            </a:xfrm>
            <a:custGeom>
              <a:avLst/>
              <a:gdLst>
                <a:gd name="connsiteX0" fmla="*/ 3215958 w 3213100"/>
                <a:gd name="connsiteY0" fmla="*/ 1580515 h 1577975"/>
                <a:gd name="connsiteX1" fmla="*/ 0 w 3213100"/>
                <a:gd name="connsiteY1" fmla="*/ 1580515 h 1577975"/>
                <a:gd name="connsiteX2" fmla="*/ 0 w 3213100"/>
                <a:gd name="connsiteY2" fmla="*/ 0 h 1577975"/>
                <a:gd name="connsiteX3" fmla="*/ 3215640 w 3213100"/>
                <a:gd name="connsiteY3" fmla="*/ 0 h 1577975"/>
                <a:gd name="connsiteX4" fmla="*/ 3215640 w 3213100"/>
                <a:gd name="connsiteY4" fmla="*/ 1580515 h 1577975"/>
                <a:gd name="connsiteX5" fmla="*/ 6350 w 3213100"/>
                <a:gd name="connsiteY5" fmla="*/ 1574165 h 1577975"/>
                <a:gd name="connsiteX6" fmla="*/ 3209290 w 3213100"/>
                <a:gd name="connsiteY6" fmla="*/ 1574165 h 1577975"/>
                <a:gd name="connsiteX7" fmla="*/ 3209290 w 3213100"/>
                <a:gd name="connsiteY7" fmla="*/ 6350 h 1577975"/>
                <a:gd name="connsiteX8" fmla="*/ 6350 w 3213100"/>
                <a:gd name="connsiteY8" fmla="*/ 6350 h 1577975"/>
                <a:gd name="connsiteX9" fmla="*/ 6350 w 3213100"/>
                <a:gd name="connsiteY9" fmla="*/ 1574165 h 157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3100" h="1577975">
                  <a:moveTo>
                    <a:pt x="3215958" y="1580515"/>
                  </a:moveTo>
                  <a:lnTo>
                    <a:pt x="0" y="1580515"/>
                  </a:lnTo>
                  <a:lnTo>
                    <a:pt x="0" y="0"/>
                  </a:lnTo>
                  <a:lnTo>
                    <a:pt x="3215640" y="0"/>
                  </a:lnTo>
                  <a:lnTo>
                    <a:pt x="3215640" y="1580515"/>
                  </a:lnTo>
                  <a:close/>
                  <a:moveTo>
                    <a:pt x="6350" y="1574165"/>
                  </a:moveTo>
                  <a:lnTo>
                    <a:pt x="3209290" y="1574165"/>
                  </a:lnTo>
                  <a:lnTo>
                    <a:pt x="3209290" y="6350"/>
                  </a:lnTo>
                  <a:lnTo>
                    <a:pt x="6350" y="6350"/>
                  </a:lnTo>
                  <a:lnTo>
                    <a:pt x="6350" y="1574165"/>
                  </a:lnTo>
                  <a:close/>
                </a:path>
              </a:pathLst>
            </a:custGeom>
            <a:solidFill>
              <a:srgbClr val="001965"/>
            </a:solidFill>
            <a:ln w="3175" cap="flat">
              <a:noFill/>
              <a:prstDash val="solid"/>
              <a:miter/>
            </a:ln>
          </p:spPr>
          <p:txBody>
            <a:bodyPr rtlCol="0" anchor="ctr"/>
            <a:lstStyle/>
            <a:p>
              <a:endParaRPr lang="en-GB">
                <a:solidFill>
                  <a:srgbClr val="000000"/>
                </a:solidFill>
                <a:latin typeface="Verdana"/>
              </a:endParaRPr>
            </a:p>
          </p:txBody>
        </p:sp>
        <p:sp>
          <p:nvSpPr>
            <p:cNvPr id="13" name="Freeform: Shape 12">
              <a:extLst>
                <a:ext uri="{FF2B5EF4-FFF2-40B4-BE49-F238E27FC236}">
                  <a16:creationId xmlns:a16="http://schemas.microsoft.com/office/drawing/2014/main" id="{F9073DB7-51F1-41A4-8E1A-0F0D55EC9808}"/>
                </a:ext>
              </a:extLst>
            </p:cNvPr>
            <p:cNvSpPr/>
            <p:nvPr/>
          </p:nvSpPr>
          <p:spPr>
            <a:xfrm>
              <a:off x="4596765" y="1062355"/>
              <a:ext cx="3213100" cy="1577975"/>
            </a:xfrm>
            <a:custGeom>
              <a:avLst/>
              <a:gdLst>
                <a:gd name="connsiteX0" fmla="*/ 3215957 w 3213100"/>
                <a:gd name="connsiteY0" fmla="*/ 1580515 h 1577975"/>
                <a:gd name="connsiteX1" fmla="*/ 0 w 3213100"/>
                <a:gd name="connsiteY1" fmla="*/ 1580515 h 1577975"/>
                <a:gd name="connsiteX2" fmla="*/ 0 w 3213100"/>
                <a:gd name="connsiteY2" fmla="*/ 0 h 1577975"/>
                <a:gd name="connsiteX3" fmla="*/ 3215640 w 3213100"/>
                <a:gd name="connsiteY3" fmla="*/ 0 h 1577975"/>
                <a:gd name="connsiteX4" fmla="*/ 3215640 w 3213100"/>
                <a:gd name="connsiteY4" fmla="*/ 1580515 h 1577975"/>
                <a:gd name="connsiteX5" fmla="*/ 6350 w 3213100"/>
                <a:gd name="connsiteY5" fmla="*/ 1574165 h 1577975"/>
                <a:gd name="connsiteX6" fmla="*/ 3209290 w 3213100"/>
                <a:gd name="connsiteY6" fmla="*/ 1574165 h 1577975"/>
                <a:gd name="connsiteX7" fmla="*/ 3209290 w 3213100"/>
                <a:gd name="connsiteY7" fmla="*/ 6350 h 1577975"/>
                <a:gd name="connsiteX8" fmla="*/ 6350 w 3213100"/>
                <a:gd name="connsiteY8" fmla="*/ 6350 h 1577975"/>
                <a:gd name="connsiteX9" fmla="*/ 6350 w 3213100"/>
                <a:gd name="connsiteY9" fmla="*/ 1574165 h 157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3100" h="1577975">
                  <a:moveTo>
                    <a:pt x="3215957" y="1580515"/>
                  </a:moveTo>
                  <a:lnTo>
                    <a:pt x="0" y="1580515"/>
                  </a:lnTo>
                  <a:lnTo>
                    <a:pt x="0" y="0"/>
                  </a:lnTo>
                  <a:lnTo>
                    <a:pt x="3215640" y="0"/>
                  </a:lnTo>
                  <a:lnTo>
                    <a:pt x="3215640" y="1580515"/>
                  </a:lnTo>
                  <a:close/>
                  <a:moveTo>
                    <a:pt x="6350" y="1574165"/>
                  </a:moveTo>
                  <a:lnTo>
                    <a:pt x="3209290" y="1574165"/>
                  </a:lnTo>
                  <a:lnTo>
                    <a:pt x="3209290" y="6350"/>
                  </a:lnTo>
                  <a:lnTo>
                    <a:pt x="6350" y="6350"/>
                  </a:lnTo>
                  <a:lnTo>
                    <a:pt x="6350" y="1574165"/>
                  </a:lnTo>
                  <a:close/>
                </a:path>
              </a:pathLst>
            </a:custGeom>
            <a:solidFill>
              <a:srgbClr val="3B97DE"/>
            </a:solidFill>
            <a:ln w="3175" cap="flat">
              <a:noFill/>
              <a:prstDash val="solid"/>
              <a:miter/>
            </a:ln>
          </p:spPr>
          <p:txBody>
            <a:bodyPr rtlCol="0" anchor="ctr"/>
            <a:lstStyle/>
            <a:p>
              <a:endParaRPr lang="en-GB">
                <a:solidFill>
                  <a:srgbClr val="000000"/>
                </a:solidFill>
                <a:latin typeface="Verdana"/>
              </a:endParaRPr>
            </a:p>
          </p:txBody>
        </p:sp>
        <p:sp>
          <p:nvSpPr>
            <p:cNvPr id="14" name="Freeform: Shape 13">
              <a:extLst>
                <a:ext uri="{FF2B5EF4-FFF2-40B4-BE49-F238E27FC236}">
                  <a16:creationId xmlns:a16="http://schemas.microsoft.com/office/drawing/2014/main" id="{C0412241-A5E8-462F-8D7A-19CC8C681271}"/>
                </a:ext>
              </a:extLst>
            </p:cNvPr>
            <p:cNvSpPr/>
            <p:nvPr/>
          </p:nvSpPr>
          <p:spPr>
            <a:xfrm>
              <a:off x="4596765" y="2692400"/>
              <a:ext cx="3213100" cy="1577975"/>
            </a:xfrm>
            <a:custGeom>
              <a:avLst/>
              <a:gdLst>
                <a:gd name="connsiteX0" fmla="*/ 3215957 w 3213100"/>
                <a:gd name="connsiteY0" fmla="*/ 1580515 h 1577975"/>
                <a:gd name="connsiteX1" fmla="*/ 0 w 3213100"/>
                <a:gd name="connsiteY1" fmla="*/ 1580515 h 1577975"/>
                <a:gd name="connsiteX2" fmla="*/ 0 w 3213100"/>
                <a:gd name="connsiteY2" fmla="*/ 0 h 1577975"/>
                <a:gd name="connsiteX3" fmla="*/ 3215640 w 3213100"/>
                <a:gd name="connsiteY3" fmla="*/ 0 h 1577975"/>
                <a:gd name="connsiteX4" fmla="*/ 3215640 w 3213100"/>
                <a:gd name="connsiteY4" fmla="*/ 1580515 h 1577975"/>
                <a:gd name="connsiteX5" fmla="*/ 6350 w 3213100"/>
                <a:gd name="connsiteY5" fmla="*/ 1574165 h 1577975"/>
                <a:gd name="connsiteX6" fmla="*/ 3209290 w 3213100"/>
                <a:gd name="connsiteY6" fmla="*/ 1574165 h 1577975"/>
                <a:gd name="connsiteX7" fmla="*/ 3209290 w 3213100"/>
                <a:gd name="connsiteY7" fmla="*/ 6350 h 1577975"/>
                <a:gd name="connsiteX8" fmla="*/ 6350 w 3213100"/>
                <a:gd name="connsiteY8" fmla="*/ 6350 h 1577975"/>
                <a:gd name="connsiteX9" fmla="*/ 6350 w 3213100"/>
                <a:gd name="connsiteY9" fmla="*/ 1574165 h 157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3100" h="1577975">
                  <a:moveTo>
                    <a:pt x="3215957" y="1580515"/>
                  </a:moveTo>
                  <a:lnTo>
                    <a:pt x="0" y="1580515"/>
                  </a:lnTo>
                  <a:lnTo>
                    <a:pt x="0" y="0"/>
                  </a:lnTo>
                  <a:lnTo>
                    <a:pt x="3215640" y="0"/>
                  </a:lnTo>
                  <a:lnTo>
                    <a:pt x="3215640" y="1580515"/>
                  </a:lnTo>
                  <a:close/>
                  <a:moveTo>
                    <a:pt x="6350" y="1574165"/>
                  </a:moveTo>
                  <a:lnTo>
                    <a:pt x="3209290" y="1574165"/>
                  </a:lnTo>
                  <a:lnTo>
                    <a:pt x="3209290" y="6350"/>
                  </a:lnTo>
                  <a:lnTo>
                    <a:pt x="6350" y="6350"/>
                  </a:lnTo>
                  <a:lnTo>
                    <a:pt x="6350" y="1574165"/>
                  </a:lnTo>
                  <a:close/>
                </a:path>
              </a:pathLst>
            </a:custGeom>
            <a:solidFill>
              <a:srgbClr val="2A918B"/>
            </a:solidFill>
            <a:ln w="3175" cap="flat">
              <a:noFill/>
              <a:prstDash val="solid"/>
              <a:miter/>
            </a:ln>
          </p:spPr>
          <p:txBody>
            <a:bodyPr rtlCol="0" anchor="ctr"/>
            <a:lstStyle/>
            <a:p>
              <a:endParaRPr lang="en-GB">
                <a:solidFill>
                  <a:srgbClr val="000000"/>
                </a:solidFill>
                <a:latin typeface="Verdana"/>
              </a:endParaRPr>
            </a:p>
          </p:txBody>
        </p:sp>
        <p:grpSp>
          <p:nvGrpSpPr>
            <p:cNvPr id="15" name="Group 14">
              <a:extLst>
                <a:ext uri="{FF2B5EF4-FFF2-40B4-BE49-F238E27FC236}">
                  <a16:creationId xmlns:a16="http://schemas.microsoft.com/office/drawing/2014/main" id="{1034BD5E-0890-48F5-B081-3F69D5DA7AC2}"/>
                </a:ext>
              </a:extLst>
            </p:cNvPr>
            <p:cNvGrpSpPr/>
            <p:nvPr/>
          </p:nvGrpSpPr>
          <p:grpSpPr>
            <a:xfrm>
              <a:off x="1619568" y="1453515"/>
              <a:ext cx="1435734" cy="755333"/>
              <a:chOff x="1619568" y="1357630"/>
              <a:chExt cx="1435734" cy="755333"/>
            </a:xfrm>
            <a:solidFill>
              <a:srgbClr val="001965"/>
            </a:solidFill>
          </p:grpSpPr>
          <p:sp>
            <p:nvSpPr>
              <p:cNvPr id="49" name="Freeform: Shape 48">
                <a:extLst>
                  <a:ext uri="{FF2B5EF4-FFF2-40B4-BE49-F238E27FC236}">
                    <a16:creationId xmlns:a16="http://schemas.microsoft.com/office/drawing/2014/main" id="{50EEDBB4-3672-4185-9578-36F08C1A433C}"/>
                  </a:ext>
                </a:extLst>
              </p:cNvPr>
              <p:cNvSpPr/>
              <p:nvPr/>
            </p:nvSpPr>
            <p:spPr>
              <a:xfrm>
                <a:off x="1915795" y="1357630"/>
                <a:ext cx="1130300" cy="136525"/>
              </a:xfrm>
              <a:custGeom>
                <a:avLst/>
                <a:gdLst>
                  <a:gd name="connsiteX0" fmla="*/ 1107757 w 1130300"/>
                  <a:gd name="connsiteY0" fmla="*/ 59055 h 136525"/>
                  <a:gd name="connsiteX1" fmla="*/ 1113155 w 1130300"/>
                  <a:gd name="connsiteY1" fmla="*/ 77152 h 136525"/>
                  <a:gd name="connsiteX2" fmla="*/ 1068070 w 1130300"/>
                  <a:gd name="connsiteY2" fmla="*/ 77152 h 136525"/>
                  <a:gd name="connsiteX3" fmla="*/ 1075372 w 1130300"/>
                  <a:gd name="connsiteY3" fmla="*/ 58420 h 136525"/>
                  <a:gd name="connsiteX4" fmla="*/ 1091565 w 1130300"/>
                  <a:gd name="connsiteY4" fmla="*/ 51752 h 136525"/>
                  <a:gd name="connsiteX5" fmla="*/ 1107757 w 1130300"/>
                  <a:gd name="connsiteY5" fmla="*/ 59055 h 136525"/>
                  <a:gd name="connsiteX6" fmla="*/ 1069022 w 1130300"/>
                  <a:gd name="connsiteY6" fmla="*/ 43180 h 136525"/>
                  <a:gd name="connsiteX7" fmla="*/ 1053782 w 1130300"/>
                  <a:gd name="connsiteY7" fmla="*/ 60325 h 136525"/>
                  <a:gd name="connsiteX8" fmla="*/ 1048385 w 1130300"/>
                  <a:gd name="connsiteY8" fmla="*/ 87630 h 136525"/>
                  <a:gd name="connsiteX9" fmla="*/ 1054417 w 1130300"/>
                  <a:gd name="connsiteY9" fmla="*/ 114618 h 136525"/>
                  <a:gd name="connsiteX10" fmla="*/ 1070928 w 1130300"/>
                  <a:gd name="connsiteY10" fmla="*/ 131127 h 136525"/>
                  <a:gd name="connsiteX11" fmla="*/ 1095375 w 1130300"/>
                  <a:gd name="connsiteY11" fmla="*/ 136525 h 136525"/>
                  <a:gd name="connsiteX12" fmla="*/ 1112838 w 1130300"/>
                  <a:gd name="connsiteY12" fmla="*/ 134938 h 136525"/>
                  <a:gd name="connsiteX13" fmla="*/ 1127442 w 1130300"/>
                  <a:gd name="connsiteY13" fmla="*/ 130175 h 136525"/>
                  <a:gd name="connsiteX14" fmla="*/ 1127442 w 1130300"/>
                  <a:gd name="connsiteY14" fmla="*/ 114618 h 136525"/>
                  <a:gd name="connsiteX15" fmla="*/ 1112520 w 1130300"/>
                  <a:gd name="connsiteY15" fmla="*/ 119697 h 136525"/>
                  <a:gd name="connsiteX16" fmla="*/ 1096010 w 1130300"/>
                  <a:gd name="connsiteY16" fmla="*/ 121285 h 136525"/>
                  <a:gd name="connsiteX17" fmla="*/ 1075372 w 1130300"/>
                  <a:gd name="connsiteY17" fmla="*/ 113347 h 136525"/>
                  <a:gd name="connsiteX18" fmla="*/ 1067753 w 1130300"/>
                  <a:gd name="connsiteY18" fmla="*/ 90805 h 136525"/>
                  <a:gd name="connsiteX19" fmla="*/ 1132205 w 1130300"/>
                  <a:gd name="connsiteY19" fmla="*/ 90805 h 136525"/>
                  <a:gd name="connsiteX20" fmla="*/ 1132205 w 1130300"/>
                  <a:gd name="connsiteY20" fmla="*/ 80645 h 136525"/>
                  <a:gd name="connsiteX21" fmla="*/ 1121410 w 1130300"/>
                  <a:gd name="connsiteY21" fmla="*/ 48895 h 136525"/>
                  <a:gd name="connsiteX22" fmla="*/ 1091565 w 1130300"/>
                  <a:gd name="connsiteY22" fmla="*/ 37147 h 136525"/>
                  <a:gd name="connsiteX23" fmla="*/ 1069022 w 1130300"/>
                  <a:gd name="connsiteY23" fmla="*/ 43180 h 136525"/>
                  <a:gd name="connsiteX24" fmla="*/ 1011872 w 1130300"/>
                  <a:gd name="connsiteY24" fmla="*/ 42863 h 136525"/>
                  <a:gd name="connsiteX25" fmla="*/ 999807 w 1130300"/>
                  <a:gd name="connsiteY25" fmla="*/ 56197 h 136525"/>
                  <a:gd name="connsiteX26" fmla="*/ 999172 w 1130300"/>
                  <a:gd name="connsiteY26" fmla="*/ 56197 h 136525"/>
                  <a:gd name="connsiteX27" fmla="*/ 996632 w 1130300"/>
                  <a:gd name="connsiteY27" fmla="*/ 39052 h 136525"/>
                  <a:gd name="connsiteX28" fmla="*/ 981710 w 1130300"/>
                  <a:gd name="connsiteY28" fmla="*/ 39052 h 136525"/>
                  <a:gd name="connsiteX29" fmla="*/ 981710 w 1130300"/>
                  <a:gd name="connsiteY29" fmla="*/ 134938 h 136525"/>
                  <a:gd name="connsiteX30" fmla="*/ 1000442 w 1130300"/>
                  <a:gd name="connsiteY30" fmla="*/ 134938 h 136525"/>
                  <a:gd name="connsiteX31" fmla="*/ 1000442 w 1130300"/>
                  <a:gd name="connsiteY31" fmla="*/ 84455 h 136525"/>
                  <a:gd name="connsiteX32" fmla="*/ 1004252 w 1130300"/>
                  <a:gd name="connsiteY32" fmla="*/ 68263 h 136525"/>
                  <a:gd name="connsiteX33" fmla="*/ 1014413 w 1130300"/>
                  <a:gd name="connsiteY33" fmla="*/ 58102 h 136525"/>
                  <a:gd name="connsiteX34" fmla="*/ 1028065 w 1130300"/>
                  <a:gd name="connsiteY34" fmla="*/ 54610 h 136525"/>
                  <a:gd name="connsiteX35" fmla="*/ 1037590 w 1130300"/>
                  <a:gd name="connsiteY35" fmla="*/ 55880 h 136525"/>
                  <a:gd name="connsiteX36" fmla="*/ 1039495 w 1130300"/>
                  <a:gd name="connsiteY36" fmla="*/ 38418 h 136525"/>
                  <a:gd name="connsiteX37" fmla="*/ 1029017 w 1130300"/>
                  <a:gd name="connsiteY37" fmla="*/ 37465 h 136525"/>
                  <a:gd name="connsiteX38" fmla="*/ 1011872 w 1130300"/>
                  <a:gd name="connsiteY38" fmla="*/ 42863 h 136525"/>
                  <a:gd name="connsiteX39" fmla="*/ 934085 w 1130300"/>
                  <a:gd name="connsiteY39" fmla="*/ 97155 h 136525"/>
                  <a:gd name="connsiteX40" fmla="*/ 926782 w 1130300"/>
                  <a:gd name="connsiteY40" fmla="*/ 115888 h 136525"/>
                  <a:gd name="connsiteX41" fmla="*/ 908367 w 1130300"/>
                  <a:gd name="connsiteY41" fmla="*/ 122238 h 136525"/>
                  <a:gd name="connsiteX42" fmla="*/ 896938 w 1130300"/>
                  <a:gd name="connsiteY42" fmla="*/ 118745 h 136525"/>
                  <a:gd name="connsiteX43" fmla="*/ 892492 w 1130300"/>
                  <a:gd name="connsiteY43" fmla="*/ 107950 h 136525"/>
                  <a:gd name="connsiteX44" fmla="*/ 898842 w 1130300"/>
                  <a:gd name="connsiteY44" fmla="*/ 94932 h 136525"/>
                  <a:gd name="connsiteX45" fmla="*/ 921385 w 1130300"/>
                  <a:gd name="connsiteY45" fmla="*/ 89535 h 136525"/>
                  <a:gd name="connsiteX46" fmla="*/ 934085 w 1130300"/>
                  <a:gd name="connsiteY46" fmla="*/ 89218 h 136525"/>
                  <a:gd name="connsiteX47" fmla="*/ 934085 w 1130300"/>
                  <a:gd name="connsiteY47" fmla="*/ 97155 h 136525"/>
                  <a:gd name="connsiteX48" fmla="*/ 898525 w 1130300"/>
                  <a:gd name="connsiteY48" fmla="*/ 39688 h 136525"/>
                  <a:gd name="connsiteX49" fmla="*/ 882967 w 1130300"/>
                  <a:gd name="connsiteY49" fmla="*/ 45720 h 136525"/>
                  <a:gd name="connsiteX50" fmla="*/ 889000 w 1130300"/>
                  <a:gd name="connsiteY50" fmla="*/ 59372 h 136525"/>
                  <a:gd name="connsiteX51" fmla="*/ 902017 w 1130300"/>
                  <a:gd name="connsiteY51" fmla="*/ 54293 h 136525"/>
                  <a:gd name="connsiteX52" fmla="*/ 915988 w 1130300"/>
                  <a:gd name="connsiteY52" fmla="*/ 52070 h 136525"/>
                  <a:gd name="connsiteX53" fmla="*/ 929640 w 1130300"/>
                  <a:gd name="connsiteY53" fmla="*/ 56515 h 136525"/>
                  <a:gd name="connsiteX54" fmla="*/ 934402 w 1130300"/>
                  <a:gd name="connsiteY54" fmla="*/ 71438 h 136525"/>
                  <a:gd name="connsiteX55" fmla="*/ 934402 w 1130300"/>
                  <a:gd name="connsiteY55" fmla="*/ 76835 h 136525"/>
                  <a:gd name="connsiteX56" fmla="*/ 917892 w 1130300"/>
                  <a:gd name="connsiteY56" fmla="*/ 77470 h 136525"/>
                  <a:gd name="connsiteX57" fmla="*/ 883920 w 1130300"/>
                  <a:gd name="connsiteY57" fmla="*/ 85725 h 136525"/>
                  <a:gd name="connsiteX58" fmla="*/ 872807 w 1130300"/>
                  <a:gd name="connsiteY58" fmla="*/ 107950 h 136525"/>
                  <a:gd name="connsiteX59" fmla="*/ 881380 w 1130300"/>
                  <a:gd name="connsiteY59" fmla="*/ 129857 h 136525"/>
                  <a:gd name="connsiteX60" fmla="*/ 902970 w 1130300"/>
                  <a:gd name="connsiteY60" fmla="*/ 136843 h 136525"/>
                  <a:gd name="connsiteX61" fmla="*/ 922020 w 1130300"/>
                  <a:gd name="connsiteY61" fmla="*/ 133350 h 136525"/>
                  <a:gd name="connsiteX62" fmla="*/ 935038 w 1130300"/>
                  <a:gd name="connsiteY62" fmla="*/ 121920 h 136525"/>
                  <a:gd name="connsiteX63" fmla="*/ 935672 w 1130300"/>
                  <a:gd name="connsiteY63" fmla="*/ 121920 h 136525"/>
                  <a:gd name="connsiteX64" fmla="*/ 939482 w 1130300"/>
                  <a:gd name="connsiteY64" fmla="*/ 135255 h 136525"/>
                  <a:gd name="connsiteX65" fmla="*/ 952817 w 1130300"/>
                  <a:gd name="connsiteY65" fmla="*/ 135255 h 136525"/>
                  <a:gd name="connsiteX66" fmla="*/ 952817 w 1130300"/>
                  <a:gd name="connsiteY66" fmla="*/ 70485 h 136525"/>
                  <a:gd name="connsiteX67" fmla="*/ 943927 w 1130300"/>
                  <a:gd name="connsiteY67" fmla="*/ 45720 h 136525"/>
                  <a:gd name="connsiteX68" fmla="*/ 916940 w 1130300"/>
                  <a:gd name="connsiteY68" fmla="*/ 37782 h 136525"/>
                  <a:gd name="connsiteX69" fmla="*/ 898525 w 1130300"/>
                  <a:gd name="connsiteY69" fmla="*/ 39688 h 136525"/>
                  <a:gd name="connsiteX70" fmla="*/ 846138 w 1130300"/>
                  <a:gd name="connsiteY70" fmla="*/ 135255 h 136525"/>
                  <a:gd name="connsiteX71" fmla="*/ 857250 w 1130300"/>
                  <a:gd name="connsiteY71" fmla="*/ 130810 h 136525"/>
                  <a:gd name="connsiteX72" fmla="*/ 857250 w 1130300"/>
                  <a:gd name="connsiteY72" fmla="*/ 114300 h 136525"/>
                  <a:gd name="connsiteX73" fmla="*/ 845820 w 1130300"/>
                  <a:gd name="connsiteY73" fmla="*/ 119063 h 136525"/>
                  <a:gd name="connsiteX74" fmla="*/ 831850 w 1130300"/>
                  <a:gd name="connsiteY74" fmla="*/ 120968 h 136525"/>
                  <a:gd name="connsiteX75" fmla="*/ 813117 w 1130300"/>
                  <a:gd name="connsiteY75" fmla="*/ 112395 h 136525"/>
                  <a:gd name="connsiteX76" fmla="*/ 806767 w 1130300"/>
                  <a:gd name="connsiteY76" fmla="*/ 87630 h 136525"/>
                  <a:gd name="connsiteX77" fmla="*/ 832802 w 1130300"/>
                  <a:gd name="connsiteY77" fmla="*/ 53340 h 136525"/>
                  <a:gd name="connsiteX78" fmla="*/ 843597 w 1130300"/>
                  <a:gd name="connsiteY78" fmla="*/ 54927 h 136525"/>
                  <a:gd name="connsiteX79" fmla="*/ 854075 w 1130300"/>
                  <a:gd name="connsiteY79" fmla="*/ 58102 h 136525"/>
                  <a:gd name="connsiteX80" fmla="*/ 859790 w 1130300"/>
                  <a:gd name="connsiteY80" fmla="*/ 42863 h 136525"/>
                  <a:gd name="connsiteX81" fmla="*/ 848042 w 1130300"/>
                  <a:gd name="connsiteY81" fmla="*/ 39052 h 136525"/>
                  <a:gd name="connsiteX82" fmla="*/ 833120 w 1130300"/>
                  <a:gd name="connsiteY82" fmla="*/ 37465 h 136525"/>
                  <a:gd name="connsiteX83" fmla="*/ 809625 w 1130300"/>
                  <a:gd name="connsiteY83" fmla="*/ 42863 h 136525"/>
                  <a:gd name="connsiteX84" fmla="*/ 793432 w 1130300"/>
                  <a:gd name="connsiteY84" fmla="*/ 59055 h 136525"/>
                  <a:gd name="connsiteX85" fmla="*/ 787717 w 1130300"/>
                  <a:gd name="connsiteY85" fmla="*/ 87947 h 136525"/>
                  <a:gd name="connsiteX86" fmla="*/ 799782 w 1130300"/>
                  <a:gd name="connsiteY86" fmla="*/ 125095 h 136525"/>
                  <a:gd name="connsiteX87" fmla="*/ 831850 w 1130300"/>
                  <a:gd name="connsiteY87" fmla="*/ 136843 h 136525"/>
                  <a:gd name="connsiteX88" fmla="*/ 846138 w 1130300"/>
                  <a:gd name="connsiteY88" fmla="*/ 135255 h 136525"/>
                  <a:gd name="connsiteX89" fmla="*/ 720725 w 1130300"/>
                  <a:gd name="connsiteY89" fmla="*/ 94932 h 136525"/>
                  <a:gd name="connsiteX90" fmla="*/ 710882 w 1130300"/>
                  <a:gd name="connsiteY90" fmla="*/ 86043 h 136525"/>
                  <a:gd name="connsiteX91" fmla="*/ 695960 w 1130300"/>
                  <a:gd name="connsiteY91" fmla="*/ 79057 h 136525"/>
                  <a:gd name="connsiteX92" fmla="*/ 681672 w 1130300"/>
                  <a:gd name="connsiteY92" fmla="*/ 73025 h 136525"/>
                  <a:gd name="connsiteX93" fmla="*/ 674688 w 1130300"/>
                  <a:gd name="connsiteY93" fmla="*/ 67945 h 136525"/>
                  <a:gd name="connsiteX94" fmla="*/ 672782 w 1130300"/>
                  <a:gd name="connsiteY94" fmla="*/ 62230 h 136525"/>
                  <a:gd name="connsiteX95" fmla="*/ 690245 w 1130300"/>
                  <a:gd name="connsiteY95" fmla="*/ 52070 h 136525"/>
                  <a:gd name="connsiteX96" fmla="*/ 703580 w 1130300"/>
                  <a:gd name="connsiteY96" fmla="*/ 53975 h 136525"/>
                  <a:gd name="connsiteX97" fmla="*/ 716280 w 1130300"/>
                  <a:gd name="connsiteY97" fmla="*/ 58420 h 136525"/>
                  <a:gd name="connsiteX98" fmla="*/ 722630 w 1130300"/>
                  <a:gd name="connsiteY98" fmla="*/ 44132 h 136525"/>
                  <a:gd name="connsiteX99" fmla="*/ 707707 w 1130300"/>
                  <a:gd name="connsiteY99" fmla="*/ 39052 h 136525"/>
                  <a:gd name="connsiteX100" fmla="*/ 691197 w 1130300"/>
                  <a:gd name="connsiteY100" fmla="*/ 37147 h 136525"/>
                  <a:gd name="connsiteX101" fmla="*/ 664527 w 1130300"/>
                  <a:gd name="connsiteY101" fmla="*/ 43815 h 136525"/>
                  <a:gd name="connsiteX102" fmla="*/ 654367 w 1130300"/>
                  <a:gd name="connsiteY102" fmla="*/ 62865 h 136525"/>
                  <a:gd name="connsiteX103" fmla="*/ 657860 w 1130300"/>
                  <a:gd name="connsiteY103" fmla="*/ 75882 h 136525"/>
                  <a:gd name="connsiteX104" fmla="*/ 667702 w 1130300"/>
                  <a:gd name="connsiteY104" fmla="*/ 84772 h 136525"/>
                  <a:gd name="connsiteX105" fmla="*/ 683260 w 1130300"/>
                  <a:gd name="connsiteY105" fmla="*/ 92075 h 136525"/>
                  <a:gd name="connsiteX106" fmla="*/ 697547 w 1130300"/>
                  <a:gd name="connsiteY106" fmla="*/ 98425 h 136525"/>
                  <a:gd name="connsiteX107" fmla="*/ 704215 w 1130300"/>
                  <a:gd name="connsiteY107" fmla="*/ 103822 h 136525"/>
                  <a:gd name="connsiteX108" fmla="*/ 706120 w 1130300"/>
                  <a:gd name="connsiteY108" fmla="*/ 109538 h 136525"/>
                  <a:gd name="connsiteX109" fmla="*/ 701357 w 1130300"/>
                  <a:gd name="connsiteY109" fmla="*/ 118745 h 136525"/>
                  <a:gd name="connsiteX110" fmla="*/ 686117 w 1130300"/>
                  <a:gd name="connsiteY110" fmla="*/ 122238 h 136525"/>
                  <a:gd name="connsiteX111" fmla="*/ 669607 w 1130300"/>
                  <a:gd name="connsiteY111" fmla="*/ 119697 h 136525"/>
                  <a:gd name="connsiteX112" fmla="*/ 655002 w 1130300"/>
                  <a:gd name="connsiteY112" fmla="*/ 114300 h 136525"/>
                  <a:gd name="connsiteX113" fmla="*/ 655002 w 1130300"/>
                  <a:gd name="connsiteY113" fmla="*/ 130810 h 136525"/>
                  <a:gd name="connsiteX114" fmla="*/ 668338 w 1130300"/>
                  <a:gd name="connsiteY114" fmla="*/ 135255 h 136525"/>
                  <a:gd name="connsiteX115" fmla="*/ 685800 w 1130300"/>
                  <a:gd name="connsiteY115" fmla="*/ 136525 h 136525"/>
                  <a:gd name="connsiteX116" fmla="*/ 714375 w 1130300"/>
                  <a:gd name="connsiteY116" fmla="*/ 129222 h 136525"/>
                  <a:gd name="connsiteX117" fmla="*/ 724535 w 1130300"/>
                  <a:gd name="connsiteY117" fmla="*/ 107632 h 136525"/>
                  <a:gd name="connsiteX118" fmla="*/ 720725 w 1130300"/>
                  <a:gd name="connsiteY118" fmla="*/ 94932 h 136525"/>
                  <a:gd name="connsiteX119" fmla="*/ 612775 w 1130300"/>
                  <a:gd name="connsiteY119" fmla="*/ 59055 h 136525"/>
                  <a:gd name="connsiteX120" fmla="*/ 618172 w 1130300"/>
                  <a:gd name="connsiteY120" fmla="*/ 77152 h 136525"/>
                  <a:gd name="connsiteX121" fmla="*/ 573088 w 1130300"/>
                  <a:gd name="connsiteY121" fmla="*/ 77152 h 136525"/>
                  <a:gd name="connsiteX122" fmla="*/ 580390 w 1130300"/>
                  <a:gd name="connsiteY122" fmla="*/ 58420 h 136525"/>
                  <a:gd name="connsiteX123" fmla="*/ 596582 w 1130300"/>
                  <a:gd name="connsiteY123" fmla="*/ 51752 h 136525"/>
                  <a:gd name="connsiteX124" fmla="*/ 612775 w 1130300"/>
                  <a:gd name="connsiteY124" fmla="*/ 59055 h 136525"/>
                  <a:gd name="connsiteX125" fmla="*/ 573722 w 1130300"/>
                  <a:gd name="connsiteY125" fmla="*/ 43180 h 136525"/>
                  <a:gd name="connsiteX126" fmla="*/ 558482 w 1130300"/>
                  <a:gd name="connsiteY126" fmla="*/ 60325 h 136525"/>
                  <a:gd name="connsiteX127" fmla="*/ 553085 w 1130300"/>
                  <a:gd name="connsiteY127" fmla="*/ 87630 h 136525"/>
                  <a:gd name="connsiteX128" fmla="*/ 559117 w 1130300"/>
                  <a:gd name="connsiteY128" fmla="*/ 114618 h 136525"/>
                  <a:gd name="connsiteX129" fmla="*/ 575627 w 1130300"/>
                  <a:gd name="connsiteY129" fmla="*/ 131127 h 136525"/>
                  <a:gd name="connsiteX130" fmla="*/ 600075 w 1130300"/>
                  <a:gd name="connsiteY130" fmla="*/ 136525 h 136525"/>
                  <a:gd name="connsiteX131" fmla="*/ 617538 w 1130300"/>
                  <a:gd name="connsiteY131" fmla="*/ 134938 h 136525"/>
                  <a:gd name="connsiteX132" fmla="*/ 632142 w 1130300"/>
                  <a:gd name="connsiteY132" fmla="*/ 130175 h 136525"/>
                  <a:gd name="connsiteX133" fmla="*/ 632142 w 1130300"/>
                  <a:gd name="connsiteY133" fmla="*/ 114618 h 136525"/>
                  <a:gd name="connsiteX134" fmla="*/ 617220 w 1130300"/>
                  <a:gd name="connsiteY134" fmla="*/ 119697 h 136525"/>
                  <a:gd name="connsiteX135" fmla="*/ 600710 w 1130300"/>
                  <a:gd name="connsiteY135" fmla="*/ 121285 h 136525"/>
                  <a:gd name="connsiteX136" fmla="*/ 580072 w 1130300"/>
                  <a:gd name="connsiteY136" fmla="*/ 113347 h 136525"/>
                  <a:gd name="connsiteX137" fmla="*/ 572452 w 1130300"/>
                  <a:gd name="connsiteY137" fmla="*/ 90805 h 136525"/>
                  <a:gd name="connsiteX138" fmla="*/ 636905 w 1130300"/>
                  <a:gd name="connsiteY138" fmla="*/ 90805 h 136525"/>
                  <a:gd name="connsiteX139" fmla="*/ 636905 w 1130300"/>
                  <a:gd name="connsiteY139" fmla="*/ 80645 h 136525"/>
                  <a:gd name="connsiteX140" fmla="*/ 626110 w 1130300"/>
                  <a:gd name="connsiteY140" fmla="*/ 48895 h 136525"/>
                  <a:gd name="connsiteX141" fmla="*/ 596265 w 1130300"/>
                  <a:gd name="connsiteY141" fmla="*/ 37147 h 136525"/>
                  <a:gd name="connsiteX142" fmla="*/ 573722 w 1130300"/>
                  <a:gd name="connsiteY142" fmla="*/ 43180 h 136525"/>
                  <a:gd name="connsiteX143" fmla="*/ 514985 w 1130300"/>
                  <a:gd name="connsiteY143" fmla="*/ 117793 h 136525"/>
                  <a:gd name="connsiteX144" fmla="*/ 511175 w 1130300"/>
                  <a:gd name="connsiteY144" fmla="*/ 106363 h 136525"/>
                  <a:gd name="connsiteX145" fmla="*/ 511175 w 1130300"/>
                  <a:gd name="connsiteY145" fmla="*/ 53657 h 136525"/>
                  <a:gd name="connsiteX146" fmla="*/ 538480 w 1130300"/>
                  <a:gd name="connsiteY146" fmla="*/ 53657 h 136525"/>
                  <a:gd name="connsiteX147" fmla="*/ 538480 w 1130300"/>
                  <a:gd name="connsiteY147" fmla="*/ 39370 h 136525"/>
                  <a:gd name="connsiteX148" fmla="*/ 511175 w 1130300"/>
                  <a:gd name="connsiteY148" fmla="*/ 39370 h 136525"/>
                  <a:gd name="connsiteX149" fmla="*/ 511175 w 1130300"/>
                  <a:gd name="connsiteY149" fmla="*/ 17780 h 136525"/>
                  <a:gd name="connsiteX150" fmla="*/ 499745 w 1130300"/>
                  <a:gd name="connsiteY150" fmla="*/ 17780 h 136525"/>
                  <a:gd name="connsiteX151" fmla="*/ 493077 w 1130300"/>
                  <a:gd name="connsiteY151" fmla="*/ 38100 h 136525"/>
                  <a:gd name="connsiteX152" fmla="*/ 479107 w 1130300"/>
                  <a:gd name="connsiteY152" fmla="*/ 45085 h 136525"/>
                  <a:gd name="connsiteX153" fmla="*/ 479107 w 1130300"/>
                  <a:gd name="connsiteY153" fmla="*/ 53657 h 136525"/>
                  <a:gd name="connsiteX154" fmla="*/ 492442 w 1130300"/>
                  <a:gd name="connsiteY154" fmla="*/ 53657 h 136525"/>
                  <a:gd name="connsiteX155" fmla="*/ 492442 w 1130300"/>
                  <a:gd name="connsiteY155" fmla="*/ 106680 h 136525"/>
                  <a:gd name="connsiteX156" fmla="*/ 496252 w 1130300"/>
                  <a:gd name="connsiteY156" fmla="*/ 125095 h 136525"/>
                  <a:gd name="connsiteX157" fmla="*/ 506730 w 1130300"/>
                  <a:gd name="connsiteY157" fmla="*/ 134302 h 136525"/>
                  <a:gd name="connsiteX158" fmla="*/ 521017 w 1130300"/>
                  <a:gd name="connsiteY158" fmla="*/ 136843 h 136525"/>
                  <a:gd name="connsiteX159" fmla="*/ 531177 w 1130300"/>
                  <a:gd name="connsiteY159" fmla="*/ 135890 h 136525"/>
                  <a:gd name="connsiteX160" fmla="*/ 539432 w 1130300"/>
                  <a:gd name="connsiteY160" fmla="*/ 133350 h 136525"/>
                  <a:gd name="connsiteX161" fmla="*/ 539432 w 1130300"/>
                  <a:gd name="connsiteY161" fmla="*/ 119063 h 136525"/>
                  <a:gd name="connsiteX162" fmla="*/ 525145 w 1130300"/>
                  <a:gd name="connsiteY162" fmla="*/ 121285 h 136525"/>
                  <a:gd name="connsiteX163" fmla="*/ 514985 w 1130300"/>
                  <a:gd name="connsiteY163" fmla="*/ 117793 h 136525"/>
                  <a:gd name="connsiteX164" fmla="*/ 442913 w 1130300"/>
                  <a:gd name="connsiteY164" fmla="*/ 59055 h 136525"/>
                  <a:gd name="connsiteX165" fmla="*/ 448310 w 1130300"/>
                  <a:gd name="connsiteY165" fmla="*/ 77152 h 136525"/>
                  <a:gd name="connsiteX166" fmla="*/ 403225 w 1130300"/>
                  <a:gd name="connsiteY166" fmla="*/ 77152 h 136525"/>
                  <a:gd name="connsiteX167" fmla="*/ 410527 w 1130300"/>
                  <a:gd name="connsiteY167" fmla="*/ 58420 h 136525"/>
                  <a:gd name="connsiteX168" fmla="*/ 426720 w 1130300"/>
                  <a:gd name="connsiteY168" fmla="*/ 51752 h 136525"/>
                  <a:gd name="connsiteX169" fmla="*/ 442913 w 1130300"/>
                  <a:gd name="connsiteY169" fmla="*/ 59055 h 136525"/>
                  <a:gd name="connsiteX170" fmla="*/ 403860 w 1130300"/>
                  <a:gd name="connsiteY170" fmla="*/ 43180 h 136525"/>
                  <a:gd name="connsiteX171" fmla="*/ 388620 w 1130300"/>
                  <a:gd name="connsiteY171" fmla="*/ 60325 h 136525"/>
                  <a:gd name="connsiteX172" fmla="*/ 383222 w 1130300"/>
                  <a:gd name="connsiteY172" fmla="*/ 87630 h 136525"/>
                  <a:gd name="connsiteX173" fmla="*/ 389255 w 1130300"/>
                  <a:gd name="connsiteY173" fmla="*/ 114618 h 136525"/>
                  <a:gd name="connsiteX174" fmla="*/ 405765 w 1130300"/>
                  <a:gd name="connsiteY174" fmla="*/ 131127 h 136525"/>
                  <a:gd name="connsiteX175" fmla="*/ 430213 w 1130300"/>
                  <a:gd name="connsiteY175" fmla="*/ 136525 h 136525"/>
                  <a:gd name="connsiteX176" fmla="*/ 447675 w 1130300"/>
                  <a:gd name="connsiteY176" fmla="*/ 134938 h 136525"/>
                  <a:gd name="connsiteX177" fmla="*/ 462280 w 1130300"/>
                  <a:gd name="connsiteY177" fmla="*/ 130175 h 136525"/>
                  <a:gd name="connsiteX178" fmla="*/ 462280 w 1130300"/>
                  <a:gd name="connsiteY178" fmla="*/ 114618 h 136525"/>
                  <a:gd name="connsiteX179" fmla="*/ 447357 w 1130300"/>
                  <a:gd name="connsiteY179" fmla="*/ 119697 h 136525"/>
                  <a:gd name="connsiteX180" fmla="*/ 430847 w 1130300"/>
                  <a:gd name="connsiteY180" fmla="*/ 121285 h 136525"/>
                  <a:gd name="connsiteX181" fmla="*/ 410210 w 1130300"/>
                  <a:gd name="connsiteY181" fmla="*/ 113347 h 136525"/>
                  <a:gd name="connsiteX182" fmla="*/ 402590 w 1130300"/>
                  <a:gd name="connsiteY182" fmla="*/ 90805 h 136525"/>
                  <a:gd name="connsiteX183" fmla="*/ 467042 w 1130300"/>
                  <a:gd name="connsiteY183" fmla="*/ 90805 h 136525"/>
                  <a:gd name="connsiteX184" fmla="*/ 467042 w 1130300"/>
                  <a:gd name="connsiteY184" fmla="*/ 80645 h 136525"/>
                  <a:gd name="connsiteX185" fmla="*/ 456247 w 1130300"/>
                  <a:gd name="connsiteY185" fmla="*/ 48895 h 136525"/>
                  <a:gd name="connsiteX186" fmla="*/ 426402 w 1130300"/>
                  <a:gd name="connsiteY186" fmla="*/ 37147 h 136525"/>
                  <a:gd name="connsiteX187" fmla="*/ 403860 w 1130300"/>
                  <a:gd name="connsiteY187" fmla="*/ 43180 h 136525"/>
                  <a:gd name="connsiteX188" fmla="*/ 345440 w 1130300"/>
                  <a:gd name="connsiteY188" fmla="*/ 86677 h 136525"/>
                  <a:gd name="connsiteX189" fmla="*/ 339725 w 1130300"/>
                  <a:gd name="connsiteY189" fmla="*/ 112395 h 136525"/>
                  <a:gd name="connsiteX190" fmla="*/ 322263 w 1130300"/>
                  <a:gd name="connsiteY190" fmla="*/ 121285 h 136525"/>
                  <a:gd name="connsiteX191" fmla="*/ 302577 w 1130300"/>
                  <a:gd name="connsiteY191" fmla="*/ 112395 h 136525"/>
                  <a:gd name="connsiteX192" fmla="*/ 297180 w 1130300"/>
                  <a:gd name="connsiteY192" fmla="*/ 86995 h 136525"/>
                  <a:gd name="connsiteX193" fmla="*/ 297180 w 1130300"/>
                  <a:gd name="connsiteY193" fmla="*/ 85725 h 136525"/>
                  <a:gd name="connsiteX194" fmla="*/ 302577 w 1130300"/>
                  <a:gd name="connsiteY194" fmla="*/ 60960 h 136525"/>
                  <a:gd name="connsiteX195" fmla="*/ 321627 w 1130300"/>
                  <a:gd name="connsiteY195" fmla="*/ 53022 h 136525"/>
                  <a:gd name="connsiteX196" fmla="*/ 345440 w 1130300"/>
                  <a:gd name="connsiteY196" fmla="*/ 86677 h 136525"/>
                  <a:gd name="connsiteX197" fmla="*/ 278765 w 1130300"/>
                  <a:gd name="connsiteY197" fmla="*/ 0 h 136525"/>
                  <a:gd name="connsiteX198" fmla="*/ 278765 w 1130300"/>
                  <a:gd name="connsiteY198" fmla="*/ 135255 h 136525"/>
                  <a:gd name="connsiteX199" fmla="*/ 292735 w 1130300"/>
                  <a:gd name="connsiteY199" fmla="*/ 135255 h 136525"/>
                  <a:gd name="connsiteX200" fmla="*/ 296227 w 1130300"/>
                  <a:gd name="connsiteY200" fmla="*/ 123507 h 136525"/>
                  <a:gd name="connsiteX201" fmla="*/ 297497 w 1130300"/>
                  <a:gd name="connsiteY201" fmla="*/ 123507 h 136525"/>
                  <a:gd name="connsiteX202" fmla="*/ 308292 w 1130300"/>
                  <a:gd name="connsiteY202" fmla="*/ 133032 h 136525"/>
                  <a:gd name="connsiteX203" fmla="*/ 326072 w 1130300"/>
                  <a:gd name="connsiteY203" fmla="*/ 137160 h 136525"/>
                  <a:gd name="connsiteX204" fmla="*/ 354013 w 1130300"/>
                  <a:gd name="connsiteY204" fmla="*/ 124777 h 136525"/>
                  <a:gd name="connsiteX205" fmla="*/ 364807 w 1130300"/>
                  <a:gd name="connsiteY205" fmla="*/ 87630 h 136525"/>
                  <a:gd name="connsiteX206" fmla="*/ 354330 w 1130300"/>
                  <a:gd name="connsiteY206" fmla="*/ 50800 h 136525"/>
                  <a:gd name="connsiteX207" fmla="*/ 326390 w 1130300"/>
                  <a:gd name="connsiteY207" fmla="*/ 38418 h 136525"/>
                  <a:gd name="connsiteX208" fmla="*/ 308292 w 1130300"/>
                  <a:gd name="connsiteY208" fmla="*/ 42545 h 136525"/>
                  <a:gd name="connsiteX209" fmla="*/ 297180 w 1130300"/>
                  <a:gd name="connsiteY209" fmla="*/ 52705 h 136525"/>
                  <a:gd name="connsiteX210" fmla="*/ 296227 w 1130300"/>
                  <a:gd name="connsiteY210" fmla="*/ 52705 h 136525"/>
                  <a:gd name="connsiteX211" fmla="*/ 296863 w 1130300"/>
                  <a:gd name="connsiteY211" fmla="*/ 44450 h 136525"/>
                  <a:gd name="connsiteX212" fmla="*/ 297180 w 1130300"/>
                  <a:gd name="connsiteY212" fmla="*/ 33338 h 136525"/>
                  <a:gd name="connsiteX213" fmla="*/ 297180 w 1130300"/>
                  <a:gd name="connsiteY213" fmla="*/ 952 h 136525"/>
                  <a:gd name="connsiteX214" fmla="*/ 278765 w 1130300"/>
                  <a:gd name="connsiteY214" fmla="*/ 952 h 136525"/>
                  <a:gd name="connsiteX215" fmla="*/ 231140 w 1130300"/>
                  <a:gd name="connsiteY215" fmla="*/ 97155 h 136525"/>
                  <a:gd name="connsiteX216" fmla="*/ 223838 w 1130300"/>
                  <a:gd name="connsiteY216" fmla="*/ 115888 h 136525"/>
                  <a:gd name="connsiteX217" fmla="*/ 205422 w 1130300"/>
                  <a:gd name="connsiteY217" fmla="*/ 122238 h 136525"/>
                  <a:gd name="connsiteX218" fmla="*/ 193992 w 1130300"/>
                  <a:gd name="connsiteY218" fmla="*/ 118745 h 136525"/>
                  <a:gd name="connsiteX219" fmla="*/ 189547 w 1130300"/>
                  <a:gd name="connsiteY219" fmla="*/ 107950 h 136525"/>
                  <a:gd name="connsiteX220" fmla="*/ 195897 w 1130300"/>
                  <a:gd name="connsiteY220" fmla="*/ 94932 h 136525"/>
                  <a:gd name="connsiteX221" fmla="*/ 218440 w 1130300"/>
                  <a:gd name="connsiteY221" fmla="*/ 89535 h 136525"/>
                  <a:gd name="connsiteX222" fmla="*/ 231140 w 1130300"/>
                  <a:gd name="connsiteY222" fmla="*/ 89218 h 136525"/>
                  <a:gd name="connsiteX223" fmla="*/ 231140 w 1130300"/>
                  <a:gd name="connsiteY223" fmla="*/ 97155 h 136525"/>
                  <a:gd name="connsiteX224" fmla="*/ 195263 w 1130300"/>
                  <a:gd name="connsiteY224" fmla="*/ 39688 h 136525"/>
                  <a:gd name="connsiteX225" fmla="*/ 179705 w 1130300"/>
                  <a:gd name="connsiteY225" fmla="*/ 45720 h 136525"/>
                  <a:gd name="connsiteX226" fmla="*/ 185738 w 1130300"/>
                  <a:gd name="connsiteY226" fmla="*/ 59372 h 136525"/>
                  <a:gd name="connsiteX227" fmla="*/ 198755 w 1130300"/>
                  <a:gd name="connsiteY227" fmla="*/ 54293 h 136525"/>
                  <a:gd name="connsiteX228" fmla="*/ 212725 w 1130300"/>
                  <a:gd name="connsiteY228" fmla="*/ 52070 h 136525"/>
                  <a:gd name="connsiteX229" fmla="*/ 226377 w 1130300"/>
                  <a:gd name="connsiteY229" fmla="*/ 56515 h 136525"/>
                  <a:gd name="connsiteX230" fmla="*/ 231140 w 1130300"/>
                  <a:gd name="connsiteY230" fmla="*/ 71438 h 136525"/>
                  <a:gd name="connsiteX231" fmla="*/ 231140 w 1130300"/>
                  <a:gd name="connsiteY231" fmla="*/ 76835 h 136525"/>
                  <a:gd name="connsiteX232" fmla="*/ 214630 w 1130300"/>
                  <a:gd name="connsiteY232" fmla="*/ 77470 h 136525"/>
                  <a:gd name="connsiteX233" fmla="*/ 180657 w 1130300"/>
                  <a:gd name="connsiteY233" fmla="*/ 85725 h 136525"/>
                  <a:gd name="connsiteX234" fmla="*/ 169545 w 1130300"/>
                  <a:gd name="connsiteY234" fmla="*/ 107950 h 136525"/>
                  <a:gd name="connsiteX235" fmla="*/ 178117 w 1130300"/>
                  <a:gd name="connsiteY235" fmla="*/ 129857 h 136525"/>
                  <a:gd name="connsiteX236" fmla="*/ 199707 w 1130300"/>
                  <a:gd name="connsiteY236" fmla="*/ 136843 h 136525"/>
                  <a:gd name="connsiteX237" fmla="*/ 218757 w 1130300"/>
                  <a:gd name="connsiteY237" fmla="*/ 133350 h 136525"/>
                  <a:gd name="connsiteX238" fmla="*/ 231775 w 1130300"/>
                  <a:gd name="connsiteY238" fmla="*/ 121920 h 136525"/>
                  <a:gd name="connsiteX239" fmla="*/ 232410 w 1130300"/>
                  <a:gd name="connsiteY239" fmla="*/ 121920 h 136525"/>
                  <a:gd name="connsiteX240" fmla="*/ 236220 w 1130300"/>
                  <a:gd name="connsiteY240" fmla="*/ 135255 h 136525"/>
                  <a:gd name="connsiteX241" fmla="*/ 249555 w 1130300"/>
                  <a:gd name="connsiteY241" fmla="*/ 135255 h 136525"/>
                  <a:gd name="connsiteX242" fmla="*/ 249555 w 1130300"/>
                  <a:gd name="connsiteY242" fmla="*/ 70485 h 136525"/>
                  <a:gd name="connsiteX243" fmla="*/ 240665 w 1130300"/>
                  <a:gd name="connsiteY243" fmla="*/ 45720 h 136525"/>
                  <a:gd name="connsiteX244" fmla="*/ 213677 w 1130300"/>
                  <a:gd name="connsiteY244" fmla="*/ 37782 h 136525"/>
                  <a:gd name="connsiteX245" fmla="*/ 195263 w 1130300"/>
                  <a:gd name="connsiteY245" fmla="*/ 39688 h 136525"/>
                  <a:gd name="connsiteX246" fmla="*/ 128270 w 1130300"/>
                  <a:gd name="connsiteY246" fmla="*/ 134938 h 136525"/>
                  <a:gd name="connsiteX247" fmla="*/ 147002 w 1130300"/>
                  <a:gd name="connsiteY247" fmla="*/ 134938 h 136525"/>
                  <a:gd name="connsiteX248" fmla="*/ 147002 w 1130300"/>
                  <a:gd name="connsiteY248" fmla="*/ 39052 h 136525"/>
                  <a:gd name="connsiteX249" fmla="*/ 128270 w 1130300"/>
                  <a:gd name="connsiteY249" fmla="*/ 39052 h 136525"/>
                  <a:gd name="connsiteX250" fmla="*/ 128270 w 1130300"/>
                  <a:gd name="connsiteY250" fmla="*/ 134938 h 136525"/>
                  <a:gd name="connsiteX251" fmla="*/ 130175 w 1130300"/>
                  <a:gd name="connsiteY251" fmla="*/ 5080 h 136525"/>
                  <a:gd name="connsiteX252" fmla="*/ 127000 w 1130300"/>
                  <a:gd name="connsiteY252" fmla="*/ 13335 h 136525"/>
                  <a:gd name="connsiteX253" fmla="*/ 130175 w 1130300"/>
                  <a:gd name="connsiteY253" fmla="*/ 21590 h 136525"/>
                  <a:gd name="connsiteX254" fmla="*/ 137795 w 1130300"/>
                  <a:gd name="connsiteY254" fmla="*/ 24130 h 136525"/>
                  <a:gd name="connsiteX255" fmla="*/ 145415 w 1130300"/>
                  <a:gd name="connsiteY255" fmla="*/ 21590 h 136525"/>
                  <a:gd name="connsiteX256" fmla="*/ 148590 w 1130300"/>
                  <a:gd name="connsiteY256" fmla="*/ 13335 h 136525"/>
                  <a:gd name="connsiteX257" fmla="*/ 145415 w 1130300"/>
                  <a:gd name="connsiteY257" fmla="*/ 5080 h 136525"/>
                  <a:gd name="connsiteX258" fmla="*/ 137795 w 1130300"/>
                  <a:gd name="connsiteY258" fmla="*/ 2540 h 136525"/>
                  <a:gd name="connsiteX259" fmla="*/ 130175 w 1130300"/>
                  <a:gd name="connsiteY259" fmla="*/ 5080 h 136525"/>
                  <a:gd name="connsiteX260" fmla="*/ 34607 w 1130300"/>
                  <a:gd name="connsiteY260" fmla="*/ 118745 h 136525"/>
                  <a:gd name="connsiteX261" fmla="*/ 19050 w 1130300"/>
                  <a:gd name="connsiteY261" fmla="*/ 118745 h 136525"/>
                  <a:gd name="connsiteX262" fmla="*/ 19050 w 1130300"/>
                  <a:gd name="connsiteY262" fmla="*/ 24130 h 136525"/>
                  <a:gd name="connsiteX263" fmla="*/ 37782 w 1130300"/>
                  <a:gd name="connsiteY263" fmla="*/ 24130 h 136525"/>
                  <a:gd name="connsiteX264" fmla="*/ 70802 w 1130300"/>
                  <a:gd name="connsiteY264" fmla="*/ 35560 h 136525"/>
                  <a:gd name="connsiteX265" fmla="*/ 82232 w 1130300"/>
                  <a:gd name="connsiteY265" fmla="*/ 70802 h 136525"/>
                  <a:gd name="connsiteX266" fmla="*/ 34607 w 1130300"/>
                  <a:gd name="connsiteY266" fmla="*/ 118745 h 136525"/>
                  <a:gd name="connsiteX267" fmla="*/ 94932 w 1130300"/>
                  <a:gd name="connsiteY267" fmla="*/ 36195 h 136525"/>
                  <a:gd name="connsiteX268" fmla="*/ 73025 w 1130300"/>
                  <a:gd name="connsiteY268" fmla="*/ 15240 h 136525"/>
                  <a:gd name="connsiteX269" fmla="*/ 39370 w 1130300"/>
                  <a:gd name="connsiteY269" fmla="*/ 8255 h 136525"/>
                  <a:gd name="connsiteX270" fmla="*/ 0 w 1130300"/>
                  <a:gd name="connsiteY270" fmla="*/ 8255 h 136525"/>
                  <a:gd name="connsiteX271" fmla="*/ 0 w 1130300"/>
                  <a:gd name="connsiteY271" fmla="*/ 135255 h 136525"/>
                  <a:gd name="connsiteX272" fmla="*/ 35560 w 1130300"/>
                  <a:gd name="connsiteY272" fmla="*/ 135255 h 136525"/>
                  <a:gd name="connsiteX273" fmla="*/ 85090 w 1130300"/>
                  <a:gd name="connsiteY273" fmla="*/ 119063 h 136525"/>
                  <a:gd name="connsiteX274" fmla="*/ 102870 w 1130300"/>
                  <a:gd name="connsiteY274" fmla="*/ 70485 h 136525"/>
                  <a:gd name="connsiteX275" fmla="*/ 94932 w 1130300"/>
                  <a:gd name="connsiteY275" fmla="*/ 3619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130300" h="136525">
                    <a:moveTo>
                      <a:pt x="1107757" y="59055"/>
                    </a:moveTo>
                    <a:cubicBezTo>
                      <a:pt x="1111250" y="63818"/>
                      <a:pt x="1113155" y="69850"/>
                      <a:pt x="1113155" y="77152"/>
                    </a:cubicBezTo>
                    <a:lnTo>
                      <a:pt x="1068070" y="77152"/>
                    </a:lnTo>
                    <a:cubicBezTo>
                      <a:pt x="1068705" y="69215"/>
                      <a:pt x="1071245" y="62865"/>
                      <a:pt x="1075372" y="58420"/>
                    </a:cubicBezTo>
                    <a:cubicBezTo>
                      <a:pt x="1079500" y="53975"/>
                      <a:pt x="1084897" y="51752"/>
                      <a:pt x="1091565" y="51752"/>
                    </a:cubicBezTo>
                    <a:cubicBezTo>
                      <a:pt x="1098867" y="52070"/>
                      <a:pt x="1104265" y="54293"/>
                      <a:pt x="1107757" y="59055"/>
                    </a:cubicBezTo>
                    <a:moveTo>
                      <a:pt x="1069022" y="43180"/>
                    </a:moveTo>
                    <a:cubicBezTo>
                      <a:pt x="1062672" y="47307"/>
                      <a:pt x="1057592" y="53022"/>
                      <a:pt x="1053782" y="60325"/>
                    </a:cubicBezTo>
                    <a:cubicBezTo>
                      <a:pt x="1050290" y="67945"/>
                      <a:pt x="1048385" y="76835"/>
                      <a:pt x="1048385" y="87630"/>
                    </a:cubicBezTo>
                    <a:cubicBezTo>
                      <a:pt x="1048385" y="98425"/>
                      <a:pt x="1050290" y="107315"/>
                      <a:pt x="1054417" y="114618"/>
                    </a:cubicBezTo>
                    <a:cubicBezTo>
                      <a:pt x="1058228" y="121920"/>
                      <a:pt x="1063942" y="127318"/>
                      <a:pt x="1070928" y="131127"/>
                    </a:cubicBezTo>
                    <a:cubicBezTo>
                      <a:pt x="1077913" y="134938"/>
                      <a:pt x="1086167" y="136525"/>
                      <a:pt x="1095375" y="136525"/>
                    </a:cubicBezTo>
                    <a:cubicBezTo>
                      <a:pt x="1102042" y="136525"/>
                      <a:pt x="1108075" y="135890"/>
                      <a:pt x="1112838" y="134938"/>
                    </a:cubicBezTo>
                    <a:cubicBezTo>
                      <a:pt x="1117600" y="133985"/>
                      <a:pt x="1122680" y="132397"/>
                      <a:pt x="1127442" y="130175"/>
                    </a:cubicBezTo>
                    <a:lnTo>
                      <a:pt x="1127442" y="114618"/>
                    </a:lnTo>
                    <a:cubicBezTo>
                      <a:pt x="1122363" y="116840"/>
                      <a:pt x="1117282" y="118427"/>
                      <a:pt x="1112520" y="119697"/>
                    </a:cubicBezTo>
                    <a:cubicBezTo>
                      <a:pt x="1107757" y="120968"/>
                      <a:pt x="1102360" y="121285"/>
                      <a:pt x="1096010" y="121285"/>
                    </a:cubicBezTo>
                    <a:cubicBezTo>
                      <a:pt x="1087120" y="121285"/>
                      <a:pt x="1080135" y="118745"/>
                      <a:pt x="1075372" y="113347"/>
                    </a:cubicBezTo>
                    <a:cubicBezTo>
                      <a:pt x="1070292" y="108268"/>
                      <a:pt x="1067753" y="100647"/>
                      <a:pt x="1067753" y="90805"/>
                    </a:cubicBezTo>
                    <a:lnTo>
                      <a:pt x="1132205" y="90805"/>
                    </a:lnTo>
                    <a:lnTo>
                      <a:pt x="1132205" y="80645"/>
                    </a:lnTo>
                    <a:cubicBezTo>
                      <a:pt x="1132205" y="67310"/>
                      <a:pt x="1128713" y="56515"/>
                      <a:pt x="1121410" y="48895"/>
                    </a:cubicBezTo>
                    <a:cubicBezTo>
                      <a:pt x="1114107" y="41275"/>
                      <a:pt x="1104265" y="37147"/>
                      <a:pt x="1091565" y="37147"/>
                    </a:cubicBezTo>
                    <a:cubicBezTo>
                      <a:pt x="1082992" y="37465"/>
                      <a:pt x="1075372" y="39370"/>
                      <a:pt x="1069022" y="43180"/>
                    </a:cubicBezTo>
                    <a:moveTo>
                      <a:pt x="1011872" y="42863"/>
                    </a:moveTo>
                    <a:cubicBezTo>
                      <a:pt x="1006792" y="46672"/>
                      <a:pt x="1002982" y="51118"/>
                      <a:pt x="999807" y="56197"/>
                    </a:cubicBezTo>
                    <a:lnTo>
                      <a:pt x="999172" y="56197"/>
                    </a:lnTo>
                    <a:lnTo>
                      <a:pt x="996632" y="39052"/>
                    </a:lnTo>
                    <a:lnTo>
                      <a:pt x="981710" y="39052"/>
                    </a:lnTo>
                    <a:lnTo>
                      <a:pt x="981710" y="134938"/>
                    </a:lnTo>
                    <a:lnTo>
                      <a:pt x="1000442" y="134938"/>
                    </a:lnTo>
                    <a:lnTo>
                      <a:pt x="1000442" y="84455"/>
                    </a:lnTo>
                    <a:cubicBezTo>
                      <a:pt x="1000442" y="78105"/>
                      <a:pt x="1001713" y="72707"/>
                      <a:pt x="1004252" y="68263"/>
                    </a:cubicBezTo>
                    <a:cubicBezTo>
                      <a:pt x="1006792" y="63818"/>
                      <a:pt x="1010285" y="60325"/>
                      <a:pt x="1014413" y="58102"/>
                    </a:cubicBezTo>
                    <a:cubicBezTo>
                      <a:pt x="1018540" y="55880"/>
                      <a:pt x="1022985" y="54610"/>
                      <a:pt x="1028065" y="54610"/>
                    </a:cubicBezTo>
                    <a:cubicBezTo>
                      <a:pt x="1031240" y="54610"/>
                      <a:pt x="1034732" y="54927"/>
                      <a:pt x="1037590" y="55880"/>
                    </a:cubicBezTo>
                    <a:lnTo>
                      <a:pt x="1039495" y="38418"/>
                    </a:lnTo>
                    <a:cubicBezTo>
                      <a:pt x="1036320" y="37782"/>
                      <a:pt x="1032827" y="37465"/>
                      <a:pt x="1029017" y="37465"/>
                    </a:cubicBezTo>
                    <a:cubicBezTo>
                      <a:pt x="1022667" y="37465"/>
                      <a:pt x="1016952" y="39370"/>
                      <a:pt x="1011872" y="42863"/>
                    </a:cubicBezTo>
                    <a:moveTo>
                      <a:pt x="934085" y="97155"/>
                    </a:moveTo>
                    <a:cubicBezTo>
                      <a:pt x="934085" y="105410"/>
                      <a:pt x="931545" y="111760"/>
                      <a:pt x="926782" y="115888"/>
                    </a:cubicBezTo>
                    <a:cubicBezTo>
                      <a:pt x="921702" y="120015"/>
                      <a:pt x="915670" y="122238"/>
                      <a:pt x="908367" y="122238"/>
                    </a:cubicBezTo>
                    <a:cubicBezTo>
                      <a:pt x="903605" y="122238"/>
                      <a:pt x="899795" y="120968"/>
                      <a:pt x="896938" y="118745"/>
                    </a:cubicBezTo>
                    <a:cubicBezTo>
                      <a:pt x="894080" y="116522"/>
                      <a:pt x="892492" y="113030"/>
                      <a:pt x="892492" y="107950"/>
                    </a:cubicBezTo>
                    <a:cubicBezTo>
                      <a:pt x="892492" y="102235"/>
                      <a:pt x="894715" y="98107"/>
                      <a:pt x="898842" y="94932"/>
                    </a:cubicBezTo>
                    <a:cubicBezTo>
                      <a:pt x="902970" y="91757"/>
                      <a:pt x="910590" y="89852"/>
                      <a:pt x="921385" y="89535"/>
                    </a:cubicBezTo>
                    <a:lnTo>
                      <a:pt x="934085" y="89218"/>
                    </a:lnTo>
                    <a:lnTo>
                      <a:pt x="934085" y="97155"/>
                    </a:lnTo>
                    <a:close/>
                    <a:moveTo>
                      <a:pt x="898525" y="39688"/>
                    </a:moveTo>
                    <a:cubicBezTo>
                      <a:pt x="892810" y="41275"/>
                      <a:pt x="887413" y="43180"/>
                      <a:pt x="882967" y="45720"/>
                    </a:cubicBezTo>
                    <a:lnTo>
                      <a:pt x="889000" y="59372"/>
                    </a:lnTo>
                    <a:cubicBezTo>
                      <a:pt x="893127" y="57468"/>
                      <a:pt x="897572" y="55563"/>
                      <a:pt x="902017" y="54293"/>
                    </a:cubicBezTo>
                    <a:cubicBezTo>
                      <a:pt x="906463" y="53022"/>
                      <a:pt x="911225" y="52070"/>
                      <a:pt x="915988" y="52070"/>
                    </a:cubicBezTo>
                    <a:cubicBezTo>
                      <a:pt x="921702" y="52070"/>
                      <a:pt x="926147" y="53657"/>
                      <a:pt x="929640" y="56515"/>
                    </a:cubicBezTo>
                    <a:cubicBezTo>
                      <a:pt x="932815" y="59372"/>
                      <a:pt x="934402" y="64452"/>
                      <a:pt x="934402" y="71438"/>
                    </a:cubicBezTo>
                    <a:lnTo>
                      <a:pt x="934402" y="76835"/>
                    </a:lnTo>
                    <a:lnTo>
                      <a:pt x="917892" y="77470"/>
                    </a:lnTo>
                    <a:cubicBezTo>
                      <a:pt x="902652" y="77788"/>
                      <a:pt x="891540" y="80645"/>
                      <a:pt x="883920" y="85725"/>
                    </a:cubicBezTo>
                    <a:cubicBezTo>
                      <a:pt x="876617" y="90805"/>
                      <a:pt x="872807" y="98107"/>
                      <a:pt x="872807" y="107950"/>
                    </a:cubicBezTo>
                    <a:cubicBezTo>
                      <a:pt x="872807" y="117793"/>
                      <a:pt x="875665" y="125095"/>
                      <a:pt x="881380" y="129857"/>
                    </a:cubicBezTo>
                    <a:cubicBezTo>
                      <a:pt x="887095" y="134620"/>
                      <a:pt x="894080" y="136843"/>
                      <a:pt x="902970" y="136843"/>
                    </a:cubicBezTo>
                    <a:cubicBezTo>
                      <a:pt x="910907" y="136843"/>
                      <a:pt x="917257" y="135572"/>
                      <a:pt x="922020" y="133350"/>
                    </a:cubicBezTo>
                    <a:cubicBezTo>
                      <a:pt x="926465" y="130810"/>
                      <a:pt x="930910" y="127000"/>
                      <a:pt x="935038" y="121920"/>
                    </a:cubicBezTo>
                    <a:lnTo>
                      <a:pt x="935672" y="121920"/>
                    </a:lnTo>
                    <a:lnTo>
                      <a:pt x="939482" y="135255"/>
                    </a:lnTo>
                    <a:lnTo>
                      <a:pt x="952817" y="135255"/>
                    </a:lnTo>
                    <a:lnTo>
                      <a:pt x="952817" y="70485"/>
                    </a:lnTo>
                    <a:cubicBezTo>
                      <a:pt x="952817" y="59372"/>
                      <a:pt x="949960" y="50800"/>
                      <a:pt x="943927" y="45720"/>
                    </a:cubicBezTo>
                    <a:cubicBezTo>
                      <a:pt x="937895" y="40322"/>
                      <a:pt x="929005" y="37782"/>
                      <a:pt x="916940" y="37782"/>
                    </a:cubicBezTo>
                    <a:cubicBezTo>
                      <a:pt x="910590" y="37465"/>
                      <a:pt x="904557" y="38100"/>
                      <a:pt x="898525" y="39688"/>
                    </a:cubicBezTo>
                    <a:moveTo>
                      <a:pt x="846138" y="135255"/>
                    </a:moveTo>
                    <a:cubicBezTo>
                      <a:pt x="850265" y="134302"/>
                      <a:pt x="853757" y="132715"/>
                      <a:pt x="857250" y="130810"/>
                    </a:cubicBezTo>
                    <a:lnTo>
                      <a:pt x="857250" y="114300"/>
                    </a:lnTo>
                    <a:cubicBezTo>
                      <a:pt x="853757" y="116205"/>
                      <a:pt x="849947" y="117793"/>
                      <a:pt x="845820" y="119063"/>
                    </a:cubicBezTo>
                    <a:cubicBezTo>
                      <a:pt x="841692" y="120332"/>
                      <a:pt x="836930" y="120968"/>
                      <a:pt x="831850" y="120968"/>
                    </a:cubicBezTo>
                    <a:cubicBezTo>
                      <a:pt x="823595" y="120968"/>
                      <a:pt x="817245" y="118110"/>
                      <a:pt x="813117" y="112395"/>
                    </a:cubicBezTo>
                    <a:cubicBezTo>
                      <a:pt x="808990" y="106680"/>
                      <a:pt x="806767" y="98425"/>
                      <a:pt x="806767" y="87630"/>
                    </a:cubicBezTo>
                    <a:cubicBezTo>
                      <a:pt x="806767" y="64770"/>
                      <a:pt x="815340" y="53340"/>
                      <a:pt x="832802" y="53340"/>
                    </a:cubicBezTo>
                    <a:cubicBezTo>
                      <a:pt x="836295" y="53340"/>
                      <a:pt x="839788" y="53975"/>
                      <a:pt x="843597" y="54927"/>
                    </a:cubicBezTo>
                    <a:cubicBezTo>
                      <a:pt x="847407" y="55880"/>
                      <a:pt x="850900" y="57150"/>
                      <a:pt x="854075" y="58102"/>
                    </a:cubicBezTo>
                    <a:lnTo>
                      <a:pt x="859790" y="42863"/>
                    </a:lnTo>
                    <a:cubicBezTo>
                      <a:pt x="856615" y="41275"/>
                      <a:pt x="852805" y="40005"/>
                      <a:pt x="848042" y="39052"/>
                    </a:cubicBezTo>
                    <a:cubicBezTo>
                      <a:pt x="843280" y="38100"/>
                      <a:pt x="838200" y="37465"/>
                      <a:pt x="833120" y="37465"/>
                    </a:cubicBezTo>
                    <a:cubicBezTo>
                      <a:pt x="824230" y="37465"/>
                      <a:pt x="816610" y="39370"/>
                      <a:pt x="809625" y="42863"/>
                    </a:cubicBezTo>
                    <a:cubicBezTo>
                      <a:pt x="802640" y="46355"/>
                      <a:pt x="797242" y="51752"/>
                      <a:pt x="793432" y="59055"/>
                    </a:cubicBezTo>
                    <a:cubicBezTo>
                      <a:pt x="789622" y="66357"/>
                      <a:pt x="787717" y="75882"/>
                      <a:pt x="787717" y="87947"/>
                    </a:cubicBezTo>
                    <a:cubicBezTo>
                      <a:pt x="787717" y="104775"/>
                      <a:pt x="791845" y="117157"/>
                      <a:pt x="799782" y="125095"/>
                    </a:cubicBezTo>
                    <a:cubicBezTo>
                      <a:pt x="807720" y="133032"/>
                      <a:pt x="818515" y="136843"/>
                      <a:pt x="831850" y="136843"/>
                    </a:cubicBezTo>
                    <a:cubicBezTo>
                      <a:pt x="836930" y="136843"/>
                      <a:pt x="842010" y="136207"/>
                      <a:pt x="846138" y="135255"/>
                    </a:cubicBezTo>
                    <a:moveTo>
                      <a:pt x="720725" y="94932"/>
                    </a:moveTo>
                    <a:cubicBezTo>
                      <a:pt x="718502" y="91440"/>
                      <a:pt x="715327" y="88582"/>
                      <a:pt x="710882" y="86043"/>
                    </a:cubicBezTo>
                    <a:cubicBezTo>
                      <a:pt x="706755" y="83502"/>
                      <a:pt x="701675" y="81280"/>
                      <a:pt x="695960" y="79057"/>
                    </a:cubicBezTo>
                    <a:cubicBezTo>
                      <a:pt x="689927" y="76835"/>
                      <a:pt x="685165" y="74613"/>
                      <a:pt x="681672" y="73025"/>
                    </a:cubicBezTo>
                    <a:cubicBezTo>
                      <a:pt x="678180" y="71438"/>
                      <a:pt x="675957" y="69850"/>
                      <a:pt x="674688" y="67945"/>
                    </a:cubicBezTo>
                    <a:cubicBezTo>
                      <a:pt x="673417" y="66357"/>
                      <a:pt x="672782" y="64452"/>
                      <a:pt x="672782" y="62230"/>
                    </a:cubicBezTo>
                    <a:cubicBezTo>
                      <a:pt x="672782" y="55563"/>
                      <a:pt x="678497" y="52070"/>
                      <a:pt x="690245" y="52070"/>
                    </a:cubicBezTo>
                    <a:cubicBezTo>
                      <a:pt x="694690" y="52070"/>
                      <a:pt x="699135" y="52705"/>
                      <a:pt x="703580" y="53975"/>
                    </a:cubicBezTo>
                    <a:cubicBezTo>
                      <a:pt x="708025" y="55245"/>
                      <a:pt x="712152" y="56832"/>
                      <a:pt x="716280" y="58420"/>
                    </a:cubicBezTo>
                    <a:lnTo>
                      <a:pt x="722630" y="44132"/>
                    </a:lnTo>
                    <a:cubicBezTo>
                      <a:pt x="717867" y="41910"/>
                      <a:pt x="712788" y="40322"/>
                      <a:pt x="707707" y="39052"/>
                    </a:cubicBezTo>
                    <a:cubicBezTo>
                      <a:pt x="702627" y="37782"/>
                      <a:pt x="696913" y="37147"/>
                      <a:pt x="691197" y="37147"/>
                    </a:cubicBezTo>
                    <a:cubicBezTo>
                      <a:pt x="680085" y="37147"/>
                      <a:pt x="671195" y="39370"/>
                      <a:pt x="664527" y="43815"/>
                    </a:cubicBezTo>
                    <a:cubicBezTo>
                      <a:pt x="657860" y="48260"/>
                      <a:pt x="654367" y="54610"/>
                      <a:pt x="654367" y="62865"/>
                    </a:cubicBezTo>
                    <a:cubicBezTo>
                      <a:pt x="654367" y="67945"/>
                      <a:pt x="655638" y="72390"/>
                      <a:pt x="657860" y="75882"/>
                    </a:cubicBezTo>
                    <a:cubicBezTo>
                      <a:pt x="660082" y="79375"/>
                      <a:pt x="663257" y="82232"/>
                      <a:pt x="667702" y="84772"/>
                    </a:cubicBezTo>
                    <a:cubicBezTo>
                      <a:pt x="671830" y="87313"/>
                      <a:pt x="677227" y="89535"/>
                      <a:pt x="683260" y="92075"/>
                    </a:cubicBezTo>
                    <a:cubicBezTo>
                      <a:pt x="689610" y="94297"/>
                      <a:pt x="694372" y="96520"/>
                      <a:pt x="697547" y="98425"/>
                    </a:cubicBezTo>
                    <a:cubicBezTo>
                      <a:pt x="700722" y="100330"/>
                      <a:pt x="702945" y="101918"/>
                      <a:pt x="704215" y="103822"/>
                    </a:cubicBezTo>
                    <a:cubicBezTo>
                      <a:pt x="705485" y="105410"/>
                      <a:pt x="706120" y="107315"/>
                      <a:pt x="706120" y="109538"/>
                    </a:cubicBezTo>
                    <a:cubicBezTo>
                      <a:pt x="706120" y="113347"/>
                      <a:pt x="704532" y="116205"/>
                      <a:pt x="701357" y="118745"/>
                    </a:cubicBezTo>
                    <a:cubicBezTo>
                      <a:pt x="698182" y="120968"/>
                      <a:pt x="693102" y="122238"/>
                      <a:pt x="686117" y="122238"/>
                    </a:cubicBezTo>
                    <a:cubicBezTo>
                      <a:pt x="680720" y="122238"/>
                      <a:pt x="675322" y="121285"/>
                      <a:pt x="669607" y="119697"/>
                    </a:cubicBezTo>
                    <a:cubicBezTo>
                      <a:pt x="663892" y="118110"/>
                      <a:pt x="659130" y="116205"/>
                      <a:pt x="655002" y="114300"/>
                    </a:cubicBezTo>
                    <a:lnTo>
                      <a:pt x="655002" y="130810"/>
                    </a:lnTo>
                    <a:cubicBezTo>
                      <a:pt x="659130" y="132715"/>
                      <a:pt x="663575" y="134302"/>
                      <a:pt x="668338" y="135255"/>
                    </a:cubicBezTo>
                    <a:cubicBezTo>
                      <a:pt x="673100" y="136207"/>
                      <a:pt x="678815" y="136525"/>
                      <a:pt x="685800" y="136525"/>
                    </a:cubicBezTo>
                    <a:cubicBezTo>
                      <a:pt x="698182" y="136525"/>
                      <a:pt x="707707" y="133985"/>
                      <a:pt x="714375" y="129222"/>
                    </a:cubicBezTo>
                    <a:cubicBezTo>
                      <a:pt x="721042" y="124460"/>
                      <a:pt x="724535" y="117157"/>
                      <a:pt x="724535" y="107632"/>
                    </a:cubicBezTo>
                    <a:cubicBezTo>
                      <a:pt x="723900" y="102870"/>
                      <a:pt x="722947" y="98425"/>
                      <a:pt x="720725" y="94932"/>
                    </a:cubicBezTo>
                    <a:moveTo>
                      <a:pt x="612775" y="59055"/>
                    </a:moveTo>
                    <a:cubicBezTo>
                      <a:pt x="616267" y="63818"/>
                      <a:pt x="618172" y="69850"/>
                      <a:pt x="618172" y="77152"/>
                    </a:cubicBezTo>
                    <a:lnTo>
                      <a:pt x="573088" y="77152"/>
                    </a:lnTo>
                    <a:cubicBezTo>
                      <a:pt x="573722" y="69215"/>
                      <a:pt x="576263" y="62865"/>
                      <a:pt x="580390" y="58420"/>
                    </a:cubicBezTo>
                    <a:cubicBezTo>
                      <a:pt x="584517" y="53975"/>
                      <a:pt x="589915" y="51752"/>
                      <a:pt x="596582" y="51752"/>
                    </a:cubicBezTo>
                    <a:cubicBezTo>
                      <a:pt x="603885" y="52070"/>
                      <a:pt x="609282" y="54293"/>
                      <a:pt x="612775" y="59055"/>
                    </a:cubicBezTo>
                    <a:moveTo>
                      <a:pt x="573722" y="43180"/>
                    </a:moveTo>
                    <a:cubicBezTo>
                      <a:pt x="567372" y="47307"/>
                      <a:pt x="562292" y="53022"/>
                      <a:pt x="558482" y="60325"/>
                    </a:cubicBezTo>
                    <a:cubicBezTo>
                      <a:pt x="554990" y="67945"/>
                      <a:pt x="553085" y="76835"/>
                      <a:pt x="553085" y="87630"/>
                    </a:cubicBezTo>
                    <a:cubicBezTo>
                      <a:pt x="553085" y="98425"/>
                      <a:pt x="554990" y="107315"/>
                      <a:pt x="559117" y="114618"/>
                    </a:cubicBezTo>
                    <a:cubicBezTo>
                      <a:pt x="563245" y="121920"/>
                      <a:pt x="568642" y="127318"/>
                      <a:pt x="575627" y="131127"/>
                    </a:cubicBezTo>
                    <a:cubicBezTo>
                      <a:pt x="582613" y="134938"/>
                      <a:pt x="590867" y="136525"/>
                      <a:pt x="600075" y="136525"/>
                    </a:cubicBezTo>
                    <a:cubicBezTo>
                      <a:pt x="606742" y="136525"/>
                      <a:pt x="612775" y="135890"/>
                      <a:pt x="617538" y="134938"/>
                    </a:cubicBezTo>
                    <a:cubicBezTo>
                      <a:pt x="622300" y="133985"/>
                      <a:pt x="627380" y="132397"/>
                      <a:pt x="632142" y="130175"/>
                    </a:cubicBezTo>
                    <a:lnTo>
                      <a:pt x="632142" y="114618"/>
                    </a:lnTo>
                    <a:cubicBezTo>
                      <a:pt x="627063" y="116840"/>
                      <a:pt x="621982" y="118427"/>
                      <a:pt x="617220" y="119697"/>
                    </a:cubicBezTo>
                    <a:cubicBezTo>
                      <a:pt x="612457" y="120968"/>
                      <a:pt x="607060" y="121285"/>
                      <a:pt x="600710" y="121285"/>
                    </a:cubicBezTo>
                    <a:cubicBezTo>
                      <a:pt x="591820" y="121285"/>
                      <a:pt x="584835" y="118745"/>
                      <a:pt x="580072" y="113347"/>
                    </a:cubicBezTo>
                    <a:cubicBezTo>
                      <a:pt x="575310" y="108268"/>
                      <a:pt x="572452" y="100647"/>
                      <a:pt x="572452" y="90805"/>
                    </a:cubicBezTo>
                    <a:lnTo>
                      <a:pt x="636905" y="90805"/>
                    </a:lnTo>
                    <a:lnTo>
                      <a:pt x="636905" y="80645"/>
                    </a:lnTo>
                    <a:cubicBezTo>
                      <a:pt x="636905" y="67310"/>
                      <a:pt x="633413" y="56515"/>
                      <a:pt x="626110" y="48895"/>
                    </a:cubicBezTo>
                    <a:cubicBezTo>
                      <a:pt x="618807" y="41275"/>
                      <a:pt x="608965" y="37147"/>
                      <a:pt x="596265" y="37147"/>
                    </a:cubicBezTo>
                    <a:cubicBezTo>
                      <a:pt x="587692" y="37465"/>
                      <a:pt x="580072" y="39370"/>
                      <a:pt x="573722" y="43180"/>
                    </a:cubicBezTo>
                    <a:moveTo>
                      <a:pt x="514985" y="117793"/>
                    </a:moveTo>
                    <a:cubicBezTo>
                      <a:pt x="512445" y="115252"/>
                      <a:pt x="511175" y="111443"/>
                      <a:pt x="511175" y="106363"/>
                    </a:cubicBezTo>
                    <a:lnTo>
                      <a:pt x="511175" y="53657"/>
                    </a:lnTo>
                    <a:lnTo>
                      <a:pt x="538480" y="53657"/>
                    </a:lnTo>
                    <a:lnTo>
                      <a:pt x="538480" y="39370"/>
                    </a:lnTo>
                    <a:lnTo>
                      <a:pt x="511175" y="39370"/>
                    </a:lnTo>
                    <a:lnTo>
                      <a:pt x="511175" y="17780"/>
                    </a:lnTo>
                    <a:lnTo>
                      <a:pt x="499745" y="17780"/>
                    </a:lnTo>
                    <a:lnTo>
                      <a:pt x="493077" y="38100"/>
                    </a:lnTo>
                    <a:lnTo>
                      <a:pt x="479107" y="45085"/>
                    </a:lnTo>
                    <a:lnTo>
                      <a:pt x="479107" y="53657"/>
                    </a:lnTo>
                    <a:lnTo>
                      <a:pt x="492442" y="53657"/>
                    </a:lnTo>
                    <a:lnTo>
                      <a:pt x="492442" y="106680"/>
                    </a:lnTo>
                    <a:cubicBezTo>
                      <a:pt x="492442" y="114618"/>
                      <a:pt x="493713" y="120650"/>
                      <a:pt x="496252" y="125095"/>
                    </a:cubicBezTo>
                    <a:cubicBezTo>
                      <a:pt x="498792" y="129540"/>
                      <a:pt x="502285" y="132715"/>
                      <a:pt x="506730" y="134302"/>
                    </a:cubicBezTo>
                    <a:cubicBezTo>
                      <a:pt x="511175" y="136207"/>
                      <a:pt x="515938" y="136843"/>
                      <a:pt x="521017" y="136843"/>
                    </a:cubicBezTo>
                    <a:cubicBezTo>
                      <a:pt x="524510" y="136843"/>
                      <a:pt x="528002" y="136525"/>
                      <a:pt x="531177" y="135890"/>
                    </a:cubicBezTo>
                    <a:cubicBezTo>
                      <a:pt x="534352" y="135255"/>
                      <a:pt x="537210" y="134302"/>
                      <a:pt x="539432" y="133350"/>
                    </a:cubicBezTo>
                    <a:lnTo>
                      <a:pt x="539432" y="119063"/>
                    </a:lnTo>
                    <a:cubicBezTo>
                      <a:pt x="535305" y="120650"/>
                      <a:pt x="530225" y="121285"/>
                      <a:pt x="525145" y="121285"/>
                    </a:cubicBezTo>
                    <a:cubicBezTo>
                      <a:pt x="521017" y="121602"/>
                      <a:pt x="517525" y="120332"/>
                      <a:pt x="514985" y="117793"/>
                    </a:cubicBezTo>
                    <a:moveTo>
                      <a:pt x="442913" y="59055"/>
                    </a:moveTo>
                    <a:cubicBezTo>
                      <a:pt x="446405" y="63818"/>
                      <a:pt x="448310" y="69850"/>
                      <a:pt x="448310" y="77152"/>
                    </a:cubicBezTo>
                    <a:lnTo>
                      <a:pt x="403225" y="77152"/>
                    </a:lnTo>
                    <a:cubicBezTo>
                      <a:pt x="403860" y="69215"/>
                      <a:pt x="406400" y="62865"/>
                      <a:pt x="410527" y="58420"/>
                    </a:cubicBezTo>
                    <a:cubicBezTo>
                      <a:pt x="414655" y="53975"/>
                      <a:pt x="420052" y="51752"/>
                      <a:pt x="426720" y="51752"/>
                    </a:cubicBezTo>
                    <a:cubicBezTo>
                      <a:pt x="434022" y="52070"/>
                      <a:pt x="439420" y="54293"/>
                      <a:pt x="442913" y="59055"/>
                    </a:cubicBezTo>
                    <a:moveTo>
                      <a:pt x="403860" y="43180"/>
                    </a:moveTo>
                    <a:cubicBezTo>
                      <a:pt x="397510" y="47307"/>
                      <a:pt x="392430" y="53022"/>
                      <a:pt x="388620" y="60325"/>
                    </a:cubicBezTo>
                    <a:cubicBezTo>
                      <a:pt x="385127" y="67945"/>
                      <a:pt x="383222" y="76835"/>
                      <a:pt x="383222" y="87630"/>
                    </a:cubicBezTo>
                    <a:cubicBezTo>
                      <a:pt x="383222" y="98425"/>
                      <a:pt x="385127" y="107315"/>
                      <a:pt x="389255" y="114618"/>
                    </a:cubicBezTo>
                    <a:cubicBezTo>
                      <a:pt x="393382" y="121920"/>
                      <a:pt x="398780" y="127318"/>
                      <a:pt x="405765" y="131127"/>
                    </a:cubicBezTo>
                    <a:cubicBezTo>
                      <a:pt x="412750" y="134938"/>
                      <a:pt x="421005" y="136525"/>
                      <a:pt x="430213" y="136525"/>
                    </a:cubicBezTo>
                    <a:cubicBezTo>
                      <a:pt x="436880" y="136525"/>
                      <a:pt x="442913" y="135890"/>
                      <a:pt x="447675" y="134938"/>
                    </a:cubicBezTo>
                    <a:cubicBezTo>
                      <a:pt x="452438" y="133985"/>
                      <a:pt x="457517" y="132397"/>
                      <a:pt x="462280" y="130175"/>
                    </a:cubicBezTo>
                    <a:lnTo>
                      <a:pt x="462280" y="114618"/>
                    </a:lnTo>
                    <a:cubicBezTo>
                      <a:pt x="457200" y="116840"/>
                      <a:pt x="452120" y="118427"/>
                      <a:pt x="447357" y="119697"/>
                    </a:cubicBezTo>
                    <a:cubicBezTo>
                      <a:pt x="442595" y="120968"/>
                      <a:pt x="437197" y="121285"/>
                      <a:pt x="430847" y="121285"/>
                    </a:cubicBezTo>
                    <a:cubicBezTo>
                      <a:pt x="421957" y="121285"/>
                      <a:pt x="414972" y="118745"/>
                      <a:pt x="410210" y="113347"/>
                    </a:cubicBezTo>
                    <a:cubicBezTo>
                      <a:pt x="405447" y="108268"/>
                      <a:pt x="402590" y="100647"/>
                      <a:pt x="402590" y="90805"/>
                    </a:cubicBezTo>
                    <a:lnTo>
                      <a:pt x="467042" y="90805"/>
                    </a:lnTo>
                    <a:lnTo>
                      <a:pt x="467042" y="80645"/>
                    </a:lnTo>
                    <a:cubicBezTo>
                      <a:pt x="467042" y="67310"/>
                      <a:pt x="463550" y="56515"/>
                      <a:pt x="456247" y="48895"/>
                    </a:cubicBezTo>
                    <a:cubicBezTo>
                      <a:pt x="448945" y="41275"/>
                      <a:pt x="439102" y="37147"/>
                      <a:pt x="426402" y="37147"/>
                    </a:cubicBezTo>
                    <a:cubicBezTo>
                      <a:pt x="417830" y="37465"/>
                      <a:pt x="410527" y="39370"/>
                      <a:pt x="403860" y="43180"/>
                    </a:cubicBezTo>
                    <a:moveTo>
                      <a:pt x="345440" y="86677"/>
                    </a:moveTo>
                    <a:cubicBezTo>
                      <a:pt x="345440" y="97790"/>
                      <a:pt x="343535" y="106363"/>
                      <a:pt x="339725" y="112395"/>
                    </a:cubicBezTo>
                    <a:cubicBezTo>
                      <a:pt x="335915" y="118427"/>
                      <a:pt x="330200" y="121285"/>
                      <a:pt x="322263" y="121285"/>
                    </a:cubicBezTo>
                    <a:cubicBezTo>
                      <a:pt x="312738" y="121285"/>
                      <a:pt x="306070" y="118427"/>
                      <a:pt x="302577" y="112395"/>
                    </a:cubicBezTo>
                    <a:cubicBezTo>
                      <a:pt x="299085" y="106680"/>
                      <a:pt x="297180" y="98107"/>
                      <a:pt x="297180" y="86995"/>
                    </a:cubicBezTo>
                    <a:lnTo>
                      <a:pt x="297180" y="85725"/>
                    </a:lnTo>
                    <a:cubicBezTo>
                      <a:pt x="297180" y="74613"/>
                      <a:pt x="299085" y="66357"/>
                      <a:pt x="302577" y="60960"/>
                    </a:cubicBezTo>
                    <a:cubicBezTo>
                      <a:pt x="306070" y="55563"/>
                      <a:pt x="312420" y="53022"/>
                      <a:pt x="321627" y="53022"/>
                    </a:cubicBezTo>
                    <a:cubicBezTo>
                      <a:pt x="337820" y="52705"/>
                      <a:pt x="345440" y="64135"/>
                      <a:pt x="345440" y="86677"/>
                    </a:cubicBezTo>
                    <a:moveTo>
                      <a:pt x="278765" y="0"/>
                    </a:moveTo>
                    <a:lnTo>
                      <a:pt x="278765" y="135255"/>
                    </a:lnTo>
                    <a:lnTo>
                      <a:pt x="292735" y="135255"/>
                    </a:lnTo>
                    <a:lnTo>
                      <a:pt x="296227" y="123507"/>
                    </a:lnTo>
                    <a:lnTo>
                      <a:pt x="297497" y="123507"/>
                    </a:lnTo>
                    <a:cubicBezTo>
                      <a:pt x="300355" y="127318"/>
                      <a:pt x="303847" y="130493"/>
                      <a:pt x="308292" y="133032"/>
                    </a:cubicBezTo>
                    <a:cubicBezTo>
                      <a:pt x="312738" y="135572"/>
                      <a:pt x="318770" y="137160"/>
                      <a:pt x="326072" y="137160"/>
                    </a:cubicBezTo>
                    <a:cubicBezTo>
                      <a:pt x="337502" y="137160"/>
                      <a:pt x="347027" y="133032"/>
                      <a:pt x="354013" y="124777"/>
                    </a:cubicBezTo>
                    <a:cubicBezTo>
                      <a:pt x="360997" y="116522"/>
                      <a:pt x="364807" y="104140"/>
                      <a:pt x="364807" y="87630"/>
                    </a:cubicBezTo>
                    <a:cubicBezTo>
                      <a:pt x="364807" y="71120"/>
                      <a:pt x="361315" y="59055"/>
                      <a:pt x="354330" y="50800"/>
                    </a:cubicBezTo>
                    <a:cubicBezTo>
                      <a:pt x="347345" y="42545"/>
                      <a:pt x="338138" y="38418"/>
                      <a:pt x="326390" y="38418"/>
                    </a:cubicBezTo>
                    <a:cubicBezTo>
                      <a:pt x="319088" y="38418"/>
                      <a:pt x="313055" y="39688"/>
                      <a:pt x="308292" y="42545"/>
                    </a:cubicBezTo>
                    <a:cubicBezTo>
                      <a:pt x="303530" y="45402"/>
                      <a:pt x="300038" y="48577"/>
                      <a:pt x="297180" y="52705"/>
                    </a:cubicBezTo>
                    <a:lnTo>
                      <a:pt x="296227" y="52705"/>
                    </a:lnTo>
                    <a:cubicBezTo>
                      <a:pt x="296545" y="50800"/>
                      <a:pt x="296545" y="47943"/>
                      <a:pt x="296863" y="44450"/>
                    </a:cubicBezTo>
                    <a:cubicBezTo>
                      <a:pt x="297180" y="40957"/>
                      <a:pt x="297180" y="37147"/>
                      <a:pt x="297180" y="33338"/>
                    </a:cubicBezTo>
                    <a:lnTo>
                      <a:pt x="297180" y="952"/>
                    </a:lnTo>
                    <a:lnTo>
                      <a:pt x="278765" y="952"/>
                    </a:lnTo>
                    <a:close/>
                    <a:moveTo>
                      <a:pt x="231140" y="97155"/>
                    </a:moveTo>
                    <a:cubicBezTo>
                      <a:pt x="231140" y="105410"/>
                      <a:pt x="228600" y="111760"/>
                      <a:pt x="223838" y="115888"/>
                    </a:cubicBezTo>
                    <a:cubicBezTo>
                      <a:pt x="218757" y="120015"/>
                      <a:pt x="212725" y="122238"/>
                      <a:pt x="205422" y="122238"/>
                    </a:cubicBezTo>
                    <a:cubicBezTo>
                      <a:pt x="200660" y="122238"/>
                      <a:pt x="196850" y="120968"/>
                      <a:pt x="193992" y="118745"/>
                    </a:cubicBezTo>
                    <a:cubicBezTo>
                      <a:pt x="191135" y="116522"/>
                      <a:pt x="189547" y="113030"/>
                      <a:pt x="189547" y="107950"/>
                    </a:cubicBezTo>
                    <a:cubicBezTo>
                      <a:pt x="189547" y="102235"/>
                      <a:pt x="191770" y="98107"/>
                      <a:pt x="195897" y="94932"/>
                    </a:cubicBezTo>
                    <a:cubicBezTo>
                      <a:pt x="200025" y="91757"/>
                      <a:pt x="207645" y="89852"/>
                      <a:pt x="218440" y="89535"/>
                    </a:cubicBezTo>
                    <a:lnTo>
                      <a:pt x="231140" y="89218"/>
                    </a:lnTo>
                    <a:lnTo>
                      <a:pt x="231140" y="97155"/>
                    </a:lnTo>
                    <a:close/>
                    <a:moveTo>
                      <a:pt x="195263" y="39688"/>
                    </a:moveTo>
                    <a:cubicBezTo>
                      <a:pt x="189547" y="41275"/>
                      <a:pt x="184150" y="43180"/>
                      <a:pt x="179705" y="45720"/>
                    </a:cubicBezTo>
                    <a:lnTo>
                      <a:pt x="185738" y="59372"/>
                    </a:lnTo>
                    <a:cubicBezTo>
                      <a:pt x="189865" y="57468"/>
                      <a:pt x="194310" y="55563"/>
                      <a:pt x="198755" y="54293"/>
                    </a:cubicBezTo>
                    <a:cubicBezTo>
                      <a:pt x="203200" y="53022"/>
                      <a:pt x="207963" y="52070"/>
                      <a:pt x="212725" y="52070"/>
                    </a:cubicBezTo>
                    <a:cubicBezTo>
                      <a:pt x="218440" y="52070"/>
                      <a:pt x="222885" y="53657"/>
                      <a:pt x="226377" y="56515"/>
                    </a:cubicBezTo>
                    <a:cubicBezTo>
                      <a:pt x="229552" y="59372"/>
                      <a:pt x="231140" y="64452"/>
                      <a:pt x="231140" y="71438"/>
                    </a:cubicBezTo>
                    <a:lnTo>
                      <a:pt x="231140" y="76835"/>
                    </a:lnTo>
                    <a:lnTo>
                      <a:pt x="214630" y="77470"/>
                    </a:lnTo>
                    <a:cubicBezTo>
                      <a:pt x="199390" y="77788"/>
                      <a:pt x="188277" y="80645"/>
                      <a:pt x="180657" y="85725"/>
                    </a:cubicBezTo>
                    <a:cubicBezTo>
                      <a:pt x="173355" y="90805"/>
                      <a:pt x="169545" y="98107"/>
                      <a:pt x="169545" y="107950"/>
                    </a:cubicBezTo>
                    <a:cubicBezTo>
                      <a:pt x="169545" y="117793"/>
                      <a:pt x="172402" y="125095"/>
                      <a:pt x="178117" y="129857"/>
                    </a:cubicBezTo>
                    <a:cubicBezTo>
                      <a:pt x="183832" y="134620"/>
                      <a:pt x="190817" y="136843"/>
                      <a:pt x="199707" y="136843"/>
                    </a:cubicBezTo>
                    <a:cubicBezTo>
                      <a:pt x="207645" y="136843"/>
                      <a:pt x="213995" y="135572"/>
                      <a:pt x="218757" y="133350"/>
                    </a:cubicBezTo>
                    <a:cubicBezTo>
                      <a:pt x="223202" y="130810"/>
                      <a:pt x="227647" y="127000"/>
                      <a:pt x="231775" y="121920"/>
                    </a:cubicBezTo>
                    <a:lnTo>
                      <a:pt x="232410" y="121920"/>
                    </a:lnTo>
                    <a:lnTo>
                      <a:pt x="236220" y="135255"/>
                    </a:lnTo>
                    <a:lnTo>
                      <a:pt x="249555" y="135255"/>
                    </a:lnTo>
                    <a:lnTo>
                      <a:pt x="249555" y="70485"/>
                    </a:lnTo>
                    <a:cubicBezTo>
                      <a:pt x="249555" y="59372"/>
                      <a:pt x="246697" y="50800"/>
                      <a:pt x="240665" y="45720"/>
                    </a:cubicBezTo>
                    <a:cubicBezTo>
                      <a:pt x="234632" y="40322"/>
                      <a:pt x="225742" y="37782"/>
                      <a:pt x="213677" y="37782"/>
                    </a:cubicBezTo>
                    <a:cubicBezTo>
                      <a:pt x="207327" y="37465"/>
                      <a:pt x="201295" y="38100"/>
                      <a:pt x="195263" y="39688"/>
                    </a:cubicBezTo>
                    <a:moveTo>
                      <a:pt x="128270" y="134938"/>
                    </a:moveTo>
                    <a:lnTo>
                      <a:pt x="147002" y="134938"/>
                    </a:lnTo>
                    <a:lnTo>
                      <a:pt x="147002" y="39052"/>
                    </a:lnTo>
                    <a:lnTo>
                      <a:pt x="128270" y="39052"/>
                    </a:lnTo>
                    <a:lnTo>
                      <a:pt x="128270" y="134938"/>
                    </a:lnTo>
                    <a:close/>
                    <a:moveTo>
                      <a:pt x="130175" y="5080"/>
                    </a:moveTo>
                    <a:cubicBezTo>
                      <a:pt x="127952" y="6668"/>
                      <a:pt x="127000" y="9525"/>
                      <a:pt x="127000" y="13335"/>
                    </a:cubicBezTo>
                    <a:cubicBezTo>
                      <a:pt x="127000" y="17145"/>
                      <a:pt x="127952" y="20002"/>
                      <a:pt x="130175" y="21590"/>
                    </a:cubicBezTo>
                    <a:cubicBezTo>
                      <a:pt x="132397" y="23177"/>
                      <a:pt x="134938" y="24130"/>
                      <a:pt x="137795" y="24130"/>
                    </a:cubicBezTo>
                    <a:cubicBezTo>
                      <a:pt x="140652" y="24130"/>
                      <a:pt x="143192" y="23177"/>
                      <a:pt x="145415" y="21590"/>
                    </a:cubicBezTo>
                    <a:cubicBezTo>
                      <a:pt x="147638" y="20002"/>
                      <a:pt x="148590" y="17145"/>
                      <a:pt x="148590" y="13335"/>
                    </a:cubicBezTo>
                    <a:cubicBezTo>
                      <a:pt x="148590" y="9525"/>
                      <a:pt x="147638" y="6668"/>
                      <a:pt x="145415" y="5080"/>
                    </a:cubicBezTo>
                    <a:cubicBezTo>
                      <a:pt x="143192" y="3493"/>
                      <a:pt x="140652" y="2540"/>
                      <a:pt x="137795" y="2540"/>
                    </a:cubicBezTo>
                    <a:cubicBezTo>
                      <a:pt x="134938" y="2540"/>
                      <a:pt x="132397" y="3493"/>
                      <a:pt x="130175" y="5080"/>
                    </a:cubicBezTo>
                    <a:moveTo>
                      <a:pt x="34607" y="118745"/>
                    </a:moveTo>
                    <a:lnTo>
                      <a:pt x="19050" y="118745"/>
                    </a:lnTo>
                    <a:lnTo>
                      <a:pt x="19050" y="24130"/>
                    </a:lnTo>
                    <a:lnTo>
                      <a:pt x="37782" y="24130"/>
                    </a:lnTo>
                    <a:cubicBezTo>
                      <a:pt x="52070" y="24130"/>
                      <a:pt x="63182" y="27940"/>
                      <a:pt x="70802" y="35560"/>
                    </a:cubicBezTo>
                    <a:cubicBezTo>
                      <a:pt x="78422" y="43180"/>
                      <a:pt x="82232" y="54927"/>
                      <a:pt x="82232" y="70802"/>
                    </a:cubicBezTo>
                    <a:cubicBezTo>
                      <a:pt x="82867" y="102870"/>
                      <a:pt x="66675" y="118745"/>
                      <a:pt x="34607" y="118745"/>
                    </a:cubicBezTo>
                    <a:moveTo>
                      <a:pt x="94932" y="36195"/>
                    </a:moveTo>
                    <a:cubicBezTo>
                      <a:pt x="89852" y="26988"/>
                      <a:pt x="82232" y="20002"/>
                      <a:pt x="73025" y="15240"/>
                    </a:cubicBezTo>
                    <a:cubicBezTo>
                      <a:pt x="63500" y="10477"/>
                      <a:pt x="52388" y="8255"/>
                      <a:pt x="39370" y="8255"/>
                    </a:cubicBezTo>
                    <a:lnTo>
                      <a:pt x="0" y="8255"/>
                    </a:lnTo>
                    <a:lnTo>
                      <a:pt x="0" y="135255"/>
                    </a:lnTo>
                    <a:lnTo>
                      <a:pt x="35560" y="135255"/>
                    </a:lnTo>
                    <a:cubicBezTo>
                      <a:pt x="56832" y="135255"/>
                      <a:pt x="73342" y="129857"/>
                      <a:pt x="85090" y="119063"/>
                    </a:cubicBezTo>
                    <a:cubicBezTo>
                      <a:pt x="96838" y="108268"/>
                      <a:pt x="102870" y="92075"/>
                      <a:pt x="102870" y="70485"/>
                    </a:cubicBezTo>
                    <a:cubicBezTo>
                      <a:pt x="102870" y="56832"/>
                      <a:pt x="100330" y="45402"/>
                      <a:pt x="94932" y="36195"/>
                    </a:cubicBezTo>
                  </a:path>
                </a:pathLst>
              </a:custGeom>
              <a:grpFill/>
              <a:ln w="3175" cap="flat">
                <a:noFill/>
                <a:prstDash val="solid"/>
                <a:miter/>
              </a:ln>
            </p:spPr>
            <p:txBody>
              <a:bodyPr rtlCol="0" anchor="ctr"/>
              <a:lstStyle/>
              <a:p>
                <a:endParaRPr lang="en-GB" dirty="0">
                  <a:solidFill>
                    <a:srgbClr val="000000"/>
                  </a:solidFill>
                  <a:latin typeface="Verdana"/>
                </a:endParaRPr>
              </a:p>
            </p:txBody>
          </p:sp>
          <p:sp>
            <p:nvSpPr>
              <p:cNvPr id="50" name="Freeform: Shape 49">
                <a:extLst>
                  <a:ext uri="{FF2B5EF4-FFF2-40B4-BE49-F238E27FC236}">
                    <a16:creationId xmlns:a16="http://schemas.microsoft.com/office/drawing/2014/main" id="{D7123642-83C5-4C60-A5B0-645EB49F233E}"/>
                  </a:ext>
                </a:extLst>
              </p:cNvPr>
              <p:cNvSpPr/>
              <p:nvPr/>
            </p:nvSpPr>
            <p:spPr>
              <a:xfrm>
                <a:off x="2581592" y="2046288"/>
                <a:ext cx="469900" cy="66675"/>
              </a:xfrm>
              <a:custGeom>
                <a:avLst/>
                <a:gdLst>
                  <a:gd name="connsiteX0" fmla="*/ 468630 w 469900"/>
                  <a:gd name="connsiteY0" fmla="*/ 44450 h 66675"/>
                  <a:gd name="connsiteX1" fmla="*/ 463233 w 469900"/>
                  <a:gd name="connsiteY1" fmla="*/ 39370 h 66675"/>
                  <a:gd name="connsiteX2" fmla="*/ 454660 w 469900"/>
                  <a:gd name="connsiteY2" fmla="*/ 35242 h 66675"/>
                  <a:gd name="connsiteX3" fmla="*/ 446723 w 469900"/>
                  <a:gd name="connsiteY3" fmla="*/ 31750 h 66675"/>
                  <a:gd name="connsiteX4" fmla="*/ 442595 w 469900"/>
                  <a:gd name="connsiteY4" fmla="*/ 28892 h 66675"/>
                  <a:gd name="connsiteX5" fmla="*/ 441325 w 469900"/>
                  <a:gd name="connsiteY5" fmla="*/ 25400 h 66675"/>
                  <a:gd name="connsiteX6" fmla="*/ 451168 w 469900"/>
                  <a:gd name="connsiteY6" fmla="*/ 19685 h 66675"/>
                  <a:gd name="connsiteX7" fmla="*/ 458788 w 469900"/>
                  <a:gd name="connsiteY7" fmla="*/ 20638 h 66675"/>
                  <a:gd name="connsiteX8" fmla="*/ 466090 w 469900"/>
                  <a:gd name="connsiteY8" fmla="*/ 23177 h 66675"/>
                  <a:gd name="connsiteX9" fmla="*/ 469583 w 469900"/>
                  <a:gd name="connsiteY9" fmla="*/ 14923 h 66675"/>
                  <a:gd name="connsiteX10" fmla="*/ 461010 w 469900"/>
                  <a:gd name="connsiteY10" fmla="*/ 12065 h 66675"/>
                  <a:gd name="connsiteX11" fmla="*/ 451485 w 469900"/>
                  <a:gd name="connsiteY11" fmla="*/ 11113 h 66675"/>
                  <a:gd name="connsiteX12" fmla="*/ 436245 w 469900"/>
                  <a:gd name="connsiteY12" fmla="*/ 14923 h 66675"/>
                  <a:gd name="connsiteX13" fmla="*/ 430530 w 469900"/>
                  <a:gd name="connsiteY13" fmla="*/ 25717 h 66675"/>
                  <a:gd name="connsiteX14" fmla="*/ 432435 w 469900"/>
                  <a:gd name="connsiteY14" fmla="*/ 33020 h 66675"/>
                  <a:gd name="connsiteX15" fmla="*/ 437833 w 469900"/>
                  <a:gd name="connsiteY15" fmla="*/ 38100 h 66675"/>
                  <a:gd name="connsiteX16" fmla="*/ 446723 w 469900"/>
                  <a:gd name="connsiteY16" fmla="*/ 42227 h 66675"/>
                  <a:gd name="connsiteX17" fmla="*/ 454978 w 469900"/>
                  <a:gd name="connsiteY17" fmla="*/ 45720 h 66675"/>
                  <a:gd name="connsiteX18" fmla="*/ 458788 w 469900"/>
                  <a:gd name="connsiteY18" fmla="*/ 48895 h 66675"/>
                  <a:gd name="connsiteX19" fmla="*/ 459740 w 469900"/>
                  <a:gd name="connsiteY19" fmla="*/ 52070 h 66675"/>
                  <a:gd name="connsiteX20" fmla="*/ 457200 w 469900"/>
                  <a:gd name="connsiteY20" fmla="*/ 57150 h 66675"/>
                  <a:gd name="connsiteX21" fmla="*/ 448310 w 469900"/>
                  <a:gd name="connsiteY21" fmla="*/ 59055 h 66675"/>
                  <a:gd name="connsiteX22" fmla="*/ 438785 w 469900"/>
                  <a:gd name="connsiteY22" fmla="*/ 57785 h 66675"/>
                  <a:gd name="connsiteX23" fmla="*/ 430530 w 469900"/>
                  <a:gd name="connsiteY23" fmla="*/ 54610 h 66675"/>
                  <a:gd name="connsiteX24" fmla="*/ 430530 w 469900"/>
                  <a:gd name="connsiteY24" fmla="*/ 64135 h 66675"/>
                  <a:gd name="connsiteX25" fmla="*/ 438150 w 469900"/>
                  <a:gd name="connsiteY25" fmla="*/ 66675 h 66675"/>
                  <a:gd name="connsiteX26" fmla="*/ 447993 w 469900"/>
                  <a:gd name="connsiteY26" fmla="*/ 67627 h 66675"/>
                  <a:gd name="connsiteX27" fmla="*/ 464503 w 469900"/>
                  <a:gd name="connsiteY27" fmla="*/ 63500 h 66675"/>
                  <a:gd name="connsiteX28" fmla="*/ 470218 w 469900"/>
                  <a:gd name="connsiteY28" fmla="*/ 51117 h 66675"/>
                  <a:gd name="connsiteX29" fmla="*/ 468630 w 469900"/>
                  <a:gd name="connsiteY29" fmla="*/ 44450 h 66675"/>
                  <a:gd name="connsiteX30" fmla="*/ 407035 w 469900"/>
                  <a:gd name="connsiteY30" fmla="*/ 23813 h 66675"/>
                  <a:gd name="connsiteX31" fmla="*/ 410210 w 469900"/>
                  <a:gd name="connsiteY31" fmla="*/ 34290 h 66675"/>
                  <a:gd name="connsiteX32" fmla="*/ 384493 w 469900"/>
                  <a:gd name="connsiteY32" fmla="*/ 34290 h 66675"/>
                  <a:gd name="connsiteX33" fmla="*/ 388620 w 469900"/>
                  <a:gd name="connsiteY33" fmla="*/ 23495 h 66675"/>
                  <a:gd name="connsiteX34" fmla="*/ 397828 w 469900"/>
                  <a:gd name="connsiteY34" fmla="*/ 19685 h 66675"/>
                  <a:gd name="connsiteX35" fmla="*/ 407035 w 469900"/>
                  <a:gd name="connsiteY35" fmla="*/ 23813 h 66675"/>
                  <a:gd name="connsiteX36" fmla="*/ 384810 w 469900"/>
                  <a:gd name="connsiteY36" fmla="*/ 14923 h 66675"/>
                  <a:gd name="connsiteX37" fmla="*/ 376238 w 469900"/>
                  <a:gd name="connsiteY37" fmla="*/ 24765 h 66675"/>
                  <a:gd name="connsiteX38" fmla="*/ 373063 w 469900"/>
                  <a:gd name="connsiteY38" fmla="*/ 40323 h 66675"/>
                  <a:gd name="connsiteX39" fmla="*/ 376555 w 469900"/>
                  <a:gd name="connsiteY39" fmla="*/ 55880 h 66675"/>
                  <a:gd name="connsiteX40" fmla="*/ 386080 w 469900"/>
                  <a:gd name="connsiteY40" fmla="*/ 65088 h 66675"/>
                  <a:gd name="connsiteX41" fmla="*/ 400050 w 469900"/>
                  <a:gd name="connsiteY41" fmla="*/ 68263 h 66675"/>
                  <a:gd name="connsiteX42" fmla="*/ 409893 w 469900"/>
                  <a:gd name="connsiteY42" fmla="*/ 67310 h 66675"/>
                  <a:gd name="connsiteX43" fmla="*/ 418148 w 469900"/>
                  <a:gd name="connsiteY43" fmla="*/ 64452 h 66675"/>
                  <a:gd name="connsiteX44" fmla="*/ 418148 w 469900"/>
                  <a:gd name="connsiteY44" fmla="*/ 55563 h 66675"/>
                  <a:gd name="connsiteX45" fmla="*/ 409575 w 469900"/>
                  <a:gd name="connsiteY45" fmla="*/ 58420 h 66675"/>
                  <a:gd name="connsiteX46" fmla="*/ 400050 w 469900"/>
                  <a:gd name="connsiteY46" fmla="*/ 59373 h 66675"/>
                  <a:gd name="connsiteX47" fmla="*/ 388303 w 469900"/>
                  <a:gd name="connsiteY47" fmla="*/ 54927 h 66675"/>
                  <a:gd name="connsiteX48" fmla="*/ 383858 w 469900"/>
                  <a:gd name="connsiteY48" fmla="*/ 41910 h 66675"/>
                  <a:gd name="connsiteX49" fmla="*/ 420688 w 469900"/>
                  <a:gd name="connsiteY49" fmla="*/ 41910 h 66675"/>
                  <a:gd name="connsiteX50" fmla="*/ 420688 w 469900"/>
                  <a:gd name="connsiteY50" fmla="*/ 36513 h 66675"/>
                  <a:gd name="connsiteX51" fmla="*/ 414338 w 469900"/>
                  <a:gd name="connsiteY51" fmla="*/ 18415 h 66675"/>
                  <a:gd name="connsiteX52" fmla="*/ 397510 w 469900"/>
                  <a:gd name="connsiteY52" fmla="*/ 11748 h 66675"/>
                  <a:gd name="connsiteX53" fmla="*/ 384810 w 469900"/>
                  <a:gd name="connsiteY53" fmla="*/ 14923 h 66675"/>
                  <a:gd name="connsiteX54" fmla="*/ 331153 w 469900"/>
                  <a:gd name="connsiteY54" fmla="*/ 13652 h 66675"/>
                  <a:gd name="connsiteX55" fmla="*/ 323850 w 469900"/>
                  <a:gd name="connsiteY55" fmla="*/ 20320 h 66675"/>
                  <a:gd name="connsiteX56" fmla="*/ 322898 w 469900"/>
                  <a:gd name="connsiteY56" fmla="*/ 20320 h 66675"/>
                  <a:gd name="connsiteX57" fmla="*/ 306388 w 469900"/>
                  <a:gd name="connsiteY57" fmla="*/ 11430 h 66675"/>
                  <a:gd name="connsiteX58" fmla="*/ 297180 w 469900"/>
                  <a:gd name="connsiteY58" fmla="*/ 13335 h 66675"/>
                  <a:gd name="connsiteX59" fmla="*/ 290195 w 469900"/>
                  <a:gd name="connsiteY59" fmla="*/ 19685 h 66675"/>
                  <a:gd name="connsiteX60" fmla="*/ 289560 w 469900"/>
                  <a:gd name="connsiteY60" fmla="*/ 19685 h 66675"/>
                  <a:gd name="connsiteX61" fmla="*/ 287973 w 469900"/>
                  <a:gd name="connsiteY61" fmla="*/ 12383 h 66675"/>
                  <a:gd name="connsiteX62" fmla="*/ 279400 w 469900"/>
                  <a:gd name="connsiteY62" fmla="*/ 12383 h 66675"/>
                  <a:gd name="connsiteX63" fmla="*/ 279400 w 469900"/>
                  <a:gd name="connsiteY63" fmla="*/ 66992 h 66675"/>
                  <a:gd name="connsiteX64" fmla="*/ 290195 w 469900"/>
                  <a:gd name="connsiteY64" fmla="*/ 66992 h 66675"/>
                  <a:gd name="connsiteX65" fmla="*/ 290195 w 469900"/>
                  <a:gd name="connsiteY65" fmla="*/ 39688 h 66675"/>
                  <a:gd name="connsiteX66" fmla="*/ 293053 w 469900"/>
                  <a:gd name="connsiteY66" fmla="*/ 25400 h 66675"/>
                  <a:gd name="connsiteX67" fmla="*/ 303530 w 469900"/>
                  <a:gd name="connsiteY67" fmla="*/ 20320 h 66675"/>
                  <a:gd name="connsiteX68" fmla="*/ 314008 w 469900"/>
                  <a:gd name="connsiteY68" fmla="*/ 33020 h 66675"/>
                  <a:gd name="connsiteX69" fmla="*/ 314008 w 469900"/>
                  <a:gd name="connsiteY69" fmla="*/ 67310 h 66675"/>
                  <a:gd name="connsiteX70" fmla="*/ 324803 w 469900"/>
                  <a:gd name="connsiteY70" fmla="*/ 67310 h 66675"/>
                  <a:gd name="connsiteX71" fmla="*/ 324803 w 469900"/>
                  <a:gd name="connsiteY71" fmla="*/ 37783 h 66675"/>
                  <a:gd name="connsiteX72" fmla="*/ 327978 w 469900"/>
                  <a:gd name="connsiteY72" fmla="*/ 24765 h 66675"/>
                  <a:gd name="connsiteX73" fmla="*/ 338455 w 469900"/>
                  <a:gd name="connsiteY73" fmla="*/ 20320 h 66675"/>
                  <a:gd name="connsiteX74" fmla="*/ 348615 w 469900"/>
                  <a:gd name="connsiteY74" fmla="*/ 33020 h 66675"/>
                  <a:gd name="connsiteX75" fmla="*/ 348615 w 469900"/>
                  <a:gd name="connsiteY75" fmla="*/ 67310 h 66675"/>
                  <a:gd name="connsiteX76" fmla="*/ 359410 w 469900"/>
                  <a:gd name="connsiteY76" fmla="*/ 67310 h 66675"/>
                  <a:gd name="connsiteX77" fmla="*/ 359410 w 469900"/>
                  <a:gd name="connsiteY77" fmla="*/ 31750 h 66675"/>
                  <a:gd name="connsiteX78" fmla="*/ 354648 w 469900"/>
                  <a:gd name="connsiteY78" fmla="*/ 16510 h 66675"/>
                  <a:gd name="connsiteX79" fmla="*/ 340678 w 469900"/>
                  <a:gd name="connsiteY79" fmla="*/ 11748 h 66675"/>
                  <a:gd name="connsiteX80" fmla="*/ 331153 w 469900"/>
                  <a:gd name="connsiteY80" fmla="*/ 13652 h 66675"/>
                  <a:gd name="connsiteX81" fmla="*/ 229235 w 469900"/>
                  <a:gd name="connsiteY81" fmla="*/ 25717 h 66675"/>
                  <a:gd name="connsiteX82" fmla="*/ 240348 w 469900"/>
                  <a:gd name="connsiteY82" fmla="*/ 20638 h 66675"/>
                  <a:gd name="connsiteX83" fmla="*/ 251460 w 469900"/>
                  <a:gd name="connsiteY83" fmla="*/ 25717 h 66675"/>
                  <a:gd name="connsiteX84" fmla="*/ 254953 w 469900"/>
                  <a:gd name="connsiteY84" fmla="*/ 40005 h 66675"/>
                  <a:gd name="connsiteX85" fmla="*/ 251460 w 469900"/>
                  <a:gd name="connsiteY85" fmla="*/ 54292 h 66675"/>
                  <a:gd name="connsiteX86" fmla="*/ 240348 w 469900"/>
                  <a:gd name="connsiteY86" fmla="*/ 59373 h 66675"/>
                  <a:gd name="connsiteX87" fmla="*/ 229235 w 469900"/>
                  <a:gd name="connsiteY87" fmla="*/ 54292 h 66675"/>
                  <a:gd name="connsiteX88" fmla="*/ 225743 w 469900"/>
                  <a:gd name="connsiteY88" fmla="*/ 40005 h 66675"/>
                  <a:gd name="connsiteX89" fmla="*/ 229235 w 469900"/>
                  <a:gd name="connsiteY89" fmla="*/ 25717 h 66675"/>
                  <a:gd name="connsiteX90" fmla="*/ 262890 w 469900"/>
                  <a:gd name="connsiteY90" fmla="*/ 24448 h 66675"/>
                  <a:gd name="connsiteX91" fmla="*/ 254000 w 469900"/>
                  <a:gd name="connsiteY91" fmla="*/ 14923 h 66675"/>
                  <a:gd name="connsiteX92" fmla="*/ 240665 w 469900"/>
                  <a:gd name="connsiteY92" fmla="*/ 11748 h 66675"/>
                  <a:gd name="connsiteX93" fmla="*/ 221615 w 469900"/>
                  <a:gd name="connsiteY93" fmla="*/ 19050 h 66675"/>
                  <a:gd name="connsiteX94" fmla="*/ 214630 w 469900"/>
                  <a:gd name="connsiteY94" fmla="*/ 40005 h 66675"/>
                  <a:gd name="connsiteX95" fmla="*/ 217805 w 469900"/>
                  <a:gd name="connsiteY95" fmla="*/ 55563 h 66675"/>
                  <a:gd name="connsiteX96" fmla="*/ 226695 w 469900"/>
                  <a:gd name="connsiteY96" fmla="*/ 65088 h 66675"/>
                  <a:gd name="connsiteX97" fmla="*/ 239713 w 469900"/>
                  <a:gd name="connsiteY97" fmla="*/ 68263 h 66675"/>
                  <a:gd name="connsiteX98" fmla="*/ 258763 w 469900"/>
                  <a:gd name="connsiteY98" fmla="*/ 60960 h 66675"/>
                  <a:gd name="connsiteX99" fmla="*/ 265748 w 469900"/>
                  <a:gd name="connsiteY99" fmla="*/ 40005 h 66675"/>
                  <a:gd name="connsiteX100" fmla="*/ 262890 w 469900"/>
                  <a:gd name="connsiteY100" fmla="*/ 24448 h 66675"/>
                  <a:gd name="connsiteX101" fmla="*/ 198438 w 469900"/>
                  <a:gd name="connsiteY101" fmla="*/ 67627 h 66675"/>
                  <a:gd name="connsiteX102" fmla="*/ 204788 w 469900"/>
                  <a:gd name="connsiteY102" fmla="*/ 65088 h 66675"/>
                  <a:gd name="connsiteX103" fmla="*/ 204788 w 469900"/>
                  <a:gd name="connsiteY103" fmla="*/ 55563 h 66675"/>
                  <a:gd name="connsiteX104" fmla="*/ 198438 w 469900"/>
                  <a:gd name="connsiteY104" fmla="*/ 58102 h 66675"/>
                  <a:gd name="connsiteX105" fmla="*/ 190500 w 469900"/>
                  <a:gd name="connsiteY105" fmla="*/ 59055 h 66675"/>
                  <a:gd name="connsiteX106" fmla="*/ 179705 w 469900"/>
                  <a:gd name="connsiteY106" fmla="*/ 54292 h 66675"/>
                  <a:gd name="connsiteX107" fmla="*/ 175895 w 469900"/>
                  <a:gd name="connsiteY107" fmla="*/ 40005 h 66675"/>
                  <a:gd name="connsiteX108" fmla="*/ 190818 w 469900"/>
                  <a:gd name="connsiteY108" fmla="*/ 20638 h 66675"/>
                  <a:gd name="connsiteX109" fmla="*/ 196850 w 469900"/>
                  <a:gd name="connsiteY109" fmla="*/ 21590 h 66675"/>
                  <a:gd name="connsiteX110" fmla="*/ 202883 w 469900"/>
                  <a:gd name="connsiteY110" fmla="*/ 23495 h 66675"/>
                  <a:gd name="connsiteX111" fmla="*/ 206058 w 469900"/>
                  <a:gd name="connsiteY111" fmla="*/ 14605 h 66675"/>
                  <a:gd name="connsiteX112" fmla="*/ 199390 w 469900"/>
                  <a:gd name="connsiteY112" fmla="*/ 12383 h 66675"/>
                  <a:gd name="connsiteX113" fmla="*/ 190818 w 469900"/>
                  <a:gd name="connsiteY113" fmla="*/ 11430 h 66675"/>
                  <a:gd name="connsiteX114" fmla="*/ 177483 w 469900"/>
                  <a:gd name="connsiteY114" fmla="*/ 14288 h 66675"/>
                  <a:gd name="connsiteX115" fmla="*/ 168275 w 469900"/>
                  <a:gd name="connsiteY115" fmla="*/ 23495 h 66675"/>
                  <a:gd name="connsiteX116" fmla="*/ 164783 w 469900"/>
                  <a:gd name="connsiteY116" fmla="*/ 40005 h 66675"/>
                  <a:gd name="connsiteX117" fmla="*/ 171768 w 469900"/>
                  <a:gd name="connsiteY117" fmla="*/ 61277 h 66675"/>
                  <a:gd name="connsiteX118" fmla="*/ 190183 w 469900"/>
                  <a:gd name="connsiteY118" fmla="*/ 67945 h 66675"/>
                  <a:gd name="connsiteX119" fmla="*/ 198438 w 469900"/>
                  <a:gd name="connsiteY119" fmla="*/ 67627 h 66675"/>
                  <a:gd name="connsiteX120" fmla="*/ 143193 w 469900"/>
                  <a:gd name="connsiteY120" fmla="*/ 57467 h 66675"/>
                  <a:gd name="connsiteX121" fmla="*/ 140970 w 469900"/>
                  <a:gd name="connsiteY121" fmla="*/ 50800 h 66675"/>
                  <a:gd name="connsiteX122" fmla="*/ 140970 w 469900"/>
                  <a:gd name="connsiteY122" fmla="*/ 20638 h 66675"/>
                  <a:gd name="connsiteX123" fmla="*/ 156528 w 469900"/>
                  <a:gd name="connsiteY123" fmla="*/ 20638 h 66675"/>
                  <a:gd name="connsiteX124" fmla="*/ 156528 w 469900"/>
                  <a:gd name="connsiteY124" fmla="*/ 12383 h 66675"/>
                  <a:gd name="connsiteX125" fmla="*/ 140970 w 469900"/>
                  <a:gd name="connsiteY125" fmla="*/ 12383 h 66675"/>
                  <a:gd name="connsiteX126" fmla="*/ 140970 w 469900"/>
                  <a:gd name="connsiteY126" fmla="*/ 0 h 66675"/>
                  <a:gd name="connsiteX127" fmla="*/ 134303 w 469900"/>
                  <a:gd name="connsiteY127" fmla="*/ 0 h 66675"/>
                  <a:gd name="connsiteX128" fmla="*/ 130493 w 469900"/>
                  <a:gd name="connsiteY128" fmla="*/ 11430 h 66675"/>
                  <a:gd name="connsiteX129" fmla="*/ 122555 w 469900"/>
                  <a:gd name="connsiteY129" fmla="*/ 15558 h 66675"/>
                  <a:gd name="connsiteX130" fmla="*/ 122555 w 469900"/>
                  <a:gd name="connsiteY130" fmla="*/ 20320 h 66675"/>
                  <a:gd name="connsiteX131" fmla="*/ 130175 w 469900"/>
                  <a:gd name="connsiteY131" fmla="*/ 20320 h 66675"/>
                  <a:gd name="connsiteX132" fmla="*/ 130175 w 469900"/>
                  <a:gd name="connsiteY132" fmla="*/ 50483 h 66675"/>
                  <a:gd name="connsiteX133" fmla="*/ 132398 w 469900"/>
                  <a:gd name="connsiteY133" fmla="*/ 60960 h 66675"/>
                  <a:gd name="connsiteX134" fmla="*/ 138430 w 469900"/>
                  <a:gd name="connsiteY134" fmla="*/ 66358 h 66675"/>
                  <a:gd name="connsiteX135" fmla="*/ 146685 w 469900"/>
                  <a:gd name="connsiteY135" fmla="*/ 67945 h 66675"/>
                  <a:gd name="connsiteX136" fmla="*/ 152718 w 469900"/>
                  <a:gd name="connsiteY136" fmla="*/ 67310 h 66675"/>
                  <a:gd name="connsiteX137" fmla="*/ 157480 w 469900"/>
                  <a:gd name="connsiteY137" fmla="*/ 66040 h 66675"/>
                  <a:gd name="connsiteX138" fmla="*/ 157480 w 469900"/>
                  <a:gd name="connsiteY138" fmla="*/ 57785 h 66675"/>
                  <a:gd name="connsiteX139" fmla="*/ 149225 w 469900"/>
                  <a:gd name="connsiteY139" fmla="*/ 59055 h 66675"/>
                  <a:gd name="connsiteX140" fmla="*/ 143193 w 469900"/>
                  <a:gd name="connsiteY140" fmla="*/ 57467 h 66675"/>
                  <a:gd name="connsiteX141" fmla="*/ 101600 w 469900"/>
                  <a:gd name="connsiteY141" fmla="*/ 12700 h 66675"/>
                  <a:gd name="connsiteX142" fmla="*/ 101600 w 469900"/>
                  <a:gd name="connsiteY142" fmla="*/ 40323 h 66675"/>
                  <a:gd name="connsiteX143" fmla="*/ 98425 w 469900"/>
                  <a:gd name="connsiteY143" fmla="*/ 54610 h 66675"/>
                  <a:gd name="connsiteX144" fmla="*/ 86678 w 469900"/>
                  <a:gd name="connsiteY144" fmla="*/ 59690 h 66675"/>
                  <a:gd name="connsiteX145" fmla="*/ 78423 w 469900"/>
                  <a:gd name="connsiteY145" fmla="*/ 56515 h 66675"/>
                  <a:gd name="connsiteX146" fmla="*/ 75883 w 469900"/>
                  <a:gd name="connsiteY146" fmla="*/ 46990 h 66675"/>
                  <a:gd name="connsiteX147" fmla="*/ 75883 w 469900"/>
                  <a:gd name="connsiteY147" fmla="*/ 12700 h 66675"/>
                  <a:gd name="connsiteX148" fmla="*/ 65088 w 469900"/>
                  <a:gd name="connsiteY148" fmla="*/ 12700 h 66675"/>
                  <a:gd name="connsiteX149" fmla="*/ 65088 w 469900"/>
                  <a:gd name="connsiteY149" fmla="*/ 48577 h 66675"/>
                  <a:gd name="connsiteX150" fmla="*/ 70168 w 469900"/>
                  <a:gd name="connsiteY150" fmla="*/ 63817 h 66675"/>
                  <a:gd name="connsiteX151" fmla="*/ 84773 w 469900"/>
                  <a:gd name="connsiteY151" fmla="*/ 68580 h 66675"/>
                  <a:gd name="connsiteX152" fmla="*/ 94615 w 469900"/>
                  <a:gd name="connsiteY152" fmla="*/ 66675 h 66675"/>
                  <a:gd name="connsiteX153" fmla="*/ 101918 w 469900"/>
                  <a:gd name="connsiteY153" fmla="*/ 60325 h 66675"/>
                  <a:gd name="connsiteX154" fmla="*/ 102553 w 469900"/>
                  <a:gd name="connsiteY154" fmla="*/ 60325 h 66675"/>
                  <a:gd name="connsiteX155" fmla="*/ 104140 w 469900"/>
                  <a:gd name="connsiteY155" fmla="*/ 67627 h 66675"/>
                  <a:gd name="connsiteX156" fmla="*/ 112713 w 469900"/>
                  <a:gd name="connsiteY156" fmla="*/ 67627 h 66675"/>
                  <a:gd name="connsiteX157" fmla="*/ 112713 w 469900"/>
                  <a:gd name="connsiteY157" fmla="*/ 13017 h 66675"/>
                  <a:gd name="connsiteX158" fmla="*/ 101600 w 469900"/>
                  <a:gd name="connsiteY158" fmla="*/ 13017 h 66675"/>
                  <a:gd name="connsiteX159" fmla="*/ 14605 w 469900"/>
                  <a:gd name="connsiteY159" fmla="*/ 25717 h 66675"/>
                  <a:gd name="connsiteX160" fmla="*/ 25718 w 469900"/>
                  <a:gd name="connsiteY160" fmla="*/ 20638 h 66675"/>
                  <a:gd name="connsiteX161" fmla="*/ 36830 w 469900"/>
                  <a:gd name="connsiteY161" fmla="*/ 25717 h 66675"/>
                  <a:gd name="connsiteX162" fmla="*/ 40323 w 469900"/>
                  <a:gd name="connsiteY162" fmla="*/ 40005 h 66675"/>
                  <a:gd name="connsiteX163" fmla="*/ 36830 w 469900"/>
                  <a:gd name="connsiteY163" fmla="*/ 54292 h 66675"/>
                  <a:gd name="connsiteX164" fmla="*/ 25718 w 469900"/>
                  <a:gd name="connsiteY164" fmla="*/ 59373 h 66675"/>
                  <a:gd name="connsiteX165" fmla="*/ 14605 w 469900"/>
                  <a:gd name="connsiteY165" fmla="*/ 54292 h 66675"/>
                  <a:gd name="connsiteX166" fmla="*/ 11113 w 469900"/>
                  <a:gd name="connsiteY166" fmla="*/ 40005 h 66675"/>
                  <a:gd name="connsiteX167" fmla="*/ 14605 w 469900"/>
                  <a:gd name="connsiteY167" fmla="*/ 25717 h 66675"/>
                  <a:gd name="connsiteX168" fmla="*/ 48260 w 469900"/>
                  <a:gd name="connsiteY168" fmla="*/ 24448 h 66675"/>
                  <a:gd name="connsiteX169" fmla="*/ 39370 w 469900"/>
                  <a:gd name="connsiteY169" fmla="*/ 14923 h 66675"/>
                  <a:gd name="connsiteX170" fmla="*/ 26035 w 469900"/>
                  <a:gd name="connsiteY170" fmla="*/ 11748 h 66675"/>
                  <a:gd name="connsiteX171" fmla="*/ 6985 w 469900"/>
                  <a:gd name="connsiteY171" fmla="*/ 19050 h 66675"/>
                  <a:gd name="connsiteX172" fmla="*/ 0 w 469900"/>
                  <a:gd name="connsiteY172" fmla="*/ 40005 h 66675"/>
                  <a:gd name="connsiteX173" fmla="*/ 3175 w 469900"/>
                  <a:gd name="connsiteY173" fmla="*/ 55563 h 66675"/>
                  <a:gd name="connsiteX174" fmla="*/ 12065 w 469900"/>
                  <a:gd name="connsiteY174" fmla="*/ 65088 h 66675"/>
                  <a:gd name="connsiteX175" fmla="*/ 25083 w 469900"/>
                  <a:gd name="connsiteY175" fmla="*/ 68263 h 66675"/>
                  <a:gd name="connsiteX176" fmla="*/ 44133 w 469900"/>
                  <a:gd name="connsiteY176" fmla="*/ 60960 h 66675"/>
                  <a:gd name="connsiteX177" fmla="*/ 51118 w 469900"/>
                  <a:gd name="connsiteY177" fmla="*/ 40005 h 66675"/>
                  <a:gd name="connsiteX178" fmla="*/ 48260 w 469900"/>
                  <a:gd name="connsiteY178" fmla="*/ 24448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469900" h="66675">
                    <a:moveTo>
                      <a:pt x="468630" y="44450"/>
                    </a:moveTo>
                    <a:cubicBezTo>
                      <a:pt x="467360" y="42545"/>
                      <a:pt x="465455" y="40958"/>
                      <a:pt x="463233" y="39370"/>
                    </a:cubicBezTo>
                    <a:cubicBezTo>
                      <a:pt x="460693" y="38100"/>
                      <a:pt x="457835" y="36513"/>
                      <a:pt x="454660" y="35242"/>
                    </a:cubicBezTo>
                    <a:cubicBezTo>
                      <a:pt x="451168" y="33973"/>
                      <a:pt x="448628" y="32702"/>
                      <a:pt x="446723" y="31750"/>
                    </a:cubicBezTo>
                    <a:cubicBezTo>
                      <a:pt x="444818" y="30798"/>
                      <a:pt x="443548" y="29845"/>
                      <a:pt x="442595" y="28892"/>
                    </a:cubicBezTo>
                    <a:cubicBezTo>
                      <a:pt x="441960" y="27940"/>
                      <a:pt x="441325" y="26670"/>
                      <a:pt x="441325" y="25400"/>
                    </a:cubicBezTo>
                    <a:cubicBezTo>
                      <a:pt x="441325" y="21590"/>
                      <a:pt x="444500" y="19685"/>
                      <a:pt x="451168" y="19685"/>
                    </a:cubicBezTo>
                    <a:cubicBezTo>
                      <a:pt x="453708" y="19685"/>
                      <a:pt x="456248" y="20002"/>
                      <a:pt x="458788" y="20638"/>
                    </a:cubicBezTo>
                    <a:cubicBezTo>
                      <a:pt x="461328" y="21273"/>
                      <a:pt x="463868" y="22225"/>
                      <a:pt x="466090" y="23177"/>
                    </a:cubicBezTo>
                    <a:lnTo>
                      <a:pt x="469583" y="14923"/>
                    </a:lnTo>
                    <a:cubicBezTo>
                      <a:pt x="466725" y="13652"/>
                      <a:pt x="463868" y="12700"/>
                      <a:pt x="461010" y="12065"/>
                    </a:cubicBezTo>
                    <a:cubicBezTo>
                      <a:pt x="458153" y="11430"/>
                      <a:pt x="454978" y="11113"/>
                      <a:pt x="451485" y="11113"/>
                    </a:cubicBezTo>
                    <a:cubicBezTo>
                      <a:pt x="445135" y="11113"/>
                      <a:pt x="440055" y="12383"/>
                      <a:pt x="436245" y="14923"/>
                    </a:cubicBezTo>
                    <a:cubicBezTo>
                      <a:pt x="432435" y="17463"/>
                      <a:pt x="430530" y="20955"/>
                      <a:pt x="430530" y="25717"/>
                    </a:cubicBezTo>
                    <a:cubicBezTo>
                      <a:pt x="430530" y="28575"/>
                      <a:pt x="431165" y="31115"/>
                      <a:pt x="432435" y="33020"/>
                    </a:cubicBezTo>
                    <a:cubicBezTo>
                      <a:pt x="433705" y="34925"/>
                      <a:pt x="435610" y="36830"/>
                      <a:pt x="437833" y="38100"/>
                    </a:cubicBezTo>
                    <a:cubicBezTo>
                      <a:pt x="440373" y="39370"/>
                      <a:pt x="443230" y="40958"/>
                      <a:pt x="446723" y="42227"/>
                    </a:cubicBezTo>
                    <a:cubicBezTo>
                      <a:pt x="450215" y="43498"/>
                      <a:pt x="453073" y="44767"/>
                      <a:pt x="454978" y="45720"/>
                    </a:cubicBezTo>
                    <a:cubicBezTo>
                      <a:pt x="456883" y="46673"/>
                      <a:pt x="458153" y="47942"/>
                      <a:pt x="458788" y="48895"/>
                    </a:cubicBezTo>
                    <a:cubicBezTo>
                      <a:pt x="459423" y="49848"/>
                      <a:pt x="459740" y="51117"/>
                      <a:pt x="459740" y="52070"/>
                    </a:cubicBezTo>
                    <a:cubicBezTo>
                      <a:pt x="459740" y="54292"/>
                      <a:pt x="458788" y="55880"/>
                      <a:pt x="457200" y="57150"/>
                    </a:cubicBezTo>
                    <a:cubicBezTo>
                      <a:pt x="455295" y="58420"/>
                      <a:pt x="452438" y="59055"/>
                      <a:pt x="448310" y="59055"/>
                    </a:cubicBezTo>
                    <a:cubicBezTo>
                      <a:pt x="445135" y="59055"/>
                      <a:pt x="442278" y="58738"/>
                      <a:pt x="438785" y="57785"/>
                    </a:cubicBezTo>
                    <a:cubicBezTo>
                      <a:pt x="435610" y="56833"/>
                      <a:pt x="432753" y="55880"/>
                      <a:pt x="430530" y="54610"/>
                    </a:cubicBezTo>
                    <a:lnTo>
                      <a:pt x="430530" y="64135"/>
                    </a:lnTo>
                    <a:cubicBezTo>
                      <a:pt x="432753" y="65405"/>
                      <a:pt x="435293" y="66040"/>
                      <a:pt x="438150" y="66675"/>
                    </a:cubicBezTo>
                    <a:cubicBezTo>
                      <a:pt x="441008" y="67310"/>
                      <a:pt x="444183" y="67627"/>
                      <a:pt x="447993" y="67627"/>
                    </a:cubicBezTo>
                    <a:cubicBezTo>
                      <a:pt x="454978" y="67627"/>
                      <a:pt x="460375" y="66358"/>
                      <a:pt x="464503" y="63500"/>
                    </a:cubicBezTo>
                    <a:cubicBezTo>
                      <a:pt x="468313" y="60642"/>
                      <a:pt x="470218" y="56515"/>
                      <a:pt x="470218" y="51117"/>
                    </a:cubicBezTo>
                    <a:cubicBezTo>
                      <a:pt x="470535" y="48895"/>
                      <a:pt x="469900" y="46355"/>
                      <a:pt x="468630" y="44450"/>
                    </a:cubicBezTo>
                    <a:moveTo>
                      <a:pt x="407035" y="23813"/>
                    </a:moveTo>
                    <a:cubicBezTo>
                      <a:pt x="408940" y="26352"/>
                      <a:pt x="410210" y="29845"/>
                      <a:pt x="410210" y="34290"/>
                    </a:cubicBezTo>
                    <a:lnTo>
                      <a:pt x="384493" y="34290"/>
                    </a:lnTo>
                    <a:cubicBezTo>
                      <a:pt x="384810" y="29527"/>
                      <a:pt x="386398" y="26035"/>
                      <a:pt x="388620" y="23495"/>
                    </a:cubicBezTo>
                    <a:cubicBezTo>
                      <a:pt x="390843" y="20955"/>
                      <a:pt x="394018" y="19685"/>
                      <a:pt x="397828" y="19685"/>
                    </a:cubicBezTo>
                    <a:cubicBezTo>
                      <a:pt x="401955" y="20002"/>
                      <a:pt x="405130" y="21273"/>
                      <a:pt x="407035" y="23813"/>
                    </a:cubicBezTo>
                    <a:moveTo>
                      <a:pt x="384810" y="14923"/>
                    </a:moveTo>
                    <a:cubicBezTo>
                      <a:pt x="381000" y="17145"/>
                      <a:pt x="378143" y="20320"/>
                      <a:pt x="376238" y="24765"/>
                    </a:cubicBezTo>
                    <a:cubicBezTo>
                      <a:pt x="374015" y="28892"/>
                      <a:pt x="373063" y="34290"/>
                      <a:pt x="373063" y="40323"/>
                    </a:cubicBezTo>
                    <a:cubicBezTo>
                      <a:pt x="373063" y="46355"/>
                      <a:pt x="374333" y="51752"/>
                      <a:pt x="376555" y="55880"/>
                    </a:cubicBezTo>
                    <a:cubicBezTo>
                      <a:pt x="378778" y="60008"/>
                      <a:pt x="381953" y="63183"/>
                      <a:pt x="386080" y="65088"/>
                    </a:cubicBezTo>
                    <a:cubicBezTo>
                      <a:pt x="390208" y="67310"/>
                      <a:pt x="394970" y="68263"/>
                      <a:pt x="400050" y="68263"/>
                    </a:cubicBezTo>
                    <a:cubicBezTo>
                      <a:pt x="403860" y="68263"/>
                      <a:pt x="407353" y="67945"/>
                      <a:pt x="409893" y="67310"/>
                    </a:cubicBezTo>
                    <a:cubicBezTo>
                      <a:pt x="412750" y="66675"/>
                      <a:pt x="415290" y="65723"/>
                      <a:pt x="418148" y="64452"/>
                    </a:cubicBezTo>
                    <a:lnTo>
                      <a:pt x="418148" y="55563"/>
                    </a:lnTo>
                    <a:cubicBezTo>
                      <a:pt x="415290" y="56833"/>
                      <a:pt x="412433" y="57785"/>
                      <a:pt x="409575" y="58420"/>
                    </a:cubicBezTo>
                    <a:cubicBezTo>
                      <a:pt x="406718" y="59055"/>
                      <a:pt x="403543" y="59373"/>
                      <a:pt x="400050" y="59373"/>
                    </a:cubicBezTo>
                    <a:cubicBezTo>
                      <a:pt x="394970" y="59373"/>
                      <a:pt x="391160" y="57785"/>
                      <a:pt x="388303" y="54927"/>
                    </a:cubicBezTo>
                    <a:cubicBezTo>
                      <a:pt x="385445" y="52070"/>
                      <a:pt x="383858" y="47625"/>
                      <a:pt x="383858" y="41910"/>
                    </a:cubicBezTo>
                    <a:lnTo>
                      <a:pt x="420688" y="41910"/>
                    </a:lnTo>
                    <a:lnTo>
                      <a:pt x="420688" y="36513"/>
                    </a:lnTo>
                    <a:cubicBezTo>
                      <a:pt x="420688" y="28892"/>
                      <a:pt x="418465" y="22860"/>
                      <a:pt x="414338" y="18415"/>
                    </a:cubicBezTo>
                    <a:cubicBezTo>
                      <a:pt x="410210" y="13970"/>
                      <a:pt x="404495" y="11748"/>
                      <a:pt x="397510" y="11748"/>
                    </a:cubicBezTo>
                    <a:cubicBezTo>
                      <a:pt x="392748" y="11748"/>
                      <a:pt x="388303" y="12700"/>
                      <a:pt x="384810" y="14923"/>
                    </a:cubicBezTo>
                    <a:moveTo>
                      <a:pt x="331153" y="13652"/>
                    </a:moveTo>
                    <a:cubicBezTo>
                      <a:pt x="327978" y="15240"/>
                      <a:pt x="325438" y="17463"/>
                      <a:pt x="323850" y="20320"/>
                    </a:cubicBezTo>
                    <a:lnTo>
                      <a:pt x="322898" y="20320"/>
                    </a:lnTo>
                    <a:cubicBezTo>
                      <a:pt x="320040" y="14288"/>
                      <a:pt x="314643" y="11430"/>
                      <a:pt x="306388" y="11430"/>
                    </a:cubicBezTo>
                    <a:cubicBezTo>
                      <a:pt x="303213" y="11430"/>
                      <a:pt x="300038" y="12065"/>
                      <a:pt x="297180" y="13335"/>
                    </a:cubicBezTo>
                    <a:cubicBezTo>
                      <a:pt x="294323" y="14605"/>
                      <a:pt x="292100" y="16827"/>
                      <a:pt x="290195" y="19685"/>
                    </a:cubicBezTo>
                    <a:lnTo>
                      <a:pt x="289560" y="19685"/>
                    </a:lnTo>
                    <a:lnTo>
                      <a:pt x="287973" y="12383"/>
                    </a:lnTo>
                    <a:lnTo>
                      <a:pt x="279400" y="12383"/>
                    </a:lnTo>
                    <a:lnTo>
                      <a:pt x="279400" y="66992"/>
                    </a:lnTo>
                    <a:lnTo>
                      <a:pt x="290195" y="66992"/>
                    </a:lnTo>
                    <a:lnTo>
                      <a:pt x="290195" y="39688"/>
                    </a:lnTo>
                    <a:cubicBezTo>
                      <a:pt x="290195" y="33338"/>
                      <a:pt x="291148" y="28575"/>
                      <a:pt x="293053" y="25400"/>
                    </a:cubicBezTo>
                    <a:cubicBezTo>
                      <a:pt x="294958" y="22225"/>
                      <a:pt x="298450" y="20320"/>
                      <a:pt x="303530" y="20320"/>
                    </a:cubicBezTo>
                    <a:cubicBezTo>
                      <a:pt x="310515" y="20320"/>
                      <a:pt x="314008" y="24448"/>
                      <a:pt x="314008" y="33020"/>
                    </a:cubicBezTo>
                    <a:lnTo>
                      <a:pt x="314008" y="67310"/>
                    </a:lnTo>
                    <a:lnTo>
                      <a:pt x="324803" y="67310"/>
                    </a:lnTo>
                    <a:lnTo>
                      <a:pt x="324803" y="37783"/>
                    </a:lnTo>
                    <a:cubicBezTo>
                      <a:pt x="324803" y="32067"/>
                      <a:pt x="325755" y="27940"/>
                      <a:pt x="327978" y="24765"/>
                    </a:cubicBezTo>
                    <a:cubicBezTo>
                      <a:pt x="330200" y="21908"/>
                      <a:pt x="333693" y="20320"/>
                      <a:pt x="338455" y="20320"/>
                    </a:cubicBezTo>
                    <a:cubicBezTo>
                      <a:pt x="345440" y="20320"/>
                      <a:pt x="348615" y="24448"/>
                      <a:pt x="348615" y="33020"/>
                    </a:cubicBezTo>
                    <a:lnTo>
                      <a:pt x="348615" y="67310"/>
                    </a:lnTo>
                    <a:lnTo>
                      <a:pt x="359410" y="67310"/>
                    </a:lnTo>
                    <a:lnTo>
                      <a:pt x="359410" y="31750"/>
                    </a:lnTo>
                    <a:cubicBezTo>
                      <a:pt x="359410" y="24765"/>
                      <a:pt x="357823" y="19685"/>
                      <a:pt x="354648" y="16510"/>
                    </a:cubicBezTo>
                    <a:cubicBezTo>
                      <a:pt x="351473" y="13335"/>
                      <a:pt x="347028" y="11748"/>
                      <a:pt x="340678" y="11748"/>
                    </a:cubicBezTo>
                    <a:cubicBezTo>
                      <a:pt x="337503" y="11748"/>
                      <a:pt x="334328" y="12383"/>
                      <a:pt x="331153" y="13652"/>
                    </a:cubicBezTo>
                    <a:moveTo>
                      <a:pt x="229235" y="25717"/>
                    </a:moveTo>
                    <a:cubicBezTo>
                      <a:pt x="231458" y="22225"/>
                      <a:pt x="235268" y="20638"/>
                      <a:pt x="240348" y="20638"/>
                    </a:cubicBezTo>
                    <a:cubicBezTo>
                      <a:pt x="245428" y="20638"/>
                      <a:pt x="249238" y="22225"/>
                      <a:pt x="251460" y="25717"/>
                    </a:cubicBezTo>
                    <a:cubicBezTo>
                      <a:pt x="253683" y="29210"/>
                      <a:pt x="254953" y="33973"/>
                      <a:pt x="254953" y="40005"/>
                    </a:cubicBezTo>
                    <a:cubicBezTo>
                      <a:pt x="254953" y="46038"/>
                      <a:pt x="253683" y="51117"/>
                      <a:pt x="251460" y="54292"/>
                    </a:cubicBezTo>
                    <a:cubicBezTo>
                      <a:pt x="249238" y="57785"/>
                      <a:pt x="245428" y="59373"/>
                      <a:pt x="240348" y="59373"/>
                    </a:cubicBezTo>
                    <a:cubicBezTo>
                      <a:pt x="235268" y="59373"/>
                      <a:pt x="231458" y="57785"/>
                      <a:pt x="229235" y="54292"/>
                    </a:cubicBezTo>
                    <a:cubicBezTo>
                      <a:pt x="227013" y="50800"/>
                      <a:pt x="225743" y="46038"/>
                      <a:pt x="225743" y="40005"/>
                    </a:cubicBezTo>
                    <a:cubicBezTo>
                      <a:pt x="225743" y="33655"/>
                      <a:pt x="227013" y="28892"/>
                      <a:pt x="229235" y="25717"/>
                    </a:cubicBezTo>
                    <a:moveTo>
                      <a:pt x="262890" y="24448"/>
                    </a:moveTo>
                    <a:cubicBezTo>
                      <a:pt x="260668" y="20320"/>
                      <a:pt x="257810" y="17145"/>
                      <a:pt x="254000" y="14923"/>
                    </a:cubicBezTo>
                    <a:cubicBezTo>
                      <a:pt x="250190" y="12700"/>
                      <a:pt x="245745" y="11748"/>
                      <a:pt x="240665" y="11748"/>
                    </a:cubicBezTo>
                    <a:cubicBezTo>
                      <a:pt x="232728" y="11748"/>
                      <a:pt x="226378" y="14288"/>
                      <a:pt x="221615" y="19050"/>
                    </a:cubicBezTo>
                    <a:cubicBezTo>
                      <a:pt x="216853" y="23813"/>
                      <a:pt x="214630" y="30798"/>
                      <a:pt x="214630" y="40005"/>
                    </a:cubicBezTo>
                    <a:cubicBezTo>
                      <a:pt x="214630" y="46038"/>
                      <a:pt x="215583" y="51117"/>
                      <a:pt x="217805" y="55563"/>
                    </a:cubicBezTo>
                    <a:cubicBezTo>
                      <a:pt x="220028" y="59690"/>
                      <a:pt x="222885" y="62865"/>
                      <a:pt x="226695" y="65088"/>
                    </a:cubicBezTo>
                    <a:cubicBezTo>
                      <a:pt x="230505" y="67310"/>
                      <a:pt x="234950" y="68263"/>
                      <a:pt x="239713" y="68263"/>
                    </a:cubicBezTo>
                    <a:cubicBezTo>
                      <a:pt x="247650" y="68263"/>
                      <a:pt x="254000" y="65723"/>
                      <a:pt x="258763" y="60960"/>
                    </a:cubicBezTo>
                    <a:cubicBezTo>
                      <a:pt x="263525" y="55880"/>
                      <a:pt x="265748" y="48895"/>
                      <a:pt x="265748" y="40005"/>
                    </a:cubicBezTo>
                    <a:cubicBezTo>
                      <a:pt x="266065" y="33973"/>
                      <a:pt x="265113" y="28575"/>
                      <a:pt x="262890" y="24448"/>
                    </a:cubicBezTo>
                    <a:moveTo>
                      <a:pt x="198438" y="67627"/>
                    </a:moveTo>
                    <a:cubicBezTo>
                      <a:pt x="200660" y="66992"/>
                      <a:pt x="202883" y="66358"/>
                      <a:pt x="204788" y="65088"/>
                    </a:cubicBezTo>
                    <a:lnTo>
                      <a:pt x="204788" y="55563"/>
                    </a:lnTo>
                    <a:cubicBezTo>
                      <a:pt x="202883" y="56515"/>
                      <a:pt x="200660" y="57467"/>
                      <a:pt x="198438" y="58102"/>
                    </a:cubicBezTo>
                    <a:cubicBezTo>
                      <a:pt x="196215" y="58738"/>
                      <a:pt x="193358" y="59055"/>
                      <a:pt x="190500" y="59055"/>
                    </a:cubicBezTo>
                    <a:cubicBezTo>
                      <a:pt x="185738" y="59055"/>
                      <a:pt x="182245" y="57467"/>
                      <a:pt x="179705" y="54292"/>
                    </a:cubicBezTo>
                    <a:cubicBezTo>
                      <a:pt x="177165" y="51117"/>
                      <a:pt x="175895" y="46355"/>
                      <a:pt x="175895" y="40005"/>
                    </a:cubicBezTo>
                    <a:cubicBezTo>
                      <a:pt x="175895" y="26988"/>
                      <a:pt x="180975" y="20638"/>
                      <a:pt x="190818" y="20638"/>
                    </a:cubicBezTo>
                    <a:cubicBezTo>
                      <a:pt x="192723" y="20638"/>
                      <a:pt x="194945" y="20955"/>
                      <a:pt x="196850" y="21590"/>
                    </a:cubicBezTo>
                    <a:cubicBezTo>
                      <a:pt x="199073" y="22225"/>
                      <a:pt x="200978" y="22860"/>
                      <a:pt x="202883" y="23495"/>
                    </a:cubicBezTo>
                    <a:lnTo>
                      <a:pt x="206058" y="14605"/>
                    </a:lnTo>
                    <a:cubicBezTo>
                      <a:pt x="204153" y="13652"/>
                      <a:pt x="201930" y="13017"/>
                      <a:pt x="199390" y="12383"/>
                    </a:cubicBezTo>
                    <a:cubicBezTo>
                      <a:pt x="196850" y="11748"/>
                      <a:pt x="193993" y="11430"/>
                      <a:pt x="190818" y="11430"/>
                    </a:cubicBezTo>
                    <a:cubicBezTo>
                      <a:pt x="185738" y="11430"/>
                      <a:pt x="181293" y="12383"/>
                      <a:pt x="177483" y="14288"/>
                    </a:cubicBezTo>
                    <a:cubicBezTo>
                      <a:pt x="173673" y="16192"/>
                      <a:pt x="170498" y="19367"/>
                      <a:pt x="168275" y="23495"/>
                    </a:cubicBezTo>
                    <a:cubicBezTo>
                      <a:pt x="166053" y="27623"/>
                      <a:pt x="164783" y="33338"/>
                      <a:pt x="164783" y="40005"/>
                    </a:cubicBezTo>
                    <a:cubicBezTo>
                      <a:pt x="164783" y="49848"/>
                      <a:pt x="167005" y="56833"/>
                      <a:pt x="171768" y="61277"/>
                    </a:cubicBezTo>
                    <a:cubicBezTo>
                      <a:pt x="176213" y="65723"/>
                      <a:pt x="182563" y="67945"/>
                      <a:pt x="190183" y="67945"/>
                    </a:cubicBezTo>
                    <a:cubicBezTo>
                      <a:pt x="193358" y="68263"/>
                      <a:pt x="196215" y="68263"/>
                      <a:pt x="198438" y="67627"/>
                    </a:cubicBezTo>
                    <a:moveTo>
                      <a:pt x="143193" y="57467"/>
                    </a:moveTo>
                    <a:cubicBezTo>
                      <a:pt x="141605" y="56198"/>
                      <a:pt x="140970" y="53975"/>
                      <a:pt x="140970" y="50800"/>
                    </a:cubicBezTo>
                    <a:lnTo>
                      <a:pt x="140970" y="20638"/>
                    </a:lnTo>
                    <a:lnTo>
                      <a:pt x="156528" y="20638"/>
                    </a:lnTo>
                    <a:lnTo>
                      <a:pt x="156528" y="12383"/>
                    </a:lnTo>
                    <a:lnTo>
                      <a:pt x="140970" y="12383"/>
                    </a:lnTo>
                    <a:lnTo>
                      <a:pt x="140970" y="0"/>
                    </a:lnTo>
                    <a:lnTo>
                      <a:pt x="134303" y="0"/>
                    </a:lnTo>
                    <a:lnTo>
                      <a:pt x="130493" y="11430"/>
                    </a:lnTo>
                    <a:lnTo>
                      <a:pt x="122555" y="15558"/>
                    </a:lnTo>
                    <a:lnTo>
                      <a:pt x="122555" y="20320"/>
                    </a:lnTo>
                    <a:lnTo>
                      <a:pt x="130175" y="20320"/>
                    </a:lnTo>
                    <a:lnTo>
                      <a:pt x="130175" y="50483"/>
                    </a:lnTo>
                    <a:cubicBezTo>
                      <a:pt x="130175" y="54927"/>
                      <a:pt x="130810" y="58420"/>
                      <a:pt x="132398" y="60960"/>
                    </a:cubicBezTo>
                    <a:cubicBezTo>
                      <a:pt x="133985" y="63500"/>
                      <a:pt x="135890" y="65088"/>
                      <a:pt x="138430" y="66358"/>
                    </a:cubicBezTo>
                    <a:cubicBezTo>
                      <a:pt x="140970" y="67310"/>
                      <a:pt x="143510" y="67945"/>
                      <a:pt x="146685" y="67945"/>
                    </a:cubicBezTo>
                    <a:cubicBezTo>
                      <a:pt x="148590" y="67945"/>
                      <a:pt x="150495" y="67627"/>
                      <a:pt x="152718" y="67310"/>
                    </a:cubicBezTo>
                    <a:cubicBezTo>
                      <a:pt x="154623" y="66992"/>
                      <a:pt x="156210" y="66358"/>
                      <a:pt x="157480" y="66040"/>
                    </a:cubicBezTo>
                    <a:lnTo>
                      <a:pt x="157480" y="57785"/>
                    </a:lnTo>
                    <a:cubicBezTo>
                      <a:pt x="154940" y="58738"/>
                      <a:pt x="152400" y="59055"/>
                      <a:pt x="149225" y="59055"/>
                    </a:cubicBezTo>
                    <a:cubicBezTo>
                      <a:pt x="146368" y="59690"/>
                      <a:pt x="144463" y="59055"/>
                      <a:pt x="143193" y="57467"/>
                    </a:cubicBezTo>
                    <a:moveTo>
                      <a:pt x="101600" y="12700"/>
                    </a:moveTo>
                    <a:lnTo>
                      <a:pt x="101600" y="40323"/>
                    </a:lnTo>
                    <a:cubicBezTo>
                      <a:pt x="101600" y="46673"/>
                      <a:pt x="100648" y="51435"/>
                      <a:pt x="98425" y="54610"/>
                    </a:cubicBezTo>
                    <a:cubicBezTo>
                      <a:pt x="96203" y="57785"/>
                      <a:pt x="92393" y="59690"/>
                      <a:pt x="86678" y="59690"/>
                    </a:cubicBezTo>
                    <a:cubicBezTo>
                      <a:pt x="82868" y="59690"/>
                      <a:pt x="80010" y="58738"/>
                      <a:pt x="78423" y="56515"/>
                    </a:cubicBezTo>
                    <a:cubicBezTo>
                      <a:pt x="76518" y="54292"/>
                      <a:pt x="75883" y="51117"/>
                      <a:pt x="75883" y="46990"/>
                    </a:cubicBezTo>
                    <a:lnTo>
                      <a:pt x="75883" y="12700"/>
                    </a:lnTo>
                    <a:lnTo>
                      <a:pt x="65088" y="12700"/>
                    </a:lnTo>
                    <a:lnTo>
                      <a:pt x="65088" y="48577"/>
                    </a:lnTo>
                    <a:cubicBezTo>
                      <a:pt x="65088" y="55563"/>
                      <a:pt x="66675" y="60642"/>
                      <a:pt x="70168" y="63817"/>
                    </a:cubicBezTo>
                    <a:cubicBezTo>
                      <a:pt x="73660" y="66992"/>
                      <a:pt x="78423" y="68580"/>
                      <a:pt x="84773" y="68580"/>
                    </a:cubicBezTo>
                    <a:cubicBezTo>
                      <a:pt x="88265" y="68580"/>
                      <a:pt x="91440" y="67945"/>
                      <a:pt x="94615" y="66675"/>
                    </a:cubicBezTo>
                    <a:cubicBezTo>
                      <a:pt x="97790" y="65405"/>
                      <a:pt x="100013" y="63183"/>
                      <a:pt x="101918" y="60325"/>
                    </a:cubicBezTo>
                    <a:lnTo>
                      <a:pt x="102553" y="60325"/>
                    </a:lnTo>
                    <a:lnTo>
                      <a:pt x="104140" y="67627"/>
                    </a:lnTo>
                    <a:lnTo>
                      <a:pt x="112713" y="67627"/>
                    </a:lnTo>
                    <a:lnTo>
                      <a:pt x="112713" y="13017"/>
                    </a:lnTo>
                    <a:lnTo>
                      <a:pt x="101600" y="13017"/>
                    </a:lnTo>
                    <a:close/>
                    <a:moveTo>
                      <a:pt x="14605" y="25717"/>
                    </a:moveTo>
                    <a:cubicBezTo>
                      <a:pt x="16828" y="22225"/>
                      <a:pt x="20638" y="20638"/>
                      <a:pt x="25718" y="20638"/>
                    </a:cubicBezTo>
                    <a:cubicBezTo>
                      <a:pt x="30798" y="20638"/>
                      <a:pt x="34608" y="22225"/>
                      <a:pt x="36830" y="25717"/>
                    </a:cubicBezTo>
                    <a:cubicBezTo>
                      <a:pt x="39053" y="29210"/>
                      <a:pt x="40323" y="33973"/>
                      <a:pt x="40323" y="40005"/>
                    </a:cubicBezTo>
                    <a:cubicBezTo>
                      <a:pt x="40323" y="46038"/>
                      <a:pt x="39053" y="51117"/>
                      <a:pt x="36830" y="54292"/>
                    </a:cubicBezTo>
                    <a:cubicBezTo>
                      <a:pt x="34608" y="57785"/>
                      <a:pt x="30798" y="59373"/>
                      <a:pt x="25718" y="59373"/>
                    </a:cubicBezTo>
                    <a:cubicBezTo>
                      <a:pt x="20638" y="59373"/>
                      <a:pt x="16828" y="57785"/>
                      <a:pt x="14605" y="54292"/>
                    </a:cubicBezTo>
                    <a:cubicBezTo>
                      <a:pt x="12383" y="50800"/>
                      <a:pt x="11113" y="46038"/>
                      <a:pt x="11113" y="40005"/>
                    </a:cubicBezTo>
                    <a:cubicBezTo>
                      <a:pt x="11113" y="33655"/>
                      <a:pt x="12383" y="28892"/>
                      <a:pt x="14605" y="25717"/>
                    </a:cubicBezTo>
                    <a:moveTo>
                      <a:pt x="48260" y="24448"/>
                    </a:moveTo>
                    <a:cubicBezTo>
                      <a:pt x="46038" y="20320"/>
                      <a:pt x="43180" y="17145"/>
                      <a:pt x="39370" y="14923"/>
                    </a:cubicBezTo>
                    <a:cubicBezTo>
                      <a:pt x="35560" y="12700"/>
                      <a:pt x="31115" y="11748"/>
                      <a:pt x="26035" y="11748"/>
                    </a:cubicBezTo>
                    <a:cubicBezTo>
                      <a:pt x="18098" y="11748"/>
                      <a:pt x="11748" y="14288"/>
                      <a:pt x="6985" y="19050"/>
                    </a:cubicBezTo>
                    <a:cubicBezTo>
                      <a:pt x="2223" y="23813"/>
                      <a:pt x="0" y="30798"/>
                      <a:pt x="0" y="40005"/>
                    </a:cubicBezTo>
                    <a:cubicBezTo>
                      <a:pt x="0" y="46038"/>
                      <a:pt x="953" y="51117"/>
                      <a:pt x="3175" y="55563"/>
                    </a:cubicBezTo>
                    <a:cubicBezTo>
                      <a:pt x="5398" y="59690"/>
                      <a:pt x="8255" y="62865"/>
                      <a:pt x="12065" y="65088"/>
                    </a:cubicBezTo>
                    <a:cubicBezTo>
                      <a:pt x="15875" y="67310"/>
                      <a:pt x="20320" y="68263"/>
                      <a:pt x="25083" y="68263"/>
                    </a:cubicBezTo>
                    <a:cubicBezTo>
                      <a:pt x="33020" y="68263"/>
                      <a:pt x="39370" y="65723"/>
                      <a:pt x="44133" y="60960"/>
                    </a:cubicBezTo>
                    <a:cubicBezTo>
                      <a:pt x="48895" y="55880"/>
                      <a:pt x="51118" y="48895"/>
                      <a:pt x="51118" y="40005"/>
                    </a:cubicBezTo>
                    <a:cubicBezTo>
                      <a:pt x="51435" y="33973"/>
                      <a:pt x="50483" y="28575"/>
                      <a:pt x="48260" y="24448"/>
                    </a:cubicBezTo>
                  </a:path>
                </a:pathLst>
              </a:custGeom>
              <a:grpFill/>
              <a:ln w="3175" cap="flat">
                <a:noFill/>
                <a:prstDash val="solid"/>
                <a:miter/>
              </a:ln>
            </p:spPr>
            <p:txBody>
              <a:bodyPr rtlCol="0" anchor="ctr"/>
              <a:lstStyle/>
              <a:p>
                <a:endParaRPr lang="en-GB">
                  <a:solidFill>
                    <a:srgbClr val="000000"/>
                  </a:solidFill>
                  <a:latin typeface="Verdana"/>
                </a:endParaRPr>
              </a:p>
            </p:txBody>
          </p:sp>
          <p:sp>
            <p:nvSpPr>
              <p:cNvPr id="51" name="Freeform: Shape 50">
                <a:extLst>
                  <a:ext uri="{FF2B5EF4-FFF2-40B4-BE49-F238E27FC236}">
                    <a16:creationId xmlns:a16="http://schemas.microsoft.com/office/drawing/2014/main" id="{1CC7336A-6629-4FB5-8087-2B6A524EDE91}"/>
                  </a:ext>
                </a:extLst>
              </p:cNvPr>
              <p:cNvSpPr/>
              <p:nvPr/>
            </p:nvSpPr>
            <p:spPr>
              <a:xfrm>
                <a:off x="2132330" y="1914525"/>
                <a:ext cx="920750" cy="101600"/>
              </a:xfrm>
              <a:custGeom>
                <a:avLst/>
                <a:gdLst>
                  <a:gd name="connsiteX0" fmla="*/ 907733 w 920750"/>
                  <a:gd name="connsiteY0" fmla="*/ 67310 h 101600"/>
                  <a:gd name="connsiteX1" fmla="*/ 905510 w 920750"/>
                  <a:gd name="connsiteY1" fmla="*/ 60642 h 101600"/>
                  <a:gd name="connsiteX2" fmla="*/ 905510 w 920750"/>
                  <a:gd name="connsiteY2" fmla="*/ 30480 h 101600"/>
                  <a:gd name="connsiteX3" fmla="*/ 921068 w 920750"/>
                  <a:gd name="connsiteY3" fmla="*/ 30480 h 101600"/>
                  <a:gd name="connsiteX4" fmla="*/ 921068 w 920750"/>
                  <a:gd name="connsiteY4" fmla="*/ 22225 h 101600"/>
                  <a:gd name="connsiteX5" fmla="*/ 905510 w 920750"/>
                  <a:gd name="connsiteY5" fmla="*/ 22225 h 101600"/>
                  <a:gd name="connsiteX6" fmla="*/ 905510 w 920750"/>
                  <a:gd name="connsiteY6" fmla="*/ 9842 h 101600"/>
                  <a:gd name="connsiteX7" fmla="*/ 898843 w 920750"/>
                  <a:gd name="connsiteY7" fmla="*/ 9842 h 101600"/>
                  <a:gd name="connsiteX8" fmla="*/ 895033 w 920750"/>
                  <a:gd name="connsiteY8" fmla="*/ 21273 h 101600"/>
                  <a:gd name="connsiteX9" fmla="*/ 887095 w 920750"/>
                  <a:gd name="connsiteY9" fmla="*/ 25400 h 101600"/>
                  <a:gd name="connsiteX10" fmla="*/ 887095 w 920750"/>
                  <a:gd name="connsiteY10" fmla="*/ 30163 h 101600"/>
                  <a:gd name="connsiteX11" fmla="*/ 894715 w 920750"/>
                  <a:gd name="connsiteY11" fmla="*/ 30163 h 101600"/>
                  <a:gd name="connsiteX12" fmla="*/ 894715 w 920750"/>
                  <a:gd name="connsiteY12" fmla="*/ 60325 h 101600"/>
                  <a:gd name="connsiteX13" fmla="*/ 896938 w 920750"/>
                  <a:gd name="connsiteY13" fmla="*/ 70802 h 101600"/>
                  <a:gd name="connsiteX14" fmla="*/ 902970 w 920750"/>
                  <a:gd name="connsiteY14" fmla="*/ 76200 h 101600"/>
                  <a:gd name="connsiteX15" fmla="*/ 911225 w 920750"/>
                  <a:gd name="connsiteY15" fmla="*/ 77788 h 101600"/>
                  <a:gd name="connsiteX16" fmla="*/ 917258 w 920750"/>
                  <a:gd name="connsiteY16" fmla="*/ 77152 h 101600"/>
                  <a:gd name="connsiteX17" fmla="*/ 922020 w 920750"/>
                  <a:gd name="connsiteY17" fmla="*/ 75883 h 101600"/>
                  <a:gd name="connsiteX18" fmla="*/ 922020 w 920750"/>
                  <a:gd name="connsiteY18" fmla="*/ 67627 h 101600"/>
                  <a:gd name="connsiteX19" fmla="*/ 913765 w 920750"/>
                  <a:gd name="connsiteY19" fmla="*/ 68898 h 101600"/>
                  <a:gd name="connsiteX20" fmla="*/ 907733 w 920750"/>
                  <a:gd name="connsiteY20" fmla="*/ 67310 h 101600"/>
                  <a:gd name="connsiteX21" fmla="*/ 847725 w 920750"/>
                  <a:gd name="connsiteY21" fmla="*/ 23495 h 101600"/>
                  <a:gd name="connsiteX22" fmla="*/ 840423 w 920750"/>
                  <a:gd name="connsiteY22" fmla="*/ 29845 h 101600"/>
                  <a:gd name="connsiteX23" fmla="*/ 839788 w 920750"/>
                  <a:gd name="connsiteY23" fmla="*/ 29845 h 101600"/>
                  <a:gd name="connsiteX24" fmla="*/ 838200 w 920750"/>
                  <a:gd name="connsiteY24" fmla="*/ 22542 h 101600"/>
                  <a:gd name="connsiteX25" fmla="*/ 829628 w 920750"/>
                  <a:gd name="connsiteY25" fmla="*/ 22542 h 101600"/>
                  <a:gd name="connsiteX26" fmla="*/ 829628 w 920750"/>
                  <a:gd name="connsiteY26" fmla="*/ 77152 h 101600"/>
                  <a:gd name="connsiteX27" fmla="*/ 840423 w 920750"/>
                  <a:gd name="connsiteY27" fmla="*/ 77152 h 101600"/>
                  <a:gd name="connsiteX28" fmla="*/ 840423 w 920750"/>
                  <a:gd name="connsiteY28" fmla="*/ 49530 h 101600"/>
                  <a:gd name="connsiteX29" fmla="*/ 843598 w 920750"/>
                  <a:gd name="connsiteY29" fmla="*/ 35242 h 101600"/>
                  <a:gd name="connsiteX30" fmla="*/ 855028 w 920750"/>
                  <a:gd name="connsiteY30" fmla="*/ 30163 h 101600"/>
                  <a:gd name="connsiteX31" fmla="*/ 866458 w 920750"/>
                  <a:gd name="connsiteY31" fmla="*/ 42863 h 101600"/>
                  <a:gd name="connsiteX32" fmla="*/ 866458 w 920750"/>
                  <a:gd name="connsiteY32" fmla="*/ 77152 h 101600"/>
                  <a:gd name="connsiteX33" fmla="*/ 877253 w 920750"/>
                  <a:gd name="connsiteY33" fmla="*/ 77152 h 101600"/>
                  <a:gd name="connsiteX34" fmla="*/ 877253 w 920750"/>
                  <a:gd name="connsiteY34" fmla="*/ 41592 h 101600"/>
                  <a:gd name="connsiteX35" fmla="*/ 872173 w 920750"/>
                  <a:gd name="connsiteY35" fmla="*/ 26352 h 101600"/>
                  <a:gd name="connsiteX36" fmla="*/ 857568 w 920750"/>
                  <a:gd name="connsiteY36" fmla="*/ 21590 h 101600"/>
                  <a:gd name="connsiteX37" fmla="*/ 847725 w 920750"/>
                  <a:gd name="connsiteY37" fmla="*/ 23495 h 101600"/>
                  <a:gd name="connsiteX38" fmla="*/ 802640 w 920750"/>
                  <a:gd name="connsiteY38" fmla="*/ 33655 h 101600"/>
                  <a:gd name="connsiteX39" fmla="*/ 805815 w 920750"/>
                  <a:gd name="connsiteY39" fmla="*/ 44133 h 101600"/>
                  <a:gd name="connsiteX40" fmla="*/ 780098 w 920750"/>
                  <a:gd name="connsiteY40" fmla="*/ 44133 h 101600"/>
                  <a:gd name="connsiteX41" fmla="*/ 784225 w 920750"/>
                  <a:gd name="connsiteY41" fmla="*/ 33338 h 101600"/>
                  <a:gd name="connsiteX42" fmla="*/ 793433 w 920750"/>
                  <a:gd name="connsiteY42" fmla="*/ 29527 h 101600"/>
                  <a:gd name="connsiteX43" fmla="*/ 802640 w 920750"/>
                  <a:gd name="connsiteY43" fmla="*/ 33655 h 101600"/>
                  <a:gd name="connsiteX44" fmla="*/ 780098 w 920750"/>
                  <a:gd name="connsiteY44" fmla="*/ 24765 h 101600"/>
                  <a:gd name="connsiteX45" fmla="*/ 771525 w 920750"/>
                  <a:gd name="connsiteY45" fmla="*/ 34608 h 101600"/>
                  <a:gd name="connsiteX46" fmla="*/ 768350 w 920750"/>
                  <a:gd name="connsiteY46" fmla="*/ 50165 h 101600"/>
                  <a:gd name="connsiteX47" fmla="*/ 771843 w 920750"/>
                  <a:gd name="connsiteY47" fmla="*/ 65723 h 101600"/>
                  <a:gd name="connsiteX48" fmla="*/ 781368 w 920750"/>
                  <a:gd name="connsiteY48" fmla="*/ 74930 h 101600"/>
                  <a:gd name="connsiteX49" fmla="*/ 795338 w 920750"/>
                  <a:gd name="connsiteY49" fmla="*/ 78105 h 101600"/>
                  <a:gd name="connsiteX50" fmla="*/ 805180 w 920750"/>
                  <a:gd name="connsiteY50" fmla="*/ 77152 h 101600"/>
                  <a:gd name="connsiteX51" fmla="*/ 813435 w 920750"/>
                  <a:gd name="connsiteY51" fmla="*/ 74295 h 101600"/>
                  <a:gd name="connsiteX52" fmla="*/ 813435 w 920750"/>
                  <a:gd name="connsiteY52" fmla="*/ 65405 h 101600"/>
                  <a:gd name="connsiteX53" fmla="*/ 804863 w 920750"/>
                  <a:gd name="connsiteY53" fmla="*/ 68263 h 101600"/>
                  <a:gd name="connsiteX54" fmla="*/ 795338 w 920750"/>
                  <a:gd name="connsiteY54" fmla="*/ 69215 h 101600"/>
                  <a:gd name="connsiteX55" fmla="*/ 783590 w 920750"/>
                  <a:gd name="connsiteY55" fmla="*/ 64770 h 101600"/>
                  <a:gd name="connsiteX56" fmla="*/ 779145 w 920750"/>
                  <a:gd name="connsiteY56" fmla="*/ 51752 h 101600"/>
                  <a:gd name="connsiteX57" fmla="*/ 815975 w 920750"/>
                  <a:gd name="connsiteY57" fmla="*/ 51752 h 101600"/>
                  <a:gd name="connsiteX58" fmla="*/ 815975 w 920750"/>
                  <a:gd name="connsiteY58" fmla="*/ 45720 h 101600"/>
                  <a:gd name="connsiteX59" fmla="*/ 809625 w 920750"/>
                  <a:gd name="connsiteY59" fmla="*/ 27623 h 101600"/>
                  <a:gd name="connsiteX60" fmla="*/ 792798 w 920750"/>
                  <a:gd name="connsiteY60" fmla="*/ 20955 h 101600"/>
                  <a:gd name="connsiteX61" fmla="*/ 780098 w 920750"/>
                  <a:gd name="connsiteY61" fmla="*/ 24765 h 101600"/>
                  <a:gd name="connsiteX62" fmla="*/ 743903 w 920750"/>
                  <a:gd name="connsiteY62" fmla="*/ 77152 h 101600"/>
                  <a:gd name="connsiteX63" fmla="*/ 754698 w 920750"/>
                  <a:gd name="connsiteY63" fmla="*/ 77152 h 101600"/>
                  <a:gd name="connsiteX64" fmla="*/ 754698 w 920750"/>
                  <a:gd name="connsiteY64" fmla="*/ 22542 h 101600"/>
                  <a:gd name="connsiteX65" fmla="*/ 743903 w 920750"/>
                  <a:gd name="connsiteY65" fmla="*/ 22542 h 101600"/>
                  <a:gd name="connsiteX66" fmla="*/ 743903 w 920750"/>
                  <a:gd name="connsiteY66" fmla="*/ 77152 h 101600"/>
                  <a:gd name="connsiteX67" fmla="*/ 745173 w 920750"/>
                  <a:gd name="connsiteY67" fmla="*/ 3175 h 101600"/>
                  <a:gd name="connsiteX68" fmla="*/ 743268 w 920750"/>
                  <a:gd name="connsiteY68" fmla="*/ 7938 h 101600"/>
                  <a:gd name="connsiteX69" fmla="*/ 745173 w 920750"/>
                  <a:gd name="connsiteY69" fmla="*/ 12700 h 101600"/>
                  <a:gd name="connsiteX70" fmla="*/ 749618 w 920750"/>
                  <a:gd name="connsiteY70" fmla="*/ 14288 h 101600"/>
                  <a:gd name="connsiteX71" fmla="*/ 753745 w 920750"/>
                  <a:gd name="connsiteY71" fmla="*/ 12700 h 101600"/>
                  <a:gd name="connsiteX72" fmla="*/ 755650 w 920750"/>
                  <a:gd name="connsiteY72" fmla="*/ 7938 h 101600"/>
                  <a:gd name="connsiteX73" fmla="*/ 753745 w 920750"/>
                  <a:gd name="connsiteY73" fmla="*/ 3175 h 101600"/>
                  <a:gd name="connsiteX74" fmla="*/ 749618 w 920750"/>
                  <a:gd name="connsiteY74" fmla="*/ 1905 h 101600"/>
                  <a:gd name="connsiteX75" fmla="*/ 745173 w 920750"/>
                  <a:gd name="connsiteY75" fmla="*/ 3175 h 101600"/>
                  <a:gd name="connsiteX76" fmla="*/ 719138 w 920750"/>
                  <a:gd name="connsiteY76" fmla="*/ 67310 h 101600"/>
                  <a:gd name="connsiteX77" fmla="*/ 716915 w 920750"/>
                  <a:gd name="connsiteY77" fmla="*/ 60642 h 101600"/>
                  <a:gd name="connsiteX78" fmla="*/ 716915 w 920750"/>
                  <a:gd name="connsiteY78" fmla="*/ 30480 h 101600"/>
                  <a:gd name="connsiteX79" fmla="*/ 732473 w 920750"/>
                  <a:gd name="connsiteY79" fmla="*/ 30480 h 101600"/>
                  <a:gd name="connsiteX80" fmla="*/ 732473 w 920750"/>
                  <a:gd name="connsiteY80" fmla="*/ 22225 h 101600"/>
                  <a:gd name="connsiteX81" fmla="*/ 716915 w 920750"/>
                  <a:gd name="connsiteY81" fmla="*/ 22225 h 101600"/>
                  <a:gd name="connsiteX82" fmla="*/ 716915 w 920750"/>
                  <a:gd name="connsiteY82" fmla="*/ 9842 h 101600"/>
                  <a:gd name="connsiteX83" fmla="*/ 710248 w 920750"/>
                  <a:gd name="connsiteY83" fmla="*/ 9842 h 101600"/>
                  <a:gd name="connsiteX84" fmla="*/ 706438 w 920750"/>
                  <a:gd name="connsiteY84" fmla="*/ 21273 h 101600"/>
                  <a:gd name="connsiteX85" fmla="*/ 698500 w 920750"/>
                  <a:gd name="connsiteY85" fmla="*/ 25400 h 101600"/>
                  <a:gd name="connsiteX86" fmla="*/ 698500 w 920750"/>
                  <a:gd name="connsiteY86" fmla="*/ 30163 h 101600"/>
                  <a:gd name="connsiteX87" fmla="*/ 706120 w 920750"/>
                  <a:gd name="connsiteY87" fmla="*/ 30163 h 101600"/>
                  <a:gd name="connsiteX88" fmla="*/ 706120 w 920750"/>
                  <a:gd name="connsiteY88" fmla="*/ 60325 h 101600"/>
                  <a:gd name="connsiteX89" fmla="*/ 708343 w 920750"/>
                  <a:gd name="connsiteY89" fmla="*/ 70802 h 101600"/>
                  <a:gd name="connsiteX90" fmla="*/ 714375 w 920750"/>
                  <a:gd name="connsiteY90" fmla="*/ 76200 h 101600"/>
                  <a:gd name="connsiteX91" fmla="*/ 722630 w 920750"/>
                  <a:gd name="connsiteY91" fmla="*/ 77788 h 101600"/>
                  <a:gd name="connsiteX92" fmla="*/ 728663 w 920750"/>
                  <a:gd name="connsiteY92" fmla="*/ 77152 h 101600"/>
                  <a:gd name="connsiteX93" fmla="*/ 733425 w 920750"/>
                  <a:gd name="connsiteY93" fmla="*/ 75883 h 101600"/>
                  <a:gd name="connsiteX94" fmla="*/ 733425 w 920750"/>
                  <a:gd name="connsiteY94" fmla="*/ 67627 h 101600"/>
                  <a:gd name="connsiteX95" fmla="*/ 725170 w 920750"/>
                  <a:gd name="connsiteY95" fmla="*/ 68898 h 101600"/>
                  <a:gd name="connsiteX96" fmla="*/ 719138 w 920750"/>
                  <a:gd name="connsiteY96" fmla="*/ 67310 h 101600"/>
                  <a:gd name="connsiteX97" fmla="*/ 677863 w 920750"/>
                  <a:gd name="connsiteY97" fmla="*/ 55563 h 101600"/>
                  <a:gd name="connsiteX98" fmla="*/ 673735 w 920750"/>
                  <a:gd name="connsiteY98" fmla="*/ 66358 h 101600"/>
                  <a:gd name="connsiteX99" fmla="*/ 663258 w 920750"/>
                  <a:gd name="connsiteY99" fmla="*/ 69850 h 101600"/>
                  <a:gd name="connsiteX100" fmla="*/ 656590 w 920750"/>
                  <a:gd name="connsiteY100" fmla="*/ 67945 h 101600"/>
                  <a:gd name="connsiteX101" fmla="*/ 654050 w 920750"/>
                  <a:gd name="connsiteY101" fmla="*/ 61595 h 101600"/>
                  <a:gd name="connsiteX102" fmla="*/ 657543 w 920750"/>
                  <a:gd name="connsiteY102" fmla="*/ 53975 h 101600"/>
                  <a:gd name="connsiteX103" fmla="*/ 670560 w 920750"/>
                  <a:gd name="connsiteY103" fmla="*/ 50800 h 101600"/>
                  <a:gd name="connsiteX104" fmla="*/ 677863 w 920750"/>
                  <a:gd name="connsiteY104" fmla="*/ 50483 h 101600"/>
                  <a:gd name="connsiteX105" fmla="*/ 677863 w 920750"/>
                  <a:gd name="connsiteY105" fmla="*/ 55563 h 101600"/>
                  <a:gd name="connsiteX106" fmla="*/ 657543 w 920750"/>
                  <a:gd name="connsiteY106" fmla="*/ 22860 h 101600"/>
                  <a:gd name="connsiteX107" fmla="*/ 648653 w 920750"/>
                  <a:gd name="connsiteY107" fmla="*/ 26352 h 101600"/>
                  <a:gd name="connsiteX108" fmla="*/ 652145 w 920750"/>
                  <a:gd name="connsiteY108" fmla="*/ 34290 h 101600"/>
                  <a:gd name="connsiteX109" fmla="*/ 659448 w 920750"/>
                  <a:gd name="connsiteY109" fmla="*/ 31433 h 101600"/>
                  <a:gd name="connsiteX110" fmla="*/ 667385 w 920750"/>
                  <a:gd name="connsiteY110" fmla="*/ 30163 h 101600"/>
                  <a:gd name="connsiteX111" fmla="*/ 675005 w 920750"/>
                  <a:gd name="connsiteY111" fmla="*/ 32702 h 101600"/>
                  <a:gd name="connsiteX112" fmla="*/ 677863 w 920750"/>
                  <a:gd name="connsiteY112" fmla="*/ 41275 h 101600"/>
                  <a:gd name="connsiteX113" fmla="*/ 677863 w 920750"/>
                  <a:gd name="connsiteY113" fmla="*/ 44450 h 101600"/>
                  <a:gd name="connsiteX114" fmla="*/ 668655 w 920750"/>
                  <a:gd name="connsiteY114" fmla="*/ 44767 h 101600"/>
                  <a:gd name="connsiteX115" fmla="*/ 649288 w 920750"/>
                  <a:gd name="connsiteY115" fmla="*/ 49530 h 101600"/>
                  <a:gd name="connsiteX116" fmla="*/ 642938 w 920750"/>
                  <a:gd name="connsiteY116" fmla="*/ 62230 h 101600"/>
                  <a:gd name="connsiteX117" fmla="*/ 647700 w 920750"/>
                  <a:gd name="connsiteY117" fmla="*/ 74930 h 101600"/>
                  <a:gd name="connsiteX118" fmla="*/ 660083 w 920750"/>
                  <a:gd name="connsiteY118" fmla="*/ 79058 h 101600"/>
                  <a:gd name="connsiteX119" fmla="*/ 670878 w 920750"/>
                  <a:gd name="connsiteY119" fmla="*/ 76835 h 101600"/>
                  <a:gd name="connsiteX120" fmla="*/ 678498 w 920750"/>
                  <a:gd name="connsiteY120" fmla="*/ 70167 h 101600"/>
                  <a:gd name="connsiteX121" fmla="*/ 678815 w 920750"/>
                  <a:gd name="connsiteY121" fmla="*/ 70167 h 101600"/>
                  <a:gd name="connsiteX122" fmla="*/ 681038 w 920750"/>
                  <a:gd name="connsiteY122" fmla="*/ 77788 h 101600"/>
                  <a:gd name="connsiteX123" fmla="*/ 688658 w 920750"/>
                  <a:gd name="connsiteY123" fmla="*/ 77788 h 101600"/>
                  <a:gd name="connsiteX124" fmla="*/ 688658 w 920750"/>
                  <a:gd name="connsiteY124" fmla="*/ 40640 h 101600"/>
                  <a:gd name="connsiteX125" fmla="*/ 683578 w 920750"/>
                  <a:gd name="connsiteY125" fmla="*/ 26352 h 101600"/>
                  <a:gd name="connsiteX126" fmla="*/ 668338 w 920750"/>
                  <a:gd name="connsiteY126" fmla="*/ 21908 h 101600"/>
                  <a:gd name="connsiteX127" fmla="*/ 657543 w 920750"/>
                  <a:gd name="connsiteY127" fmla="*/ 22860 h 101600"/>
                  <a:gd name="connsiteX128" fmla="*/ 618808 w 920750"/>
                  <a:gd name="connsiteY128" fmla="*/ 35560 h 101600"/>
                  <a:gd name="connsiteX129" fmla="*/ 621983 w 920750"/>
                  <a:gd name="connsiteY129" fmla="*/ 49530 h 101600"/>
                  <a:gd name="connsiteX130" fmla="*/ 618808 w 920750"/>
                  <a:gd name="connsiteY130" fmla="*/ 63817 h 101600"/>
                  <a:gd name="connsiteX131" fmla="*/ 608965 w 920750"/>
                  <a:gd name="connsiteY131" fmla="*/ 69215 h 101600"/>
                  <a:gd name="connsiteX132" fmla="*/ 597853 w 920750"/>
                  <a:gd name="connsiteY132" fmla="*/ 64135 h 101600"/>
                  <a:gd name="connsiteX133" fmla="*/ 594678 w 920750"/>
                  <a:gd name="connsiteY133" fmla="*/ 49530 h 101600"/>
                  <a:gd name="connsiteX134" fmla="*/ 594678 w 920750"/>
                  <a:gd name="connsiteY134" fmla="*/ 47942 h 101600"/>
                  <a:gd name="connsiteX135" fmla="*/ 597853 w 920750"/>
                  <a:gd name="connsiteY135" fmla="*/ 34608 h 101600"/>
                  <a:gd name="connsiteX136" fmla="*/ 608648 w 920750"/>
                  <a:gd name="connsiteY136" fmla="*/ 30163 h 101600"/>
                  <a:gd name="connsiteX137" fmla="*/ 618808 w 920750"/>
                  <a:gd name="connsiteY137" fmla="*/ 35560 h 101600"/>
                  <a:gd name="connsiteX138" fmla="*/ 600710 w 920750"/>
                  <a:gd name="connsiteY138" fmla="*/ 23813 h 101600"/>
                  <a:gd name="connsiteX139" fmla="*/ 594360 w 920750"/>
                  <a:gd name="connsiteY139" fmla="*/ 29845 h 101600"/>
                  <a:gd name="connsiteX140" fmla="*/ 593725 w 920750"/>
                  <a:gd name="connsiteY140" fmla="*/ 29845 h 101600"/>
                  <a:gd name="connsiteX141" fmla="*/ 592138 w 920750"/>
                  <a:gd name="connsiteY141" fmla="*/ 22542 h 101600"/>
                  <a:gd name="connsiteX142" fmla="*/ 583248 w 920750"/>
                  <a:gd name="connsiteY142" fmla="*/ 22542 h 101600"/>
                  <a:gd name="connsiteX143" fmla="*/ 583248 w 920750"/>
                  <a:gd name="connsiteY143" fmla="*/ 101600 h 101600"/>
                  <a:gd name="connsiteX144" fmla="*/ 594043 w 920750"/>
                  <a:gd name="connsiteY144" fmla="*/ 101600 h 101600"/>
                  <a:gd name="connsiteX145" fmla="*/ 594043 w 920750"/>
                  <a:gd name="connsiteY145" fmla="*/ 79375 h 101600"/>
                  <a:gd name="connsiteX146" fmla="*/ 593725 w 920750"/>
                  <a:gd name="connsiteY146" fmla="*/ 74930 h 101600"/>
                  <a:gd name="connsiteX147" fmla="*/ 593408 w 920750"/>
                  <a:gd name="connsiteY147" fmla="*/ 70485 h 101600"/>
                  <a:gd name="connsiteX148" fmla="*/ 594043 w 920750"/>
                  <a:gd name="connsiteY148" fmla="*/ 70485 h 101600"/>
                  <a:gd name="connsiteX149" fmla="*/ 600393 w 920750"/>
                  <a:gd name="connsiteY149" fmla="*/ 75883 h 101600"/>
                  <a:gd name="connsiteX150" fmla="*/ 610553 w 920750"/>
                  <a:gd name="connsiteY150" fmla="*/ 78105 h 101600"/>
                  <a:gd name="connsiteX151" fmla="*/ 626428 w 920750"/>
                  <a:gd name="connsiteY151" fmla="*/ 70802 h 101600"/>
                  <a:gd name="connsiteX152" fmla="*/ 632460 w 920750"/>
                  <a:gd name="connsiteY152" fmla="*/ 49530 h 101600"/>
                  <a:gd name="connsiteX153" fmla="*/ 626428 w 920750"/>
                  <a:gd name="connsiteY153" fmla="*/ 28258 h 101600"/>
                  <a:gd name="connsiteX154" fmla="*/ 610553 w 920750"/>
                  <a:gd name="connsiteY154" fmla="*/ 21273 h 101600"/>
                  <a:gd name="connsiteX155" fmla="*/ 600710 w 920750"/>
                  <a:gd name="connsiteY155" fmla="*/ 23813 h 101600"/>
                  <a:gd name="connsiteX156" fmla="*/ 526733 w 920750"/>
                  <a:gd name="connsiteY156" fmla="*/ 34925 h 101600"/>
                  <a:gd name="connsiteX157" fmla="*/ 530225 w 920750"/>
                  <a:gd name="connsiteY157" fmla="*/ 50165 h 101600"/>
                  <a:gd name="connsiteX158" fmla="*/ 530225 w 920750"/>
                  <a:gd name="connsiteY158" fmla="*/ 52070 h 101600"/>
                  <a:gd name="connsiteX159" fmla="*/ 526733 w 920750"/>
                  <a:gd name="connsiteY159" fmla="*/ 65405 h 101600"/>
                  <a:gd name="connsiteX160" fmla="*/ 515620 w 920750"/>
                  <a:gd name="connsiteY160" fmla="*/ 69533 h 101600"/>
                  <a:gd name="connsiteX161" fmla="*/ 505460 w 920750"/>
                  <a:gd name="connsiteY161" fmla="*/ 64452 h 101600"/>
                  <a:gd name="connsiteX162" fmla="*/ 501968 w 920750"/>
                  <a:gd name="connsiteY162" fmla="*/ 49848 h 101600"/>
                  <a:gd name="connsiteX163" fmla="*/ 505460 w 920750"/>
                  <a:gd name="connsiteY163" fmla="*/ 35242 h 101600"/>
                  <a:gd name="connsiteX164" fmla="*/ 515303 w 920750"/>
                  <a:gd name="connsiteY164" fmla="*/ 30163 h 101600"/>
                  <a:gd name="connsiteX165" fmla="*/ 526733 w 920750"/>
                  <a:gd name="connsiteY165" fmla="*/ 34925 h 101600"/>
                  <a:gd name="connsiteX166" fmla="*/ 497205 w 920750"/>
                  <a:gd name="connsiteY166" fmla="*/ 29210 h 101600"/>
                  <a:gd name="connsiteX167" fmla="*/ 491490 w 920750"/>
                  <a:gd name="connsiteY167" fmla="*/ 50165 h 101600"/>
                  <a:gd name="connsiteX168" fmla="*/ 497205 w 920750"/>
                  <a:gd name="connsiteY168" fmla="*/ 70802 h 101600"/>
                  <a:gd name="connsiteX169" fmla="*/ 513398 w 920750"/>
                  <a:gd name="connsiteY169" fmla="*/ 78423 h 101600"/>
                  <a:gd name="connsiteX170" fmla="*/ 522923 w 920750"/>
                  <a:gd name="connsiteY170" fmla="*/ 76517 h 101600"/>
                  <a:gd name="connsiteX171" fmla="*/ 529908 w 920750"/>
                  <a:gd name="connsiteY171" fmla="*/ 70167 h 101600"/>
                  <a:gd name="connsiteX172" fmla="*/ 530225 w 920750"/>
                  <a:gd name="connsiteY172" fmla="*/ 70167 h 101600"/>
                  <a:gd name="connsiteX173" fmla="*/ 529908 w 920750"/>
                  <a:gd name="connsiteY173" fmla="*/ 73342 h 101600"/>
                  <a:gd name="connsiteX174" fmla="*/ 529908 w 920750"/>
                  <a:gd name="connsiteY174" fmla="*/ 76835 h 101600"/>
                  <a:gd name="connsiteX175" fmla="*/ 529908 w 920750"/>
                  <a:gd name="connsiteY175" fmla="*/ 78740 h 101600"/>
                  <a:gd name="connsiteX176" fmla="*/ 526098 w 920750"/>
                  <a:gd name="connsiteY176" fmla="*/ 89535 h 101600"/>
                  <a:gd name="connsiteX177" fmla="*/ 515938 w 920750"/>
                  <a:gd name="connsiteY177" fmla="*/ 93345 h 101600"/>
                  <a:gd name="connsiteX178" fmla="*/ 504825 w 920750"/>
                  <a:gd name="connsiteY178" fmla="*/ 92392 h 101600"/>
                  <a:gd name="connsiteX179" fmla="*/ 495300 w 920750"/>
                  <a:gd name="connsiteY179" fmla="*/ 89217 h 101600"/>
                  <a:gd name="connsiteX180" fmla="*/ 495300 w 920750"/>
                  <a:gd name="connsiteY180" fmla="*/ 98742 h 101600"/>
                  <a:gd name="connsiteX181" fmla="*/ 504508 w 920750"/>
                  <a:gd name="connsiteY181" fmla="*/ 101283 h 101600"/>
                  <a:gd name="connsiteX182" fmla="*/ 515303 w 920750"/>
                  <a:gd name="connsiteY182" fmla="*/ 102235 h 101600"/>
                  <a:gd name="connsiteX183" fmla="*/ 540703 w 920750"/>
                  <a:gd name="connsiteY183" fmla="*/ 78423 h 101600"/>
                  <a:gd name="connsiteX184" fmla="*/ 540703 w 920750"/>
                  <a:gd name="connsiteY184" fmla="*/ 22860 h 101600"/>
                  <a:gd name="connsiteX185" fmla="*/ 531813 w 920750"/>
                  <a:gd name="connsiteY185" fmla="*/ 22860 h 101600"/>
                  <a:gd name="connsiteX186" fmla="*/ 530543 w 920750"/>
                  <a:gd name="connsiteY186" fmla="*/ 30163 h 101600"/>
                  <a:gd name="connsiteX187" fmla="*/ 529908 w 920750"/>
                  <a:gd name="connsiteY187" fmla="*/ 30163 h 101600"/>
                  <a:gd name="connsiteX188" fmla="*/ 522605 w 920750"/>
                  <a:gd name="connsiteY188" fmla="*/ 23813 h 101600"/>
                  <a:gd name="connsiteX189" fmla="*/ 513080 w 920750"/>
                  <a:gd name="connsiteY189" fmla="*/ 21908 h 101600"/>
                  <a:gd name="connsiteX190" fmla="*/ 497205 w 920750"/>
                  <a:gd name="connsiteY190" fmla="*/ 29210 h 101600"/>
                  <a:gd name="connsiteX191" fmla="*/ 448310 w 920750"/>
                  <a:gd name="connsiteY191" fmla="*/ 23495 h 101600"/>
                  <a:gd name="connsiteX192" fmla="*/ 441008 w 920750"/>
                  <a:gd name="connsiteY192" fmla="*/ 29845 h 101600"/>
                  <a:gd name="connsiteX193" fmla="*/ 440373 w 920750"/>
                  <a:gd name="connsiteY193" fmla="*/ 29845 h 101600"/>
                  <a:gd name="connsiteX194" fmla="*/ 438785 w 920750"/>
                  <a:gd name="connsiteY194" fmla="*/ 22542 h 101600"/>
                  <a:gd name="connsiteX195" fmla="*/ 430213 w 920750"/>
                  <a:gd name="connsiteY195" fmla="*/ 22542 h 101600"/>
                  <a:gd name="connsiteX196" fmla="*/ 430213 w 920750"/>
                  <a:gd name="connsiteY196" fmla="*/ 77152 h 101600"/>
                  <a:gd name="connsiteX197" fmla="*/ 441008 w 920750"/>
                  <a:gd name="connsiteY197" fmla="*/ 77152 h 101600"/>
                  <a:gd name="connsiteX198" fmla="*/ 441008 w 920750"/>
                  <a:gd name="connsiteY198" fmla="*/ 49530 h 101600"/>
                  <a:gd name="connsiteX199" fmla="*/ 444183 w 920750"/>
                  <a:gd name="connsiteY199" fmla="*/ 35242 h 101600"/>
                  <a:gd name="connsiteX200" fmla="*/ 455613 w 920750"/>
                  <a:gd name="connsiteY200" fmla="*/ 30163 h 101600"/>
                  <a:gd name="connsiteX201" fmla="*/ 467043 w 920750"/>
                  <a:gd name="connsiteY201" fmla="*/ 42863 h 101600"/>
                  <a:gd name="connsiteX202" fmla="*/ 467043 w 920750"/>
                  <a:gd name="connsiteY202" fmla="*/ 77152 h 101600"/>
                  <a:gd name="connsiteX203" fmla="*/ 477838 w 920750"/>
                  <a:gd name="connsiteY203" fmla="*/ 77152 h 101600"/>
                  <a:gd name="connsiteX204" fmla="*/ 477838 w 920750"/>
                  <a:gd name="connsiteY204" fmla="*/ 41592 h 101600"/>
                  <a:gd name="connsiteX205" fmla="*/ 472758 w 920750"/>
                  <a:gd name="connsiteY205" fmla="*/ 26352 h 101600"/>
                  <a:gd name="connsiteX206" fmla="*/ 458153 w 920750"/>
                  <a:gd name="connsiteY206" fmla="*/ 21590 h 101600"/>
                  <a:gd name="connsiteX207" fmla="*/ 448310 w 920750"/>
                  <a:gd name="connsiteY207" fmla="*/ 23495 h 101600"/>
                  <a:gd name="connsiteX208" fmla="*/ 402908 w 920750"/>
                  <a:gd name="connsiteY208" fmla="*/ 77152 h 101600"/>
                  <a:gd name="connsiteX209" fmla="*/ 413703 w 920750"/>
                  <a:gd name="connsiteY209" fmla="*/ 77152 h 101600"/>
                  <a:gd name="connsiteX210" fmla="*/ 413703 w 920750"/>
                  <a:gd name="connsiteY210" fmla="*/ 22542 h 101600"/>
                  <a:gd name="connsiteX211" fmla="*/ 402908 w 920750"/>
                  <a:gd name="connsiteY211" fmla="*/ 22542 h 101600"/>
                  <a:gd name="connsiteX212" fmla="*/ 402908 w 920750"/>
                  <a:gd name="connsiteY212" fmla="*/ 77152 h 101600"/>
                  <a:gd name="connsiteX213" fmla="*/ 403860 w 920750"/>
                  <a:gd name="connsiteY213" fmla="*/ 3175 h 101600"/>
                  <a:gd name="connsiteX214" fmla="*/ 401955 w 920750"/>
                  <a:gd name="connsiteY214" fmla="*/ 7938 h 101600"/>
                  <a:gd name="connsiteX215" fmla="*/ 403860 w 920750"/>
                  <a:gd name="connsiteY215" fmla="*/ 12700 h 101600"/>
                  <a:gd name="connsiteX216" fmla="*/ 408305 w 920750"/>
                  <a:gd name="connsiteY216" fmla="*/ 14288 h 101600"/>
                  <a:gd name="connsiteX217" fmla="*/ 412433 w 920750"/>
                  <a:gd name="connsiteY217" fmla="*/ 12700 h 101600"/>
                  <a:gd name="connsiteX218" fmla="*/ 414338 w 920750"/>
                  <a:gd name="connsiteY218" fmla="*/ 7938 h 101600"/>
                  <a:gd name="connsiteX219" fmla="*/ 412433 w 920750"/>
                  <a:gd name="connsiteY219" fmla="*/ 3175 h 101600"/>
                  <a:gd name="connsiteX220" fmla="*/ 408305 w 920750"/>
                  <a:gd name="connsiteY220" fmla="*/ 1905 h 101600"/>
                  <a:gd name="connsiteX221" fmla="*/ 403860 w 920750"/>
                  <a:gd name="connsiteY221" fmla="*/ 3175 h 101600"/>
                  <a:gd name="connsiteX222" fmla="*/ 373380 w 920750"/>
                  <a:gd name="connsiteY222" fmla="*/ 77152 h 101600"/>
                  <a:gd name="connsiteX223" fmla="*/ 394335 w 920750"/>
                  <a:gd name="connsiteY223" fmla="*/ 22542 h 101600"/>
                  <a:gd name="connsiteX224" fmla="*/ 382905 w 920750"/>
                  <a:gd name="connsiteY224" fmla="*/ 22542 h 101600"/>
                  <a:gd name="connsiteX225" fmla="*/ 371475 w 920750"/>
                  <a:gd name="connsiteY225" fmla="*/ 54610 h 101600"/>
                  <a:gd name="connsiteX226" fmla="*/ 369253 w 920750"/>
                  <a:gd name="connsiteY226" fmla="*/ 61595 h 101600"/>
                  <a:gd name="connsiteX227" fmla="*/ 367665 w 920750"/>
                  <a:gd name="connsiteY227" fmla="*/ 67945 h 101600"/>
                  <a:gd name="connsiteX228" fmla="*/ 367348 w 920750"/>
                  <a:gd name="connsiteY228" fmla="*/ 67945 h 101600"/>
                  <a:gd name="connsiteX229" fmla="*/ 365760 w 920750"/>
                  <a:gd name="connsiteY229" fmla="*/ 61595 h 101600"/>
                  <a:gd name="connsiteX230" fmla="*/ 363538 w 920750"/>
                  <a:gd name="connsiteY230" fmla="*/ 54610 h 101600"/>
                  <a:gd name="connsiteX231" fmla="*/ 352108 w 920750"/>
                  <a:gd name="connsiteY231" fmla="*/ 22542 h 101600"/>
                  <a:gd name="connsiteX232" fmla="*/ 340995 w 920750"/>
                  <a:gd name="connsiteY232" fmla="*/ 22542 h 101600"/>
                  <a:gd name="connsiteX233" fmla="*/ 361633 w 920750"/>
                  <a:gd name="connsiteY233" fmla="*/ 77152 h 101600"/>
                  <a:gd name="connsiteX234" fmla="*/ 373380 w 920750"/>
                  <a:gd name="connsiteY234" fmla="*/ 77152 h 101600"/>
                  <a:gd name="connsiteX235" fmla="*/ 321628 w 920750"/>
                  <a:gd name="connsiteY235" fmla="*/ 77152 h 101600"/>
                  <a:gd name="connsiteX236" fmla="*/ 332423 w 920750"/>
                  <a:gd name="connsiteY236" fmla="*/ 77152 h 101600"/>
                  <a:gd name="connsiteX237" fmla="*/ 332423 w 920750"/>
                  <a:gd name="connsiteY237" fmla="*/ 22542 h 101600"/>
                  <a:gd name="connsiteX238" fmla="*/ 321628 w 920750"/>
                  <a:gd name="connsiteY238" fmla="*/ 22542 h 101600"/>
                  <a:gd name="connsiteX239" fmla="*/ 321628 w 920750"/>
                  <a:gd name="connsiteY239" fmla="*/ 77152 h 101600"/>
                  <a:gd name="connsiteX240" fmla="*/ 322898 w 920750"/>
                  <a:gd name="connsiteY240" fmla="*/ 3175 h 101600"/>
                  <a:gd name="connsiteX241" fmla="*/ 320993 w 920750"/>
                  <a:gd name="connsiteY241" fmla="*/ 7938 h 101600"/>
                  <a:gd name="connsiteX242" fmla="*/ 322898 w 920750"/>
                  <a:gd name="connsiteY242" fmla="*/ 12700 h 101600"/>
                  <a:gd name="connsiteX243" fmla="*/ 327343 w 920750"/>
                  <a:gd name="connsiteY243" fmla="*/ 14288 h 101600"/>
                  <a:gd name="connsiteX244" fmla="*/ 331470 w 920750"/>
                  <a:gd name="connsiteY244" fmla="*/ 12700 h 101600"/>
                  <a:gd name="connsiteX245" fmla="*/ 333375 w 920750"/>
                  <a:gd name="connsiteY245" fmla="*/ 7938 h 101600"/>
                  <a:gd name="connsiteX246" fmla="*/ 331470 w 920750"/>
                  <a:gd name="connsiteY246" fmla="*/ 3175 h 101600"/>
                  <a:gd name="connsiteX247" fmla="*/ 327343 w 920750"/>
                  <a:gd name="connsiteY247" fmla="*/ 1905 h 101600"/>
                  <a:gd name="connsiteX248" fmla="*/ 322898 w 920750"/>
                  <a:gd name="connsiteY248" fmla="*/ 3175 h 101600"/>
                  <a:gd name="connsiteX249" fmla="*/ 295593 w 920750"/>
                  <a:gd name="connsiteY249" fmla="*/ 24765 h 101600"/>
                  <a:gd name="connsiteX250" fmla="*/ 288925 w 920750"/>
                  <a:gd name="connsiteY250" fmla="*/ 32385 h 101600"/>
                  <a:gd name="connsiteX251" fmla="*/ 288608 w 920750"/>
                  <a:gd name="connsiteY251" fmla="*/ 32385 h 101600"/>
                  <a:gd name="connsiteX252" fmla="*/ 287338 w 920750"/>
                  <a:gd name="connsiteY252" fmla="*/ 22542 h 101600"/>
                  <a:gd name="connsiteX253" fmla="*/ 278765 w 920750"/>
                  <a:gd name="connsiteY253" fmla="*/ 22542 h 101600"/>
                  <a:gd name="connsiteX254" fmla="*/ 278765 w 920750"/>
                  <a:gd name="connsiteY254" fmla="*/ 77152 h 101600"/>
                  <a:gd name="connsiteX255" fmla="*/ 289560 w 920750"/>
                  <a:gd name="connsiteY255" fmla="*/ 77152 h 101600"/>
                  <a:gd name="connsiteX256" fmla="*/ 289560 w 920750"/>
                  <a:gd name="connsiteY256" fmla="*/ 48260 h 101600"/>
                  <a:gd name="connsiteX257" fmla="*/ 291783 w 920750"/>
                  <a:gd name="connsiteY257" fmla="*/ 39052 h 101600"/>
                  <a:gd name="connsiteX258" fmla="*/ 297498 w 920750"/>
                  <a:gd name="connsiteY258" fmla="*/ 33338 h 101600"/>
                  <a:gd name="connsiteX259" fmla="*/ 305118 w 920750"/>
                  <a:gd name="connsiteY259" fmla="*/ 31433 h 101600"/>
                  <a:gd name="connsiteX260" fmla="*/ 310515 w 920750"/>
                  <a:gd name="connsiteY260" fmla="*/ 32067 h 101600"/>
                  <a:gd name="connsiteX261" fmla="*/ 311785 w 920750"/>
                  <a:gd name="connsiteY261" fmla="*/ 21908 h 101600"/>
                  <a:gd name="connsiteX262" fmla="*/ 305753 w 920750"/>
                  <a:gd name="connsiteY262" fmla="*/ 21273 h 101600"/>
                  <a:gd name="connsiteX263" fmla="*/ 295593 w 920750"/>
                  <a:gd name="connsiteY263" fmla="*/ 24765 h 101600"/>
                  <a:gd name="connsiteX264" fmla="*/ 226695 w 920750"/>
                  <a:gd name="connsiteY264" fmla="*/ 64452 h 101600"/>
                  <a:gd name="connsiteX265" fmla="*/ 223203 w 920750"/>
                  <a:gd name="connsiteY265" fmla="*/ 50165 h 101600"/>
                  <a:gd name="connsiteX266" fmla="*/ 226695 w 920750"/>
                  <a:gd name="connsiteY266" fmla="*/ 35560 h 101600"/>
                  <a:gd name="connsiteX267" fmla="*/ 236538 w 920750"/>
                  <a:gd name="connsiteY267" fmla="*/ 30163 h 101600"/>
                  <a:gd name="connsiteX268" fmla="*/ 247968 w 920750"/>
                  <a:gd name="connsiteY268" fmla="*/ 35242 h 101600"/>
                  <a:gd name="connsiteX269" fmla="*/ 251143 w 920750"/>
                  <a:gd name="connsiteY269" fmla="*/ 49848 h 101600"/>
                  <a:gd name="connsiteX270" fmla="*/ 251143 w 920750"/>
                  <a:gd name="connsiteY270" fmla="*/ 51435 h 101600"/>
                  <a:gd name="connsiteX271" fmla="*/ 247968 w 920750"/>
                  <a:gd name="connsiteY271" fmla="*/ 64770 h 101600"/>
                  <a:gd name="connsiteX272" fmla="*/ 236855 w 920750"/>
                  <a:gd name="connsiteY272" fmla="*/ 69215 h 101600"/>
                  <a:gd name="connsiteX273" fmla="*/ 226695 w 920750"/>
                  <a:gd name="connsiteY273" fmla="*/ 64452 h 101600"/>
                  <a:gd name="connsiteX274" fmla="*/ 244475 w 920750"/>
                  <a:gd name="connsiteY274" fmla="*/ 75883 h 101600"/>
                  <a:gd name="connsiteX275" fmla="*/ 250825 w 920750"/>
                  <a:gd name="connsiteY275" fmla="*/ 69850 h 101600"/>
                  <a:gd name="connsiteX276" fmla="*/ 251460 w 920750"/>
                  <a:gd name="connsiteY276" fmla="*/ 69850 h 101600"/>
                  <a:gd name="connsiteX277" fmla="*/ 253365 w 920750"/>
                  <a:gd name="connsiteY277" fmla="*/ 77152 h 101600"/>
                  <a:gd name="connsiteX278" fmla="*/ 261938 w 920750"/>
                  <a:gd name="connsiteY278" fmla="*/ 77152 h 101600"/>
                  <a:gd name="connsiteX279" fmla="*/ 261938 w 920750"/>
                  <a:gd name="connsiteY279" fmla="*/ 0 h 101600"/>
                  <a:gd name="connsiteX280" fmla="*/ 251143 w 920750"/>
                  <a:gd name="connsiteY280" fmla="*/ 0 h 101600"/>
                  <a:gd name="connsiteX281" fmla="*/ 251143 w 920750"/>
                  <a:gd name="connsiteY281" fmla="*/ 20638 h 101600"/>
                  <a:gd name="connsiteX282" fmla="*/ 251460 w 920750"/>
                  <a:gd name="connsiteY282" fmla="*/ 25400 h 101600"/>
                  <a:gd name="connsiteX283" fmla="*/ 252095 w 920750"/>
                  <a:gd name="connsiteY283" fmla="*/ 29527 h 101600"/>
                  <a:gd name="connsiteX284" fmla="*/ 251460 w 920750"/>
                  <a:gd name="connsiteY284" fmla="*/ 29527 h 101600"/>
                  <a:gd name="connsiteX285" fmla="*/ 245110 w 920750"/>
                  <a:gd name="connsiteY285" fmla="*/ 23813 h 101600"/>
                  <a:gd name="connsiteX286" fmla="*/ 234950 w 920750"/>
                  <a:gd name="connsiteY286" fmla="*/ 21590 h 101600"/>
                  <a:gd name="connsiteX287" fmla="*/ 218758 w 920750"/>
                  <a:gd name="connsiteY287" fmla="*/ 28892 h 101600"/>
                  <a:gd name="connsiteX288" fmla="*/ 212725 w 920750"/>
                  <a:gd name="connsiteY288" fmla="*/ 50165 h 101600"/>
                  <a:gd name="connsiteX289" fmla="*/ 218758 w 920750"/>
                  <a:gd name="connsiteY289" fmla="*/ 71438 h 101600"/>
                  <a:gd name="connsiteX290" fmla="*/ 234633 w 920750"/>
                  <a:gd name="connsiteY290" fmla="*/ 78423 h 101600"/>
                  <a:gd name="connsiteX291" fmla="*/ 244475 w 920750"/>
                  <a:gd name="connsiteY291" fmla="*/ 75883 h 101600"/>
                  <a:gd name="connsiteX292" fmla="*/ 137478 w 920750"/>
                  <a:gd name="connsiteY292" fmla="*/ 64452 h 101600"/>
                  <a:gd name="connsiteX293" fmla="*/ 133985 w 920750"/>
                  <a:gd name="connsiteY293" fmla="*/ 50165 h 101600"/>
                  <a:gd name="connsiteX294" fmla="*/ 137478 w 920750"/>
                  <a:gd name="connsiteY294" fmla="*/ 35560 h 101600"/>
                  <a:gd name="connsiteX295" fmla="*/ 147320 w 920750"/>
                  <a:gd name="connsiteY295" fmla="*/ 30163 h 101600"/>
                  <a:gd name="connsiteX296" fmla="*/ 158750 w 920750"/>
                  <a:gd name="connsiteY296" fmla="*/ 35242 h 101600"/>
                  <a:gd name="connsiteX297" fmla="*/ 161925 w 920750"/>
                  <a:gd name="connsiteY297" fmla="*/ 49848 h 101600"/>
                  <a:gd name="connsiteX298" fmla="*/ 161925 w 920750"/>
                  <a:gd name="connsiteY298" fmla="*/ 51435 h 101600"/>
                  <a:gd name="connsiteX299" fmla="*/ 158750 w 920750"/>
                  <a:gd name="connsiteY299" fmla="*/ 64770 h 101600"/>
                  <a:gd name="connsiteX300" fmla="*/ 147638 w 920750"/>
                  <a:gd name="connsiteY300" fmla="*/ 69215 h 101600"/>
                  <a:gd name="connsiteX301" fmla="*/ 137478 w 920750"/>
                  <a:gd name="connsiteY301" fmla="*/ 64452 h 101600"/>
                  <a:gd name="connsiteX302" fmla="*/ 155258 w 920750"/>
                  <a:gd name="connsiteY302" fmla="*/ 75883 h 101600"/>
                  <a:gd name="connsiteX303" fmla="*/ 161608 w 920750"/>
                  <a:gd name="connsiteY303" fmla="*/ 69850 h 101600"/>
                  <a:gd name="connsiteX304" fmla="*/ 162243 w 920750"/>
                  <a:gd name="connsiteY304" fmla="*/ 69850 h 101600"/>
                  <a:gd name="connsiteX305" fmla="*/ 164148 w 920750"/>
                  <a:gd name="connsiteY305" fmla="*/ 77152 h 101600"/>
                  <a:gd name="connsiteX306" fmla="*/ 172720 w 920750"/>
                  <a:gd name="connsiteY306" fmla="*/ 77152 h 101600"/>
                  <a:gd name="connsiteX307" fmla="*/ 172720 w 920750"/>
                  <a:gd name="connsiteY307" fmla="*/ 0 h 101600"/>
                  <a:gd name="connsiteX308" fmla="*/ 161925 w 920750"/>
                  <a:gd name="connsiteY308" fmla="*/ 0 h 101600"/>
                  <a:gd name="connsiteX309" fmla="*/ 161925 w 920750"/>
                  <a:gd name="connsiteY309" fmla="*/ 20638 h 101600"/>
                  <a:gd name="connsiteX310" fmla="*/ 162243 w 920750"/>
                  <a:gd name="connsiteY310" fmla="*/ 25400 h 101600"/>
                  <a:gd name="connsiteX311" fmla="*/ 162878 w 920750"/>
                  <a:gd name="connsiteY311" fmla="*/ 29527 h 101600"/>
                  <a:gd name="connsiteX312" fmla="*/ 162243 w 920750"/>
                  <a:gd name="connsiteY312" fmla="*/ 29527 h 101600"/>
                  <a:gd name="connsiteX313" fmla="*/ 155893 w 920750"/>
                  <a:gd name="connsiteY313" fmla="*/ 23813 h 101600"/>
                  <a:gd name="connsiteX314" fmla="*/ 145733 w 920750"/>
                  <a:gd name="connsiteY314" fmla="*/ 21590 h 101600"/>
                  <a:gd name="connsiteX315" fmla="*/ 129540 w 920750"/>
                  <a:gd name="connsiteY315" fmla="*/ 28892 h 101600"/>
                  <a:gd name="connsiteX316" fmla="*/ 123508 w 920750"/>
                  <a:gd name="connsiteY316" fmla="*/ 50165 h 101600"/>
                  <a:gd name="connsiteX317" fmla="*/ 129540 w 920750"/>
                  <a:gd name="connsiteY317" fmla="*/ 71438 h 101600"/>
                  <a:gd name="connsiteX318" fmla="*/ 145415 w 920750"/>
                  <a:gd name="connsiteY318" fmla="*/ 78423 h 101600"/>
                  <a:gd name="connsiteX319" fmla="*/ 155258 w 920750"/>
                  <a:gd name="connsiteY319" fmla="*/ 75883 h 101600"/>
                  <a:gd name="connsiteX320" fmla="*/ 80010 w 920750"/>
                  <a:gd name="connsiteY320" fmla="*/ 23495 h 101600"/>
                  <a:gd name="connsiteX321" fmla="*/ 72708 w 920750"/>
                  <a:gd name="connsiteY321" fmla="*/ 29845 h 101600"/>
                  <a:gd name="connsiteX322" fmla="*/ 72073 w 920750"/>
                  <a:gd name="connsiteY322" fmla="*/ 29845 h 101600"/>
                  <a:gd name="connsiteX323" fmla="*/ 70485 w 920750"/>
                  <a:gd name="connsiteY323" fmla="*/ 22542 h 101600"/>
                  <a:gd name="connsiteX324" fmla="*/ 61913 w 920750"/>
                  <a:gd name="connsiteY324" fmla="*/ 22542 h 101600"/>
                  <a:gd name="connsiteX325" fmla="*/ 61913 w 920750"/>
                  <a:gd name="connsiteY325" fmla="*/ 77152 h 101600"/>
                  <a:gd name="connsiteX326" fmla="*/ 72708 w 920750"/>
                  <a:gd name="connsiteY326" fmla="*/ 77152 h 101600"/>
                  <a:gd name="connsiteX327" fmla="*/ 72708 w 920750"/>
                  <a:gd name="connsiteY327" fmla="*/ 49530 h 101600"/>
                  <a:gd name="connsiteX328" fmla="*/ 75883 w 920750"/>
                  <a:gd name="connsiteY328" fmla="*/ 35242 h 101600"/>
                  <a:gd name="connsiteX329" fmla="*/ 87313 w 920750"/>
                  <a:gd name="connsiteY329" fmla="*/ 30163 h 101600"/>
                  <a:gd name="connsiteX330" fmla="*/ 98743 w 920750"/>
                  <a:gd name="connsiteY330" fmla="*/ 42863 h 101600"/>
                  <a:gd name="connsiteX331" fmla="*/ 98743 w 920750"/>
                  <a:gd name="connsiteY331" fmla="*/ 77152 h 101600"/>
                  <a:gd name="connsiteX332" fmla="*/ 109538 w 920750"/>
                  <a:gd name="connsiteY332" fmla="*/ 77152 h 101600"/>
                  <a:gd name="connsiteX333" fmla="*/ 109538 w 920750"/>
                  <a:gd name="connsiteY333" fmla="*/ 41592 h 101600"/>
                  <a:gd name="connsiteX334" fmla="*/ 104458 w 920750"/>
                  <a:gd name="connsiteY334" fmla="*/ 26352 h 101600"/>
                  <a:gd name="connsiteX335" fmla="*/ 89853 w 920750"/>
                  <a:gd name="connsiteY335" fmla="*/ 21590 h 101600"/>
                  <a:gd name="connsiteX336" fmla="*/ 80010 w 920750"/>
                  <a:gd name="connsiteY336" fmla="*/ 23495 h 101600"/>
                  <a:gd name="connsiteX337" fmla="*/ 34925 w 920750"/>
                  <a:gd name="connsiteY337" fmla="*/ 55563 h 101600"/>
                  <a:gd name="connsiteX338" fmla="*/ 30798 w 920750"/>
                  <a:gd name="connsiteY338" fmla="*/ 66358 h 101600"/>
                  <a:gd name="connsiteX339" fmla="*/ 20320 w 920750"/>
                  <a:gd name="connsiteY339" fmla="*/ 69850 h 101600"/>
                  <a:gd name="connsiteX340" fmla="*/ 13653 w 920750"/>
                  <a:gd name="connsiteY340" fmla="*/ 67945 h 101600"/>
                  <a:gd name="connsiteX341" fmla="*/ 11113 w 920750"/>
                  <a:gd name="connsiteY341" fmla="*/ 61595 h 101600"/>
                  <a:gd name="connsiteX342" fmla="*/ 14605 w 920750"/>
                  <a:gd name="connsiteY342" fmla="*/ 53975 h 101600"/>
                  <a:gd name="connsiteX343" fmla="*/ 27623 w 920750"/>
                  <a:gd name="connsiteY343" fmla="*/ 50800 h 101600"/>
                  <a:gd name="connsiteX344" fmla="*/ 34925 w 920750"/>
                  <a:gd name="connsiteY344" fmla="*/ 50483 h 101600"/>
                  <a:gd name="connsiteX345" fmla="*/ 34925 w 920750"/>
                  <a:gd name="connsiteY345" fmla="*/ 55563 h 101600"/>
                  <a:gd name="connsiteX346" fmla="*/ 14605 w 920750"/>
                  <a:gd name="connsiteY346" fmla="*/ 22860 h 101600"/>
                  <a:gd name="connsiteX347" fmla="*/ 5715 w 920750"/>
                  <a:gd name="connsiteY347" fmla="*/ 26352 h 101600"/>
                  <a:gd name="connsiteX348" fmla="*/ 9208 w 920750"/>
                  <a:gd name="connsiteY348" fmla="*/ 34290 h 101600"/>
                  <a:gd name="connsiteX349" fmla="*/ 16510 w 920750"/>
                  <a:gd name="connsiteY349" fmla="*/ 31433 h 101600"/>
                  <a:gd name="connsiteX350" fmla="*/ 24448 w 920750"/>
                  <a:gd name="connsiteY350" fmla="*/ 30163 h 101600"/>
                  <a:gd name="connsiteX351" fmla="*/ 32068 w 920750"/>
                  <a:gd name="connsiteY351" fmla="*/ 32702 h 101600"/>
                  <a:gd name="connsiteX352" fmla="*/ 34925 w 920750"/>
                  <a:gd name="connsiteY352" fmla="*/ 41275 h 101600"/>
                  <a:gd name="connsiteX353" fmla="*/ 34925 w 920750"/>
                  <a:gd name="connsiteY353" fmla="*/ 44450 h 101600"/>
                  <a:gd name="connsiteX354" fmla="*/ 25718 w 920750"/>
                  <a:gd name="connsiteY354" fmla="*/ 44767 h 101600"/>
                  <a:gd name="connsiteX355" fmla="*/ 6350 w 920750"/>
                  <a:gd name="connsiteY355" fmla="*/ 49530 h 101600"/>
                  <a:gd name="connsiteX356" fmla="*/ 0 w 920750"/>
                  <a:gd name="connsiteY356" fmla="*/ 62230 h 101600"/>
                  <a:gd name="connsiteX357" fmla="*/ 4763 w 920750"/>
                  <a:gd name="connsiteY357" fmla="*/ 74930 h 101600"/>
                  <a:gd name="connsiteX358" fmla="*/ 17145 w 920750"/>
                  <a:gd name="connsiteY358" fmla="*/ 79058 h 101600"/>
                  <a:gd name="connsiteX359" fmla="*/ 27940 w 920750"/>
                  <a:gd name="connsiteY359" fmla="*/ 76835 h 101600"/>
                  <a:gd name="connsiteX360" fmla="*/ 35560 w 920750"/>
                  <a:gd name="connsiteY360" fmla="*/ 70167 h 101600"/>
                  <a:gd name="connsiteX361" fmla="*/ 35878 w 920750"/>
                  <a:gd name="connsiteY361" fmla="*/ 70167 h 101600"/>
                  <a:gd name="connsiteX362" fmla="*/ 38100 w 920750"/>
                  <a:gd name="connsiteY362" fmla="*/ 77788 h 101600"/>
                  <a:gd name="connsiteX363" fmla="*/ 45720 w 920750"/>
                  <a:gd name="connsiteY363" fmla="*/ 77788 h 101600"/>
                  <a:gd name="connsiteX364" fmla="*/ 45720 w 920750"/>
                  <a:gd name="connsiteY364" fmla="*/ 40640 h 101600"/>
                  <a:gd name="connsiteX365" fmla="*/ 40640 w 920750"/>
                  <a:gd name="connsiteY365" fmla="*/ 26352 h 101600"/>
                  <a:gd name="connsiteX366" fmla="*/ 25400 w 920750"/>
                  <a:gd name="connsiteY366" fmla="*/ 21908 h 101600"/>
                  <a:gd name="connsiteX367" fmla="*/ 14605 w 920750"/>
                  <a:gd name="connsiteY367" fmla="*/ 2286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Lst>
                <a:rect l="l" t="t" r="r" b="b"/>
                <a:pathLst>
                  <a:path w="920750" h="101600">
                    <a:moveTo>
                      <a:pt x="907733" y="67310"/>
                    </a:moveTo>
                    <a:cubicBezTo>
                      <a:pt x="906145" y="66040"/>
                      <a:pt x="905510" y="63817"/>
                      <a:pt x="905510" y="60642"/>
                    </a:cubicBezTo>
                    <a:lnTo>
                      <a:pt x="905510" y="30480"/>
                    </a:lnTo>
                    <a:lnTo>
                      <a:pt x="921068" y="30480"/>
                    </a:lnTo>
                    <a:lnTo>
                      <a:pt x="921068" y="22225"/>
                    </a:lnTo>
                    <a:lnTo>
                      <a:pt x="905510" y="22225"/>
                    </a:lnTo>
                    <a:lnTo>
                      <a:pt x="905510" y="9842"/>
                    </a:lnTo>
                    <a:lnTo>
                      <a:pt x="898843" y="9842"/>
                    </a:lnTo>
                    <a:lnTo>
                      <a:pt x="895033" y="21273"/>
                    </a:lnTo>
                    <a:lnTo>
                      <a:pt x="887095" y="25400"/>
                    </a:lnTo>
                    <a:lnTo>
                      <a:pt x="887095" y="30163"/>
                    </a:lnTo>
                    <a:lnTo>
                      <a:pt x="894715" y="30163"/>
                    </a:lnTo>
                    <a:lnTo>
                      <a:pt x="894715" y="60325"/>
                    </a:lnTo>
                    <a:cubicBezTo>
                      <a:pt x="894715" y="64770"/>
                      <a:pt x="895350" y="68263"/>
                      <a:pt x="896938" y="70802"/>
                    </a:cubicBezTo>
                    <a:cubicBezTo>
                      <a:pt x="898525" y="73342"/>
                      <a:pt x="900430" y="74930"/>
                      <a:pt x="902970" y="76200"/>
                    </a:cubicBezTo>
                    <a:cubicBezTo>
                      <a:pt x="905510" y="77152"/>
                      <a:pt x="908050" y="77788"/>
                      <a:pt x="911225" y="77788"/>
                    </a:cubicBezTo>
                    <a:cubicBezTo>
                      <a:pt x="913130" y="77788"/>
                      <a:pt x="915035" y="77470"/>
                      <a:pt x="917258" y="77152"/>
                    </a:cubicBezTo>
                    <a:cubicBezTo>
                      <a:pt x="919163" y="76835"/>
                      <a:pt x="920750" y="76200"/>
                      <a:pt x="922020" y="75883"/>
                    </a:cubicBezTo>
                    <a:lnTo>
                      <a:pt x="922020" y="67627"/>
                    </a:lnTo>
                    <a:cubicBezTo>
                      <a:pt x="919480" y="68580"/>
                      <a:pt x="916940" y="68898"/>
                      <a:pt x="913765" y="68898"/>
                    </a:cubicBezTo>
                    <a:cubicBezTo>
                      <a:pt x="911225" y="69533"/>
                      <a:pt x="909320" y="68898"/>
                      <a:pt x="907733" y="67310"/>
                    </a:cubicBezTo>
                    <a:moveTo>
                      <a:pt x="847725" y="23495"/>
                    </a:moveTo>
                    <a:cubicBezTo>
                      <a:pt x="844550" y="24765"/>
                      <a:pt x="842328" y="26988"/>
                      <a:pt x="840423" y="29845"/>
                    </a:cubicBezTo>
                    <a:lnTo>
                      <a:pt x="839788" y="29845"/>
                    </a:lnTo>
                    <a:lnTo>
                      <a:pt x="838200" y="22542"/>
                    </a:lnTo>
                    <a:lnTo>
                      <a:pt x="829628" y="22542"/>
                    </a:lnTo>
                    <a:lnTo>
                      <a:pt x="829628" y="77152"/>
                    </a:lnTo>
                    <a:lnTo>
                      <a:pt x="840423" y="77152"/>
                    </a:lnTo>
                    <a:lnTo>
                      <a:pt x="840423" y="49530"/>
                    </a:lnTo>
                    <a:cubicBezTo>
                      <a:pt x="840423" y="43180"/>
                      <a:pt x="841375" y="38417"/>
                      <a:pt x="843598" y="35242"/>
                    </a:cubicBezTo>
                    <a:cubicBezTo>
                      <a:pt x="845820" y="32067"/>
                      <a:pt x="849630" y="30163"/>
                      <a:pt x="855028" y="30163"/>
                    </a:cubicBezTo>
                    <a:cubicBezTo>
                      <a:pt x="862648" y="30163"/>
                      <a:pt x="866458" y="34290"/>
                      <a:pt x="866458" y="42863"/>
                    </a:cubicBezTo>
                    <a:lnTo>
                      <a:pt x="866458" y="77152"/>
                    </a:lnTo>
                    <a:lnTo>
                      <a:pt x="877253" y="77152"/>
                    </a:lnTo>
                    <a:lnTo>
                      <a:pt x="877253" y="41592"/>
                    </a:lnTo>
                    <a:cubicBezTo>
                      <a:pt x="877253" y="34608"/>
                      <a:pt x="875665" y="29527"/>
                      <a:pt x="872173" y="26352"/>
                    </a:cubicBezTo>
                    <a:cubicBezTo>
                      <a:pt x="868680" y="23177"/>
                      <a:pt x="863918" y="21590"/>
                      <a:pt x="857568" y="21590"/>
                    </a:cubicBezTo>
                    <a:cubicBezTo>
                      <a:pt x="854075" y="21590"/>
                      <a:pt x="850900" y="22225"/>
                      <a:pt x="847725" y="23495"/>
                    </a:cubicBezTo>
                    <a:moveTo>
                      <a:pt x="802640" y="33655"/>
                    </a:moveTo>
                    <a:cubicBezTo>
                      <a:pt x="804545" y="36195"/>
                      <a:pt x="805815" y="39688"/>
                      <a:pt x="805815" y="44133"/>
                    </a:cubicBezTo>
                    <a:lnTo>
                      <a:pt x="780098" y="44133"/>
                    </a:lnTo>
                    <a:cubicBezTo>
                      <a:pt x="780415" y="39370"/>
                      <a:pt x="782003" y="35877"/>
                      <a:pt x="784225" y="33338"/>
                    </a:cubicBezTo>
                    <a:cubicBezTo>
                      <a:pt x="786448" y="30798"/>
                      <a:pt x="789623" y="29527"/>
                      <a:pt x="793433" y="29527"/>
                    </a:cubicBezTo>
                    <a:cubicBezTo>
                      <a:pt x="797560" y="29845"/>
                      <a:pt x="800418" y="31115"/>
                      <a:pt x="802640" y="33655"/>
                    </a:cubicBezTo>
                    <a:moveTo>
                      <a:pt x="780098" y="24765"/>
                    </a:moveTo>
                    <a:cubicBezTo>
                      <a:pt x="776288" y="26988"/>
                      <a:pt x="773430" y="30163"/>
                      <a:pt x="771525" y="34608"/>
                    </a:cubicBezTo>
                    <a:cubicBezTo>
                      <a:pt x="769303" y="38735"/>
                      <a:pt x="768350" y="44133"/>
                      <a:pt x="768350" y="50165"/>
                    </a:cubicBezTo>
                    <a:cubicBezTo>
                      <a:pt x="768350" y="56198"/>
                      <a:pt x="769620" y="61595"/>
                      <a:pt x="771843" y="65723"/>
                    </a:cubicBezTo>
                    <a:cubicBezTo>
                      <a:pt x="774065" y="69850"/>
                      <a:pt x="777240" y="73025"/>
                      <a:pt x="781368" y="74930"/>
                    </a:cubicBezTo>
                    <a:cubicBezTo>
                      <a:pt x="785495" y="77152"/>
                      <a:pt x="790258" y="78105"/>
                      <a:pt x="795338" y="78105"/>
                    </a:cubicBezTo>
                    <a:cubicBezTo>
                      <a:pt x="799148" y="78105"/>
                      <a:pt x="802640" y="77788"/>
                      <a:pt x="805180" y="77152"/>
                    </a:cubicBezTo>
                    <a:cubicBezTo>
                      <a:pt x="807720" y="76517"/>
                      <a:pt x="810578" y="75565"/>
                      <a:pt x="813435" y="74295"/>
                    </a:cubicBezTo>
                    <a:lnTo>
                      <a:pt x="813435" y="65405"/>
                    </a:lnTo>
                    <a:cubicBezTo>
                      <a:pt x="810578" y="66675"/>
                      <a:pt x="807720" y="67627"/>
                      <a:pt x="804863" y="68263"/>
                    </a:cubicBezTo>
                    <a:cubicBezTo>
                      <a:pt x="802005" y="68898"/>
                      <a:pt x="798830" y="69215"/>
                      <a:pt x="795338" y="69215"/>
                    </a:cubicBezTo>
                    <a:cubicBezTo>
                      <a:pt x="790258" y="69215"/>
                      <a:pt x="786448" y="67627"/>
                      <a:pt x="783590" y="64770"/>
                    </a:cubicBezTo>
                    <a:cubicBezTo>
                      <a:pt x="780733" y="61913"/>
                      <a:pt x="779463" y="57467"/>
                      <a:pt x="779145" y="51752"/>
                    </a:cubicBezTo>
                    <a:lnTo>
                      <a:pt x="815975" y="51752"/>
                    </a:lnTo>
                    <a:lnTo>
                      <a:pt x="815975" y="45720"/>
                    </a:lnTo>
                    <a:cubicBezTo>
                      <a:pt x="815975" y="38100"/>
                      <a:pt x="813753" y="32067"/>
                      <a:pt x="809625" y="27623"/>
                    </a:cubicBezTo>
                    <a:cubicBezTo>
                      <a:pt x="805498" y="23177"/>
                      <a:pt x="799783" y="20955"/>
                      <a:pt x="792798" y="20955"/>
                    </a:cubicBezTo>
                    <a:cubicBezTo>
                      <a:pt x="788353" y="21590"/>
                      <a:pt x="783908" y="22542"/>
                      <a:pt x="780098" y="24765"/>
                    </a:cubicBezTo>
                    <a:moveTo>
                      <a:pt x="743903" y="77152"/>
                    </a:moveTo>
                    <a:lnTo>
                      <a:pt x="754698" y="77152"/>
                    </a:lnTo>
                    <a:lnTo>
                      <a:pt x="754698" y="22542"/>
                    </a:lnTo>
                    <a:lnTo>
                      <a:pt x="743903" y="22542"/>
                    </a:lnTo>
                    <a:lnTo>
                      <a:pt x="743903" y="77152"/>
                    </a:lnTo>
                    <a:close/>
                    <a:moveTo>
                      <a:pt x="745173" y="3175"/>
                    </a:moveTo>
                    <a:cubicBezTo>
                      <a:pt x="743903" y="4127"/>
                      <a:pt x="743268" y="5715"/>
                      <a:pt x="743268" y="7938"/>
                    </a:cubicBezTo>
                    <a:cubicBezTo>
                      <a:pt x="743268" y="10160"/>
                      <a:pt x="743903" y="11748"/>
                      <a:pt x="745173" y="12700"/>
                    </a:cubicBezTo>
                    <a:cubicBezTo>
                      <a:pt x="746443" y="13652"/>
                      <a:pt x="747713" y="14288"/>
                      <a:pt x="749618" y="14288"/>
                    </a:cubicBezTo>
                    <a:cubicBezTo>
                      <a:pt x="751205" y="14288"/>
                      <a:pt x="752793" y="13652"/>
                      <a:pt x="753745" y="12700"/>
                    </a:cubicBezTo>
                    <a:cubicBezTo>
                      <a:pt x="755015" y="11748"/>
                      <a:pt x="755650" y="10160"/>
                      <a:pt x="755650" y="7938"/>
                    </a:cubicBezTo>
                    <a:cubicBezTo>
                      <a:pt x="755650" y="5715"/>
                      <a:pt x="755015" y="4127"/>
                      <a:pt x="753745" y="3175"/>
                    </a:cubicBezTo>
                    <a:cubicBezTo>
                      <a:pt x="752475" y="2223"/>
                      <a:pt x="751205" y="1905"/>
                      <a:pt x="749618" y="1905"/>
                    </a:cubicBezTo>
                    <a:cubicBezTo>
                      <a:pt x="747713" y="1588"/>
                      <a:pt x="746443" y="2223"/>
                      <a:pt x="745173" y="3175"/>
                    </a:cubicBezTo>
                    <a:moveTo>
                      <a:pt x="719138" y="67310"/>
                    </a:moveTo>
                    <a:cubicBezTo>
                      <a:pt x="717550" y="66040"/>
                      <a:pt x="716915" y="63817"/>
                      <a:pt x="716915" y="60642"/>
                    </a:cubicBezTo>
                    <a:lnTo>
                      <a:pt x="716915" y="30480"/>
                    </a:lnTo>
                    <a:lnTo>
                      <a:pt x="732473" y="30480"/>
                    </a:lnTo>
                    <a:lnTo>
                      <a:pt x="732473" y="22225"/>
                    </a:lnTo>
                    <a:lnTo>
                      <a:pt x="716915" y="22225"/>
                    </a:lnTo>
                    <a:lnTo>
                      <a:pt x="716915" y="9842"/>
                    </a:lnTo>
                    <a:lnTo>
                      <a:pt x="710248" y="9842"/>
                    </a:lnTo>
                    <a:lnTo>
                      <a:pt x="706438" y="21273"/>
                    </a:lnTo>
                    <a:lnTo>
                      <a:pt x="698500" y="25400"/>
                    </a:lnTo>
                    <a:lnTo>
                      <a:pt x="698500" y="30163"/>
                    </a:lnTo>
                    <a:lnTo>
                      <a:pt x="706120" y="30163"/>
                    </a:lnTo>
                    <a:lnTo>
                      <a:pt x="706120" y="60325"/>
                    </a:lnTo>
                    <a:cubicBezTo>
                      <a:pt x="706120" y="64770"/>
                      <a:pt x="706755" y="68263"/>
                      <a:pt x="708343" y="70802"/>
                    </a:cubicBezTo>
                    <a:cubicBezTo>
                      <a:pt x="709930" y="73342"/>
                      <a:pt x="711835" y="74930"/>
                      <a:pt x="714375" y="76200"/>
                    </a:cubicBezTo>
                    <a:cubicBezTo>
                      <a:pt x="716915" y="77152"/>
                      <a:pt x="719455" y="77788"/>
                      <a:pt x="722630" y="77788"/>
                    </a:cubicBezTo>
                    <a:cubicBezTo>
                      <a:pt x="724535" y="77788"/>
                      <a:pt x="726440" y="77470"/>
                      <a:pt x="728663" y="77152"/>
                    </a:cubicBezTo>
                    <a:cubicBezTo>
                      <a:pt x="730885" y="76835"/>
                      <a:pt x="732155" y="76200"/>
                      <a:pt x="733425" y="75883"/>
                    </a:cubicBezTo>
                    <a:lnTo>
                      <a:pt x="733425" y="67627"/>
                    </a:lnTo>
                    <a:cubicBezTo>
                      <a:pt x="730885" y="68580"/>
                      <a:pt x="728345" y="68898"/>
                      <a:pt x="725170" y="68898"/>
                    </a:cubicBezTo>
                    <a:cubicBezTo>
                      <a:pt x="722313" y="69533"/>
                      <a:pt x="720408" y="68898"/>
                      <a:pt x="719138" y="67310"/>
                    </a:cubicBezTo>
                    <a:moveTo>
                      <a:pt x="677863" y="55563"/>
                    </a:moveTo>
                    <a:cubicBezTo>
                      <a:pt x="677863" y="60325"/>
                      <a:pt x="676593" y="63817"/>
                      <a:pt x="673735" y="66358"/>
                    </a:cubicBezTo>
                    <a:cubicBezTo>
                      <a:pt x="670878" y="68580"/>
                      <a:pt x="667385" y="69850"/>
                      <a:pt x="663258" y="69850"/>
                    </a:cubicBezTo>
                    <a:cubicBezTo>
                      <a:pt x="660400" y="69850"/>
                      <a:pt x="658495" y="69215"/>
                      <a:pt x="656590" y="67945"/>
                    </a:cubicBezTo>
                    <a:cubicBezTo>
                      <a:pt x="655003" y="66675"/>
                      <a:pt x="654050" y="64452"/>
                      <a:pt x="654050" y="61595"/>
                    </a:cubicBezTo>
                    <a:cubicBezTo>
                      <a:pt x="654050" y="58420"/>
                      <a:pt x="655320" y="55880"/>
                      <a:pt x="657543" y="53975"/>
                    </a:cubicBezTo>
                    <a:cubicBezTo>
                      <a:pt x="660083" y="52070"/>
                      <a:pt x="664210" y="51117"/>
                      <a:pt x="670560" y="50800"/>
                    </a:cubicBezTo>
                    <a:lnTo>
                      <a:pt x="677863" y="50483"/>
                    </a:lnTo>
                    <a:lnTo>
                      <a:pt x="677863" y="55563"/>
                    </a:lnTo>
                    <a:close/>
                    <a:moveTo>
                      <a:pt x="657543" y="22860"/>
                    </a:moveTo>
                    <a:cubicBezTo>
                      <a:pt x="654050" y="23813"/>
                      <a:pt x="651193" y="24765"/>
                      <a:pt x="648653" y="26352"/>
                    </a:cubicBezTo>
                    <a:lnTo>
                      <a:pt x="652145" y="34290"/>
                    </a:lnTo>
                    <a:cubicBezTo>
                      <a:pt x="654368" y="33020"/>
                      <a:pt x="656908" y="32067"/>
                      <a:pt x="659448" y="31433"/>
                    </a:cubicBezTo>
                    <a:cubicBezTo>
                      <a:pt x="661988" y="30480"/>
                      <a:pt x="664845" y="30163"/>
                      <a:pt x="667385" y="30163"/>
                    </a:cubicBezTo>
                    <a:cubicBezTo>
                      <a:pt x="670560" y="30163"/>
                      <a:pt x="673418" y="31115"/>
                      <a:pt x="675005" y="32702"/>
                    </a:cubicBezTo>
                    <a:cubicBezTo>
                      <a:pt x="676910" y="34290"/>
                      <a:pt x="677863" y="37148"/>
                      <a:pt x="677863" y="41275"/>
                    </a:cubicBezTo>
                    <a:lnTo>
                      <a:pt x="677863" y="44450"/>
                    </a:lnTo>
                    <a:lnTo>
                      <a:pt x="668655" y="44767"/>
                    </a:lnTo>
                    <a:cubicBezTo>
                      <a:pt x="660083" y="45085"/>
                      <a:pt x="653415" y="46673"/>
                      <a:pt x="649288" y="49530"/>
                    </a:cubicBezTo>
                    <a:cubicBezTo>
                      <a:pt x="645160" y="52388"/>
                      <a:pt x="642938" y="56515"/>
                      <a:pt x="642938" y="62230"/>
                    </a:cubicBezTo>
                    <a:cubicBezTo>
                      <a:pt x="642938" y="67945"/>
                      <a:pt x="644525" y="72073"/>
                      <a:pt x="647700" y="74930"/>
                    </a:cubicBezTo>
                    <a:cubicBezTo>
                      <a:pt x="650875" y="77470"/>
                      <a:pt x="655003" y="79058"/>
                      <a:pt x="660083" y="79058"/>
                    </a:cubicBezTo>
                    <a:cubicBezTo>
                      <a:pt x="664845" y="79058"/>
                      <a:pt x="668338" y="78423"/>
                      <a:pt x="670878" y="76835"/>
                    </a:cubicBezTo>
                    <a:cubicBezTo>
                      <a:pt x="673418" y="75565"/>
                      <a:pt x="675958" y="73342"/>
                      <a:pt x="678498" y="70167"/>
                    </a:cubicBezTo>
                    <a:lnTo>
                      <a:pt x="678815" y="70167"/>
                    </a:lnTo>
                    <a:lnTo>
                      <a:pt x="681038" y="77788"/>
                    </a:lnTo>
                    <a:lnTo>
                      <a:pt x="688658" y="77788"/>
                    </a:lnTo>
                    <a:lnTo>
                      <a:pt x="688658" y="40640"/>
                    </a:lnTo>
                    <a:cubicBezTo>
                      <a:pt x="688658" y="34290"/>
                      <a:pt x="687070" y="29527"/>
                      <a:pt x="683578" y="26352"/>
                    </a:cubicBezTo>
                    <a:cubicBezTo>
                      <a:pt x="680085" y="23177"/>
                      <a:pt x="675005" y="21908"/>
                      <a:pt x="668338" y="21908"/>
                    </a:cubicBezTo>
                    <a:cubicBezTo>
                      <a:pt x="664528" y="21590"/>
                      <a:pt x="660718" y="21908"/>
                      <a:pt x="657543" y="22860"/>
                    </a:cubicBezTo>
                    <a:moveTo>
                      <a:pt x="618808" y="35560"/>
                    </a:moveTo>
                    <a:cubicBezTo>
                      <a:pt x="621030" y="39052"/>
                      <a:pt x="621983" y="43815"/>
                      <a:pt x="621983" y="49530"/>
                    </a:cubicBezTo>
                    <a:cubicBezTo>
                      <a:pt x="621983" y="55563"/>
                      <a:pt x="621030" y="60325"/>
                      <a:pt x="618808" y="63817"/>
                    </a:cubicBezTo>
                    <a:cubicBezTo>
                      <a:pt x="616585" y="67310"/>
                      <a:pt x="613410" y="69215"/>
                      <a:pt x="608965" y="69215"/>
                    </a:cubicBezTo>
                    <a:cubicBezTo>
                      <a:pt x="603568" y="69215"/>
                      <a:pt x="599758" y="67627"/>
                      <a:pt x="597853" y="64135"/>
                    </a:cubicBezTo>
                    <a:cubicBezTo>
                      <a:pt x="595948" y="60642"/>
                      <a:pt x="594678" y="55880"/>
                      <a:pt x="594678" y="49530"/>
                    </a:cubicBezTo>
                    <a:lnTo>
                      <a:pt x="594678" y="47942"/>
                    </a:lnTo>
                    <a:cubicBezTo>
                      <a:pt x="594678" y="41910"/>
                      <a:pt x="595948" y="37465"/>
                      <a:pt x="597853" y="34608"/>
                    </a:cubicBezTo>
                    <a:cubicBezTo>
                      <a:pt x="600075" y="31750"/>
                      <a:pt x="603568" y="30163"/>
                      <a:pt x="608648" y="30163"/>
                    </a:cubicBezTo>
                    <a:cubicBezTo>
                      <a:pt x="613093" y="30163"/>
                      <a:pt x="616585" y="32067"/>
                      <a:pt x="618808" y="35560"/>
                    </a:cubicBezTo>
                    <a:moveTo>
                      <a:pt x="600710" y="23813"/>
                    </a:moveTo>
                    <a:cubicBezTo>
                      <a:pt x="598170" y="25400"/>
                      <a:pt x="595948" y="27305"/>
                      <a:pt x="594360" y="29845"/>
                    </a:cubicBezTo>
                    <a:lnTo>
                      <a:pt x="593725" y="29845"/>
                    </a:lnTo>
                    <a:lnTo>
                      <a:pt x="592138" y="22542"/>
                    </a:lnTo>
                    <a:lnTo>
                      <a:pt x="583248" y="22542"/>
                    </a:lnTo>
                    <a:lnTo>
                      <a:pt x="583248" y="101600"/>
                    </a:lnTo>
                    <a:lnTo>
                      <a:pt x="594043" y="101600"/>
                    </a:lnTo>
                    <a:lnTo>
                      <a:pt x="594043" y="79375"/>
                    </a:lnTo>
                    <a:cubicBezTo>
                      <a:pt x="594043" y="78105"/>
                      <a:pt x="594043" y="76517"/>
                      <a:pt x="593725" y="74930"/>
                    </a:cubicBezTo>
                    <a:cubicBezTo>
                      <a:pt x="593408" y="73342"/>
                      <a:pt x="593408" y="71755"/>
                      <a:pt x="593408" y="70485"/>
                    </a:cubicBezTo>
                    <a:lnTo>
                      <a:pt x="594043" y="70485"/>
                    </a:lnTo>
                    <a:cubicBezTo>
                      <a:pt x="595630" y="72708"/>
                      <a:pt x="597853" y="74295"/>
                      <a:pt x="600393" y="75883"/>
                    </a:cubicBezTo>
                    <a:cubicBezTo>
                      <a:pt x="602933" y="77470"/>
                      <a:pt x="606425" y="78105"/>
                      <a:pt x="610553" y="78105"/>
                    </a:cubicBezTo>
                    <a:cubicBezTo>
                      <a:pt x="617220" y="78105"/>
                      <a:pt x="622300" y="75565"/>
                      <a:pt x="626428" y="70802"/>
                    </a:cubicBezTo>
                    <a:cubicBezTo>
                      <a:pt x="630555" y="66040"/>
                      <a:pt x="632460" y="59055"/>
                      <a:pt x="632460" y="49530"/>
                    </a:cubicBezTo>
                    <a:cubicBezTo>
                      <a:pt x="632460" y="40005"/>
                      <a:pt x="630555" y="33020"/>
                      <a:pt x="626428" y="28258"/>
                    </a:cubicBezTo>
                    <a:cubicBezTo>
                      <a:pt x="622300" y="23495"/>
                      <a:pt x="617220" y="21273"/>
                      <a:pt x="610553" y="21273"/>
                    </a:cubicBezTo>
                    <a:cubicBezTo>
                      <a:pt x="606743" y="21590"/>
                      <a:pt x="603568" y="22225"/>
                      <a:pt x="600710" y="23813"/>
                    </a:cubicBezTo>
                    <a:moveTo>
                      <a:pt x="526733" y="34925"/>
                    </a:moveTo>
                    <a:cubicBezTo>
                      <a:pt x="528955" y="37783"/>
                      <a:pt x="530225" y="42863"/>
                      <a:pt x="530225" y="50165"/>
                    </a:cubicBezTo>
                    <a:lnTo>
                      <a:pt x="530225" y="52070"/>
                    </a:lnTo>
                    <a:cubicBezTo>
                      <a:pt x="530225" y="58420"/>
                      <a:pt x="528955" y="62865"/>
                      <a:pt x="526733" y="65405"/>
                    </a:cubicBezTo>
                    <a:cubicBezTo>
                      <a:pt x="524510" y="68263"/>
                      <a:pt x="520700" y="69533"/>
                      <a:pt x="515620" y="69533"/>
                    </a:cubicBezTo>
                    <a:cubicBezTo>
                      <a:pt x="511175" y="69533"/>
                      <a:pt x="508000" y="67945"/>
                      <a:pt x="505460" y="64452"/>
                    </a:cubicBezTo>
                    <a:cubicBezTo>
                      <a:pt x="502920" y="60960"/>
                      <a:pt x="501968" y="56198"/>
                      <a:pt x="501968" y="49848"/>
                    </a:cubicBezTo>
                    <a:cubicBezTo>
                      <a:pt x="501968" y="43498"/>
                      <a:pt x="503238" y="38417"/>
                      <a:pt x="505460" y="35242"/>
                    </a:cubicBezTo>
                    <a:cubicBezTo>
                      <a:pt x="507683" y="31750"/>
                      <a:pt x="510858" y="30163"/>
                      <a:pt x="515303" y="30163"/>
                    </a:cubicBezTo>
                    <a:cubicBezTo>
                      <a:pt x="520700" y="30480"/>
                      <a:pt x="524193" y="31750"/>
                      <a:pt x="526733" y="34925"/>
                    </a:cubicBezTo>
                    <a:moveTo>
                      <a:pt x="497205" y="29210"/>
                    </a:moveTo>
                    <a:cubicBezTo>
                      <a:pt x="493395" y="34290"/>
                      <a:pt x="491490" y="41275"/>
                      <a:pt x="491490" y="50165"/>
                    </a:cubicBezTo>
                    <a:cubicBezTo>
                      <a:pt x="491490" y="59055"/>
                      <a:pt x="493395" y="66040"/>
                      <a:pt x="497205" y="70802"/>
                    </a:cubicBezTo>
                    <a:cubicBezTo>
                      <a:pt x="501015" y="75883"/>
                      <a:pt x="506413" y="78423"/>
                      <a:pt x="513398" y="78423"/>
                    </a:cubicBezTo>
                    <a:cubicBezTo>
                      <a:pt x="516890" y="78423"/>
                      <a:pt x="520065" y="77788"/>
                      <a:pt x="522923" y="76517"/>
                    </a:cubicBezTo>
                    <a:cubicBezTo>
                      <a:pt x="525780" y="75248"/>
                      <a:pt x="528003" y="73025"/>
                      <a:pt x="529908" y="70167"/>
                    </a:cubicBezTo>
                    <a:lnTo>
                      <a:pt x="530225" y="70167"/>
                    </a:lnTo>
                    <a:cubicBezTo>
                      <a:pt x="530225" y="70802"/>
                      <a:pt x="530225" y="72073"/>
                      <a:pt x="529908" y="73342"/>
                    </a:cubicBezTo>
                    <a:cubicBezTo>
                      <a:pt x="529908" y="74613"/>
                      <a:pt x="529908" y="75883"/>
                      <a:pt x="529908" y="76835"/>
                    </a:cubicBezTo>
                    <a:lnTo>
                      <a:pt x="529908" y="78740"/>
                    </a:lnTo>
                    <a:cubicBezTo>
                      <a:pt x="529908" y="83502"/>
                      <a:pt x="528638" y="86995"/>
                      <a:pt x="526098" y="89535"/>
                    </a:cubicBezTo>
                    <a:cubicBezTo>
                      <a:pt x="523558" y="92075"/>
                      <a:pt x="520065" y="93345"/>
                      <a:pt x="515938" y="93345"/>
                    </a:cubicBezTo>
                    <a:cubicBezTo>
                      <a:pt x="512128" y="93345"/>
                      <a:pt x="508318" y="93027"/>
                      <a:pt x="504825" y="92392"/>
                    </a:cubicBezTo>
                    <a:cubicBezTo>
                      <a:pt x="501333" y="91758"/>
                      <a:pt x="498158" y="90488"/>
                      <a:pt x="495300" y="89217"/>
                    </a:cubicBezTo>
                    <a:lnTo>
                      <a:pt x="495300" y="98742"/>
                    </a:lnTo>
                    <a:cubicBezTo>
                      <a:pt x="498158" y="100013"/>
                      <a:pt x="501015" y="100648"/>
                      <a:pt x="504508" y="101283"/>
                    </a:cubicBezTo>
                    <a:cubicBezTo>
                      <a:pt x="507683" y="101917"/>
                      <a:pt x="511493" y="102235"/>
                      <a:pt x="515303" y="102235"/>
                    </a:cubicBezTo>
                    <a:cubicBezTo>
                      <a:pt x="532130" y="102235"/>
                      <a:pt x="540703" y="94298"/>
                      <a:pt x="540703" y="78423"/>
                    </a:cubicBezTo>
                    <a:lnTo>
                      <a:pt x="540703" y="22860"/>
                    </a:lnTo>
                    <a:lnTo>
                      <a:pt x="531813" y="22860"/>
                    </a:lnTo>
                    <a:lnTo>
                      <a:pt x="530543" y="30163"/>
                    </a:lnTo>
                    <a:lnTo>
                      <a:pt x="529908" y="30163"/>
                    </a:lnTo>
                    <a:cubicBezTo>
                      <a:pt x="528003" y="27305"/>
                      <a:pt x="525463" y="25400"/>
                      <a:pt x="522605" y="23813"/>
                    </a:cubicBezTo>
                    <a:cubicBezTo>
                      <a:pt x="519748" y="22542"/>
                      <a:pt x="516573" y="21908"/>
                      <a:pt x="513080" y="21908"/>
                    </a:cubicBezTo>
                    <a:cubicBezTo>
                      <a:pt x="506413" y="21590"/>
                      <a:pt x="501015" y="24130"/>
                      <a:pt x="497205" y="29210"/>
                    </a:cubicBezTo>
                    <a:moveTo>
                      <a:pt x="448310" y="23495"/>
                    </a:moveTo>
                    <a:cubicBezTo>
                      <a:pt x="445135" y="24765"/>
                      <a:pt x="442913" y="26988"/>
                      <a:pt x="441008" y="29845"/>
                    </a:cubicBezTo>
                    <a:lnTo>
                      <a:pt x="440373" y="29845"/>
                    </a:lnTo>
                    <a:lnTo>
                      <a:pt x="438785" y="22542"/>
                    </a:lnTo>
                    <a:lnTo>
                      <a:pt x="430213" y="22542"/>
                    </a:lnTo>
                    <a:lnTo>
                      <a:pt x="430213" y="77152"/>
                    </a:lnTo>
                    <a:lnTo>
                      <a:pt x="441008" y="77152"/>
                    </a:lnTo>
                    <a:lnTo>
                      <a:pt x="441008" y="49530"/>
                    </a:lnTo>
                    <a:cubicBezTo>
                      <a:pt x="441008" y="43180"/>
                      <a:pt x="441960" y="38417"/>
                      <a:pt x="444183" y="35242"/>
                    </a:cubicBezTo>
                    <a:cubicBezTo>
                      <a:pt x="446405" y="32067"/>
                      <a:pt x="450215" y="30163"/>
                      <a:pt x="455613" y="30163"/>
                    </a:cubicBezTo>
                    <a:cubicBezTo>
                      <a:pt x="463233" y="30163"/>
                      <a:pt x="467043" y="34290"/>
                      <a:pt x="467043" y="42863"/>
                    </a:cubicBezTo>
                    <a:lnTo>
                      <a:pt x="467043" y="77152"/>
                    </a:lnTo>
                    <a:lnTo>
                      <a:pt x="477838" y="77152"/>
                    </a:lnTo>
                    <a:lnTo>
                      <a:pt x="477838" y="41592"/>
                    </a:lnTo>
                    <a:cubicBezTo>
                      <a:pt x="477838" y="34608"/>
                      <a:pt x="476250" y="29527"/>
                      <a:pt x="472758" y="26352"/>
                    </a:cubicBezTo>
                    <a:cubicBezTo>
                      <a:pt x="469265" y="23177"/>
                      <a:pt x="464503" y="21590"/>
                      <a:pt x="458153" y="21590"/>
                    </a:cubicBezTo>
                    <a:cubicBezTo>
                      <a:pt x="454660" y="21590"/>
                      <a:pt x="451485" y="22225"/>
                      <a:pt x="448310" y="23495"/>
                    </a:cubicBezTo>
                    <a:moveTo>
                      <a:pt x="402908" y="77152"/>
                    </a:moveTo>
                    <a:lnTo>
                      <a:pt x="413703" y="77152"/>
                    </a:lnTo>
                    <a:lnTo>
                      <a:pt x="413703" y="22542"/>
                    </a:lnTo>
                    <a:lnTo>
                      <a:pt x="402908" y="22542"/>
                    </a:lnTo>
                    <a:lnTo>
                      <a:pt x="402908" y="77152"/>
                    </a:lnTo>
                    <a:close/>
                    <a:moveTo>
                      <a:pt x="403860" y="3175"/>
                    </a:moveTo>
                    <a:cubicBezTo>
                      <a:pt x="402590" y="4127"/>
                      <a:pt x="401955" y="5715"/>
                      <a:pt x="401955" y="7938"/>
                    </a:cubicBezTo>
                    <a:cubicBezTo>
                      <a:pt x="401955" y="10160"/>
                      <a:pt x="402590" y="11748"/>
                      <a:pt x="403860" y="12700"/>
                    </a:cubicBezTo>
                    <a:cubicBezTo>
                      <a:pt x="405130" y="13652"/>
                      <a:pt x="406400" y="14288"/>
                      <a:pt x="408305" y="14288"/>
                    </a:cubicBezTo>
                    <a:cubicBezTo>
                      <a:pt x="409893" y="14288"/>
                      <a:pt x="411480" y="13652"/>
                      <a:pt x="412433" y="12700"/>
                    </a:cubicBezTo>
                    <a:cubicBezTo>
                      <a:pt x="413703" y="11748"/>
                      <a:pt x="414338" y="10160"/>
                      <a:pt x="414338" y="7938"/>
                    </a:cubicBezTo>
                    <a:cubicBezTo>
                      <a:pt x="414338" y="5715"/>
                      <a:pt x="413703" y="4127"/>
                      <a:pt x="412433" y="3175"/>
                    </a:cubicBezTo>
                    <a:cubicBezTo>
                      <a:pt x="411163" y="2223"/>
                      <a:pt x="409893" y="1905"/>
                      <a:pt x="408305" y="1905"/>
                    </a:cubicBezTo>
                    <a:cubicBezTo>
                      <a:pt x="406400" y="1588"/>
                      <a:pt x="405130" y="2223"/>
                      <a:pt x="403860" y="3175"/>
                    </a:cubicBezTo>
                    <a:moveTo>
                      <a:pt x="373380" y="77152"/>
                    </a:moveTo>
                    <a:lnTo>
                      <a:pt x="394335" y="22542"/>
                    </a:lnTo>
                    <a:lnTo>
                      <a:pt x="382905" y="22542"/>
                    </a:lnTo>
                    <a:lnTo>
                      <a:pt x="371475" y="54610"/>
                    </a:lnTo>
                    <a:cubicBezTo>
                      <a:pt x="370840" y="56833"/>
                      <a:pt x="370205" y="59055"/>
                      <a:pt x="369253" y="61595"/>
                    </a:cubicBezTo>
                    <a:cubicBezTo>
                      <a:pt x="368300" y="64135"/>
                      <a:pt x="367983" y="66358"/>
                      <a:pt x="367665" y="67945"/>
                    </a:cubicBezTo>
                    <a:lnTo>
                      <a:pt x="367348" y="67945"/>
                    </a:lnTo>
                    <a:cubicBezTo>
                      <a:pt x="367030" y="66358"/>
                      <a:pt x="366713" y="64135"/>
                      <a:pt x="365760" y="61595"/>
                    </a:cubicBezTo>
                    <a:cubicBezTo>
                      <a:pt x="365125" y="59055"/>
                      <a:pt x="364173" y="56515"/>
                      <a:pt x="363538" y="54610"/>
                    </a:cubicBezTo>
                    <a:lnTo>
                      <a:pt x="352108" y="22542"/>
                    </a:lnTo>
                    <a:lnTo>
                      <a:pt x="340995" y="22542"/>
                    </a:lnTo>
                    <a:lnTo>
                      <a:pt x="361633" y="77152"/>
                    </a:lnTo>
                    <a:lnTo>
                      <a:pt x="373380" y="77152"/>
                    </a:lnTo>
                    <a:close/>
                    <a:moveTo>
                      <a:pt x="321628" y="77152"/>
                    </a:moveTo>
                    <a:lnTo>
                      <a:pt x="332423" y="77152"/>
                    </a:lnTo>
                    <a:lnTo>
                      <a:pt x="332423" y="22542"/>
                    </a:lnTo>
                    <a:lnTo>
                      <a:pt x="321628" y="22542"/>
                    </a:lnTo>
                    <a:lnTo>
                      <a:pt x="321628" y="77152"/>
                    </a:lnTo>
                    <a:close/>
                    <a:moveTo>
                      <a:pt x="322898" y="3175"/>
                    </a:moveTo>
                    <a:cubicBezTo>
                      <a:pt x="321628" y="4127"/>
                      <a:pt x="320993" y="5715"/>
                      <a:pt x="320993" y="7938"/>
                    </a:cubicBezTo>
                    <a:cubicBezTo>
                      <a:pt x="320993" y="10160"/>
                      <a:pt x="321628" y="11748"/>
                      <a:pt x="322898" y="12700"/>
                    </a:cubicBezTo>
                    <a:cubicBezTo>
                      <a:pt x="324168" y="13652"/>
                      <a:pt x="325438" y="14288"/>
                      <a:pt x="327343" y="14288"/>
                    </a:cubicBezTo>
                    <a:cubicBezTo>
                      <a:pt x="328930" y="14288"/>
                      <a:pt x="330518" y="13652"/>
                      <a:pt x="331470" y="12700"/>
                    </a:cubicBezTo>
                    <a:cubicBezTo>
                      <a:pt x="332740" y="11748"/>
                      <a:pt x="333375" y="10160"/>
                      <a:pt x="333375" y="7938"/>
                    </a:cubicBezTo>
                    <a:cubicBezTo>
                      <a:pt x="333375" y="5715"/>
                      <a:pt x="332740" y="4127"/>
                      <a:pt x="331470" y="3175"/>
                    </a:cubicBezTo>
                    <a:cubicBezTo>
                      <a:pt x="330200" y="2223"/>
                      <a:pt x="328930" y="1905"/>
                      <a:pt x="327343" y="1905"/>
                    </a:cubicBezTo>
                    <a:cubicBezTo>
                      <a:pt x="325438" y="1588"/>
                      <a:pt x="324168" y="2223"/>
                      <a:pt x="322898" y="3175"/>
                    </a:cubicBezTo>
                    <a:moveTo>
                      <a:pt x="295593" y="24765"/>
                    </a:moveTo>
                    <a:cubicBezTo>
                      <a:pt x="292735" y="26988"/>
                      <a:pt x="290513" y="29527"/>
                      <a:pt x="288925" y="32385"/>
                    </a:cubicBezTo>
                    <a:lnTo>
                      <a:pt x="288608" y="32385"/>
                    </a:lnTo>
                    <a:lnTo>
                      <a:pt x="287338" y="22542"/>
                    </a:lnTo>
                    <a:lnTo>
                      <a:pt x="278765" y="22542"/>
                    </a:lnTo>
                    <a:lnTo>
                      <a:pt x="278765" y="77152"/>
                    </a:lnTo>
                    <a:lnTo>
                      <a:pt x="289560" y="77152"/>
                    </a:lnTo>
                    <a:lnTo>
                      <a:pt x="289560" y="48260"/>
                    </a:lnTo>
                    <a:cubicBezTo>
                      <a:pt x="289560" y="44767"/>
                      <a:pt x="290195" y="41592"/>
                      <a:pt x="291783" y="39052"/>
                    </a:cubicBezTo>
                    <a:cubicBezTo>
                      <a:pt x="293370" y="36513"/>
                      <a:pt x="295275" y="34608"/>
                      <a:pt x="297498" y="33338"/>
                    </a:cubicBezTo>
                    <a:cubicBezTo>
                      <a:pt x="299720" y="32067"/>
                      <a:pt x="302578" y="31433"/>
                      <a:pt x="305118" y="31433"/>
                    </a:cubicBezTo>
                    <a:cubicBezTo>
                      <a:pt x="307023" y="31433"/>
                      <a:pt x="308928" y="31750"/>
                      <a:pt x="310515" y="32067"/>
                    </a:cubicBezTo>
                    <a:lnTo>
                      <a:pt x="311785" y="21908"/>
                    </a:lnTo>
                    <a:cubicBezTo>
                      <a:pt x="309880" y="21590"/>
                      <a:pt x="307975" y="21273"/>
                      <a:pt x="305753" y="21273"/>
                    </a:cubicBezTo>
                    <a:cubicBezTo>
                      <a:pt x="301943" y="21590"/>
                      <a:pt x="298450" y="22542"/>
                      <a:pt x="295593" y="24765"/>
                    </a:cubicBezTo>
                    <a:moveTo>
                      <a:pt x="226695" y="64452"/>
                    </a:moveTo>
                    <a:cubicBezTo>
                      <a:pt x="224473" y="61277"/>
                      <a:pt x="223203" y="56515"/>
                      <a:pt x="223203" y="50165"/>
                    </a:cubicBezTo>
                    <a:cubicBezTo>
                      <a:pt x="223203" y="43815"/>
                      <a:pt x="224473" y="39052"/>
                      <a:pt x="226695" y="35560"/>
                    </a:cubicBezTo>
                    <a:cubicBezTo>
                      <a:pt x="228918" y="32067"/>
                      <a:pt x="232093" y="30163"/>
                      <a:pt x="236538" y="30163"/>
                    </a:cubicBezTo>
                    <a:cubicBezTo>
                      <a:pt x="241935" y="30163"/>
                      <a:pt x="245745" y="31750"/>
                      <a:pt x="247968" y="35242"/>
                    </a:cubicBezTo>
                    <a:cubicBezTo>
                      <a:pt x="249873" y="38735"/>
                      <a:pt x="251143" y="43498"/>
                      <a:pt x="251143" y="49848"/>
                    </a:cubicBezTo>
                    <a:lnTo>
                      <a:pt x="251143" y="51435"/>
                    </a:lnTo>
                    <a:cubicBezTo>
                      <a:pt x="251143" y="57467"/>
                      <a:pt x="249873" y="61913"/>
                      <a:pt x="247968" y="64770"/>
                    </a:cubicBezTo>
                    <a:cubicBezTo>
                      <a:pt x="246063" y="67627"/>
                      <a:pt x="242253" y="69215"/>
                      <a:pt x="236855" y="69215"/>
                    </a:cubicBezTo>
                    <a:cubicBezTo>
                      <a:pt x="232410" y="69533"/>
                      <a:pt x="228918" y="67627"/>
                      <a:pt x="226695" y="64452"/>
                    </a:cubicBezTo>
                    <a:moveTo>
                      <a:pt x="244475" y="75883"/>
                    </a:moveTo>
                    <a:cubicBezTo>
                      <a:pt x="247015" y="74295"/>
                      <a:pt x="249238" y="72390"/>
                      <a:pt x="250825" y="69850"/>
                    </a:cubicBezTo>
                    <a:lnTo>
                      <a:pt x="251460" y="69850"/>
                    </a:lnTo>
                    <a:lnTo>
                      <a:pt x="253365" y="77152"/>
                    </a:lnTo>
                    <a:lnTo>
                      <a:pt x="261938" y="77152"/>
                    </a:lnTo>
                    <a:lnTo>
                      <a:pt x="261938" y="0"/>
                    </a:lnTo>
                    <a:lnTo>
                      <a:pt x="251143" y="0"/>
                    </a:lnTo>
                    <a:lnTo>
                      <a:pt x="251143" y="20638"/>
                    </a:lnTo>
                    <a:cubicBezTo>
                      <a:pt x="251143" y="21908"/>
                      <a:pt x="251143" y="23495"/>
                      <a:pt x="251460" y="25400"/>
                    </a:cubicBezTo>
                    <a:cubicBezTo>
                      <a:pt x="251778" y="27305"/>
                      <a:pt x="251778" y="28575"/>
                      <a:pt x="252095" y="29527"/>
                    </a:cubicBezTo>
                    <a:lnTo>
                      <a:pt x="251460" y="29527"/>
                    </a:lnTo>
                    <a:cubicBezTo>
                      <a:pt x="249873" y="27305"/>
                      <a:pt x="247650" y="25400"/>
                      <a:pt x="245110" y="23813"/>
                    </a:cubicBezTo>
                    <a:cubicBezTo>
                      <a:pt x="242570" y="22225"/>
                      <a:pt x="239078" y="21590"/>
                      <a:pt x="234950" y="21590"/>
                    </a:cubicBezTo>
                    <a:cubicBezTo>
                      <a:pt x="228283" y="21590"/>
                      <a:pt x="222885" y="24130"/>
                      <a:pt x="218758" y="28892"/>
                    </a:cubicBezTo>
                    <a:cubicBezTo>
                      <a:pt x="214630" y="33655"/>
                      <a:pt x="212725" y="40958"/>
                      <a:pt x="212725" y="50165"/>
                    </a:cubicBezTo>
                    <a:cubicBezTo>
                      <a:pt x="212725" y="59373"/>
                      <a:pt x="214630" y="66675"/>
                      <a:pt x="218758" y="71438"/>
                    </a:cubicBezTo>
                    <a:cubicBezTo>
                      <a:pt x="222885" y="76200"/>
                      <a:pt x="227965" y="78423"/>
                      <a:pt x="234633" y="78423"/>
                    </a:cubicBezTo>
                    <a:cubicBezTo>
                      <a:pt x="238443" y="78105"/>
                      <a:pt x="241935" y="77470"/>
                      <a:pt x="244475" y="75883"/>
                    </a:cubicBezTo>
                    <a:moveTo>
                      <a:pt x="137478" y="64452"/>
                    </a:moveTo>
                    <a:cubicBezTo>
                      <a:pt x="135255" y="61277"/>
                      <a:pt x="133985" y="56515"/>
                      <a:pt x="133985" y="50165"/>
                    </a:cubicBezTo>
                    <a:cubicBezTo>
                      <a:pt x="133985" y="43815"/>
                      <a:pt x="135255" y="39052"/>
                      <a:pt x="137478" y="35560"/>
                    </a:cubicBezTo>
                    <a:cubicBezTo>
                      <a:pt x="139700" y="32067"/>
                      <a:pt x="142875" y="30163"/>
                      <a:pt x="147320" y="30163"/>
                    </a:cubicBezTo>
                    <a:cubicBezTo>
                      <a:pt x="152718" y="30163"/>
                      <a:pt x="156528" y="31750"/>
                      <a:pt x="158750" y="35242"/>
                    </a:cubicBezTo>
                    <a:cubicBezTo>
                      <a:pt x="160655" y="38735"/>
                      <a:pt x="161925" y="43498"/>
                      <a:pt x="161925" y="49848"/>
                    </a:cubicBezTo>
                    <a:lnTo>
                      <a:pt x="161925" y="51435"/>
                    </a:lnTo>
                    <a:cubicBezTo>
                      <a:pt x="161925" y="57467"/>
                      <a:pt x="160655" y="61913"/>
                      <a:pt x="158750" y="64770"/>
                    </a:cubicBezTo>
                    <a:cubicBezTo>
                      <a:pt x="156845" y="67627"/>
                      <a:pt x="153035" y="69215"/>
                      <a:pt x="147638" y="69215"/>
                    </a:cubicBezTo>
                    <a:cubicBezTo>
                      <a:pt x="142875" y="69533"/>
                      <a:pt x="139700" y="67627"/>
                      <a:pt x="137478" y="64452"/>
                    </a:cubicBezTo>
                    <a:moveTo>
                      <a:pt x="155258" y="75883"/>
                    </a:moveTo>
                    <a:cubicBezTo>
                      <a:pt x="157798" y="74295"/>
                      <a:pt x="160020" y="72390"/>
                      <a:pt x="161608" y="69850"/>
                    </a:cubicBezTo>
                    <a:lnTo>
                      <a:pt x="162243" y="69850"/>
                    </a:lnTo>
                    <a:lnTo>
                      <a:pt x="164148" y="77152"/>
                    </a:lnTo>
                    <a:lnTo>
                      <a:pt x="172720" y="77152"/>
                    </a:lnTo>
                    <a:lnTo>
                      <a:pt x="172720" y="0"/>
                    </a:lnTo>
                    <a:lnTo>
                      <a:pt x="161925" y="0"/>
                    </a:lnTo>
                    <a:lnTo>
                      <a:pt x="161925" y="20638"/>
                    </a:lnTo>
                    <a:cubicBezTo>
                      <a:pt x="161925" y="21908"/>
                      <a:pt x="161925" y="23495"/>
                      <a:pt x="162243" y="25400"/>
                    </a:cubicBezTo>
                    <a:cubicBezTo>
                      <a:pt x="162560" y="27305"/>
                      <a:pt x="162560" y="28575"/>
                      <a:pt x="162878" y="29527"/>
                    </a:cubicBezTo>
                    <a:lnTo>
                      <a:pt x="162243" y="29527"/>
                    </a:lnTo>
                    <a:cubicBezTo>
                      <a:pt x="160655" y="27305"/>
                      <a:pt x="158433" y="25400"/>
                      <a:pt x="155893" y="23813"/>
                    </a:cubicBezTo>
                    <a:cubicBezTo>
                      <a:pt x="153353" y="22225"/>
                      <a:pt x="149860" y="21590"/>
                      <a:pt x="145733" y="21590"/>
                    </a:cubicBezTo>
                    <a:cubicBezTo>
                      <a:pt x="139065" y="21590"/>
                      <a:pt x="133668" y="24130"/>
                      <a:pt x="129540" y="28892"/>
                    </a:cubicBezTo>
                    <a:cubicBezTo>
                      <a:pt x="125413" y="33655"/>
                      <a:pt x="123508" y="40958"/>
                      <a:pt x="123508" y="50165"/>
                    </a:cubicBezTo>
                    <a:cubicBezTo>
                      <a:pt x="123508" y="59373"/>
                      <a:pt x="125413" y="66675"/>
                      <a:pt x="129540" y="71438"/>
                    </a:cubicBezTo>
                    <a:cubicBezTo>
                      <a:pt x="133668" y="76200"/>
                      <a:pt x="138748" y="78423"/>
                      <a:pt x="145415" y="78423"/>
                    </a:cubicBezTo>
                    <a:cubicBezTo>
                      <a:pt x="149225" y="78105"/>
                      <a:pt x="152400" y="77470"/>
                      <a:pt x="155258" y="75883"/>
                    </a:cubicBezTo>
                    <a:moveTo>
                      <a:pt x="80010" y="23495"/>
                    </a:moveTo>
                    <a:cubicBezTo>
                      <a:pt x="76835" y="24765"/>
                      <a:pt x="74613" y="26988"/>
                      <a:pt x="72708" y="29845"/>
                    </a:cubicBezTo>
                    <a:lnTo>
                      <a:pt x="72073" y="29845"/>
                    </a:lnTo>
                    <a:lnTo>
                      <a:pt x="70485" y="22542"/>
                    </a:lnTo>
                    <a:lnTo>
                      <a:pt x="61913" y="22542"/>
                    </a:lnTo>
                    <a:lnTo>
                      <a:pt x="61913" y="77152"/>
                    </a:lnTo>
                    <a:lnTo>
                      <a:pt x="72708" y="77152"/>
                    </a:lnTo>
                    <a:lnTo>
                      <a:pt x="72708" y="49530"/>
                    </a:lnTo>
                    <a:cubicBezTo>
                      <a:pt x="72708" y="43180"/>
                      <a:pt x="73660" y="38417"/>
                      <a:pt x="75883" y="35242"/>
                    </a:cubicBezTo>
                    <a:cubicBezTo>
                      <a:pt x="78105" y="32067"/>
                      <a:pt x="81915" y="30163"/>
                      <a:pt x="87313" y="30163"/>
                    </a:cubicBezTo>
                    <a:cubicBezTo>
                      <a:pt x="94933" y="30163"/>
                      <a:pt x="98743" y="34290"/>
                      <a:pt x="98743" y="42863"/>
                    </a:cubicBezTo>
                    <a:lnTo>
                      <a:pt x="98743" y="77152"/>
                    </a:lnTo>
                    <a:lnTo>
                      <a:pt x="109538" y="77152"/>
                    </a:lnTo>
                    <a:lnTo>
                      <a:pt x="109538" y="41592"/>
                    </a:lnTo>
                    <a:cubicBezTo>
                      <a:pt x="109538" y="34608"/>
                      <a:pt x="107950" y="29527"/>
                      <a:pt x="104458" y="26352"/>
                    </a:cubicBezTo>
                    <a:cubicBezTo>
                      <a:pt x="100965" y="23177"/>
                      <a:pt x="96203" y="21590"/>
                      <a:pt x="89853" y="21590"/>
                    </a:cubicBezTo>
                    <a:cubicBezTo>
                      <a:pt x="86360" y="21590"/>
                      <a:pt x="83185" y="22225"/>
                      <a:pt x="80010" y="23495"/>
                    </a:cubicBezTo>
                    <a:moveTo>
                      <a:pt x="34925" y="55563"/>
                    </a:moveTo>
                    <a:cubicBezTo>
                      <a:pt x="34925" y="60325"/>
                      <a:pt x="33655" y="63817"/>
                      <a:pt x="30798" y="66358"/>
                    </a:cubicBezTo>
                    <a:cubicBezTo>
                      <a:pt x="27940" y="68580"/>
                      <a:pt x="24448" y="69850"/>
                      <a:pt x="20320" y="69850"/>
                    </a:cubicBezTo>
                    <a:cubicBezTo>
                      <a:pt x="17463" y="69850"/>
                      <a:pt x="15558" y="69215"/>
                      <a:pt x="13653" y="67945"/>
                    </a:cubicBezTo>
                    <a:cubicBezTo>
                      <a:pt x="12065" y="66675"/>
                      <a:pt x="11113" y="64452"/>
                      <a:pt x="11113" y="61595"/>
                    </a:cubicBezTo>
                    <a:cubicBezTo>
                      <a:pt x="11113" y="58420"/>
                      <a:pt x="12383" y="55880"/>
                      <a:pt x="14605" y="53975"/>
                    </a:cubicBezTo>
                    <a:cubicBezTo>
                      <a:pt x="17145" y="52070"/>
                      <a:pt x="21273" y="51117"/>
                      <a:pt x="27623" y="50800"/>
                    </a:cubicBezTo>
                    <a:lnTo>
                      <a:pt x="34925" y="50483"/>
                    </a:lnTo>
                    <a:lnTo>
                      <a:pt x="34925" y="55563"/>
                    </a:lnTo>
                    <a:close/>
                    <a:moveTo>
                      <a:pt x="14605" y="22860"/>
                    </a:moveTo>
                    <a:cubicBezTo>
                      <a:pt x="11113" y="23813"/>
                      <a:pt x="8255" y="24765"/>
                      <a:pt x="5715" y="26352"/>
                    </a:cubicBezTo>
                    <a:lnTo>
                      <a:pt x="9208" y="34290"/>
                    </a:lnTo>
                    <a:cubicBezTo>
                      <a:pt x="11430" y="33020"/>
                      <a:pt x="13970" y="32067"/>
                      <a:pt x="16510" y="31433"/>
                    </a:cubicBezTo>
                    <a:cubicBezTo>
                      <a:pt x="19050" y="30798"/>
                      <a:pt x="21908" y="30163"/>
                      <a:pt x="24448" y="30163"/>
                    </a:cubicBezTo>
                    <a:cubicBezTo>
                      <a:pt x="27623" y="30163"/>
                      <a:pt x="30480" y="31115"/>
                      <a:pt x="32068" y="32702"/>
                    </a:cubicBezTo>
                    <a:cubicBezTo>
                      <a:pt x="33973" y="34290"/>
                      <a:pt x="34925" y="37148"/>
                      <a:pt x="34925" y="41275"/>
                    </a:cubicBezTo>
                    <a:lnTo>
                      <a:pt x="34925" y="44450"/>
                    </a:lnTo>
                    <a:lnTo>
                      <a:pt x="25718" y="44767"/>
                    </a:lnTo>
                    <a:cubicBezTo>
                      <a:pt x="17145" y="45085"/>
                      <a:pt x="10478" y="46673"/>
                      <a:pt x="6350" y="49530"/>
                    </a:cubicBezTo>
                    <a:cubicBezTo>
                      <a:pt x="2223" y="52388"/>
                      <a:pt x="0" y="56515"/>
                      <a:pt x="0" y="62230"/>
                    </a:cubicBezTo>
                    <a:cubicBezTo>
                      <a:pt x="0" y="67945"/>
                      <a:pt x="1588" y="72073"/>
                      <a:pt x="4763" y="74930"/>
                    </a:cubicBezTo>
                    <a:cubicBezTo>
                      <a:pt x="7938" y="77788"/>
                      <a:pt x="12065" y="79058"/>
                      <a:pt x="17145" y="79058"/>
                    </a:cubicBezTo>
                    <a:cubicBezTo>
                      <a:pt x="21908" y="79058"/>
                      <a:pt x="25400" y="78423"/>
                      <a:pt x="27940" y="76835"/>
                    </a:cubicBezTo>
                    <a:cubicBezTo>
                      <a:pt x="30480" y="75565"/>
                      <a:pt x="33020" y="73342"/>
                      <a:pt x="35560" y="70167"/>
                    </a:cubicBezTo>
                    <a:lnTo>
                      <a:pt x="35878" y="70167"/>
                    </a:lnTo>
                    <a:lnTo>
                      <a:pt x="38100" y="77788"/>
                    </a:lnTo>
                    <a:lnTo>
                      <a:pt x="45720" y="77788"/>
                    </a:lnTo>
                    <a:lnTo>
                      <a:pt x="45720" y="40640"/>
                    </a:lnTo>
                    <a:cubicBezTo>
                      <a:pt x="45720" y="34290"/>
                      <a:pt x="44133" y="29527"/>
                      <a:pt x="40640" y="26352"/>
                    </a:cubicBezTo>
                    <a:cubicBezTo>
                      <a:pt x="37148" y="23177"/>
                      <a:pt x="32068" y="21908"/>
                      <a:pt x="25400" y="21908"/>
                    </a:cubicBezTo>
                    <a:cubicBezTo>
                      <a:pt x="21273" y="21590"/>
                      <a:pt x="17780" y="21908"/>
                      <a:pt x="14605" y="22860"/>
                    </a:cubicBezTo>
                  </a:path>
                </a:pathLst>
              </a:custGeom>
              <a:grpFill/>
              <a:ln w="3175" cap="flat">
                <a:noFill/>
                <a:prstDash val="solid"/>
                <a:miter/>
              </a:ln>
            </p:spPr>
            <p:txBody>
              <a:bodyPr rtlCol="0" anchor="ctr"/>
              <a:lstStyle/>
              <a:p>
                <a:endParaRPr lang="en-GB">
                  <a:solidFill>
                    <a:srgbClr val="000000"/>
                  </a:solidFill>
                  <a:latin typeface="Verdana"/>
                </a:endParaRPr>
              </a:p>
            </p:txBody>
          </p:sp>
          <p:sp>
            <p:nvSpPr>
              <p:cNvPr id="52" name="Freeform: Shape 51">
                <a:extLst>
                  <a:ext uri="{FF2B5EF4-FFF2-40B4-BE49-F238E27FC236}">
                    <a16:creationId xmlns:a16="http://schemas.microsoft.com/office/drawing/2014/main" id="{BC6EC936-39E8-4A34-97F8-73F8B12D56DC}"/>
                  </a:ext>
                </a:extLst>
              </p:cNvPr>
              <p:cNvSpPr/>
              <p:nvPr/>
            </p:nvSpPr>
            <p:spPr>
              <a:xfrm>
                <a:off x="1619568" y="1791970"/>
                <a:ext cx="1431925" cy="101600"/>
              </a:xfrm>
              <a:custGeom>
                <a:avLst/>
                <a:gdLst>
                  <a:gd name="connsiteX0" fmla="*/ 1430655 w 1431925"/>
                  <a:gd name="connsiteY0" fmla="*/ 54927 h 101600"/>
                  <a:gd name="connsiteX1" fmla="*/ 1425258 w 1431925"/>
                  <a:gd name="connsiteY1" fmla="*/ 49847 h 101600"/>
                  <a:gd name="connsiteX2" fmla="*/ 1416685 w 1431925"/>
                  <a:gd name="connsiteY2" fmla="*/ 45720 h 101600"/>
                  <a:gd name="connsiteX3" fmla="*/ 1408748 w 1431925"/>
                  <a:gd name="connsiteY3" fmla="*/ 42227 h 101600"/>
                  <a:gd name="connsiteX4" fmla="*/ 1404620 w 1431925"/>
                  <a:gd name="connsiteY4" fmla="*/ 39370 h 101600"/>
                  <a:gd name="connsiteX5" fmla="*/ 1403350 w 1431925"/>
                  <a:gd name="connsiteY5" fmla="*/ 35877 h 101600"/>
                  <a:gd name="connsiteX6" fmla="*/ 1413193 w 1431925"/>
                  <a:gd name="connsiteY6" fmla="*/ 30163 h 101600"/>
                  <a:gd name="connsiteX7" fmla="*/ 1420812 w 1431925"/>
                  <a:gd name="connsiteY7" fmla="*/ 31115 h 101600"/>
                  <a:gd name="connsiteX8" fmla="*/ 1428115 w 1431925"/>
                  <a:gd name="connsiteY8" fmla="*/ 33655 h 101600"/>
                  <a:gd name="connsiteX9" fmla="*/ 1431608 w 1431925"/>
                  <a:gd name="connsiteY9" fmla="*/ 25400 h 101600"/>
                  <a:gd name="connsiteX10" fmla="*/ 1423035 w 1431925"/>
                  <a:gd name="connsiteY10" fmla="*/ 22542 h 101600"/>
                  <a:gd name="connsiteX11" fmla="*/ 1413510 w 1431925"/>
                  <a:gd name="connsiteY11" fmla="*/ 21590 h 101600"/>
                  <a:gd name="connsiteX12" fmla="*/ 1398270 w 1431925"/>
                  <a:gd name="connsiteY12" fmla="*/ 25400 h 101600"/>
                  <a:gd name="connsiteX13" fmla="*/ 1392555 w 1431925"/>
                  <a:gd name="connsiteY13" fmla="*/ 36195 h 101600"/>
                  <a:gd name="connsiteX14" fmla="*/ 1394460 w 1431925"/>
                  <a:gd name="connsiteY14" fmla="*/ 43497 h 101600"/>
                  <a:gd name="connsiteX15" fmla="*/ 1399858 w 1431925"/>
                  <a:gd name="connsiteY15" fmla="*/ 48577 h 101600"/>
                  <a:gd name="connsiteX16" fmla="*/ 1408748 w 1431925"/>
                  <a:gd name="connsiteY16" fmla="*/ 52705 h 101600"/>
                  <a:gd name="connsiteX17" fmla="*/ 1417003 w 1431925"/>
                  <a:gd name="connsiteY17" fmla="*/ 56197 h 101600"/>
                  <a:gd name="connsiteX18" fmla="*/ 1420812 w 1431925"/>
                  <a:gd name="connsiteY18" fmla="*/ 59372 h 101600"/>
                  <a:gd name="connsiteX19" fmla="*/ 1421765 w 1431925"/>
                  <a:gd name="connsiteY19" fmla="*/ 62547 h 101600"/>
                  <a:gd name="connsiteX20" fmla="*/ 1419225 w 1431925"/>
                  <a:gd name="connsiteY20" fmla="*/ 67627 h 101600"/>
                  <a:gd name="connsiteX21" fmla="*/ 1410335 w 1431925"/>
                  <a:gd name="connsiteY21" fmla="*/ 69532 h 101600"/>
                  <a:gd name="connsiteX22" fmla="*/ 1400810 w 1431925"/>
                  <a:gd name="connsiteY22" fmla="*/ 68263 h 101600"/>
                  <a:gd name="connsiteX23" fmla="*/ 1392555 w 1431925"/>
                  <a:gd name="connsiteY23" fmla="*/ 65088 h 101600"/>
                  <a:gd name="connsiteX24" fmla="*/ 1392555 w 1431925"/>
                  <a:gd name="connsiteY24" fmla="*/ 74613 h 101600"/>
                  <a:gd name="connsiteX25" fmla="*/ 1400175 w 1431925"/>
                  <a:gd name="connsiteY25" fmla="*/ 77152 h 101600"/>
                  <a:gd name="connsiteX26" fmla="*/ 1410018 w 1431925"/>
                  <a:gd name="connsiteY26" fmla="*/ 78105 h 101600"/>
                  <a:gd name="connsiteX27" fmla="*/ 1426528 w 1431925"/>
                  <a:gd name="connsiteY27" fmla="*/ 73977 h 101600"/>
                  <a:gd name="connsiteX28" fmla="*/ 1432243 w 1431925"/>
                  <a:gd name="connsiteY28" fmla="*/ 61595 h 101600"/>
                  <a:gd name="connsiteX29" fmla="*/ 1430655 w 1431925"/>
                  <a:gd name="connsiteY29" fmla="*/ 54927 h 101600"/>
                  <a:gd name="connsiteX30" fmla="*/ 1369060 w 1431925"/>
                  <a:gd name="connsiteY30" fmla="*/ 34290 h 101600"/>
                  <a:gd name="connsiteX31" fmla="*/ 1372235 w 1431925"/>
                  <a:gd name="connsiteY31" fmla="*/ 44767 h 101600"/>
                  <a:gd name="connsiteX32" fmla="*/ 1346518 w 1431925"/>
                  <a:gd name="connsiteY32" fmla="*/ 44767 h 101600"/>
                  <a:gd name="connsiteX33" fmla="*/ 1350645 w 1431925"/>
                  <a:gd name="connsiteY33" fmla="*/ 33972 h 101600"/>
                  <a:gd name="connsiteX34" fmla="*/ 1359853 w 1431925"/>
                  <a:gd name="connsiteY34" fmla="*/ 30163 h 101600"/>
                  <a:gd name="connsiteX35" fmla="*/ 1369060 w 1431925"/>
                  <a:gd name="connsiteY35" fmla="*/ 34290 h 101600"/>
                  <a:gd name="connsiteX36" fmla="*/ 1346835 w 1431925"/>
                  <a:gd name="connsiteY36" fmla="*/ 25400 h 101600"/>
                  <a:gd name="connsiteX37" fmla="*/ 1338262 w 1431925"/>
                  <a:gd name="connsiteY37" fmla="*/ 35242 h 101600"/>
                  <a:gd name="connsiteX38" fmla="*/ 1335087 w 1431925"/>
                  <a:gd name="connsiteY38" fmla="*/ 50800 h 101600"/>
                  <a:gd name="connsiteX39" fmla="*/ 1338580 w 1431925"/>
                  <a:gd name="connsiteY39" fmla="*/ 66357 h 101600"/>
                  <a:gd name="connsiteX40" fmla="*/ 1348105 w 1431925"/>
                  <a:gd name="connsiteY40" fmla="*/ 75565 h 101600"/>
                  <a:gd name="connsiteX41" fmla="*/ 1362075 w 1431925"/>
                  <a:gd name="connsiteY41" fmla="*/ 78740 h 101600"/>
                  <a:gd name="connsiteX42" fmla="*/ 1371918 w 1431925"/>
                  <a:gd name="connsiteY42" fmla="*/ 77788 h 101600"/>
                  <a:gd name="connsiteX43" fmla="*/ 1380173 w 1431925"/>
                  <a:gd name="connsiteY43" fmla="*/ 74930 h 101600"/>
                  <a:gd name="connsiteX44" fmla="*/ 1380173 w 1431925"/>
                  <a:gd name="connsiteY44" fmla="*/ 66040 h 101600"/>
                  <a:gd name="connsiteX45" fmla="*/ 1371600 w 1431925"/>
                  <a:gd name="connsiteY45" fmla="*/ 68897 h 101600"/>
                  <a:gd name="connsiteX46" fmla="*/ 1362075 w 1431925"/>
                  <a:gd name="connsiteY46" fmla="*/ 69850 h 101600"/>
                  <a:gd name="connsiteX47" fmla="*/ 1350328 w 1431925"/>
                  <a:gd name="connsiteY47" fmla="*/ 65405 h 101600"/>
                  <a:gd name="connsiteX48" fmla="*/ 1345883 w 1431925"/>
                  <a:gd name="connsiteY48" fmla="*/ 52388 h 101600"/>
                  <a:gd name="connsiteX49" fmla="*/ 1382712 w 1431925"/>
                  <a:gd name="connsiteY49" fmla="*/ 52388 h 101600"/>
                  <a:gd name="connsiteX50" fmla="*/ 1382712 w 1431925"/>
                  <a:gd name="connsiteY50" fmla="*/ 46355 h 101600"/>
                  <a:gd name="connsiteX51" fmla="*/ 1376362 w 1431925"/>
                  <a:gd name="connsiteY51" fmla="*/ 28257 h 101600"/>
                  <a:gd name="connsiteX52" fmla="*/ 1359535 w 1431925"/>
                  <a:gd name="connsiteY52" fmla="*/ 21590 h 101600"/>
                  <a:gd name="connsiteX53" fmla="*/ 1346835 w 1431925"/>
                  <a:gd name="connsiteY53" fmla="*/ 25400 h 101600"/>
                  <a:gd name="connsiteX54" fmla="*/ 1292225 w 1431925"/>
                  <a:gd name="connsiteY54" fmla="*/ 24130 h 101600"/>
                  <a:gd name="connsiteX55" fmla="*/ 1284923 w 1431925"/>
                  <a:gd name="connsiteY55" fmla="*/ 30480 h 101600"/>
                  <a:gd name="connsiteX56" fmla="*/ 1284287 w 1431925"/>
                  <a:gd name="connsiteY56" fmla="*/ 30480 h 101600"/>
                  <a:gd name="connsiteX57" fmla="*/ 1282700 w 1431925"/>
                  <a:gd name="connsiteY57" fmla="*/ 23177 h 101600"/>
                  <a:gd name="connsiteX58" fmla="*/ 1274128 w 1431925"/>
                  <a:gd name="connsiteY58" fmla="*/ 23177 h 101600"/>
                  <a:gd name="connsiteX59" fmla="*/ 1274128 w 1431925"/>
                  <a:gd name="connsiteY59" fmla="*/ 77788 h 101600"/>
                  <a:gd name="connsiteX60" fmla="*/ 1284923 w 1431925"/>
                  <a:gd name="connsiteY60" fmla="*/ 77788 h 101600"/>
                  <a:gd name="connsiteX61" fmla="*/ 1284923 w 1431925"/>
                  <a:gd name="connsiteY61" fmla="*/ 50165 h 101600"/>
                  <a:gd name="connsiteX62" fmla="*/ 1288098 w 1431925"/>
                  <a:gd name="connsiteY62" fmla="*/ 35877 h 101600"/>
                  <a:gd name="connsiteX63" fmla="*/ 1299528 w 1431925"/>
                  <a:gd name="connsiteY63" fmla="*/ 30797 h 101600"/>
                  <a:gd name="connsiteX64" fmla="*/ 1310958 w 1431925"/>
                  <a:gd name="connsiteY64" fmla="*/ 43497 h 101600"/>
                  <a:gd name="connsiteX65" fmla="*/ 1310958 w 1431925"/>
                  <a:gd name="connsiteY65" fmla="*/ 77788 h 101600"/>
                  <a:gd name="connsiteX66" fmla="*/ 1321753 w 1431925"/>
                  <a:gd name="connsiteY66" fmla="*/ 77788 h 101600"/>
                  <a:gd name="connsiteX67" fmla="*/ 1321753 w 1431925"/>
                  <a:gd name="connsiteY67" fmla="*/ 42227 h 101600"/>
                  <a:gd name="connsiteX68" fmla="*/ 1316673 w 1431925"/>
                  <a:gd name="connsiteY68" fmla="*/ 26988 h 101600"/>
                  <a:gd name="connsiteX69" fmla="*/ 1302068 w 1431925"/>
                  <a:gd name="connsiteY69" fmla="*/ 22225 h 101600"/>
                  <a:gd name="connsiteX70" fmla="*/ 1292225 w 1431925"/>
                  <a:gd name="connsiteY70" fmla="*/ 24130 h 101600"/>
                  <a:gd name="connsiteX71" fmla="*/ 1246505 w 1431925"/>
                  <a:gd name="connsiteY71" fmla="*/ 77788 h 101600"/>
                  <a:gd name="connsiteX72" fmla="*/ 1257300 w 1431925"/>
                  <a:gd name="connsiteY72" fmla="*/ 77788 h 101600"/>
                  <a:gd name="connsiteX73" fmla="*/ 1257300 w 1431925"/>
                  <a:gd name="connsiteY73" fmla="*/ 23177 h 101600"/>
                  <a:gd name="connsiteX74" fmla="*/ 1246505 w 1431925"/>
                  <a:gd name="connsiteY74" fmla="*/ 23177 h 101600"/>
                  <a:gd name="connsiteX75" fmla="*/ 1246505 w 1431925"/>
                  <a:gd name="connsiteY75" fmla="*/ 77788 h 101600"/>
                  <a:gd name="connsiteX76" fmla="*/ 1247775 w 1431925"/>
                  <a:gd name="connsiteY76" fmla="*/ 3810 h 101600"/>
                  <a:gd name="connsiteX77" fmla="*/ 1245870 w 1431925"/>
                  <a:gd name="connsiteY77" fmla="*/ 8572 h 101600"/>
                  <a:gd name="connsiteX78" fmla="*/ 1247775 w 1431925"/>
                  <a:gd name="connsiteY78" fmla="*/ 13335 h 101600"/>
                  <a:gd name="connsiteX79" fmla="*/ 1252220 w 1431925"/>
                  <a:gd name="connsiteY79" fmla="*/ 14922 h 101600"/>
                  <a:gd name="connsiteX80" fmla="*/ 1256348 w 1431925"/>
                  <a:gd name="connsiteY80" fmla="*/ 13335 h 101600"/>
                  <a:gd name="connsiteX81" fmla="*/ 1258253 w 1431925"/>
                  <a:gd name="connsiteY81" fmla="*/ 8572 h 101600"/>
                  <a:gd name="connsiteX82" fmla="*/ 1256348 w 1431925"/>
                  <a:gd name="connsiteY82" fmla="*/ 3810 h 101600"/>
                  <a:gd name="connsiteX83" fmla="*/ 1252220 w 1431925"/>
                  <a:gd name="connsiteY83" fmla="*/ 2540 h 101600"/>
                  <a:gd name="connsiteX84" fmla="*/ 1247775 w 1431925"/>
                  <a:gd name="connsiteY84" fmla="*/ 3810 h 101600"/>
                  <a:gd name="connsiteX85" fmla="*/ 1227137 w 1431925"/>
                  <a:gd name="connsiteY85" fmla="*/ 78105 h 101600"/>
                  <a:gd name="connsiteX86" fmla="*/ 1233487 w 1431925"/>
                  <a:gd name="connsiteY86" fmla="*/ 75565 h 101600"/>
                  <a:gd name="connsiteX87" fmla="*/ 1233487 w 1431925"/>
                  <a:gd name="connsiteY87" fmla="*/ 66357 h 101600"/>
                  <a:gd name="connsiteX88" fmla="*/ 1227137 w 1431925"/>
                  <a:gd name="connsiteY88" fmla="*/ 68897 h 101600"/>
                  <a:gd name="connsiteX89" fmla="*/ 1219200 w 1431925"/>
                  <a:gd name="connsiteY89" fmla="*/ 69850 h 101600"/>
                  <a:gd name="connsiteX90" fmla="*/ 1208405 w 1431925"/>
                  <a:gd name="connsiteY90" fmla="*/ 65088 h 101600"/>
                  <a:gd name="connsiteX91" fmla="*/ 1204595 w 1431925"/>
                  <a:gd name="connsiteY91" fmla="*/ 50800 h 101600"/>
                  <a:gd name="connsiteX92" fmla="*/ 1219518 w 1431925"/>
                  <a:gd name="connsiteY92" fmla="*/ 31432 h 101600"/>
                  <a:gd name="connsiteX93" fmla="*/ 1225550 w 1431925"/>
                  <a:gd name="connsiteY93" fmla="*/ 32385 h 101600"/>
                  <a:gd name="connsiteX94" fmla="*/ 1231583 w 1431925"/>
                  <a:gd name="connsiteY94" fmla="*/ 34290 h 101600"/>
                  <a:gd name="connsiteX95" fmla="*/ 1234758 w 1431925"/>
                  <a:gd name="connsiteY95" fmla="*/ 25400 h 101600"/>
                  <a:gd name="connsiteX96" fmla="*/ 1228090 w 1431925"/>
                  <a:gd name="connsiteY96" fmla="*/ 23177 h 101600"/>
                  <a:gd name="connsiteX97" fmla="*/ 1219518 w 1431925"/>
                  <a:gd name="connsiteY97" fmla="*/ 22225 h 101600"/>
                  <a:gd name="connsiteX98" fmla="*/ 1206183 w 1431925"/>
                  <a:gd name="connsiteY98" fmla="*/ 25082 h 101600"/>
                  <a:gd name="connsiteX99" fmla="*/ 1196975 w 1431925"/>
                  <a:gd name="connsiteY99" fmla="*/ 34290 h 101600"/>
                  <a:gd name="connsiteX100" fmla="*/ 1193483 w 1431925"/>
                  <a:gd name="connsiteY100" fmla="*/ 50800 h 101600"/>
                  <a:gd name="connsiteX101" fmla="*/ 1200468 w 1431925"/>
                  <a:gd name="connsiteY101" fmla="*/ 72072 h 101600"/>
                  <a:gd name="connsiteX102" fmla="*/ 1218883 w 1431925"/>
                  <a:gd name="connsiteY102" fmla="*/ 78740 h 101600"/>
                  <a:gd name="connsiteX103" fmla="*/ 1227137 w 1431925"/>
                  <a:gd name="connsiteY103" fmla="*/ 78105 h 101600"/>
                  <a:gd name="connsiteX104" fmla="*/ 1169035 w 1431925"/>
                  <a:gd name="connsiteY104" fmla="*/ 77788 h 101600"/>
                  <a:gd name="connsiteX105" fmla="*/ 1179830 w 1431925"/>
                  <a:gd name="connsiteY105" fmla="*/ 77788 h 101600"/>
                  <a:gd name="connsiteX106" fmla="*/ 1179830 w 1431925"/>
                  <a:gd name="connsiteY106" fmla="*/ 23177 h 101600"/>
                  <a:gd name="connsiteX107" fmla="*/ 1169035 w 1431925"/>
                  <a:gd name="connsiteY107" fmla="*/ 23177 h 101600"/>
                  <a:gd name="connsiteX108" fmla="*/ 1169035 w 1431925"/>
                  <a:gd name="connsiteY108" fmla="*/ 77788 h 101600"/>
                  <a:gd name="connsiteX109" fmla="*/ 1170305 w 1431925"/>
                  <a:gd name="connsiteY109" fmla="*/ 3810 h 101600"/>
                  <a:gd name="connsiteX110" fmla="*/ 1168400 w 1431925"/>
                  <a:gd name="connsiteY110" fmla="*/ 8572 h 101600"/>
                  <a:gd name="connsiteX111" fmla="*/ 1170305 w 1431925"/>
                  <a:gd name="connsiteY111" fmla="*/ 13335 h 101600"/>
                  <a:gd name="connsiteX112" fmla="*/ 1174750 w 1431925"/>
                  <a:gd name="connsiteY112" fmla="*/ 14922 h 101600"/>
                  <a:gd name="connsiteX113" fmla="*/ 1178878 w 1431925"/>
                  <a:gd name="connsiteY113" fmla="*/ 13335 h 101600"/>
                  <a:gd name="connsiteX114" fmla="*/ 1180783 w 1431925"/>
                  <a:gd name="connsiteY114" fmla="*/ 8572 h 101600"/>
                  <a:gd name="connsiteX115" fmla="*/ 1178878 w 1431925"/>
                  <a:gd name="connsiteY115" fmla="*/ 3810 h 101600"/>
                  <a:gd name="connsiteX116" fmla="*/ 1174750 w 1431925"/>
                  <a:gd name="connsiteY116" fmla="*/ 2540 h 101600"/>
                  <a:gd name="connsiteX117" fmla="*/ 1170305 w 1431925"/>
                  <a:gd name="connsiteY117" fmla="*/ 3810 h 101600"/>
                  <a:gd name="connsiteX118" fmla="*/ 1117283 w 1431925"/>
                  <a:gd name="connsiteY118" fmla="*/ 65088 h 101600"/>
                  <a:gd name="connsiteX119" fmla="*/ 1113790 w 1431925"/>
                  <a:gd name="connsiteY119" fmla="*/ 50800 h 101600"/>
                  <a:gd name="connsiteX120" fmla="*/ 1117283 w 1431925"/>
                  <a:gd name="connsiteY120" fmla="*/ 36195 h 101600"/>
                  <a:gd name="connsiteX121" fmla="*/ 1127125 w 1431925"/>
                  <a:gd name="connsiteY121" fmla="*/ 30797 h 101600"/>
                  <a:gd name="connsiteX122" fmla="*/ 1138555 w 1431925"/>
                  <a:gd name="connsiteY122" fmla="*/ 35877 h 101600"/>
                  <a:gd name="connsiteX123" fmla="*/ 1141730 w 1431925"/>
                  <a:gd name="connsiteY123" fmla="*/ 50482 h 101600"/>
                  <a:gd name="connsiteX124" fmla="*/ 1141730 w 1431925"/>
                  <a:gd name="connsiteY124" fmla="*/ 52070 h 101600"/>
                  <a:gd name="connsiteX125" fmla="*/ 1138555 w 1431925"/>
                  <a:gd name="connsiteY125" fmla="*/ 65405 h 101600"/>
                  <a:gd name="connsiteX126" fmla="*/ 1127443 w 1431925"/>
                  <a:gd name="connsiteY126" fmla="*/ 69850 h 101600"/>
                  <a:gd name="connsiteX127" fmla="*/ 1117283 w 1431925"/>
                  <a:gd name="connsiteY127" fmla="*/ 65088 h 101600"/>
                  <a:gd name="connsiteX128" fmla="*/ 1135062 w 1431925"/>
                  <a:gd name="connsiteY128" fmla="*/ 76517 h 101600"/>
                  <a:gd name="connsiteX129" fmla="*/ 1141412 w 1431925"/>
                  <a:gd name="connsiteY129" fmla="*/ 70485 h 101600"/>
                  <a:gd name="connsiteX130" fmla="*/ 1142048 w 1431925"/>
                  <a:gd name="connsiteY130" fmla="*/ 70485 h 101600"/>
                  <a:gd name="connsiteX131" fmla="*/ 1143953 w 1431925"/>
                  <a:gd name="connsiteY131" fmla="*/ 77788 h 101600"/>
                  <a:gd name="connsiteX132" fmla="*/ 1152525 w 1431925"/>
                  <a:gd name="connsiteY132" fmla="*/ 77788 h 101600"/>
                  <a:gd name="connsiteX133" fmla="*/ 1152525 w 1431925"/>
                  <a:gd name="connsiteY133" fmla="*/ 635 h 101600"/>
                  <a:gd name="connsiteX134" fmla="*/ 1141730 w 1431925"/>
                  <a:gd name="connsiteY134" fmla="*/ 635 h 101600"/>
                  <a:gd name="connsiteX135" fmla="*/ 1141730 w 1431925"/>
                  <a:gd name="connsiteY135" fmla="*/ 21272 h 101600"/>
                  <a:gd name="connsiteX136" fmla="*/ 1142048 w 1431925"/>
                  <a:gd name="connsiteY136" fmla="*/ 26035 h 101600"/>
                  <a:gd name="connsiteX137" fmla="*/ 1142683 w 1431925"/>
                  <a:gd name="connsiteY137" fmla="*/ 30163 h 101600"/>
                  <a:gd name="connsiteX138" fmla="*/ 1142048 w 1431925"/>
                  <a:gd name="connsiteY138" fmla="*/ 30163 h 101600"/>
                  <a:gd name="connsiteX139" fmla="*/ 1135698 w 1431925"/>
                  <a:gd name="connsiteY139" fmla="*/ 24447 h 101600"/>
                  <a:gd name="connsiteX140" fmla="*/ 1125537 w 1431925"/>
                  <a:gd name="connsiteY140" fmla="*/ 22225 h 101600"/>
                  <a:gd name="connsiteX141" fmla="*/ 1109345 w 1431925"/>
                  <a:gd name="connsiteY141" fmla="*/ 29527 h 101600"/>
                  <a:gd name="connsiteX142" fmla="*/ 1103312 w 1431925"/>
                  <a:gd name="connsiteY142" fmla="*/ 50800 h 101600"/>
                  <a:gd name="connsiteX143" fmla="*/ 1109345 w 1431925"/>
                  <a:gd name="connsiteY143" fmla="*/ 72072 h 101600"/>
                  <a:gd name="connsiteX144" fmla="*/ 1125220 w 1431925"/>
                  <a:gd name="connsiteY144" fmla="*/ 79057 h 101600"/>
                  <a:gd name="connsiteX145" fmla="*/ 1135062 w 1431925"/>
                  <a:gd name="connsiteY145" fmla="*/ 76517 h 101600"/>
                  <a:gd name="connsiteX146" fmla="*/ 1078865 w 1431925"/>
                  <a:gd name="connsiteY146" fmla="*/ 34290 h 101600"/>
                  <a:gd name="connsiteX147" fmla="*/ 1082040 w 1431925"/>
                  <a:gd name="connsiteY147" fmla="*/ 44767 h 101600"/>
                  <a:gd name="connsiteX148" fmla="*/ 1056323 w 1431925"/>
                  <a:gd name="connsiteY148" fmla="*/ 44767 h 101600"/>
                  <a:gd name="connsiteX149" fmla="*/ 1060450 w 1431925"/>
                  <a:gd name="connsiteY149" fmla="*/ 33972 h 101600"/>
                  <a:gd name="connsiteX150" fmla="*/ 1069658 w 1431925"/>
                  <a:gd name="connsiteY150" fmla="*/ 30163 h 101600"/>
                  <a:gd name="connsiteX151" fmla="*/ 1078865 w 1431925"/>
                  <a:gd name="connsiteY151" fmla="*/ 34290 h 101600"/>
                  <a:gd name="connsiteX152" fmla="*/ 1056640 w 1431925"/>
                  <a:gd name="connsiteY152" fmla="*/ 25400 h 101600"/>
                  <a:gd name="connsiteX153" fmla="*/ 1048068 w 1431925"/>
                  <a:gd name="connsiteY153" fmla="*/ 35242 h 101600"/>
                  <a:gd name="connsiteX154" fmla="*/ 1044893 w 1431925"/>
                  <a:gd name="connsiteY154" fmla="*/ 50800 h 101600"/>
                  <a:gd name="connsiteX155" fmla="*/ 1048385 w 1431925"/>
                  <a:gd name="connsiteY155" fmla="*/ 66357 h 101600"/>
                  <a:gd name="connsiteX156" fmla="*/ 1057910 w 1431925"/>
                  <a:gd name="connsiteY156" fmla="*/ 75565 h 101600"/>
                  <a:gd name="connsiteX157" fmla="*/ 1071880 w 1431925"/>
                  <a:gd name="connsiteY157" fmla="*/ 78740 h 101600"/>
                  <a:gd name="connsiteX158" fmla="*/ 1081723 w 1431925"/>
                  <a:gd name="connsiteY158" fmla="*/ 77788 h 101600"/>
                  <a:gd name="connsiteX159" fmla="*/ 1089978 w 1431925"/>
                  <a:gd name="connsiteY159" fmla="*/ 74930 h 101600"/>
                  <a:gd name="connsiteX160" fmla="*/ 1089978 w 1431925"/>
                  <a:gd name="connsiteY160" fmla="*/ 66040 h 101600"/>
                  <a:gd name="connsiteX161" fmla="*/ 1081405 w 1431925"/>
                  <a:gd name="connsiteY161" fmla="*/ 68897 h 101600"/>
                  <a:gd name="connsiteX162" fmla="*/ 1071880 w 1431925"/>
                  <a:gd name="connsiteY162" fmla="*/ 69850 h 101600"/>
                  <a:gd name="connsiteX163" fmla="*/ 1060133 w 1431925"/>
                  <a:gd name="connsiteY163" fmla="*/ 65405 h 101600"/>
                  <a:gd name="connsiteX164" fmla="*/ 1055687 w 1431925"/>
                  <a:gd name="connsiteY164" fmla="*/ 52388 h 101600"/>
                  <a:gd name="connsiteX165" fmla="*/ 1092518 w 1431925"/>
                  <a:gd name="connsiteY165" fmla="*/ 52388 h 101600"/>
                  <a:gd name="connsiteX166" fmla="*/ 1092518 w 1431925"/>
                  <a:gd name="connsiteY166" fmla="*/ 46355 h 101600"/>
                  <a:gd name="connsiteX167" fmla="*/ 1086168 w 1431925"/>
                  <a:gd name="connsiteY167" fmla="*/ 28257 h 101600"/>
                  <a:gd name="connsiteX168" fmla="*/ 1069340 w 1431925"/>
                  <a:gd name="connsiteY168" fmla="*/ 21590 h 101600"/>
                  <a:gd name="connsiteX169" fmla="*/ 1056640 w 1431925"/>
                  <a:gd name="connsiteY169" fmla="*/ 25400 h 101600"/>
                  <a:gd name="connsiteX170" fmla="*/ 1002983 w 1431925"/>
                  <a:gd name="connsiteY170" fmla="*/ 24130 h 101600"/>
                  <a:gd name="connsiteX171" fmla="*/ 995680 w 1431925"/>
                  <a:gd name="connsiteY171" fmla="*/ 30797 h 101600"/>
                  <a:gd name="connsiteX172" fmla="*/ 994728 w 1431925"/>
                  <a:gd name="connsiteY172" fmla="*/ 30797 h 101600"/>
                  <a:gd name="connsiteX173" fmla="*/ 978218 w 1431925"/>
                  <a:gd name="connsiteY173" fmla="*/ 21907 h 101600"/>
                  <a:gd name="connsiteX174" fmla="*/ 969010 w 1431925"/>
                  <a:gd name="connsiteY174" fmla="*/ 23813 h 101600"/>
                  <a:gd name="connsiteX175" fmla="*/ 962025 w 1431925"/>
                  <a:gd name="connsiteY175" fmla="*/ 30163 h 101600"/>
                  <a:gd name="connsiteX176" fmla="*/ 961708 w 1431925"/>
                  <a:gd name="connsiteY176" fmla="*/ 30163 h 101600"/>
                  <a:gd name="connsiteX177" fmla="*/ 960120 w 1431925"/>
                  <a:gd name="connsiteY177" fmla="*/ 22860 h 101600"/>
                  <a:gd name="connsiteX178" fmla="*/ 951547 w 1431925"/>
                  <a:gd name="connsiteY178" fmla="*/ 22860 h 101600"/>
                  <a:gd name="connsiteX179" fmla="*/ 951547 w 1431925"/>
                  <a:gd name="connsiteY179" fmla="*/ 77470 h 101600"/>
                  <a:gd name="connsiteX180" fmla="*/ 962343 w 1431925"/>
                  <a:gd name="connsiteY180" fmla="*/ 77470 h 101600"/>
                  <a:gd name="connsiteX181" fmla="*/ 962343 w 1431925"/>
                  <a:gd name="connsiteY181" fmla="*/ 49847 h 101600"/>
                  <a:gd name="connsiteX182" fmla="*/ 965200 w 1431925"/>
                  <a:gd name="connsiteY182" fmla="*/ 35560 h 101600"/>
                  <a:gd name="connsiteX183" fmla="*/ 975678 w 1431925"/>
                  <a:gd name="connsiteY183" fmla="*/ 30480 h 101600"/>
                  <a:gd name="connsiteX184" fmla="*/ 986155 w 1431925"/>
                  <a:gd name="connsiteY184" fmla="*/ 43180 h 101600"/>
                  <a:gd name="connsiteX185" fmla="*/ 986155 w 1431925"/>
                  <a:gd name="connsiteY185" fmla="*/ 77470 h 101600"/>
                  <a:gd name="connsiteX186" fmla="*/ 996950 w 1431925"/>
                  <a:gd name="connsiteY186" fmla="*/ 77470 h 101600"/>
                  <a:gd name="connsiteX187" fmla="*/ 996950 w 1431925"/>
                  <a:gd name="connsiteY187" fmla="*/ 47942 h 101600"/>
                  <a:gd name="connsiteX188" fmla="*/ 1000125 w 1431925"/>
                  <a:gd name="connsiteY188" fmla="*/ 34925 h 101600"/>
                  <a:gd name="connsiteX189" fmla="*/ 1010603 w 1431925"/>
                  <a:gd name="connsiteY189" fmla="*/ 30480 h 101600"/>
                  <a:gd name="connsiteX190" fmla="*/ 1020762 w 1431925"/>
                  <a:gd name="connsiteY190" fmla="*/ 43180 h 101600"/>
                  <a:gd name="connsiteX191" fmla="*/ 1020762 w 1431925"/>
                  <a:gd name="connsiteY191" fmla="*/ 77470 h 101600"/>
                  <a:gd name="connsiteX192" fmla="*/ 1031558 w 1431925"/>
                  <a:gd name="connsiteY192" fmla="*/ 77470 h 101600"/>
                  <a:gd name="connsiteX193" fmla="*/ 1031558 w 1431925"/>
                  <a:gd name="connsiteY193" fmla="*/ 41910 h 101600"/>
                  <a:gd name="connsiteX194" fmla="*/ 1026795 w 1431925"/>
                  <a:gd name="connsiteY194" fmla="*/ 26670 h 101600"/>
                  <a:gd name="connsiteX195" fmla="*/ 1012825 w 1431925"/>
                  <a:gd name="connsiteY195" fmla="*/ 21907 h 101600"/>
                  <a:gd name="connsiteX196" fmla="*/ 1002983 w 1431925"/>
                  <a:gd name="connsiteY196" fmla="*/ 24130 h 101600"/>
                  <a:gd name="connsiteX197" fmla="*/ 897890 w 1431925"/>
                  <a:gd name="connsiteY197" fmla="*/ 34290 h 101600"/>
                  <a:gd name="connsiteX198" fmla="*/ 901065 w 1431925"/>
                  <a:gd name="connsiteY198" fmla="*/ 44767 h 101600"/>
                  <a:gd name="connsiteX199" fmla="*/ 875347 w 1431925"/>
                  <a:gd name="connsiteY199" fmla="*/ 44767 h 101600"/>
                  <a:gd name="connsiteX200" fmla="*/ 879475 w 1431925"/>
                  <a:gd name="connsiteY200" fmla="*/ 33972 h 101600"/>
                  <a:gd name="connsiteX201" fmla="*/ 888683 w 1431925"/>
                  <a:gd name="connsiteY201" fmla="*/ 30163 h 101600"/>
                  <a:gd name="connsiteX202" fmla="*/ 897890 w 1431925"/>
                  <a:gd name="connsiteY202" fmla="*/ 34290 h 101600"/>
                  <a:gd name="connsiteX203" fmla="*/ 875665 w 1431925"/>
                  <a:gd name="connsiteY203" fmla="*/ 25400 h 101600"/>
                  <a:gd name="connsiteX204" fmla="*/ 867093 w 1431925"/>
                  <a:gd name="connsiteY204" fmla="*/ 35242 h 101600"/>
                  <a:gd name="connsiteX205" fmla="*/ 863918 w 1431925"/>
                  <a:gd name="connsiteY205" fmla="*/ 50800 h 101600"/>
                  <a:gd name="connsiteX206" fmla="*/ 867410 w 1431925"/>
                  <a:gd name="connsiteY206" fmla="*/ 66357 h 101600"/>
                  <a:gd name="connsiteX207" fmla="*/ 876935 w 1431925"/>
                  <a:gd name="connsiteY207" fmla="*/ 75565 h 101600"/>
                  <a:gd name="connsiteX208" fmla="*/ 890905 w 1431925"/>
                  <a:gd name="connsiteY208" fmla="*/ 78740 h 101600"/>
                  <a:gd name="connsiteX209" fmla="*/ 900747 w 1431925"/>
                  <a:gd name="connsiteY209" fmla="*/ 77788 h 101600"/>
                  <a:gd name="connsiteX210" fmla="*/ 909003 w 1431925"/>
                  <a:gd name="connsiteY210" fmla="*/ 74930 h 101600"/>
                  <a:gd name="connsiteX211" fmla="*/ 909003 w 1431925"/>
                  <a:gd name="connsiteY211" fmla="*/ 66040 h 101600"/>
                  <a:gd name="connsiteX212" fmla="*/ 900430 w 1431925"/>
                  <a:gd name="connsiteY212" fmla="*/ 68897 h 101600"/>
                  <a:gd name="connsiteX213" fmla="*/ 890905 w 1431925"/>
                  <a:gd name="connsiteY213" fmla="*/ 69850 h 101600"/>
                  <a:gd name="connsiteX214" fmla="*/ 879158 w 1431925"/>
                  <a:gd name="connsiteY214" fmla="*/ 65405 h 101600"/>
                  <a:gd name="connsiteX215" fmla="*/ 874712 w 1431925"/>
                  <a:gd name="connsiteY215" fmla="*/ 52388 h 101600"/>
                  <a:gd name="connsiteX216" fmla="*/ 911543 w 1431925"/>
                  <a:gd name="connsiteY216" fmla="*/ 52388 h 101600"/>
                  <a:gd name="connsiteX217" fmla="*/ 911543 w 1431925"/>
                  <a:gd name="connsiteY217" fmla="*/ 46355 h 101600"/>
                  <a:gd name="connsiteX218" fmla="*/ 905193 w 1431925"/>
                  <a:gd name="connsiteY218" fmla="*/ 28257 h 101600"/>
                  <a:gd name="connsiteX219" fmla="*/ 888365 w 1431925"/>
                  <a:gd name="connsiteY219" fmla="*/ 21590 h 101600"/>
                  <a:gd name="connsiteX220" fmla="*/ 875665 w 1431925"/>
                  <a:gd name="connsiteY220" fmla="*/ 25400 h 101600"/>
                  <a:gd name="connsiteX221" fmla="*/ 837883 w 1431925"/>
                  <a:gd name="connsiteY221" fmla="*/ 77788 h 101600"/>
                  <a:gd name="connsiteX222" fmla="*/ 858837 w 1431925"/>
                  <a:gd name="connsiteY222" fmla="*/ 23177 h 101600"/>
                  <a:gd name="connsiteX223" fmla="*/ 847408 w 1431925"/>
                  <a:gd name="connsiteY223" fmla="*/ 23177 h 101600"/>
                  <a:gd name="connsiteX224" fmla="*/ 835978 w 1431925"/>
                  <a:gd name="connsiteY224" fmla="*/ 55245 h 101600"/>
                  <a:gd name="connsiteX225" fmla="*/ 833755 w 1431925"/>
                  <a:gd name="connsiteY225" fmla="*/ 62230 h 101600"/>
                  <a:gd name="connsiteX226" fmla="*/ 832168 w 1431925"/>
                  <a:gd name="connsiteY226" fmla="*/ 68580 h 101600"/>
                  <a:gd name="connsiteX227" fmla="*/ 831533 w 1431925"/>
                  <a:gd name="connsiteY227" fmla="*/ 68580 h 101600"/>
                  <a:gd name="connsiteX228" fmla="*/ 829945 w 1431925"/>
                  <a:gd name="connsiteY228" fmla="*/ 62230 h 101600"/>
                  <a:gd name="connsiteX229" fmla="*/ 827722 w 1431925"/>
                  <a:gd name="connsiteY229" fmla="*/ 55245 h 101600"/>
                  <a:gd name="connsiteX230" fmla="*/ 816293 w 1431925"/>
                  <a:gd name="connsiteY230" fmla="*/ 23177 h 101600"/>
                  <a:gd name="connsiteX231" fmla="*/ 804862 w 1431925"/>
                  <a:gd name="connsiteY231" fmla="*/ 23177 h 101600"/>
                  <a:gd name="connsiteX232" fmla="*/ 825500 w 1431925"/>
                  <a:gd name="connsiteY232" fmla="*/ 77788 h 101600"/>
                  <a:gd name="connsiteX233" fmla="*/ 837883 w 1431925"/>
                  <a:gd name="connsiteY233" fmla="*/ 77788 h 101600"/>
                  <a:gd name="connsiteX234" fmla="*/ 786130 w 1431925"/>
                  <a:gd name="connsiteY234" fmla="*/ 77788 h 101600"/>
                  <a:gd name="connsiteX235" fmla="*/ 796925 w 1431925"/>
                  <a:gd name="connsiteY235" fmla="*/ 77788 h 101600"/>
                  <a:gd name="connsiteX236" fmla="*/ 796925 w 1431925"/>
                  <a:gd name="connsiteY236" fmla="*/ 23177 h 101600"/>
                  <a:gd name="connsiteX237" fmla="*/ 786130 w 1431925"/>
                  <a:gd name="connsiteY237" fmla="*/ 23177 h 101600"/>
                  <a:gd name="connsiteX238" fmla="*/ 786130 w 1431925"/>
                  <a:gd name="connsiteY238" fmla="*/ 77788 h 101600"/>
                  <a:gd name="connsiteX239" fmla="*/ 787083 w 1431925"/>
                  <a:gd name="connsiteY239" fmla="*/ 3810 h 101600"/>
                  <a:gd name="connsiteX240" fmla="*/ 785178 w 1431925"/>
                  <a:gd name="connsiteY240" fmla="*/ 8572 h 101600"/>
                  <a:gd name="connsiteX241" fmla="*/ 787083 w 1431925"/>
                  <a:gd name="connsiteY241" fmla="*/ 13335 h 101600"/>
                  <a:gd name="connsiteX242" fmla="*/ 791528 w 1431925"/>
                  <a:gd name="connsiteY242" fmla="*/ 14922 h 101600"/>
                  <a:gd name="connsiteX243" fmla="*/ 795655 w 1431925"/>
                  <a:gd name="connsiteY243" fmla="*/ 13335 h 101600"/>
                  <a:gd name="connsiteX244" fmla="*/ 797560 w 1431925"/>
                  <a:gd name="connsiteY244" fmla="*/ 8572 h 101600"/>
                  <a:gd name="connsiteX245" fmla="*/ 795655 w 1431925"/>
                  <a:gd name="connsiteY245" fmla="*/ 3810 h 101600"/>
                  <a:gd name="connsiteX246" fmla="*/ 791528 w 1431925"/>
                  <a:gd name="connsiteY246" fmla="*/ 2540 h 101600"/>
                  <a:gd name="connsiteX247" fmla="*/ 787083 w 1431925"/>
                  <a:gd name="connsiteY247" fmla="*/ 3810 h 101600"/>
                  <a:gd name="connsiteX248" fmla="*/ 761047 w 1431925"/>
                  <a:gd name="connsiteY248" fmla="*/ 67945 h 101600"/>
                  <a:gd name="connsiteX249" fmla="*/ 758825 w 1431925"/>
                  <a:gd name="connsiteY249" fmla="*/ 61277 h 101600"/>
                  <a:gd name="connsiteX250" fmla="*/ 758825 w 1431925"/>
                  <a:gd name="connsiteY250" fmla="*/ 31115 h 101600"/>
                  <a:gd name="connsiteX251" fmla="*/ 774383 w 1431925"/>
                  <a:gd name="connsiteY251" fmla="*/ 31115 h 101600"/>
                  <a:gd name="connsiteX252" fmla="*/ 774383 w 1431925"/>
                  <a:gd name="connsiteY252" fmla="*/ 22860 h 101600"/>
                  <a:gd name="connsiteX253" fmla="*/ 758825 w 1431925"/>
                  <a:gd name="connsiteY253" fmla="*/ 22860 h 101600"/>
                  <a:gd name="connsiteX254" fmla="*/ 758825 w 1431925"/>
                  <a:gd name="connsiteY254" fmla="*/ 10477 h 101600"/>
                  <a:gd name="connsiteX255" fmla="*/ 752158 w 1431925"/>
                  <a:gd name="connsiteY255" fmla="*/ 10477 h 101600"/>
                  <a:gd name="connsiteX256" fmla="*/ 748347 w 1431925"/>
                  <a:gd name="connsiteY256" fmla="*/ 21907 h 101600"/>
                  <a:gd name="connsiteX257" fmla="*/ 740410 w 1431925"/>
                  <a:gd name="connsiteY257" fmla="*/ 26035 h 101600"/>
                  <a:gd name="connsiteX258" fmla="*/ 740410 w 1431925"/>
                  <a:gd name="connsiteY258" fmla="*/ 30797 h 101600"/>
                  <a:gd name="connsiteX259" fmla="*/ 748030 w 1431925"/>
                  <a:gd name="connsiteY259" fmla="*/ 30797 h 101600"/>
                  <a:gd name="connsiteX260" fmla="*/ 748030 w 1431925"/>
                  <a:gd name="connsiteY260" fmla="*/ 60960 h 101600"/>
                  <a:gd name="connsiteX261" fmla="*/ 750253 w 1431925"/>
                  <a:gd name="connsiteY261" fmla="*/ 71438 h 101600"/>
                  <a:gd name="connsiteX262" fmla="*/ 756285 w 1431925"/>
                  <a:gd name="connsiteY262" fmla="*/ 76835 h 101600"/>
                  <a:gd name="connsiteX263" fmla="*/ 764540 w 1431925"/>
                  <a:gd name="connsiteY263" fmla="*/ 78422 h 101600"/>
                  <a:gd name="connsiteX264" fmla="*/ 770572 w 1431925"/>
                  <a:gd name="connsiteY264" fmla="*/ 77788 h 101600"/>
                  <a:gd name="connsiteX265" fmla="*/ 775335 w 1431925"/>
                  <a:gd name="connsiteY265" fmla="*/ 76517 h 101600"/>
                  <a:gd name="connsiteX266" fmla="*/ 775335 w 1431925"/>
                  <a:gd name="connsiteY266" fmla="*/ 68263 h 101600"/>
                  <a:gd name="connsiteX267" fmla="*/ 767080 w 1431925"/>
                  <a:gd name="connsiteY267" fmla="*/ 69532 h 101600"/>
                  <a:gd name="connsiteX268" fmla="*/ 761047 w 1431925"/>
                  <a:gd name="connsiteY268" fmla="*/ 67945 h 101600"/>
                  <a:gd name="connsiteX269" fmla="*/ 719772 w 1431925"/>
                  <a:gd name="connsiteY269" fmla="*/ 56197 h 101600"/>
                  <a:gd name="connsiteX270" fmla="*/ 715645 w 1431925"/>
                  <a:gd name="connsiteY270" fmla="*/ 66992 h 101600"/>
                  <a:gd name="connsiteX271" fmla="*/ 705168 w 1431925"/>
                  <a:gd name="connsiteY271" fmla="*/ 70485 h 101600"/>
                  <a:gd name="connsiteX272" fmla="*/ 698500 w 1431925"/>
                  <a:gd name="connsiteY272" fmla="*/ 68580 h 101600"/>
                  <a:gd name="connsiteX273" fmla="*/ 695960 w 1431925"/>
                  <a:gd name="connsiteY273" fmla="*/ 62230 h 101600"/>
                  <a:gd name="connsiteX274" fmla="*/ 699453 w 1431925"/>
                  <a:gd name="connsiteY274" fmla="*/ 54610 h 101600"/>
                  <a:gd name="connsiteX275" fmla="*/ 712470 w 1431925"/>
                  <a:gd name="connsiteY275" fmla="*/ 51435 h 101600"/>
                  <a:gd name="connsiteX276" fmla="*/ 719772 w 1431925"/>
                  <a:gd name="connsiteY276" fmla="*/ 51117 h 101600"/>
                  <a:gd name="connsiteX277" fmla="*/ 719772 w 1431925"/>
                  <a:gd name="connsiteY277" fmla="*/ 56197 h 101600"/>
                  <a:gd name="connsiteX278" fmla="*/ 699453 w 1431925"/>
                  <a:gd name="connsiteY278" fmla="*/ 23495 h 101600"/>
                  <a:gd name="connsiteX279" fmla="*/ 690562 w 1431925"/>
                  <a:gd name="connsiteY279" fmla="*/ 26988 h 101600"/>
                  <a:gd name="connsiteX280" fmla="*/ 694055 w 1431925"/>
                  <a:gd name="connsiteY280" fmla="*/ 34925 h 101600"/>
                  <a:gd name="connsiteX281" fmla="*/ 701358 w 1431925"/>
                  <a:gd name="connsiteY281" fmla="*/ 32067 h 101600"/>
                  <a:gd name="connsiteX282" fmla="*/ 709295 w 1431925"/>
                  <a:gd name="connsiteY282" fmla="*/ 30797 h 101600"/>
                  <a:gd name="connsiteX283" fmla="*/ 716915 w 1431925"/>
                  <a:gd name="connsiteY283" fmla="*/ 33338 h 101600"/>
                  <a:gd name="connsiteX284" fmla="*/ 719772 w 1431925"/>
                  <a:gd name="connsiteY284" fmla="*/ 41910 h 101600"/>
                  <a:gd name="connsiteX285" fmla="*/ 719772 w 1431925"/>
                  <a:gd name="connsiteY285" fmla="*/ 45085 h 101600"/>
                  <a:gd name="connsiteX286" fmla="*/ 710565 w 1431925"/>
                  <a:gd name="connsiteY286" fmla="*/ 45402 h 101600"/>
                  <a:gd name="connsiteX287" fmla="*/ 691197 w 1431925"/>
                  <a:gd name="connsiteY287" fmla="*/ 50165 h 101600"/>
                  <a:gd name="connsiteX288" fmla="*/ 684847 w 1431925"/>
                  <a:gd name="connsiteY288" fmla="*/ 62865 h 101600"/>
                  <a:gd name="connsiteX289" fmla="*/ 689610 w 1431925"/>
                  <a:gd name="connsiteY289" fmla="*/ 75565 h 101600"/>
                  <a:gd name="connsiteX290" fmla="*/ 701993 w 1431925"/>
                  <a:gd name="connsiteY290" fmla="*/ 79692 h 101600"/>
                  <a:gd name="connsiteX291" fmla="*/ 712787 w 1431925"/>
                  <a:gd name="connsiteY291" fmla="*/ 77470 h 101600"/>
                  <a:gd name="connsiteX292" fmla="*/ 720408 w 1431925"/>
                  <a:gd name="connsiteY292" fmla="*/ 70802 h 101600"/>
                  <a:gd name="connsiteX293" fmla="*/ 720725 w 1431925"/>
                  <a:gd name="connsiteY293" fmla="*/ 70802 h 101600"/>
                  <a:gd name="connsiteX294" fmla="*/ 722947 w 1431925"/>
                  <a:gd name="connsiteY294" fmla="*/ 78422 h 101600"/>
                  <a:gd name="connsiteX295" fmla="*/ 730568 w 1431925"/>
                  <a:gd name="connsiteY295" fmla="*/ 78422 h 101600"/>
                  <a:gd name="connsiteX296" fmla="*/ 730568 w 1431925"/>
                  <a:gd name="connsiteY296" fmla="*/ 41275 h 101600"/>
                  <a:gd name="connsiteX297" fmla="*/ 725487 w 1431925"/>
                  <a:gd name="connsiteY297" fmla="*/ 26988 h 101600"/>
                  <a:gd name="connsiteX298" fmla="*/ 710247 w 1431925"/>
                  <a:gd name="connsiteY298" fmla="*/ 22542 h 101600"/>
                  <a:gd name="connsiteX299" fmla="*/ 699453 w 1431925"/>
                  <a:gd name="connsiteY299" fmla="*/ 23495 h 101600"/>
                  <a:gd name="connsiteX300" fmla="*/ 659447 w 1431925"/>
                  <a:gd name="connsiteY300" fmla="*/ 77788 h 101600"/>
                  <a:gd name="connsiteX301" fmla="*/ 680403 w 1431925"/>
                  <a:gd name="connsiteY301" fmla="*/ 23177 h 101600"/>
                  <a:gd name="connsiteX302" fmla="*/ 668972 w 1431925"/>
                  <a:gd name="connsiteY302" fmla="*/ 23177 h 101600"/>
                  <a:gd name="connsiteX303" fmla="*/ 657543 w 1431925"/>
                  <a:gd name="connsiteY303" fmla="*/ 55245 h 101600"/>
                  <a:gd name="connsiteX304" fmla="*/ 655320 w 1431925"/>
                  <a:gd name="connsiteY304" fmla="*/ 62230 h 101600"/>
                  <a:gd name="connsiteX305" fmla="*/ 653733 w 1431925"/>
                  <a:gd name="connsiteY305" fmla="*/ 68580 h 101600"/>
                  <a:gd name="connsiteX306" fmla="*/ 653415 w 1431925"/>
                  <a:gd name="connsiteY306" fmla="*/ 68580 h 101600"/>
                  <a:gd name="connsiteX307" fmla="*/ 651828 w 1431925"/>
                  <a:gd name="connsiteY307" fmla="*/ 62230 h 101600"/>
                  <a:gd name="connsiteX308" fmla="*/ 649605 w 1431925"/>
                  <a:gd name="connsiteY308" fmla="*/ 55245 h 101600"/>
                  <a:gd name="connsiteX309" fmla="*/ 638175 w 1431925"/>
                  <a:gd name="connsiteY309" fmla="*/ 23177 h 101600"/>
                  <a:gd name="connsiteX310" fmla="*/ 626745 w 1431925"/>
                  <a:gd name="connsiteY310" fmla="*/ 23177 h 101600"/>
                  <a:gd name="connsiteX311" fmla="*/ 647383 w 1431925"/>
                  <a:gd name="connsiteY311" fmla="*/ 77788 h 101600"/>
                  <a:gd name="connsiteX312" fmla="*/ 659447 w 1431925"/>
                  <a:gd name="connsiteY312" fmla="*/ 77788 h 101600"/>
                  <a:gd name="connsiteX313" fmla="*/ 586740 w 1431925"/>
                  <a:gd name="connsiteY313" fmla="*/ 36195 h 101600"/>
                  <a:gd name="connsiteX314" fmla="*/ 597853 w 1431925"/>
                  <a:gd name="connsiteY314" fmla="*/ 31115 h 101600"/>
                  <a:gd name="connsiteX315" fmla="*/ 608965 w 1431925"/>
                  <a:gd name="connsiteY315" fmla="*/ 36195 h 101600"/>
                  <a:gd name="connsiteX316" fmla="*/ 612458 w 1431925"/>
                  <a:gd name="connsiteY316" fmla="*/ 50482 h 101600"/>
                  <a:gd name="connsiteX317" fmla="*/ 608965 w 1431925"/>
                  <a:gd name="connsiteY317" fmla="*/ 64770 h 101600"/>
                  <a:gd name="connsiteX318" fmla="*/ 597853 w 1431925"/>
                  <a:gd name="connsiteY318" fmla="*/ 69850 h 101600"/>
                  <a:gd name="connsiteX319" fmla="*/ 586740 w 1431925"/>
                  <a:gd name="connsiteY319" fmla="*/ 64770 h 101600"/>
                  <a:gd name="connsiteX320" fmla="*/ 583247 w 1431925"/>
                  <a:gd name="connsiteY320" fmla="*/ 50482 h 101600"/>
                  <a:gd name="connsiteX321" fmla="*/ 586740 w 1431925"/>
                  <a:gd name="connsiteY321" fmla="*/ 36195 h 101600"/>
                  <a:gd name="connsiteX322" fmla="*/ 620395 w 1431925"/>
                  <a:gd name="connsiteY322" fmla="*/ 34925 h 101600"/>
                  <a:gd name="connsiteX323" fmla="*/ 611505 w 1431925"/>
                  <a:gd name="connsiteY323" fmla="*/ 25400 h 101600"/>
                  <a:gd name="connsiteX324" fmla="*/ 598170 w 1431925"/>
                  <a:gd name="connsiteY324" fmla="*/ 22225 h 101600"/>
                  <a:gd name="connsiteX325" fmla="*/ 579120 w 1431925"/>
                  <a:gd name="connsiteY325" fmla="*/ 29527 h 101600"/>
                  <a:gd name="connsiteX326" fmla="*/ 572135 w 1431925"/>
                  <a:gd name="connsiteY326" fmla="*/ 50482 h 101600"/>
                  <a:gd name="connsiteX327" fmla="*/ 575310 w 1431925"/>
                  <a:gd name="connsiteY327" fmla="*/ 66040 h 101600"/>
                  <a:gd name="connsiteX328" fmla="*/ 584200 w 1431925"/>
                  <a:gd name="connsiteY328" fmla="*/ 75565 h 101600"/>
                  <a:gd name="connsiteX329" fmla="*/ 597218 w 1431925"/>
                  <a:gd name="connsiteY329" fmla="*/ 78740 h 101600"/>
                  <a:gd name="connsiteX330" fmla="*/ 616268 w 1431925"/>
                  <a:gd name="connsiteY330" fmla="*/ 71438 h 101600"/>
                  <a:gd name="connsiteX331" fmla="*/ 623253 w 1431925"/>
                  <a:gd name="connsiteY331" fmla="*/ 50482 h 101600"/>
                  <a:gd name="connsiteX332" fmla="*/ 620395 w 1431925"/>
                  <a:gd name="connsiteY332" fmla="*/ 34925 h 101600"/>
                  <a:gd name="connsiteX333" fmla="*/ 529272 w 1431925"/>
                  <a:gd name="connsiteY333" fmla="*/ 24130 h 101600"/>
                  <a:gd name="connsiteX334" fmla="*/ 521970 w 1431925"/>
                  <a:gd name="connsiteY334" fmla="*/ 30480 h 101600"/>
                  <a:gd name="connsiteX335" fmla="*/ 521335 w 1431925"/>
                  <a:gd name="connsiteY335" fmla="*/ 30480 h 101600"/>
                  <a:gd name="connsiteX336" fmla="*/ 519747 w 1431925"/>
                  <a:gd name="connsiteY336" fmla="*/ 23177 h 101600"/>
                  <a:gd name="connsiteX337" fmla="*/ 511175 w 1431925"/>
                  <a:gd name="connsiteY337" fmla="*/ 23177 h 101600"/>
                  <a:gd name="connsiteX338" fmla="*/ 511175 w 1431925"/>
                  <a:gd name="connsiteY338" fmla="*/ 77788 h 101600"/>
                  <a:gd name="connsiteX339" fmla="*/ 521970 w 1431925"/>
                  <a:gd name="connsiteY339" fmla="*/ 77788 h 101600"/>
                  <a:gd name="connsiteX340" fmla="*/ 521970 w 1431925"/>
                  <a:gd name="connsiteY340" fmla="*/ 50165 h 101600"/>
                  <a:gd name="connsiteX341" fmla="*/ 525145 w 1431925"/>
                  <a:gd name="connsiteY341" fmla="*/ 35877 h 101600"/>
                  <a:gd name="connsiteX342" fmla="*/ 536575 w 1431925"/>
                  <a:gd name="connsiteY342" fmla="*/ 30797 h 101600"/>
                  <a:gd name="connsiteX343" fmla="*/ 548005 w 1431925"/>
                  <a:gd name="connsiteY343" fmla="*/ 43497 h 101600"/>
                  <a:gd name="connsiteX344" fmla="*/ 548005 w 1431925"/>
                  <a:gd name="connsiteY344" fmla="*/ 77788 h 101600"/>
                  <a:gd name="connsiteX345" fmla="*/ 558800 w 1431925"/>
                  <a:gd name="connsiteY345" fmla="*/ 77788 h 101600"/>
                  <a:gd name="connsiteX346" fmla="*/ 558800 w 1431925"/>
                  <a:gd name="connsiteY346" fmla="*/ 42227 h 101600"/>
                  <a:gd name="connsiteX347" fmla="*/ 553720 w 1431925"/>
                  <a:gd name="connsiteY347" fmla="*/ 26988 h 101600"/>
                  <a:gd name="connsiteX348" fmla="*/ 539115 w 1431925"/>
                  <a:gd name="connsiteY348" fmla="*/ 22225 h 101600"/>
                  <a:gd name="connsiteX349" fmla="*/ 529272 w 1431925"/>
                  <a:gd name="connsiteY349" fmla="*/ 24130 h 101600"/>
                  <a:gd name="connsiteX350" fmla="*/ 465455 w 1431925"/>
                  <a:gd name="connsiteY350" fmla="*/ 24130 h 101600"/>
                  <a:gd name="connsiteX351" fmla="*/ 458153 w 1431925"/>
                  <a:gd name="connsiteY351" fmla="*/ 30480 h 101600"/>
                  <a:gd name="connsiteX352" fmla="*/ 457518 w 1431925"/>
                  <a:gd name="connsiteY352" fmla="*/ 30480 h 101600"/>
                  <a:gd name="connsiteX353" fmla="*/ 455930 w 1431925"/>
                  <a:gd name="connsiteY353" fmla="*/ 23177 h 101600"/>
                  <a:gd name="connsiteX354" fmla="*/ 447357 w 1431925"/>
                  <a:gd name="connsiteY354" fmla="*/ 23177 h 101600"/>
                  <a:gd name="connsiteX355" fmla="*/ 447357 w 1431925"/>
                  <a:gd name="connsiteY355" fmla="*/ 77788 h 101600"/>
                  <a:gd name="connsiteX356" fmla="*/ 458153 w 1431925"/>
                  <a:gd name="connsiteY356" fmla="*/ 77788 h 101600"/>
                  <a:gd name="connsiteX357" fmla="*/ 458153 w 1431925"/>
                  <a:gd name="connsiteY357" fmla="*/ 50165 h 101600"/>
                  <a:gd name="connsiteX358" fmla="*/ 461328 w 1431925"/>
                  <a:gd name="connsiteY358" fmla="*/ 35877 h 101600"/>
                  <a:gd name="connsiteX359" fmla="*/ 472757 w 1431925"/>
                  <a:gd name="connsiteY359" fmla="*/ 30797 h 101600"/>
                  <a:gd name="connsiteX360" fmla="*/ 484187 w 1431925"/>
                  <a:gd name="connsiteY360" fmla="*/ 43497 h 101600"/>
                  <a:gd name="connsiteX361" fmla="*/ 484187 w 1431925"/>
                  <a:gd name="connsiteY361" fmla="*/ 77788 h 101600"/>
                  <a:gd name="connsiteX362" fmla="*/ 494982 w 1431925"/>
                  <a:gd name="connsiteY362" fmla="*/ 77788 h 101600"/>
                  <a:gd name="connsiteX363" fmla="*/ 494982 w 1431925"/>
                  <a:gd name="connsiteY363" fmla="*/ 42227 h 101600"/>
                  <a:gd name="connsiteX364" fmla="*/ 489903 w 1431925"/>
                  <a:gd name="connsiteY364" fmla="*/ 26988 h 101600"/>
                  <a:gd name="connsiteX365" fmla="*/ 475297 w 1431925"/>
                  <a:gd name="connsiteY365" fmla="*/ 22225 h 101600"/>
                  <a:gd name="connsiteX366" fmla="*/ 465455 w 1431925"/>
                  <a:gd name="connsiteY366" fmla="*/ 24130 h 101600"/>
                  <a:gd name="connsiteX367" fmla="*/ 419735 w 1431925"/>
                  <a:gd name="connsiteY367" fmla="*/ 77788 h 101600"/>
                  <a:gd name="connsiteX368" fmla="*/ 430530 w 1431925"/>
                  <a:gd name="connsiteY368" fmla="*/ 77788 h 101600"/>
                  <a:gd name="connsiteX369" fmla="*/ 430530 w 1431925"/>
                  <a:gd name="connsiteY369" fmla="*/ 23177 h 101600"/>
                  <a:gd name="connsiteX370" fmla="*/ 419735 w 1431925"/>
                  <a:gd name="connsiteY370" fmla="*/ 23177 h 101600"/>
                  <a:gd name="connsiteX371" fmla="*/ 419735 w 1431925"/>
                  <a:gd name="connsiteY371" fmla="*/ 77788 h 101600"/>
                  <a:gd name="connsiteX372" fmla="*/ 421005 w 1431925"/>
                  <a:gd name="connsiteY372" fmla="*/ 3810 h 101600"/>
                  <a:gd name="connsiteX373" fmla="*/ 419100 w 1431925"/>
                  <a:gd name="connsiteY373" fmla="*/ 8572 h 101600"/>
                  <a:gd name="connsiteX374" fmla="*/ 421005 w 1431925"/>
                  <a:gd name="connsiteY374" fmla="*/ 13335 h 101600"/>
                  <a:gd name="connsiteX375" fmla="*/ 425450 w 1431925"/>
                  <a:gd name="connsiteY375" fmla="*/ 14922 h 101600"/>
                  <a:gd name="connsiteX376" fmla="*/ 429578 w 1431925"/>
                  <a:gd name="connsiteY376" fmla="*/ 13335 h 101600"/>
                  <a:gd name="connsiteX377" fmla="*/ 431482 w 1431925"/>
                  <a:gd name="connsiteY377" fmla="*/ 8572 h 101600"/>
                  <a:gd name="connsiteX378" fmla="*/ 429578 w 1431925"/>
                  <a:gd name="connsiteY378" fmla="*/ 3810 h 101600"/>
                  <a:gd name="connsiteX379" fmla="*/ 425450 w 1431925"/>
                  <a:gd name="connsiteY379" fmla="*/ 2540 h 101600"/>
                  <a:gd name="connsiteX380" fmla="*/ 421005 w 1431925"/>
                  <a:gd name="connsiteY380" fmla="*/ 3810 h 101600"/>
                  <a:gd name="connsiteX381" fmla="*/ 362585 w 1431925"/>
                  <a:gd name="connsiteY381" fmla="*/ 35560 h 101600"/>
                  <a:gd name="connsiteX382" fmla="*/ 366078 w 1431925"/>
                  <a:gd name="connsiteY382" fmla="*/ 50800 h 101600"/>
                  <a:gd name="connsiteX383" fmla="*/ 366078 w 1431925"/>
                  <a:gd name="connsiteY383" fmla="*/ 52705 h 101600"/>
                  <a:gd name="connsiteX384" fmla="*/ 362585 w 1431925"/>
                  <a:gd name="connsiteY384" fmla="*/ 66040 h 101600"/>
                  <a:gd name="connsiteX385" fmla="*/ 351472 w 1431925"/>
                  <a:gd name="connsiteY385" fmla="*/ 70167 h 101600"/>
                  <a:gd name="connsiteX386" fmla="*/ 341312 w 1431925"/>
                  <a:gd name="connsiteY386" fmla="*/ 65088 h 101600"/>
                  <a:gd name="connsiteX387" fmla="*/ 337820 w 1431925"/>
                  <a:gd name="connsiteY387" fmla="*/ 50482 h 101600"/>
                  <a:gd name="connsiteX388" fmla="*/ 341312 w 1431925"/>
                  <a:gd name="connsiteY388" fmla="*/ 35877 h 101600"/>
                  <a:gd name="connsiteX389" fmla="*/ 351155 w 1431925"/>
                  <a:gd name="connsiteY389" fmla="*/ 30797 h 101600"/>
                  <a:gd name="connsiteX390" fmla="*/ 362585 w 1431925"/>
                  <a:gd name="connsiteY390" fmla="*/ 35560 h 101600"/>
                  <a:gd name="connsiteX391" fmla="*/ 333057 w 1431925"/>
                  <a:gd name="connsiteY391" fmla="*/ 29845 h 101600"/>
                  <a:gd name="connsiteX392" fmla="*/ 327343 w 1431925"/>
                  <a:gd name="connsiteY392" fmla="*/ 50800 h 101600"/>
                  <a:gd name="connsiteX393" fmla="*/ 333057 w 1431925"/>
                  <a:gd name="connsiteY393" fmla="*/ 71438 h 101600"/>
                  <a:gd name="connsiteX394" fmla="*/ 349250 w 1431925"/>
                  <a:gd name="connsiteY394" fmla="*/ 79057 h 101600"/>
                  <a:gd name="connsiteX395" fmla="*/ 358775 w 1431925"/>
                  <a:gd name="connsiteY395" fmla="*/ 77152 h 101600"/>
                  <a:gd name="connsiteX396" fmla="*/ 365760 w 1431925"/>
                  <a:gd name="connsiteY396" fmla="*/ 70802 h 101600"/>
                  <a:gd name="connsiteX397" fmla="*/ 366078 w 1431925"/>
                  <a:gd name="connsiteY397" fmla="*/ 70802 h 101600"/>
                  <a:gd name="connsiteX398" fmla="*/ 365760 w 1431925"/>
                  <a:gd name="connsiteY398" fmla="*/ 73977 h 101600"/>
                  <a:gd name="connsiteX399" fmla="*/ 365760 w 1431925"/>
                  <a:gd name="connsiteY399" fmla="*/ 77470 h 101600"/>
                  <a:gd name="connsiteX400" fmla="*/ 365760 w 1431925"/>
                  <a:gd name="connsiteY400" fmla="*/ 79375 h 101600"/>
                  <a:gd name="connsiteX401" fmla="*/ 361950 w 1431925"/>
                  <a:gd name="connsiteY401" fmla="*/ 90170 h 101600"/>
                  <a:gd name="connsiteX402" fmla="*/ 351790 w 1431925"/>
                  <a:gd name="connsiteY402" fmla="*/ 93980 h 101600"/>
                  <a:gd name="connsiteX403" fmla="*/ 340678 w 1431925"/>
                  <a:gd name="connsiteY403" fmla="*/ 93027 h 101600"/>
                  <a:gd name="connsiteX404" fmla="*/ 331153 w 1431925"/>
                  <a:gd name="connsiteY404" fmla="*/ 89852 h 101600"/>
                  <a:gd name="connsiteX405" fmla="*/ 331153 w 1431925"/>
                  <a:gd name="connsiteY405" fmla="*/ 99377 h 101600"/>
                  <a:gd name="connsiteX406" fmla="*/ 340360 w 1431925"/>
                  <a:gd name="connsiteY406" fmla="*/ 101917 h 101600"/>
                  <a:gd name="connsiteX407" fmla="*/ 351155 w 1431925"/>
                  <a:gd name="connsiteY407" fmla="*/ 102870 h 101600"/>
                  <a:gd name="connsiteX408" fmla="*/ 376555 w 1431925"/>
                  <a:gd name="connsiteY408" fmla="*/ 79057 h 101600"/>
                  <a:gd name="connsiteX409" fmla="*/ 376555 w 1431925"/>
                  <a:gd name="connsiteY409" fmla="*/ 23495 h 101600"/>
                  <a:gd name="connsiteX410" fmla="*/ 367665 w 1431925"/>
                  <a:gd name="connsiteY410" fmla="*/ 23495 h 101600"/>
                  <a:gd name="connsiteX411" fmla="*/ 366395 w 1431925"/>
                  <a:gd name="connsiteY411" fmla="*/ 30797 h 101600"/>
                  <a:gd name="connsiteX412" fmla="*/ 365760 w 1431925"/>
                  <a:gd name="connsiteY412" fmla="*/ 30797 h 101600"/>
                  <a:gd name="connsiteX413" fmla="*/ 358457 w 1431925"/>
                  <a:gd name="connsiteY413" fmla="*/ 24447 h 101600"/>
                  <a:gd name="connsiteX414" fmla="*/ 348932 w 1431925"/>
                  <a:gd name="connsiteY414" fmla="*/ 22542 h 101600"/>
                  <a:gd name="connsiteX415" fmla="*/ 333057 w 1431925"/>
                  <a:gd name="connsiteY415" fmla="*/ 29845 h 101600"/>
                  <a:gd name="connsiteX416" fmla="*/ 284480 w 1431925"/>
                  <a:gd name="connsiteY416" fmla="*/ 24130 h 101600"/>
                  <a:gd name="connsiteX417" fmla="*/ 277178 w 1431925"/>
                  <a:gd name="connsiteY417" fmla="*/ 30480 h 101600"/>
                  <a:gd name="connsiteX418" fmla="*/ 276543 w 1431925"/>
                  <a:gd name="connsiteY418" fmla="*/ 30480 h 101600"/>
                  <a:gd name="connsiteX419" fmla="*/ 274955 w 1431925"/>
                  <a:gd name="connsiteY419" fmla="*/ 23177 h 101600"/>
                  <a:gd name="connsiteX420" fmla="*/ 266382 w 1431925"/>
                  <a:gd name="connsiteY420" fmla="*/ 23177 h 101600"/>
                  <a:gd name="connsiteX421" fmla="*/ 266382 w 1431925"/>
                  <a:gd name="connsiteY421" fmla="*/ 77788 h 101600"/>
                  <a:gd name="connsiteX422" fmla="*/ 277178 w 1431925"/>
                  <a:gd name="connsiteY422" fmla="*/ 77788 h 101600"/>
                  <a:gd name="connsiteX423" fmla="*/ 277178 w 1431925"/>
                  <a:gd name="connsiteY423" fmla="*/ 50165 h 101600"/>
                  <a:gd name="connsiteX424" fmla="*/ 280353 w 1431925"/>
                  <a:gd name="connsiteY424" fmla="*/ 35877 h 101600"/>
                  <a:gd name="connsiteX425" fmla="*/ 291782 w 1431925"/>
                  <a:gd name="connsiteY425" fmla="*/ 30797 h 101600"/>
                  <a:gd name="connsiteX426" fmla="*/ 303212 w 1431925"/>
                  <a:gd name="connsiteY426" fmla="*/ 43497 h 101600"/>
                  <a:gd name="connsiteX427" fmla="*/ 303212 w 1431925"/>
                  <a:gd name="connsiteY427" fmla="*/ 77788 h 101600"/>
                  <a:gd name="connsiteX428" fmla="*/ 314007 w 1431925"/>
                  <a:gd name="connsiteY428" fmla="*/ 77788 h 101600"/>
                  <a:gd name="connsiteX429" fmla="*/ 314007 w 1431925"/>
                  <a:gd name="connsiteY429" fmla="*/ 42227 h 101600"/>
                  <a:gd name="connsiteX430" fmla="*/ 308928 w 1431925"/>
                  <a:gd name="connsiteY430" fmla="*/ 26988 h 101600"/>
                  <a:gd name="connsiteX431" fmla="*/ 294322 w 1431925"/>
                  <a:gd name="connsiteY431" fmla="*/ 22225 h 101600"/>
                  <a:gd name="connsiteX432" fmla="*/ 284480 w 1431925"/>
                  <a:gd name="connsiteY432" fmla="*/ 24130 h 101600"/>
                  <a:gd name="connsiteX433" fmla="*/ 238760 w 1431925"/>
                  <a:gd name="connsiteY433" fmla="*/ 77788 h 101600"/>
                  <a:gd name="connsiteX434" fmla="*/ 249555 w 1431925"/>
                  <a:gd name="connsiteY434" fmla="*/ 77788 h 101600"/>
                  <a:gd name="connsiteX435" fmla="*/ 249555 w 1431925"/>
                  <a:gd name="connsiteY435" fmla="*/ 23177 h 101600"/>
                  <a:gd name="connsiteX436" fmla="*/ 238760 w 1431925"/>
                  <a:gd name="connsiteY436" fmla="*/ 23177 h 101600"/>
                  <a:gd name="connsiteX437" fmla="*/ 238760 w 1431925"/>
                  <a:gd name="connsiteY437" fmla="*/ 77788 h 101600"/>
                  <a:gd name="connsiteX438" fmla="*/ 240030 w 1431925"/>
                  <a:gd name="connsiteY438" fmla="*/ 3810 h 101600"/>
                  <a:gd name="connsiteX439" fmla="*/ 238125 w 1431925"/>
                  <a:gd name="connsiteY439" fmla="*/ 8572 h 101600"/>
                  <a:gd name="connsiteX440" fmla="*/ 240030 w 1431925"/>
                  <a:gd name="connsiteY440" fmla="*/ 13335 h 101600"/>
                  <a:gd name="connsiteX441" fmla="*/ 244475 w 1431925"/>
                  <a:gd name="connsiteY441" fmla="*/ 14922 h 101600"/>
                  <a:gd name="connsiteX442" fmla="*/ 248603 w 1431925"/>
                  <a:gd name="connsiteY442" fmla="*/ 13335 h 101600"/>
                  <a:gd name="connsiteX443" fmla="*/ 250507 w 1431925"/>
                  <a:gd name="connsiteY443" fmla="*/ 8572 h 101600"/>
                  <a:gd name="connsiteX444" fmla="*/ 248603 w 1431925"/>
                  <a:gd name="connsiteY444" fmla="*/ 3810 h 101600"/>
                  <a:gd name="connsiteX445" fmla="*/ 244475 w 1431925"/>
                  <a:gd name="connsiteY445" fmla="*/ 2540 h 101600"/>
                  <a:gd name="connsiteX446" fmla="*/ 240030 w 1431925"/>
                  <a:gd name="connsiteY446" fmla="*/ 3810 h 101600"/>
                  <a:gd name="connsiteX447" fmla="*/ 212725 w 1431925"/>
                  <a:gd name="connsiteY447" fmla="*/ 25400 h 101600"/>
                  <a:gd name="connsiteX448" fmla="*/ 206057 w 1431925"/>
                  <a:gd name="connsiteY448" fmla="*/ 33020 h 101600"/>
                  <a:gd name="connsiteX449" fmla="*/ 205740 w 1431925"/>
                  <a:gd name="connsiteY449" fmla="*/ 33020 h 101600"/>
                  <a:gd name="connsiteX450" fmla="*/ 204470 w 1431925"/>
                  <a:gd name="connsiteY450" fmla="*/ 23177 h 101600"/>
                  <a:gd name="connsiteX451" fmla="*/ 195897 w 1431925"/>
                  <a:gd name="connsiteY451" fmla="*/ 23177 h 101600"/>
                  <a:gd name="connsiteX452" fmla="*/ 195897 w 1431925"/>
                  <a:gd name="connsiteY452" fmla="*/ 77788 h 101600"/>
                  <a:gd name="connsiteX453" fmla="*/ 206693 w 1431925"/>
                  <a:gd name="connsiteY453" fmla="*/ 77788 h 101600"/>
                  <a:gd name="connsiteX454" fmla="*/ 206693 w 1431925"/>
                  <a:gd name="connsiteY454" fmla="*/ 48895 h 101600"/>
                  <a:gd name="connsiteX455" fmla="*/ 208915 w 1431925"/>
                  <a:gd name="connsiteY455" fmla="*/ 39688 h 101600"/>
                  <a:gd name="connsiteX456" fmla="*/ 214630 w 1431925"/>
                  <a:gd name="connsiteY456" fmla="*/ 33972 h 101600"/>
                  <a:gd name="connsiteX457" fmla="*/ 222250 w 1431925"/>
                  <a:gd name="connsiteY457" fmla="*/ 32067 h 101600"/>
                  <a:gd name="connsiteX458" fmla="*/ 227647 w 1431925"/>
                  <a:gd name="connsiteY458" fmla="*/ 32702 h 101600"/>
                  <a:gd name="connsiteX459" fmla="*/ 228918 w 1431925"/>
                  <a:gd name="connsiteY459" fmla="*/ 22542 h 101600"/>
                  <a:gd name="connsiteX460" fmla="*/ 222885 w 1431925"/>
                  <a:gd name="connsiteY460" fmla="*/ 21907 h 101600"/>
                  <a:gd name="connsiteX461" fmla="*/ 212725 w 1431925"/>
                  <a:gd name="connsiteY461" fmla="*/ 25400 h 101600"/>
                  <a:gd name="connsiteX462" fmla="*/ 168275 w 1431925"/>
                  <a:gd name="connsiteY462" fmla="*/ 34290 h 101600"/>
                  <a:gd name="connsiteX463" fmla="*/ 171450 w 1431925"/>
                  <a:gd name="connsiteY463" fmla="*/ 44767 h 101600"/>
                  <a:gd name="connsiteX464" fmla="*/ 145732 w 1431925"/>
                  <a:gd name="connsiteY464" fmla="*/ 44767 h 101600"/>
                  <a:gd name="connsiteX465" fmla="*/ 149860 w 1431925"/>
                  <a:gd name="connsiteY465" fmla="*/ 33972 h 101600"/>
                  <a:gd name="connsiteX466" fmla="*/ 159068 w 1431925"/>
                  <a:gd name="connsiteY466" fmla="*/ 30163 h 101600"/>
                  <a:gd name="connsiteX467" fmla="*/ 168275 w 1431925"/>
                  <a:gd name="connsiteY467" fmla="*/ 34290 h 101600"/>
                  <a:gd name="connsiteX468" fmla="*/ 146050 w 1431925"/>
                  <a:gd name="connsiteY468" fmla="*/ 25400 h 101600"/>
                  <a:gd name="connsiteX469" fmla="*/ 137478 w 1431925"/>
                  <a:gd name="connsiteY469" fmla="*/ 35242 h 101600"/>
                  <a:gd name="connsiteX470" fmla="*/ 134303 w 1431925"/>
                  <a:gd name="connsiteY470" fmla="*/ 50800 h 101600"/>
                  <a:gd name="connsiteX471" fmla="*/ 137795 w 1431925"/>
                  <a:gd name="connsiteY471" fmla="*/ 66357 h 101600"/>
                  <a:gd name="connsiteX472" fmla="*/ 147320 w 1431925"/>
                  <a:gd name="connsiteY472" fmla="*/ 75565 h 101600"/>
                  <a:gd name="connsiteX473" fmla="*/ 161290 w 1431925"/>
                  <a:gd name="connsiteY473" fmla="*/ 78740 h 101600"/>
                  <a:gd name="connsiteX474" fmla="*/ 171132 w 1431925"/>
                  <a:gd name="connsiteY474" fmla="*/ 77788 h 101600"/>
                  <a:gd name="connsiteX475" fmla="*/ 179387 w 1431925"/>
                  <a:gd name="connsiteY475" fmla="*/ 74930 h 101600"/>
                  <a:gd name="connsiteX476" fmla="*/ 179387 w 1431925"/>
                  <a:gd name="connsiteY476" fmla="*/ 66040 h 101600"/>
                  <a:gd name="connsiteX477" fmla="*/ 170815 w 1431925"/>
                  <a:gd name="connsiteY477" fmla="*/ 68897 h 101600"/>
                  <a:gd name="connsiteX478" fmla="*/ 161290 w 1431925"/>
                  <a:gd name="connsiteY478" fmla="*/ 69850 h 101600"/>
                  <a:gd name="connsiteX479" fmla="*/ 149543 w 1431925"/>
                  <a:gd name="connsiteY479" fmla="*/ 65405 h 101600"/>
                  <a:gd name="connsiteX480" fmla="*/ 145097 w 1431925"/>
                  <a:gd name="connsiteY480" fmla="*/ 52388 h 101600"/>
                  <a:gd name="connsiteX481" fmla="*/ 181928 w 1431925"/>
                  <a:gd name="connsiteY481" fmla="*/ 52388 h 101600"/>
                  <a:gd name="connsiteX482" fmla="*/ 181928 w 1431925"/>
                  <a:gd name="connsiteY482" fmla="*/ 46355 h 101600"/>
                  <a:gd name="connsiteX483" fmla="*/ 175578 w 1431925"/>
                  <a:gd name="connsiteY483" fmla="*/ 28257 h 101600"/>
                  <a:gd name="connsiteX484" fmla="*/ 158750 w 1431925"/>
                  <a:gd name="connsiteY484" fmla="*/ 21590 h 101600"/>
                  <a:gd name="connsiteX485" fmla="*/ 146050 w 1431925"/>
                  <a:gd name="connsiteY485" fmla="*/ 25400 h 101600"/>
                  <a:gd name="connsiteX486" fmla="*/ 127953 w 1431925"/>
                  <a:gd name="connsiteY486" fmla="*/ 23177 h 101600"/>
                  <a:gd name="connsiteX487" fmla="*/ 114300 w 1431925"/>
                  <a:gd name="connsiteY487" fmla="*/ 23177 h 101600"/>
                  <a:gd name="connsiteX488" fmla="*/ 114300 w 1431925"/>
                  <a:gd name="connsiteY488" fmla="*/ 19685 h 101600"/>
                  <a:gd name="connsiteX489" fmla="*/ 122237 w 1431925"/>
                  <a:gd name="connsiteY489" fmla="*/ 8890 h 101600"/>
                  <a:gd name="connsiteX490" fmla="*/ 126682 w 1431925"/>
                  <a:gd name="connsiteY490" fmla="*/ 9207 h 101600"/>
                  <a:gd name="connsiteX491" fmla="*/ 130493 w 1431925"/>
                  <a:gd name="connsiteY491" fmla="*/ 10160 h 101600"/>
                  <a:gd name="connsiteX492" fmla="*/ 133350 w 1431925"/>
                  <a:gd name="connsiteY492" fmla="*/ 1905 h 101600"/>
                  <a:gd name="connsiteX493" fmla="*/ 128270 w 1431925"/>
                  <a:gd name="connsiteY493" fmla="*/ 635 h 101600"/>
                  <a:gd name="connsiteX494" fmla="*/ 121920 w 1431925"/>
                  <a:gd name="connsiteY494" fmla="*/ 0 h 101600"/>
                  <a:gd name="connsiteX495" fmla="*/ 108585 w 1431925"/>
                  <a:gd name="connsiteY495" fmla="*/ 4445 h 101600"/>
                  <a:gd name="connsiteX496" fmla="*/ 103822 w 1431925"/>
                  <a:gd name="connsiteY496" fmla="*/ 19367 h 101600"/>
                  <a:gd name="connsiteX497" fmla="*/ 103822 w 1431925"/>
                  <a:gd name="connsiteY497" fmla="*/ 22860 h 101600"/>
                  <a:gd name="connsiteX498" fmla="*/ 94615 w 1431925"/>
                  <a:gd name="connsiteY498" fmla="*/ 26352 h 101600"/>
                  <a:gd name="connsiteX499" fmla="*/ 94615 w 1431925"/>
                  <a:gd name="connsiteY499" fmla="*/ 31432 h 101600"/>
                  <a:gd name="connsiteX500" fmla="*/ 103822 w 1431925"/>
                  <a:gd name="connsiteY500" fmla="*/ 31432 h 101600"/>
                  <a:gd name="connsiteX501" fmla="*/ 103822 w 1431925"/>
                  <a:gd name="connsiteY501" fmla="*/ 78105 h 101600"/>
                  <a:gd name="connsiteX502" fmla="*/ 114618 w 1431925"/>
                  <a:gd name="connsiteY502" fmla="*/ 78105 h 101600"/>
                  <a:gd name="connsiteX503" fmla="*/ 114618 w 1431925"/>
                  <a:gd name="connsiteY503" fmla="*/ 31432 h 101600"/>
                  <a:gd name="connsiteX504" fmla="*/ 128270 w 1431925"/>
                  <a:gd name="connsiteY504" fmla="*/ 31432 h 101600"/>
                  <a:gd name="connsiteX505" fmla="*/ 128270 w 1431925"/>
                  <a:gd name="connsiteY505" fmla="*/ 23177 h 101600"/>
                  <a:gd name="connsiteX506" fmla="*/ 91757 w 1431925"/>
                  <a:gd name="connsiteY506" fmla="*/ 23177 h 101600"/>
                  <a:gd name="connsiteX507" fmla="*/ 78105 w 1431925"/>
                  <a:gd name="connsiteY507" fmla="*/ 23177 h 101600"/>
                  <a:gd name="connsiteX508" fmla="*/ 78105 w 1431925"/>
                  <a:gd name="connsiteY508" fmla="*/ 19685 h 101600"/>
                  <a:gd name="connsiteX509" fmla="*/ 86043 w 1431925"/>
                  <a:gd name="connsiteY509" fmla="*/ 8890 h 101600"/>
                  <a:gd name="connsiteX510" fmla="*/ 90487 w 1431925"/>
                  <a:gd name="connsiteY510" fmla="*/ 9207 h 101600"/>
                  <a:gd name="connsiteX511" fmla="*/ 94297 w 1431925"/>
                  <a:gd name="connsiteY511" fmla="*/ 10160 h 101600"/>
                  <a:gd name="connsiteX512" fmla="*/ 97155 w 1431925"/>
                  <a:gd name="connsiteY512" fmla="*/ 1905 h 101600"/>
                  <a:gd name="connsiteX513" fmla="*/ 92075 w 1431925"/>
                  <a:gd name="connsiteY513" fmla="*/ 635 h 101600"/>
                  <a:gd name="connsiteX514" fmla="*/ 85725 w 1431925"/>
                  <a:gd name="connsiteY514" fmla="*/ 0 h 101600"/>
                  <a:gd name="connsiteX515" fmla="*/ 72390 w 1431925"/>
                  <a:gd name="connsiteY515" fmla="*/ 4445 h 101600"/>
                  <a:gd name="connsiteX516" fmla="*/ 67628 w 1431925"/>
                  <a:gd name="connsiteY516" fmla="*/ 19367 h 101600"/>
                  <a:gd name="connsiteX517" fmla="*/ 67628 w 1431925"/>
                  <a:gd name="connsiteY517" fmla="*/ 22860 h 101600"/>
                  <a:gd name="connsiteX518" fmla="*/ 58420 w 1431925"/>
                  <a:gd name="connsiteY518" fmla="*/ 26352 h 101600"/>
                  <a:gd name="connsiteX519" fmla="*/ 58420 w 1431925"/>
                  <a:gd name="connsiteY519" fmla="*/ 31432 h 101600"/>
                  <a:gd name="connsiteX520" fmla="*/ 67628 w 1431925"/>
                  <a:gd name="connsiteY520" fmla="*/ 31432 h 101600"/>
                  <a:gd name="connsiteX521" fmla="*/ 67628 w 1431925"/>
                  <a:gd name="connsiteY521" fmla="*/ 78105 h 101600"/>
                  <a:gd name="connsiteX522" fmla="*/ 78422 w 1431925"/>
                  <a:gd name="connsiteY522" fmla="*/ 78105 h 101600"/>
                  <a:gd name="connsiteX523" fmla="*/ 78422 w 1431925"/>
                  <a:gd name="connsiteY523" fmla="*/ 31432 h 101600"/>
                  <a:gd name="connsiteX524" fmla="*/ 92075 w 1431925"/>
                  <a:gd name="connsiteY524" fmla="*/ 31432 h 101600"/>
                  <a:gd name="connsiteX525" fmla="*/ 92075 w 1431925"/>
                  <a:gd name="connsiteY525" fmla="*/ 23177 h 101600"/>
                  <a:gd name="connsiteX526" fmla="*/ 14605 w 1431925"/>
                  <a:gd name="connsiteY526" fmla="*/ 36195 h 101600"/>
                  <a:gd name="connsiteX527" fmla="*/ 25718 w 1431925"/>
                  <a:gd name="connsiteY527" fmla="*/ 31115 h 101600"/>
                  <a:gd name="connsiteX528" fmla="*/ 36830 w 1431925"/>
                  <a:gd name="connsiteY528" fmla="*/ 36195 h 101600"/>
                  <a:gd name="connsiteX529" fmla="*/ 40322 w 1431925"/>
                  <a:gd name="connsiteY529" fmla="*/ 50482 h 101600"/>
                  <a:gd name="connsiteX530" fmla="*/ 36830 w 1431925"/>
                  <a:gd name="connsiteY530" fmla="*/ 64770 h 101600"/>
                  <a:gd name="connsiteX531" fmla="*/ 25718 w 1431925"/>
                  <a:gd name="connsiteY531" fmla="*/ 69850 h 101600"/>
                  <a:gd name="connsiteX532" fmla="*/ 14605 w 1431925"/>
                  <a:gd name="connsiteY532" fmla="*/ 64770 h 101600"/>
                  <a:gd name="connsiteX533" fmla="*/ 11112 w 1431925"/>
                  <a:gd name="connsiteY533" fmla="*/ 50482 h 101600"/>
                  <a:gd name="connsiteX534" fmla="*/ 14605 w 1431925"/>
                  <a:gd name="connsiteY534" fmla="*/ 36195 h 101600"/>
                  <a:gd name="connsiteX535" fmla="*/ 48260 w 1431925"/>
                  <a:gd name="connsiteY535" fmla="*/ 34925 h 101600"/>
                  <a:gd name="connsiteX536" fmla="*/ 39370 w 1431925"/>
                  <a:gd name="connsiteY536" fmla="*/ 25400 h 101600"/>
                  <a:gd name="connsiteX537" fmla="*/ 26035 w 1431925"/>
                  <a:gd name="connsiteY537" fmla="*/ 22225 h 101600"/>
                  <a:gd name="connsiteX538" fmla="*/ 6985 w 1431925"/>
                  <a:gd name="connsiteY538" fmla="*/ 29527 h 101600"/>
                  <a:gd name="connsiteX539" fmla="*/ 0 w 1431925"/>
                  <a:gd name="connsiteY539" fmla="*/ 50482 h 101600"/>
                  <a:gd name="connsiteX540" fmla="*/ 3175 w 1431925"/>
                  <a:gd name="connsiteY540" fmla="*/ 66040 h 101600"/>
                  <a:gd name="connsiteX541" fmla="*/ 12065 w 1431925"/>
                  <a:gd name="connsiteY541" fmla="*/ 75565 h 101600"/>
                  <a:gd name="connsiteX542" fmla="*/ 25082 w 1431925"/>
                  <a:gd name="connsiteY542" fmla="*/ 78740 h 101600"/>
                  <a:gd name="connsiteX543" fmla="*/ 44132 w 1431925"/>
                  <a:gd name="connsiteY543" fmla="*/ 71438 h 101600"/>
                  <a:gd name="connsiteX544" fmla="*/ 51118 w 1431925"/>
                  <a:gd name="connsiteY544" fmla="*/ 50482 h 101600"/>
                  <a:gd name="connsiteX545" fmla="*/ 48260 w 1431925"/>
                  <a:gd name="connsiteY545" fmla="*/ 34925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Lst>
                <a:rect l="l" t="t" r="r" b="b"/>
                <a:pathLst>
                  <a:path w="1431925" h="101600">
                    <a:moveTo>
                      <a:pt x="1430655" y="54927"/>
                    </a:moveTo>
                    <a:cubicBezTo>
                      <a:pt x="1429385" y="53022"/>
                      <a:pt x="1427480" y="51435"/>
                      <a:pt x="1425258" y="49847"/>
                    </a:cubicBezTo>
                    <a:cubicBezTo>
                      <a:pt x="1422718" y="48577"/>
                      <a:pt x="1419860" y="46990"/>
                      <a:pt x="1416685" y="45720"/>
                    </a:cubicBezTo>
                    <a:cubicBezTo>
                      <a:pt x="1413193" y="44450"/>
                      <a:pt x="1410653" y="43180"/>
                      <a:pt x="1408748" y="42227"/>
                    </a:cubicBezTo>
                    <a:cubicBezTo>
                      <a:pt x="1406843" y="41275"/>
                      <a:pt x="1405573" y="40322"/>
                      <a:pt x="1404620" y="39370"/>
                    </a:cubicBezTo>
                    <a:cubicBezTo>
                      <a:pt x="1403985" y="38417"/>
                      <a:pt x="1403350" y="37147"/>
                      <a:pt x="1403350" y="35877"/>
                    </a:cubicBezTo>
                    <a:cubicBezTo>
                      <a:pt x="1403350" y="32067"/>
                      <a:pt x="1406525" y="30163"/>
                      <a:pt x="1413193" y="30163"/>
                    </a:cubicBezTo>
                    <a:cubicBezTo>
                      <a:pt x="1415733" y="30163"/>
                      <a:pt x="1418273" y="30480"/>
                      <a:pt x="1420812" y="31115"/>
                    </a:cubicBezTo>
                    <a:cubicBezTo>
                      <a:pt x="1423353" y="31750"/>
                      <a:pt x="1425893" y="32702"/>
                      <a:pt x="1428115" y="33655"/>
                    </a:cubicBezTo>
                    <a:lnTo>
                      <a:pt x="1431608" y="25400"/>
                    </a:lnTo>
                    <a:cubicBezTo>
                      <a:pt x="1428750" y="24130"/>
                      <a:pt x="1425893" y="23177"/>
                      <a:pt x="1423035" y="22542"/>
                    </a:cubicBezTo>
                    <a:cubicBezTo>
                      <a:pt x="1420178" y="21907"/>
                      <a:pt x="1417003" y="21590"/>
                      <a:pt x="1413510" y="21590"/>
                    </a:cubicBezTo>
                    <a:cubicBezTo>
                      <a:pt x="1407160" y="21590"/>
                      <a:pt x="1402080" y="22860"/>
                      <a:pt x="1398270" y="25400"/>
                    </a:cubicBezTo>
                    <a:cubicBezTo>
                      <a:pt x="1394460" y="27940"/>
                      <a:pt x="1392555" y="31432"/>
                      <a:pt x="1392555" y="36195"/>
                    </a:cubicBezTo>
                    <a:cubicBezTo>
                      <a:pt x="1392555" y="39052"/>
                      <a:pt x="1393190" y="41592"/>
                      <a:pt x="1394460" y="43497"/>
                    </a:cubicBezTo>
                    <a:cubicBezTo>
                      <a:pt x="1395730" y="45402"/>
                      <a:pt x="1397635" y="47307"/>
                      <a:pt x="1399858" y="48577"/>
                    </a:cubicBezTo>
                    <a:cubicBezTo>
                      <a:pt x="1402398" y="49847"/>
                      <a:pt x="1405255" y="51435"/>
                      <a:pt x="1408748" y="52705"/>
                    </a:cubicBezTo>
                    <a:cubicBezTo>
                      <a:pt x="1412240" y="53975"/>
                      <a:pt x="1415098" y="55245"/>
                      <a:pt x="1417003" y="56197"/>
                    </a:cubicBezTo>
                    <a:cubicBezTo>
                      <a:pt x="1418908" y="57150"/>
                      <a:pt x="1420178" y="58420"/>
                      <a:pt x="1420812" y="59372"/>
                    </a:cubicBezTo>
                    <a:cubicBezTo>
                      <a:pt x="1421448" y="60325"/>
                      <a:pt x="1421765" y="61595"/>
                      <a:pt x="1421765" y="62547"/>
                    </a:cubicBezTo>
                    <a:cubicBezTo>
                      <a:pt x="1421765" y="64770"/>
                      <a:pt x="1420812" y="66357"/>
                      <a:pt x="1419225" y="67627"/>
                    </a:cubicBezTo>
                    <a:cubicBezTo>
                      <a:pt x="1417320" y="68897"/>
                      <a:pt x="1414462" y="69532"/>
                      <a:pt x="1410335" y="69532"/>
                    </a:cubicBezTo>
                    <a:cubicBezTo>
                      <a:pt x="1407160" y="69532"/>
                      <a:pt x="1404303" y="69215"/>
                      <a:pt x="1400810" y="68263"/>
                    </a:cubicBezTo>
                    <a:cubicBezTo>
                      <a:pt x="1397635" y="67310"/>
                      <a:pt x="1394778" y="66357"/>
                      <a:pt x="1392555" y="65088"/>
                    </a:cubicBezTo>
                    <a:lnTo>
                      <a:pt x="1392555" y="74613"/>
                    </a:lnTo>
                    <a:cubicBezTo>
                      <a:pt x="1394778" y="75882"/>
                      <a:pt x="1397318" y="76517"/>
                      <a:pt x="1400175" y="77152"/>
                    </a:cubicBezTo>
                    <a:cubicBezTo>
                      <a:pt x="1403033" y="77788"/>
                      <a:pt x="1406208" y="78105"/>
                      <a:pt x="1410018" y="78105"/>
                    </a:cubicBezTo>
                    <a:cubicBezTo>
                      <a:pt x="1417003" y="78105"/>
                      <a:pt x="1422400" y="76835"/>
                      <a:pt x="1426528" y="73977"/>
                    </a:cubicBezTo>
                    <a:cubicBezTo>
                      <a:pt x="1430337" y="71120"/>
                      <a:pt x="1432243" y="66992"/>
                      <a:pt x="1432243" y="61595"/>
                    </a:cubicBezTo>
                    <a:cubicBezTo>
                      <a:pt x="1432560" y="59372"/>
                      <a:pt x="1431925" y="56832"/>
                      <a:pt x="1430655" y="54927"/>
                    </a:cubicBezTo>
                    <a:moveTo>
                      <a:pt x="1369060" y="34290"/>
                    </a:moveTo>
                    <a:cubicBezTo>
                      <a:pt x="1370965" y="36830"/>
                      <a:pt x="1372235" y="40322"/>
                      <a:pt x="1372235" y="44767"/>
                    </a:cubicBezTo>
                    <a:lnTo>
                      <a:pt x="1346518" y="44767"/>
                    </a:lnTo>
                    <a:cubicBezTo>
                      <a:pt x="1346835" y="40005"/>
                      <a:pt x="1348423" y="36513"/>
                      <a:pt x="1350645" y="33972"/>
                    </a:cubicBezTo>
                    <a:cubicBezTo>
                      <a:pt x="1352868" y="31432"/>
                      <a:pt x="1356043" y="30163"/>
                      <a:pt x="1359853" y="30163"/>
                    </a:cubicBezTo>
                    <a:cubicBezTo>
                      <a:pt x="1363980" y="30480"/>
                      <a:pt x="1367155" y="31750"/>
                      <a:pt x="1369060" y="34290"/>
                    </a:cubicBezTo>
                    <a:moveTo>
                      <a:pt x="1346835" y="25400"/>
                    </a:moveTo>
                    <a:cubicBezTo>
                      <a:pt x="1343025" y="27622"/>
                      <a:pt x="1340168" y="30797"/>
                      <a:pt x="1338262" y="35242"/>
                    </a:cubicBezTo>
                    <a:cubicBezTo>
                      <a:pt x="1336040" y="39370"/>
                      <a:pt x="1335087" y="44767"/>
                      <a:pt x="1335087" y="50800"/>
                    </a:cubicBezTo>
                    <a:cubicBezTo>
                      <a:pt x="1335087" y="56832"/>
                      <a:pt x="1336358" y="62230"/>
                      <a:pt x="1338580" y="66357"/>
                    </a:cubicBezTo>
                    <a:cubicBezTo>
                      <a:pt x="1340803" y="70485"/>
                      <a:pt x="1343978" y="73660"/>
                      <a:pt x="1348105" y="75565"/>
                    </a:cubicBezTo>
                    <a:cubicBezTo>
                      <a:pt x="1352233" y="77788"/>
                      <a:pt x="1356995" y="78740"/>
                      <a:pt x="1362075" y="78740"/>
                    </a:cubicBezTo>
                    <a:cubicBezTo>
                      <a:pt x="1365885" y="78740"/>
                      <a:pt x="1369378" y="78422"/>
                      <a:pt x="1371918" y="77788"/>
                    </a:cubicBezTo>
                    <a:cubicBezTo>
                      <a:pt x="1374775" y="77152"/>
                      <a:pt x="1377315" y="76200"/>
                      <a:pt x="1380173" y="74930"/>
                    </a:cubicBezTo>
                    <a:lnTo>
                      <a:pt x="1380173" y="66040"/>
                    </a:lnTo>
                    <a:cubicBezTo>
                      <a:pt x="1377315" y="67310"/>
                      <a:pt x="1374458" y="68263"/>
                      <a:pt x="1371600" y="68897"/>
                    </a:cubicBezTo>
                    <a:cubicBezTo>
                      <a:pt x="1368743" y="69532"/>
                      <a:pt x="1365568" y="69850"/>
                      <a:pt x="1362075" y="69850"/>
                    </a:cubicBezTo>
                    <a:cubicBezTo>
                      <a:pt x="1356995" y="69850"/>
                      <a:pt x="1353185" y="68263"/>
                      <a:pt x="1350328" y="65405"/>
                    </a:cubicBezTo>
                    <a:cubicBezTo>
                      <a:pt x="1347470" y="62547"/>
                      <a:pt x="1346200" y="58102"/>
                      <a:pt x="1345883" y="52388"/>
                    </a:cubicBezTo>
                    <a:lnTo>
                      <a:pt x="1382712" y="52388"/>
                    </a:lnTo>
                    <a:lnTo>
                      <a:pt x="1382712" y="46355"/>
                    </a:lnTo>
                    <a:cubicBezTo>
                      <a:pt x="1382712" y="38735"/>
                      <a:pt x="1380490" y="32702"/>
                      <a:pt x="1376362" y="28257"/>
                    </a:cubicBezTo>
                    <a:cubicBezTo>
                      <a:pt x="1372235" y="23813"/>
                      <a:pt x="1366520" y="21590"/>
                      <a:pt x="1359535" y="21590"/>
                    </a:cubicBezTo>
                    <a:cubicBezTo>
                      <a:pt x="1354773" y="22225"/>
                      <a:pt x="1350328" y="23177"/>
                      <a:pt x="1346835" y="25400"/>
                    </a:cubicBezTo>
                    <a:moveTo>
                      <a:pt x="1292225" y="24130"/>
                    </a:moveTo>
                    <a:cubicBezTo>
                      <a:pt x="1289050" y="25400"/>
                      <a:pt x="1286828" y="27622"/>
                      <a:pt x="1284923" y="30480"/>
                    </a:cubicBezTo>
                    <a:lnTo>
                      <a:pt x="1284287" y="30480"/>
                    </a:lnTo>
                    <a:lnTo>
                      <a:pt x="1282700" y="23177"/>
                    </a:lnTo>
                    <a:lnTo>
                      <a:pt x="1274128" y="23177"/>
                    </a:lnTo>
                    <a:lnTo>
                      <a:pt x="1274128" y="77788"/>
                    </a:lnTo>
                    <a:lnTo>
                      <a:pt x="1284923" y="77788"/>
                    </a:lnTo>
                    <a:lnTo>
                      <a:pt x="1284923" y="50165"/>
                    </a:lnTo>
                    <a:cubicBezTo>
                      <a:pt x="1284923" y="43815"/>
                      <a:pt x="1285875" y="39052"/>
                      <a:pt x="1288098" y="35877"/>
                    </a:cubicBezTo>
                    <a:cubicBezTo>
                      <a:pt x="1290320" y="32702"/>
                      <a:pt x="1294130" y="30797"/>
                      <a:pt x="1299528" y="30797"/>
                    </a:cubicBezTo>
                    <a:cubicBezTo>
                      <a:pt x="1307148" y="30797"/>
                      <a:pt x="1310958" y="34925"/>
                      <a:pt x="1310958" y="43497"/>
                    </a:cubicBezTo>
                    <a:lnTo>
                      <a:pt x="1310958" y="77788"/>
                    </a:lnTo>
                    <a:lnTo>
                      <a:pt x="1321753" y="77788"/>
                    </a:lnTo>
                    <a:lnTo>
                      <a:pt x="1321753" y="42227"/>
                    </a:lnTo>
                    <a:cubicBezTo>
                      <a:pt x="1321753" y="35242"/>
                      <a:pt x="1320165" y="30163"/>
                      <a:pt x="1316673" y="26988"/>
                    </a:cubicBezTo>
                    <a:cubicBezTo>
                      <a:pt x="1313180" y="23813"/>
                      <a:pt x="1308418" y="22225"/>
                      <a:pt x="1302068" y="22225"/>
                    </a:cubicBezTo>
                    <a:cubicBezTo>
                      <a:pt x="1298575" y="22225"/>
                      <a:pt x="1295083" y="22860"/>
                      <a:pt x="1292225" y="24130"/>
                    </a:cubicBezTo>
                    <a:moveTo>
                      <a:pt x="1246505" y="77788"/>
                    </a:moveTo>
                    <a:lnTo>
                      <a:pt x="1257300" y="77788"/>
                    </a:lnTo>
                    <a:lnTo>
                      <a:pt x="1257300" y="23177"/>
                    </a:lnTo>
                    <a:lnTo>
                      <a:pt x="1246505" y="23177"/>
                    </a:lnTo>
                    <a:lnTo>
                      <a:pt x="1246505" y="77788"/>
                    </a:lnTo>
                    <a:close/>
                    <a:moveTo>
                      <a:pt x="1247775" y="3810"/>
                    </a:moveTo>
                    <a:cubicBezTo>
                      <a:pt x="1246505" y="4763"/>
                      <a:pt x="1245870" y="6350"/>
                      <a:pt x="1245870" y="8572"/>
                    </a:cubicBezTo>
                    <a:cubicBezTo>
                      <a:pt x="1245870" y="10795"/>
                      <a:pt x="1246505" y="12382"/>
                      <a:pt x="1247775" y="13335"/>
                    </a:cubicBezTo>
                    <a:cubicBezTo>
                      <a:pt x="1249045" y="14288"/>
                      <a:pt x="1250315" y="14922"/>
                      <a:pt x="1252220" y="14922"/>
                    </a:cubicBezTo>
                    <a:cubicBezTo>
                      <a:pt x="1253808" y="14922"/>
                      <a:pt x="1255395" y="14288"/>
                      <a:pt x="1256348" y="13335"/>
                    </a:cubicBezTo>
                    <a:cubicBezTo>
                      <a:pt x="1257618" y="12382"/>
                      <a:pt x="1258253" y="10795"/>
                      <a:pt x="1258253" y="8572"/>
                    </a:cubicBezTo>
                    <a:cubicBezTo>
                      <a:pt x="1258253" y="6350"/>
                      <a:pt x="1257618" y="4763"/>
                      <a:pt x="1256348" y="3810"/>
                    </a:cubicBezTo>
                    <a:cubicBezTo>
                      <a:pt x="1255078" y="2857"/>
                      <a:pt x="1253808" y="2540"/>
                      <a:pt x="1252220" y="2540"/>
                    </a:cubicBezTo>
                    <a:cubicBezTo>
                      <a:pt x="1250315" y="2222"/>
                      <a:pt x="1248728" y="2857"/>
                      <a:pt x="1247775" y="3810"/>
                    </a:cubicBezTo>
                    <a:moveTo>
                      <a:pt x="1227137" y="78105"/>
                    </a:moveTo>
                    <a:cubicBezTo>
                      <a:pt x="1229360" y="77470"/>
                      <a:pt x="1231583" y="76835"/>
                      <a:pt x="1233487" y="75565"/>
                    </a:cubicBezTo>
                    <a:lnTo>
                      <a:pt x="1233487" y="66357"/>
                    </a:lnTo>
                    <a:cubicBezTo>
                      <a:pt x="1231583" y="67310"/>
                      <a:pt x="1229360" y="68263"/>
                      <a:pt x="1227137" y="68897"/>
                    </a:cubicBezTo>
                    <a:cubicBezTo>
                      <a:pt x="1224915" y="69532"/>
                      <a:pt x="1222058" y="69850"/>
                      <a:pt x="1219200" y="69850"/>
                    </a:cubicBezTo>
                    <a:cubicBezTo>
                      <a:pt x="1214437" y="69850"/>
                      <a:pt x="1210945" y="68263"/>
                      <a:pt x="1208405" y="65088"/>
                    </a:cubicBezTo>
                    <a:cubicBezTo>
                      <a:pt x="1205865" y="61913"/>
                      <a:pt x="1204595" y="57150"/>
                      <a:pt x="1204595" y="50800"/>
                    </a:cubicBezTo>
                    <a:cubicBezTo>
                      <a:pt x="1204595" y="37782"/>
                      <a:pt x="1209675" y="31432"/>
                      <a:pt x="1219518" y="31432"/>
                    </a:cubicBezTo>
                    <a:cubicBezTo>
                      <a:pt x="1221423" y="31432"/>
                      <a:pt x="1223645" y="31750"/>
                      <a:pt x="1225550" y="32385"/>
                    </a:cubicBezTo>
                    <a:cubicBezTo>
                      <a:pt x="1227773" y="33020"/>
                      <a:pt x="1229678" y="33655"/>
                      <a:pt x="1231583" y="34290"/>
                    </a:cubicBezTo>
                    <a:lnTo>
                      <a:pt x="1234758" y="25400"/>
                    </a:lnTo>
                    <a:cubicBezTo>
                      <a:pt x="1232853" y="24447"/>
                      <a:pt x="1230630" y="23813"/>
                      <a:pt x="1228090" y="23177"/>
                    </a:cubicBezTo>
                    <a:cubicBezTo>
                      <a:pt x="1225550" y="22542"/>
                      <a:pt x="1222693" y="22225"/>
                      <a:pt x="1219518" y="22225"/>
                    </a:cubicBezTo>
                    <a:cubicBezTo>
                      <a:pt x="1214437" y="22225"/>
                      <a:pt x="1209993" y="23177"/>
                      <a:pt x="1206183" y="25082"/>
                    </a:cubicBezTo>
                    <a:cubicBezTo>
                      <a:pt x="1202373" y="26988"/>
                      <a:pt x="1199198" y="30163"/>
                      <a:pt x="1196975" y="34290"/>
                    </a:cubicBezTo>
                    <a:cubicBezTo>
                      <a:pt x="1194753" y="38417"/>
                      <a:pt x="1193483" y="44132"/>
                      <a:pt x="1193483" y="50800"/>
                    </a:cubicBezTo>
                    <a:cubicBezTo>
                      <a:pt x="1193483" y="60642"/>
                      <a:pt x="1195705" y="67627"/>
                      <a:pt x="1200468" y="72072"/>
                    </a:cubicBezTo>
                    <a:cubicBezTo>
                      <a:pt x="1205230" y="76517"/>
                      <a:pt x="1211262" y="78740"/>
                      <a:pt x="1218883" y="78740"/>
                    </a:cubicBezTo>
                    <a:cubicBezTo>
                      <a:pt x="1222058" y="78740"/>
                      <a:pt x="1224915" y="78740"/>
                      <a:pt x="1227137" y="78105"/>
                    </a:cubicBezTo>
                    <a:moveTo>
                      <a:pt x="1169035" y="77788"/>
                    </a:moveTo>
                    <a:lnTo>
                      <a:pt x="1179830" y="77788"/>
                    </a:lnTo>
                    <a:lnTo>
                      <a:pt x="1179830" y="23177"/>
                    </a:lnTo>
                    <a:lnTo>
                      <a:pt x="1169035" y="23177"/>
                    </a:lnTo>
                    <a:lnTo>
                      <a:pt x="1169035" y="77788"/>
                    </a:lnTo>
                    <a:close/>
                    <a:moveTo>
                      <a:pt x="1170305" y="3810"/>
                    </a:moveTo>
                    <a:cubicBezTo>
                      <a:pt x="1169035" y="4763"/>
                      <a:pt x="1168400" y="6350"/>
                      <a:pt x="1168400" y="8572"/>
                    </a:cubicBezTo>
                    <a:cubicBezTo>
                      <a:pt x="1168400" y="10795"/>
                      <a:pt x="1169035" y="12382"/>
                      <a:pt x="1170305" y="13335"/>
                    </a:cubicBezTo>
                    <a:cubicBezTo>
                      <a:pt x="1171575" y="14288"/>
                      <a:pt x="1172845" y="14922"/>
                      <a:pt x="1174750" y="14922"/>
                    </a:cubicBezTo>
                    <a:cubicBezTo>
                      <a:pt x="1176337" y="14922"/>
                      <a:pt x="1177925" y="14288"/>
                      <a:pt x="1178878" y="13335"/>
                    </a:cubicBezTo>
                    <a:cubicBezTo>
                      <a:pt x="1180148" y="12382"/>
                      <a:pt x="1180783" y="10795"/>
                      <a:pt x="1180783" y="8572"/>
                    </a:cubicBezTo>
                    <a:cubicBezTo>
                      <a:pt x="1180783" y="6350"/>
                      <a:pt x="1180148" y="4763"/>
                      <a:pt x="1178878" y="3810"/>
                    </a:cubicBezTo>
                    <a:cubicBezTo>
                      <a:pt x="1177608" y="2857"/>
                      <a:pt x="1176337" y="2540"/>
                      <a:pt x="1174750" y="2540"/>
                    </a:cubicBezTo>
                    <a:cubicBezTo>
                      <a:pt x="1172845" y="2222"/>
                      <a:pt x="1171575" y="2857"/>
                      <a:pt x="1170305" y="3810"/>
                    </a:cubicBezTo>
                    <a:moveTo>
                      <a:pt x="1117283" y="65088"/>
                    </a:moveTo>
                    <a:cubicBezTo>
                      <a:pt x="1115060" y="61913"/>
                      <a:pt x="1113790" y="57150"/>
                      <a:pt x="1113790" y="50800"/>
                    </a:cubicBezTo>
                    <a:cubicBezTo>
                      <a:pt x="1113790" y="44450"/>
                      <a:pt x="1115060" y="39688"/>
                      <a:pt x="1117283" y="36195"/>
                    </a:cubicBezTo>
                    <a:cubicBezTo>
                      <a:pt x="1119505" y="32702"/>
                      <a:pt x="1122680" y="30797"/>
                      <a:pt x="1127125" y="30797"/>
                    </a:cubicBezTo>
                    <a:cubicBezTo>
                      <a:pt x="1132523" y="30797"/>
                      <a:pt x="1136333" y="32385"/>
                      <a:pt x="1138555" y="35877"/>
                    </a:cubicBezTo>
                    <a:cubicBezTo>
                      <a:pt x="1140460" y="39370"/>
                      <a:pt x="1141730" y="44132"/>
                      <a:pt x="1141730" y="50482"/>
                    </a:cubicBezTo>
                    <a:lnTo>
                      <a:pt x="1141730" y="52070"/>
                    </a:lnTo>
                    <a:cubicBezTo>
                      <a:pt x="1141730" y="58102"/>
                      <a:pt x="1140460" y="62547"/>
                      <a:pt x="1138555" y="65405"/>
                    </a:cubicBezTo>
                    <a:cubicBezTo>
                      <a:pt x="1136650" y="68263"/>
                      <a:pt x="1132840" y="69850"/>
                      <a:pt x="1127443" y="69850"/>
                    </a:cubicBezTo>
                    <a:cubicBezTo>
                      <a:pt x="1122998" y="70167"/>
                      <a:pt x="1119505" y="68263"/>
                      <a:pt x="1117283" y="65088"/>
                    </a:cubicBezTo>
                    <a:moveTo>
                      <a:pt x="1135062" y="76517"/>
                    </a:moveTo>
                    <a:cubicBezTo>
                      <a:pt x="1137603" y="74930"/>
                      <a:pt x="1139825" y="73025"/>
                      <a:pt x="1141412" y="70485"/>
                    </a:cubicBezTo>
                    <a:lnTo>
                      <a:pt x="1142048" y="70485"/>
                    </a:lnTo>
                    <a:lnTo>
                      <a:pt x="1143953" y="77788"/>
                    </a:lnTo>
                    <a:lnTo>
                      <a:pt x="1152525" y="77788"/>
                    </a:lnTo>
                    <a:lnTo>
                      <a:pt x="1152525" y="635"/>
                    </a:lnTo>
                    <a:lnTo>
                      <a:pt x="1141730" y="635"/>
                    </a:lnTo>
                    <a:lnTo>
                      <a:pt x="1141730" y="21272"/>
                    </a:lnTo>
                    <a:cubicBezTo>
                      <a:pt x="1141730" y="22542"/>
                      <a:pt x="1141730" y="24130"/>
                      <a:pt x="1142048" y="26035"/>
                    </a:cubicBezTo>
                    <a:cubicBezTo>
                      <a:pt x="1142365" y="27940"/>
                      <a:pt x="1142365" y="29210"/>
                      <a:pt x="1142683" y="30163"/>
                    </a:cubicBezTo>
                    <a:lnTo>
                      <a:pt x="1142048" y="30163"/>
                    </a:lnTo>
                    <a:cubicBezTo>
                      <a:pt x="1140460" y="27940"/>
                      <a:pt x="1138237" y="26035"/>
                      <a:pt x="1135698" y="24447"/>
                    </a:cubicBezTo>
                    <a:cubicBezTo>
                      <a:pt x="1133158" y="22860"/>
                      <a:pt x="1129665" y="22225"/>
                      <a:pt x="1125537" y="22225"/>
                    </a:cubicBezTo>
                    <a:cubicBezTo>
                      <a:pt x="1118870" y="22225"/>
                      <a:pt x="1113473" y="24765"/>
                      <a:pt x="1109345" y="29527"/>
                    </a:cubicBezTo>
                    <a:cubicBezTo>
                      <a:pt x="1105218" y="34290"/>
                      <a:pt x="1103312" y="41592"/>
                      <a:pt x="1103312" y="50800"/>
                    </a:cubicBezTo>
                    <a:cubicBezTo>
                      <a:pt x="1103312" y="60007"/>
                      <a:pt x="1105218" y="67310"/>
                      <a:pt x="1109345" y="72072"/>
                    </a:cubicBezTo>
                    <a:cubicBezTo>
                      <a:pt x="1113473" y="76835"/>
                      <a:pt x="1118553" y="79057"/>
                      <a:pt x="1125220" y="79057"/>
                    </a:cubicBezTo>
                    <a:cubicBezTo>
                      <a:pt x="1129030" y="78740"/>
                      <a:pt x="1132523" y="78105"/>
                      <a:pt x="1135062" y="76517"/>
                    </a:cubicBezTo>
                    <a:moveTo>
                      <a:pt x="1078865" y="34290"/>
                    </a:moveTo>
                    <a:cubicBezTo>
                      <a:pt x="1080770" y="36830"/>
                      <a:pt x="1082040" y="40322"/>
                      <a:pt x="1082040" y="44767"/>
                    </a:cubicBezTo>
                    <a:lnTo>
                      <a:pt x="1056323" y="44767"/>
                    </a:lnTo>
                    <a:cubicBezTo>
                      <a:pt x="1056640" y="40005"/>
                      <a:pt x="1058228" y="36513"/>
                      <a:pt x="1060450" y="33972"/>
                    </a:cubicBezTo>
                    <a:cubicBezTo>
                      <a:pt x="1062673" y="31432"/>
                      <a:pt x="1065848" y="30163"/>
                      <a:pt x="1069658" y="30163"/>
                    </a:cubicBezTo>
                    <a:cubicBezTo>
                      <a:pt x="1073785" y="30480"/>
                      <a:pt x="1076960" y="31750"/>
                      <a:pt x="1078865" y="34290"/>
                    </a:cubicBezTo>
                    <a:moveTo>
                      <a:pt x="1056640" y="25400"/>
                    </a:moveTo>
                    <a:cubicBezTo>
                      <a:pt x="1052830" y="27622"/>
                      <a:pt x="1049973" y="30797"/>
                      <a:pt x="1048068" y="35242"/>
                    </a:cubicBezTo>
                    <a:cubicBezTo>
                      <a:pt x="1045845" y="39370"/>
                      <a:pt x="1044893" y="44767"/>
                      <a:pt x="1044893" y="50800"/>
                    </a:cubicBezTo>
                    <a:cubicBezTo>
                      <a:pt x="1044893" y="56832"/>
                      <a:pt x="1046162" y="62230"/>
                      <a:pt x="1048385" y="66357"/>
                    </a:cubicBezTo>
                    <a:cubicBezTo>
                      <a:pt x="1050608" y="70485"/>
                      <a:pt x="1053783" y="73660"/>
                      <a:pt x="1057910" y="75565"/>
                    </a:cubicBezTo>
                    <a:cubicBezTo>
                      <a:pt x="1062037" y="77788"/>
                      <a:pt x="1066800" y="78740"/>
                      <a:pt x="1071880" y="78740"/>
                    </a:cubicBezTo>
                    <a:cubicBezTo>
                      <a:pt x="1075690" y="78740"/>
                      <a:pt x="1079183" y="78422"/>
                      <a:pt x="1081723" y="77788"/>
                    </a:cubicBezTo>
                    <a:cubicBezTo>
                      <a:pt x="1084580" y="77152"/>
                      <a:pt x="1087120" y="76200"/>
                      <a:pt x="1089978" y="74930"/>
                    </a:cubicBezTo>
                    <a:lnTo>
                      <a:pt x="1089978" y="66040"/>
                    </a:lnTo>
                    <a:cubicBezTo>
                      <a:pt x="1087120" y="67310"/>
                      <a:pt x="1084262" y="68263"/>
                      <a:pt x="1081405" y="68897"/>
                    </a:cubicBezTo>
                    <a:cubicBezTo>
                      <a:pt x="1078548" y="69532"/>
                      <a:pt x="1075373" y="69850"/>
                      <a:pt x="1071880" y="69850"/>
                    </a:cubicBezTo>
                    <a:cubicBezTo>
                      <a:pt x="1066800" y="69850"/>
                      <a:pt x="1062990" y="68263"/>
                      <a:pt x="1060133" y="65405"/>
                    </a:cubicBezTo>
                    <a:cubicBezTo>
                      <a:pt x="1057275" y="62547"/>
                      <a:pt x="1055687" y="58102"/>
                      <a:pt x="1055687" y="52388"/>
                    </a:cubicBezTo>
                    <a:lnTo>
                      <a:pt x="1092518" y="52388"/>
                    </a:lnTo>
                    <a:lnTo>
                      <a:pt x="1092518" y="46355"/>
                    </a:lnTo>
                    <a:cubicBezTo>
                      <a:pt x="1092518" y="38735"/>
                      <a:pt x="1090295" y="32702"/>
                      <a:pt x="1086168" y="28257"/>
                    </a:cubicBezTo>
                    <a:cubicBezTo>
                      <a:pt x="1082040" y="23813"/>
                      <a:pt x="1076325" y="21590"/>
                      <a:pt x="1069340" y="21590"/>
                    </a:cubicBezTo>
                    <a:cubicBezTo>
                      <a:pt x="1064578" y="22225"/>
                      <a:pt x="1060133" y="23177"/>
                      <a:pt x="1056640" y="25400"/>
                    </a:cubicBezTo>
                    <a:moveTo>
                      <a:pt x="1002983" y="24130"/>
                    </a:moveTo>
                    <a:cubicBezTo>
                      <a:pt x="999808" y="25717"/>
                      <a:pt x="997268" y="27940"/>
                      <a:pt x="995680" y="30797"/>
                    </a:cubicBezTo>
                    <a:lnTo>
                      <a:pt x="994728" y="30797"/>
                    </a:lnTo>
                    <a:cubicBezTo>
                      <a:pt x="991870" y="24765"/>
                      <a:pt x="986472" y="21907"/>
                      <a:pt x="978218" y="21907"/>
                    </a:cubicBezTo>
                    <a:cubicBezTo>
                      <a:pt x="975043" y="21907"/>
                      <a:pt x="971868" y="22542"/>
                      <a:pt x="969010" y="23813"/>
                    </a:cubicBezTo>
                    <a:cubicBezTo>
                      <a:pt x="966153" y="25082"/>
                      <a:pt x="963930" y="27305"/>
                      <a:pt x="962025" y="30163"/>
                    </a:cubicBezTo>
                    <a:lnTo>
                      <a:pt x="961708" y="30163"/>
                    </a:lnTo>
                    <a:lnTo>
                      <a:pt x="960120" y="22860"/>
                    </a:lnTo>
                    <a:lnTo>
                      <a:pt x="951547" y="22860"/>
                    </a:lnTo>
                    <a:lnTo>
                      <a:pt x="951547" y="77470"/>
                    </a:lnTo>
                    <a:lnTo>
                      <a:pt x="962343" y="77470"/>
                    </a:lnTo>
                    <a:lnTo>
                      <a:pt x="962343" y="49847"/>
                    </a:lnTo>
                    <a:cubicBezTo>
                      <a:pt x="962343" y="43497"/>
                      <a:pt x="963295" y="38735"/>
                      <a:pt x="965200" y="35560"/>
                    </a:cubicBezTo>
                    <a:cubicBezTo>
                      <a:pt x="967105" y="32385"/>
                      <a:pt x="970597" y="30480"/>
                      <a:pt x="975678" y="30480"/>
                    </a:cubicBezTo>
                    <a:cubicBezTo>
                      <a:pt x="982662" y="30480"/>
                      <a:pt x="986155" y="34607"/>
                      <a:pt x="986155" y="43180"/>
                    </a:cubicBezTo>
                    <a:lnTo>
                      <a:pt x="986155" y="77470"/>
                    </a:lnTo>
                    <a:lnTo>
                      <a:pt x="996950" y="77470"/>
                    </a:lnTo>
                    <a:lnTo>
                      <a:pt x="996950" y="47942"/>
                    </a:lnTo>
                    <a:cubicBezTo>
                      <a:pt x="996950" y="42227"/>
                      <a:pt x="997903" y="38100"/>
                      <a:pt x="1000125" y="34925"/>
                    </a:cubicBezTo>
                    <a:cubicBezTo>
                      <a:pt x="1002347" y="32067"/>
                      <a:pt x="1005840" y="30480"/>
                      <a:pt x="1010603" y="30480"/>
                    </a:cubicBezTo>
                    <a:cubicBezTo>
                      <a:pt x="1017587" y="30480"/>
                      <a:pt x="1020762" y="34607"/>
                      <a:pt x="1020762" y="43180"/>
                    </a:cubicBezTo>
                    <a:lnTo>
                      <a:pt x="1020762" y="77470"/>
                    </a:lnTo>
                    <a:lnTo>
                      <a:pt x="1031558" y="77470"/>
                    </a:lnTo>
                    <a:lnTo>
                      <a:pt x="1031558" y="41910"/>
                    </a:lnTo>
                    <a:cubicBezTo>
                      <a:pt x="1031558" y="34925"/>
                      <a:pt x="1029970" y="29845"/>
                      <a:pt x="1026795" y="26670"/>
                    </a:cubicBezTo>
                    <a:cubicBezTo>
                      <a:pt x="1023620" y="23495"/>
                      <a:pt x="1019175" y="21907"/>
                      <a:pt x="1012825" y="21907"/>
                    </a:cubicBezTo>
                    <a:cubicBezTo>
                      <a:pt x="1009650" y="22225"/>
                      <a:pt x="1006158" y="22860"/>
                      <a:pt x="1002983" y="24130"/>
                    </a:cubicBezTo>
                    <a:moveTo>
                      <a:pt x="897890" y="34290"/>
                    </a:moveTo>
                    <a:cubicBezTo>
                      <a:pt x="899795" y="36830"/>
                      <a:pt x="901065" y="40322"/>
                      <a:pt x="901065" y="44767"/>
                    </a:cubicBezTo>
                    <a:lnTo>
                      <a:pt x="875347" y="44767"/>
                    </a:lnTo>
                    <a:cubicBezTo>
                      <a:pt x="875665" y="40005"/>
                      <a:pt x="877253" y="36513"/>
                      <a:pt x="879475" y="33972"/>
                    </a:cubicBezTo>
                    <a:cubicBezTo>
                      <a:pt x="881697" y="31432"/>
                      <a:pt x="884872" y="30163"/>
                      <a:pt x="888683" y="30163"/>
                    </a:cubicBezTo>
                    <a:cubicBezTo>
                      <a:pt x="892810" y="30480"/>
                      <a:pt x="895985" y="31750"/>
                      <a:pt x="897890" y="34290"/>
                    </a:cubicBezTo>
                    <a:moveTo>
                      <a:pt x="875665" y="25400"/>
                    </a:moveTo>
                    <a:cubicBezTo>
                      <a:pt x="871855" y="27622"/>
                      <a:pt x="868997" y="30797"/>
                      <a:pt x="867093" y="35242"/>
                    </a:cubicBezTo>
                    <a:cubicBezTo>
                      <a:pt x="864870" y="39370"/>
                      <a:pt x="863918" y="44767"/>
                      <a:pt x="863918" y="50800"/>
                    </a:cubicBezTo>
                    <a:cubicBezTo>
                      <a:pt x="863918" y="56832"/>
                      <a:pt x="865187" y="62230"/>
                      <a:pt x="867410" y="66357"/>
                    </a:cubicBezTo>
                    <a:cubicBezTo>
                      <a:pt x="869633" y="70485"/>
                      <a:pt x="872808" y="73660"/>
                      <a:pt x="876935" y="75565"/>
                    </a:cubicBezTo>
                    <a:cubicBezTo>
                      <a:pt x="881062" y="77788"/>
                      <a:pt x="885825" y="78740"/>
                      <a:pt x="890905" y="78740"/>
                    </a:cubicBezTo>
                    <a:cubicBezTo>
                      <a:pt x="894715" y="78740"/>
                      <a:pt x="898208" y="78422"/>
                      <a:pt x="900747" y="77788"/>
                    </a:cubicBezTo>
                    <a:cubicBezTo>
                      <a:pt x="903605" y="77152"/>
                      <a:pt x="906145" y="76200"/>
                      <a:pt x="909003" y="74930"/>
                    </a:cubicBezTo>
                    <a:lnTo>
                      <a:pt x="909003" y="66040"/>
                    </a:lnTo>
                    <a:cubicBezTo>
                      <a:pt x="906145" y="67310"/>
                      <a:pt x="903287" y="68263"/>
                      <a:pt x="900430" y="68897"/>
                    </a:cubicBezTo>
                    <a:cubicBezTo>
                      <a:pt x="897572" y="69532"/>
                      <a:pt x="894397" y="69850"/>
                      <a:pt x="890905" y="69850"/>
                    </a:cubicBezTo>
                    <a:cubicBezTo>
                      <a:pt x="885825" y="69850"/>
                      <a:pt x="882015" y="68263"/>
                      <a:pt x="879158" y="65405"/>
                    </a:cubicBezTo>
                    <a:cubicBezTo>
                      <a:pt x="876300" y="62547"/>
                      <a:pt x="874712" y="58102"/>
                      <a:pt x="874712" y="52388"/>
                    </a:cubicBezTo>
                    <a:lnTo>
                      <a:pt x="911543" y="52388"/>
                    </a:lnTo>
                    <a:lnTo>
                      <a:pt x="911543" y="46355"/>
                    </a:lnTo>
                    <a:cubicBezTo>
                      <a:pt x="911543" y="38735"/>
                      <a:pt x="909320" y="32702"/>
                      <a:pt x="905193" y="28257"/>
                    </a:cubicBezTo>
                    <a:cubicBezTo>
                      <a:pt x="901065" y="23813"/>
                      <a:pt x="895350" y="21590"/>
                      <a:pt x="888365" y="21590"/>
                    </a:cubicBezTo>
                    <a:cubicBezTo>
                      <a:pt x="883603" y="22225"/>
                      <a:pt x="879475" y="23177"/>
                      <a:pt x="875665" y="25400"/>
                    </a:cubicBezTo>
                    <a:moveTo>
                      <a:pt x="837883" y="77788"/>
                    </a:moveTo>
                    <a:lnTo>
                      <a:pt x="858837" y="23177"/>
                    </a:lnTo>
                    <a:lnTo>
                      <a:pt x="847408" y="23177"/>
                    </a:lnTo>
                    <a:lnTo>
                      <a:pt x="835978" y="55245"/>
                    </a:lnTo>
                    <a:cubicBezTo>
                      <a:pt x="835343" y="57467"/>
                      <a:pt x="834708" y="59690"/>
                      <a:pt x="833755" y="62230"/>
                    </a:cubicBezTo>
                    <a:cubicBezTo>
                      <a:pt x="832803" y="64770"/>
                      <a:pt x="832485" y="66992"/>
                      <a:pt x="832168" y="68580"/>
                    </a:cubicBezTo>
                    <a:lnTo>
                      <a:pt x="831533" y="68580"/>
                    </a:lnTo>
                    <a:cubicBezTo>
                      <a:pt x="831215" y="66992"/>
                      <a:pt x="830897" y="64770"/>
                      <a:pt x="829945" y="62230"/>
                    </a:cubicBezTo>
                    <a:cubicBezTo>
                      <a:pt x="829310" y="59690"/>
                      <a:pt x="828358" y="57150"/>
                      <a:pt x="827722" y="55245"/>
                    </a:cubicBezTo>
                    <a:lnTo>
                      <a:pt x="816293" y="23177"/>
                    </a:lnTo>
                    <a:lnTo>
                      <a:pt x="804862" y="23177"/>
                    </a:lnTo>
                    <a:lnTo>
                      <a:pt x="825500" y="77788"/>
                    </a:lnTo>
                    <a:lnTo>
                      <a:pt x="837883" y="77788"/>
                    </a:lnTo>
                    <a:close/>
                    <a:moveTo>
                      <a:pt x="786130" y="77788"/>
                    </a:moveTo>
                    <a:lnTo>
                      <a:pt x="796925" y="77788"/>
                    </a:lnTo>
                    <a:lnTo>
                      <a:pt x="796925" y="23177"/>
                    </a:lnTo>
                    <a:lnTo>
                      <a:pt x="786130" y="23177"/>
                    </a:lnTo>
                    <a:lnTo>
                      <a:pt x="786130" y="77788"/>
                    </a:lnTo>
                    <a:close/>
                    <a:moveTo>
                      <a:pt x="787083" y="3810"/>
                    </a:moveTo>
                    <a:cubicBezTo>
                      <a:pt x="785812" y="4763"/>
                      <a:pt x="785178" y="6350"/>
                      <a:pt x="785178" y="8572"/>
                    </a:cubicBezTo>
                    <a:cubicBezTo>
                      <a:pt x="785178" y="10795"/>
                      <a:pt x="785812" y="12382"/>
                      <a:pt x="787083" y="13335"/>
                    </a:cubicBezTo>
                    <a:cubicBezTo>
                      <a:pt x="788353" y="14288"/>
                      <a:pt x="789622" y="14922"/>
                      <a:pt x="791528" y="14922"/>
                    </a:cubicBezTo>
                    <a:cubicBezTo>
                      <a:pt x="793115" y="14922"/>
                      <a:pt x="794703" y="14288"/>
                      <a:pt x="795655" y="13335"/>
                    </a:cubicBezTo>
                    <a:cubicBezTo>
                      <a:pt x="796925" y="12382"/>
                      <a:pt x="797560" y="10795"/>
                      <a:pt x="797560" y="8572"/>
                    </a:cubicBezTo>
                    <a:cubicBezTo>
                      <a:pt x="797560" y="6350"/>
                      <a:pt x="796925" y="4763"/>
                      <a:pt x="795655" y="3810"/>
                    </a:cubicBezTo>
                    <a:cubicBezTo>
                      <a:pt x="794385" y="2857"/>
                      <a:pt x="793115" y="2540"/>
                      <a:pt x="791528" y="2540"/>
                    </a:cubicBezTo>
                    <a:cubicBezTo>
                      <a:pt x="789940" y="2222"/>
                      <a:pt x="788353" y="2857"/>
                      <a:pt x="787083" y="3810"/>
                    </a:cubicBezTo>
                    <a:moveTo>
                      <a:pt x="761047" y="67945"/>
                    </a:moveTo>
                    <a:cubicBezTo>
                      <a:pt x="759460" y="66675"/>
                      <a:pt x="758825" y="64452"/>
                      <a:pt x="758825" y="61277"/>
                    </a:cubicBezTo>
                    <a:lnTo>
                      <a:pt x="758825" y="31115"/>
                    </a:lnTo>
                    <a:lnTo>
                      <a:pt x="774383" y="31115"/>
                    </a:lnTo>
                    <a:lnTo>
                      <a:pt x="774383" y="22860"/>
                    </a:lnTo>
                    <a:lnTo>
                      <a:pt x="758825" y="22860"/>
                    </a:lnTo>
                    <a:lnTo>
                      <a:pt x="758825" y="10477"/>
                    </a:lnTo>
                    <a:lnTo>
                      <a:pt x="752158" y="10477"/>
                    </a:lnTo>
                    <a:lnTo>
                      <a:pt x="748347" y="21907"/>
                    </a:lnTo>
                    <a:lnTo>
                      <a:pt x="740410" y="26035"/>
                    </a:lnTo>
                    <a:lnTo>
                      <a:pt x="740410" y="30797"/>
                    </a:lnTo>
                    <a:lnTo>
                      <a:pt x="748030" y="30797"/>
                    </a:lnTo>
                    <a:lnTo>
                      <a:pt x="748030" y="60960"/>
                    </a:lnTo>
                    <a:cubicBezTo>
                      <a:pt x="748030" y="65405"/>
                      <a:pt x="748665" y="68897"/>
                      <a:pt x="750253" y="71438"/>
                    </a:cubicBezTo>
                    <a:cubicBezTo>
                      <a:pt x="751840" y="73977"/>
                      <a:pt x="753745" y="75565"/>
                      <a:pt x="756285" y="76835"/>
                    </a:cubicBezTo>
                    <a:cubicBezTo>
                      <a:pt x="758825" y="77788"/>
                      <a:pt x="761365" y="78422"/>
                      <a:pt x="764540" y="78422"/>
                    </a:cubicBezTo>
                    <a:cubicBezTo>
                      <a:pt x="766445" y="78422"/>
                      <a:pt x="768350" y="78105"/>
                      <a:pt x="770572" y="77788"/>
                    </a:cubicBezTo>
                    <a:cubicBezTo>
                      <a:pt x="772795" y="77470"/>
                      <a:pt x="774065" y="76835"/>
                      <a:pt x="775335" y="76517"/>
                    </a:cubicBezTo>
                    <a:lnTo>
                      <a:pt x="775335" y="68263"/>
                    </a:lnTo>
                    <a:cubicBezTo>
                      <a:pt x="772795" y="69215"/>
                      <a:pt x="770255" y="69532"/>
                      <a:pt x="767080" y="69532"/>
                    </a:cubicBezTo>
                    <a:cubicBezTo>
                      <a:pt x="764540" y="70167"/>
                      <a:pt x="762635" y="69532"/>
                      <a:pt x="761047" y="67945"/>
                    </a:cubicBezTo>
                    <a:moveTo>
                      <a:pt x="719772" y="56197"/>
                    </a:moveTo>
                    <a:cubicBezTo>
                      <a:pt x="719772" y="60960"/>
                      <a:pt x="718503" y="64452"/>
                      <a:pt x="715645" y="66992"/>
                    </a:cubicBezTo>
                    <a:cubicBezTo>
                      <a:pt x="712787" y="69215"/>
                      <a:pt x="709295" y="70485"/>
                      <a:pt x="705168" y="70485"/>
                    </a:cubicBezTo>
                    <a:cubicBezTo>
                      <a:pt x="702310" y="70485"/>
                      <a:pt x="700405" y="69850"/>
                      <a:pt x="698500" y="68580"/>
                    </a:cubicBezTo>
                    <a:cubicBezTo>
                      <a:pt x="696912" y="67310"/>
                      <a:pt x="695960" y="65088"/>
                      <a:pt x="695960" y="62230"/>
                    </a:cubicBezTo>
                    <a:cubicBezTo>
                      <a:pt x="695960" y="59055"/>
                      <a:pt x="697230" y="56515"/>
                      <a:pt x="699453" y="54610"/>
                    </a:cubicBezTo>
                    <a:cubicBezTo>
                      <a:pt x="701993" y="52705"/>
                      <a:pt x="706120" y="51752"/>
                      <a:pt x="712470" y="51435"/>
                    </a:cubicBezTo>
                    <a:lnTo>
                      <a:pt x="719772" y="51117"/>
                    </a:lnTo>
                    <a:lnTo>
                      <a:pt x="719772" y="56197"/>
                    </a:lnTo>
                    <a:close/>
                    <a:moveTo>
                      <a:pt x="699453" y="23495"/>
                    </a:moveTo>
                    <a:cubicBezTo>
                      <a:pt x="695960" y="24447"/>
                      <a:pt x="693103" y="25400"/>
                      <a:pt x="690562" y="26988"/>
                    </a:cubicBezTo>
                    <a:lnTo>
                      <a:pt x="694055" y="34925"/>
                    </a:lnTo>
                    <a:cubicBezTo>
                      <a:pt x="696278" y="33655"/>
                      <a:pt x="698818" y="32702"/>
                      <a:pt x="701358" y="32067"/>
                    </a:cubicBezTo>
                    <a:cubicBezTo>
                      <a:pt x="703897" y="31432"/>
                      <a:pt x="706755" y="30797"/>
                      <a:pt x="709295" y="30797"/>
                    </a:cubicBezTo>
                    <a:cubicBezTo>
                      <a:pt x="712470" y="30797"/>
                      <a:pt x="715328" y="31750"/>
                      <a:pt x="716915" y="33338"/>
                    </a:cubicBezTo>
                    <a:cubicBezTo>
                      <a:pt x="718820" y="34925"/>
                      <a:pt x="719772" y="37782"/>
                      <a:pt x="719772" y="41910"/>
                    </a:cubicBezTo>
                    <a:lnTo>
                      <a:pt x="719772" y="45085"/>
                    </a:lnTo>
                    <a:lnTo>
                      <a:pt x="710565" y="45402"/>
                    </a:lnTo>
                    <a:cubicBezTo>
                      <a:pt x="701993" y="45720"/>
                      <a:pt x="695325" y="47307"/>
                      <a:pt x="691197" y="50165"/>
                    </a:cubicBezTo>
                    <a:cubicBezTo>
                      <a:pt x="687070" y="53022"/>
                      <a:pt x="684847" y="57150"/>
                      <a:pt x="684847" y="62865"/>
                    </a:cubicBezTo>
                    <a:cubicBezTo>
                      <a:pt x="684847" y="68580"/>
                      <a:pt x="686435" y="72707"/>
                      <a:pt x="689610" y="75565"/>
                    </a:cubicBezTo>
                    <a:cubicBezTo>
                      <a:pt x="692785" y="78422"/>
                      <a:pt x="696912" y="79692"/>
                      <a:pt x="701993" y="79692"/>
                    </a:cubicBezTo>
                    <a:cubicBezTo>
                      <a:pt x="706755" y="79692"/>
                      <a:pt x="710247" y="79057"/>
                      <a:pt x="712787" y="77470"/>
                    </a:cubicBezTo>
                    <a:cubicBezTo>
                      <a:pt x="715328" y="76200"/>
                      <a:pt x="717868" y="73977"/>
                      <a:pt x="720408" y="70802"/>
                    </a:cubicBezTo>
                    <a:lnTo>
                      <a:pt x="720725" y="70802"/>
                    </a:lnTo>
                    <a:lnTo>
                      <a:pt x="722947" y="78422"/>
                    </a:lnTo>
                    <a:lnTo>
                      <a:pt x="730568" y="78422"/>
                    </a:lnTo>
                    <a:lnTo>
                      <a:pt x="730568" y="41275"/>
                    </a:lnTo>
                    <a:cubicBezTo>
                      <a:pt x="730568" y="34925"/>
                      <a:pt x="728980" y="30163"/>
                      <a:pt x="725487" y="26988"/>
                    </a:cubicBezTo>
                    <a:cubicBezTo>
                      <a:pt x="721995" y="23813"/>
                      <a:pt x="716915" y="22542"/>
                      <a:pt x="710247" y="22542"/>
                    </a:cubicBezTo>
                    <a:cubicBezTo>
                      <a:pt x="706437" y="22225"/>
                      <a:pt x="702945" y="22542"/>
                      <a:pt x="699453" y="23495"/>
                    </a:cubicBezTo>
                    <a:moveTo>
                      <a:pt x="659447" y="77788"/>
                    </a:moveTo>
                    <a:lnTo>
                      <a:pt x="680403" y="23177"/>
                    </a:lnTo>
                    <a:lnTo>
                      <a:pt x="668972" y="23177"/>
                    </a:lnTo>
                    <a:lnTo>
                      <a:pt x="657543" y="55245"/>
                    </a:lnTo>
                    <a:cubicBezTo>
                      <a:pt x="656908" y="57467"/>
                      <a:pt x="656272" y="59690"/>
                      <a:pt x="655320" y="62230"/>
                    </a:cubicBezTo>
                    <a:cubicBezTo>
                      <a:pt x="654368" y="64770"/>
                      <a:pt x="654050" y="66992"/>
                      <a:pt x="653733" y="68580"/>
                    </a:cubicBezTo>
                    <a:lnTo>
                      <a:pt x="653415" y="68580"/>
                    </a:lnTo>
                    <a:cubicBezTo>
                      <a:pt x="653097" y="66992"/>
                      <a:pt x="652780" y="64770"/>
                      <a:pt x="651828" y="62230"/>
                    </a:cubicBezTo>
                    <a:cubicBezTo>
                      <a:pt x="651193" y="59690"/>
                      <a:pt x="650240" y="57150"/>
                      <a:pt x="649605" y="55245"/>
                    </a:cubicBezTo>
                    <a:lnTo>
                      <a:pt x="638175" y="23177"/>
                    </a:lnTo>
                    <a:lnTo>
                      <a:pt x="626745" y="23177"/>
                    </a:lnTo>
                    <a:lnTo>
                      <a:pt x="647383" y="77788"/>
                    </a:lnTo>
                    <a:lnTo>
                      <a:pt x="659447" y="77788"/>
                    </a:lnTo>
                    <a:close/>
                    <a:moveTo>
                      <a:pt x="586740" y="36195"/>
                    </a:moveTo>
                    <a:cubicBezTo>
                      <a:pt x="588962" y="32702"/>
                      <a:pt x="592772" y="31115"/>
                      <a:pt x="597853" y="31115"/>
                    </a:cubicBezTo>
                    <a:cubicBezTo>
                      <a:pt x="602933" y="31115"/>
                      <a:pt x="606743" y="32702"/>
                      <a:pt x="608965" y="36195"/>
                    </a:cubicBezTo>
                    <a:cubicBezTo>
                      <a:pt x="611187" y="39688"/>
                      <a:pt x="612458" y="44450"/>
                      <a:pt x="612458" y="50482"/>
                    </a:cubicBezTo>
                    <a:cubicBezTo>
                      <a:pt x="612458" y="56515"/>
                      <a:pt x="611187" y="61595"/>
                      <a:pt x="608965" y="64770"/>
                    </a:cubicBezTo>
                    <a:cubicBezTo>
                      <a:pt x="606743" y="68263"/>
                      <a:pt x="602933" y="69850"/>
                      <a:pt x="597853" y="69850"/>
                    </a:cubicBezTo>
                    <a:cubicBezTo>
                      <a:pt x="592772" y="69850"/>
                      <a:pt x="588962" y="68263"/>
                      <a:pt x="586740" y="64770"/>
                    </a:cubicBezTo>
                    <a:cubicBezTo>
                      <a:pt x="584518" y="61277"/>
                      <a:pt x="583247" y="56515"/>
                      <a:pt x="583247" y="50482"/>
                    </a:cubicBezTo>
                    <a:cubicBezTo>
                      <a:pt x="583247" y="44132"/>
                      <a:pt x="584518" y="39370"/>
                      <a:pt x="586740" y="36195"/>
                    </a:cubicBezTo>
                    <a:moveTo>
                      <a:pt x="620395" y="34925"/>
                    </a:moveTo>
                    <a:cubicBezTo>
                      <a:pt x="618172" y="30797"/>
                      <a:pt x="615315" y="27622"/>
                      <a:pt x="611505" y="25400"/>
                    </a:cubicBezTo>
                    <a:cubicBezTo>
                      <a:pt x="607695" y="23177"/>
                      <a:pt x="603250" y="22225"/>
                      <a:pt x="598170" y="22225"/>
                    </a:cubicBezTo>
                    <a:cubicBezTo>
                      <a:pt x="590233" y="22225"/>
                      <a:pt x="583883" y="24765"/>
                      <a:pt x="579120" y="29527"/>
                    </a:cubicBezTo>
                    <a:cubicBezTo>
                      <a:pt x="574358" y="34290"/>
                      <a:pt x="572135" y="41275"/>
                      <a:pt x="572135" y="50482"/>
                    </a:cubicBezTo>
                    <a:cubicBezTo>
                      <a:pt x="572135" y="56515"/>
                      <a:pt x="573087" y="61595"/>
                      <a:pt x="575310" y="66040"/>
                    </a:cubicBezTo>
                    <a:cubicBezTo>
                      <a:pt x="577533" y="70167"/>
                      <a:pt x="580390" y="73342"/>
                      <a:pt x="584200" y="75565"/>
                    </a:cubicBezTo>
                    <a:cubicBezTo>
                      <a:pt x="588010" y="77788"/>
                      <a:pt x="592455" y="78740"/>
                      <a:pt x="597218" y="78740"/>
                    </a:cubicBezTo>
                    <a:cubicBezTo>
                      <a:pt x="605155" y="78740"/>
                      <a:pt x="611505" y="76200"/>
                      <a:pt x="616268" y="71438"/>
                    </a:cubicBezTo>
                    <a:cubicBezTo>
                      <a:pt x="621030" y="66675"/>
                      <a:pt x="623253" y="59372"/>
                      <a:pt x="623253" y="50482"/>
                    </a:cubicBezTo>
                    <a:cubicBezTo>
                      <a:pt x="623887" y="44450"/>
                      <a:pt x="622618" y="39052"/>
                      <a:pt x="620395" y="34925"/>
                    </a:cubicBezTo>
                    <a:moveTo>
                      <a:pt x="529272" y="24130"/>
                    </a:moveTo>
                    <a:cubicBezTo>
                      <a:pt x="526097" y="25400"/>
                      <a:pt x="523875" y="27622"/>
                      <a:pt x="521970" y="30480"/>
                    </a:cubicBezTo>
                    <a:lnTo>
                      <a:pt x="521335" y="30480"/>
                    </a:lnTo>
                    <a:lnTo>
                      <a:pt x="519747" y="23177"/>
                    </a:lnTo>
                    <a:lnTo>
                      <a:pt x="511175" y="23177"/>
                    </a:lnTo>
                    <a:lnTo>
                      <a:pt x="511175" y="77788"/>
                    </a:lnTo>
                    <a:lnTo>
                      <a:pt x="521970" y="77788"/>
                    </a:lnTo>
                    <a:lnTo>
                      <a:pt x="521970" y="50165"/>
                    </a:lnTo>
                    <a:cubicBezTo>
                      <a:pt x="521970" y="43815"/>
                      <a:pt x="522922" y="39052"/>
                      <a:pt x="525145" y="35877"/>
                    </a:cubicBezTo>
                    <a:cubicBezTo>
                      <a:pt x="527368" y="32702"/>
                      <a:pt x="531178" y="30797"/>
                      <a:pt x="536575" y="30797"/>
                    </a:cubicBezTo>
                    <a:cubicBezTo>
                      <a:pt x="544195" y="30797"/>
                      <a:pt x="548005" y="34925"/>
                      <a:pt x="548005" y="43497"/>
                    </a:cubicBezTo>
                    <a:lnTo>
                      <a:pt x="548005" y="77788"/>
                    </a:lnTo>
                    <a:lnTo>
                      <a:pt x="558800" y="77788"/>
                    </a:lnTo>
                    <a:lnTo>
                      <a:pt x="558800" y="42227"/>
                    </a:lnTo>
                    <a:cubicBezTo>
                      <a:pt x="558800" y="35242"/>
                      <a:pt x="557212" y="30163"/>
                      <a:pt x="553720" y="26988"/>
                    </a:cubicBezTo>
                    <a:cubicBezTo>
                      <a:pt x="550228" y="23813"/>
                      <a:pt x="545465" y="22225"/>
                      <a:pt x="539115" y="22225"/>
                    </a:cubicBezTo>
                    <a:cubicBezTo>
                      <a:pt x="535622" y="22225"/>
                      <a:pt x="532447" y="22860"/>
                      <a:pt x="529272" y="24130"/>
                    </a:cubicBezTo>
                    <a:moveTo>
                      <a:pt x="465455" y="24130"/>
                    </a:moveTo>
                    <a:cubicBezTo>
                      <a:pt x="462280" y="25400"/>
                      <a:pt x="460057" y="27622"/>
                      <a:pt x="458153" y="30480"/>
                    </a:cubicBezTo>
                    <a:lnTo>
                      <a:pt x="457518" y="30480"/>
                    </a:lnTo>
                    <a:lnTo>
                      <a:pt x="455930" y="23177"/>
                    </a:lnTo>
                    <a:lnTo>
                      <a:pt x="447357" y="23177"/>
                    </a:lnTo>
                    <a:lnTo>
                      <a:pt x="447357" y="77788"/>
                    </a:lnTo>
                    <a:lnTo>
                      <a:pt x="458153" y="77788"/>
                    </a:lnTo>
                    <a:lnTo>
                      <a:pt x="458153" y="50165"/>
                    </a:lnTo>
                    <a:cubicBezTo>
                      <a:pt x="458153" y="43815"/>
                      <a:pt x="459105" y="39052"/>
                      <a:pt x="461328" y="35877"/>
                    </a:cubicBezTo>
                    <a:cubicBezTo>
                      <a:pt x="463550" y="32702"/>
                      <a:pt x="467360" y="30797"/>
                      <a:pt x="472757" y="30797"/>
                    </a:cubicBezTo>
                    <a:cubicBezTo>
                      <a:pt x="480378" y="30797"/>
                      <a:pt x="484187" y="34925"/>
                      <a:pt x="484187" y="43497"/>
                    </a:cubicBezTo>
                    <a:lnTo>
                      <a:pt x="484187" y="77788"/>
                    </a:lnTo>
                    <a:lnTo>
                      <a:pt x="494982" y="77788"/>
                    </a:lnTo>
                    <a:lnTo>
                      <a:pt x="494982" y="42227"/>
                    </a:lnTo>
                    <a:cubicBezTo>
                      <a:pt x="494982" y="35242"/>
                      <a:pt x="493395" y="30163"/>
                      <a:pt x="489903" y="26988"/>
                    </a:cubicBezTo>
                    <a:cubicBezTo>
                      <a:pt x="486410" y="23813"/>
                      <a:pt x="481647" y="22225"/>
                      <a:pt x="475297" y="22225"/>
                    </a:cubicBezTo>
                    <a:cubicBezTo>
                      <a:pt x="471805" y="22225"/>
                      <a:pt x="468630" y="22860"/>
                      <a:pt x="465455" y="24130"/>
                    </a:cubicBezTo>
                    <a:moveTo>
                      <a:pt x="419735" y="77788"/>
                    </a:moveTo>
                    <a:lnTo>
                      <a:pt x="430530" y="77788"/>
                    </a:lnTo>
                    <a:lnTo>
                      <a:pt x="430530" y="23177"/>
                    </a:lnTo>
                    <a:lnTo>
                      <a:pt x="419735" y="23177"/>
                    </a:lnTo>
                    <a:lnTo>
                      <a:pt x="419735" y="77788"/>
                    </a:lnTo>
                    <a:close/>
                    <a:moveTo>
                      <a:pt x="421005" y="3810"/>
                    </a:moveTo>
                    <a:cubicBezTo>
                      <a:pt x="419735" y="4763"/>
                      <a:pt x="419100" y="6350"/>
                      <a:pt x="419100" y="8572"/>
                    </a:cubicBezTo>
                    <a:cubicBezTo>
                      <a:pt x="419100" y="10795"/>
                      <a:pt x="419735" y="12382"/>
                      <a:pt x="421005" y="13335"/>
                    </a:cubicBezTo>
                    <a:cubicBezTo>
                      <a:pt x="422275" y="14288"/>
                      <a:pt x="423545" y="14922"/>
                      <a:pt x="425450" y="14922"/>
                    </a:cubicBezTo>
                    <a:cubicBezTo>
                      <a:pt x="427037" y="14922"/>
                      <a:pt x="428625" y="14288"/>
                      <a:pt x="429578" y="13335"/>
                    </a:cubicBezTo>
                    <a:cubicBezTo>
                      <a:pt x="430847" y="12382"/>
                      <a:pt x="431482" y="10795"/>
                      <a:pt x="431482" y="8572"/>
                    </a:cubicBezTo>
                    <a:cubicBezTo>
                      <a:pt x="431482" y="6350"/>
                      <a:pt x="430847" y="4763"/>
                      <a:pt x="429578" y="3810"/>
                    </a:cubicBezTo>
                    <a:cubicBezTo>
                      <a:pt x="428307" y="2857"/>
                      <a:pt x="427037" y="2540"/>
                      <a:pt x="425450" y="2540"/>
                    </a:cubicBezTo>
                    <a:cubicBezTo>
                      <a:pt x="423545" y="2222"/>
                      <a:pt x="422275" y="2857"/>
                      <a:pt x="421005" y="3810"/>
                    </a:cubicBezTo>
                    <a:moveTo>
                      <a:pt x="362585" y="35560"/>
                    </a:moveTo>
                    <a:cubicBezTo>
                      <a:pt x="364807" y="38417"/>
                      <a:pt x="366078" y="43497"/>
                      <a:pt x="366078" y="50800"/>
                    </a:cubicBezTo>
                    <a:lnTo>
                      <a:pt x="366078" y="52705"/>
                    </a:lnTo>
                    <a:cubicBezTo>
                      <a:pt x="366078" y="59055"/>
                      <a:pt x="364807" y="63500"/>
                      <a:pt x="362585" y="66040"/>
                    </a:cubicBezTo>
                    <a:cubicBezTo>
                      <a:pt x="360362" y="68897"/>
                      <a:pt x="356553" y="70167"/>
                      <a:pt x="351472" y="70167"/>
                    </a:cubicBezTo>
                    <a:cubicBezTo>
                      <a:pt x="347028" y="70167"/>
                      <a:pt x="343853" y="68580"/>
                      <a:pt x="341312" y="65088"/>
                    </a:cubicBezTo>
                    <a:cubicBezTo>
                      <a:pt x="339090" y="61913"/>
                      <a:pt x="337820" y="56832"/>
                      <a:pt x="337820" y="50482"/>
                    </a:cubicBezTo>
                    <a:cubicBezTo>
                      <a:pt x="337820" y="44132"/>
                      <a:pt x="339090" y="39052"/>
                      <a:pt x="341312" y="35877"/>
                    </a:cubicBezTo>
                    <a:cubicBezTo>
                      <a:pt x="343535" y="32385"/>
                      <a:pt x="346710" y="30797"/>
                      <a:pt x="351155" y="30797"/>
                    </a:cubicBezTo>
                    <a:cubicBezTo>
                      <a:pt x="356553" y="31115"/>
                      <a:pt x="360362" y="32385"/>
                      <a:pt x="362585" y="35560"/>
                    </a:cubicBezTo>
                    <a:moveTo>
                      <a:pt x="333057" y="29845"/>
                    </a:moveTo>
                    <a:cubicBezTo>
                      <a:pt x="329247" y="34925"/>
                      <a:pt x="327343" y="41910"/>
                      <a:pt x="327343" y="50800"/>
                    </a:cubicBezTo>
                    <a:cubicBezTo>
                      <a:pt x="327343" y="59690"/>
                      <a:pt x="329247" y="66675"/>
                      <a:pt x="333057" y="71438"/>
                    </a:cubicBezTo>
                    <a:cubicBezTo>
                      <a:pt x="336868" y="76517"/>
                      <a:pt x="342265" y="79057"/>
                      <a:pt x="349250" y="79057"/>
                    </a:cubicBezTo>
                    <a:cubicBezTo>
                      <a:pt x="352743" y="79057"/>
                      <a:pt x="355918" y="78422"/>
                      <a:pt x="358775" y="77152"/>
                    </a:cubicBezTo>
                    <a:cubicBezTo>
                      <a:pt x="361632" y="75882"/>
                      <a:pt x="363855" y="73660"/>
                      <a:pt x="365760" y="70802"/>
                    </a:cubicBezTo>
                    <a:lnTo>
                      <a:pt x="366078" y="70802"/>
                    </a:lnTo>
                    <a:cubicBezTo>
                      <a:pt x="366078" y="71438"/>
                      <a:pt x="366078" y="72707"/>
                      <a:pt x="365760" y="73977"/>
                    </a:cubicBezTo>
                    <a:cubicBezTo>
                      <a:pt x="365760" y="75247"/>
                      <a:pt x="365760" y="76517"/>
                      <a:pt x="365760" y="77470"/>
                    </a:cubicBezTo>
                    <a:lnTo>
                      <a:pt x="365760" y="79375"/>
                    </a:lnTo>
                    <a:cubicBezTo>
                      <a:pt x="365760" y="84138"/>
                      <a:pt x="364490" y="87630"/>
                      <a:pt x="361950" y="90170"/>
                    </a:cubicBezTo>
                    <a:cubicBezTo>
                      <a:pt x="359410" y="92710"/>
                      <a:pt x="355918" y="93980"/>
                      <a:pt x="351790" y="93980"/>
                    </a:cubicBezTo>
                    <a:cubicBezTo>
                      <a:pt x="347980" y="93980"/>
                      <a:pt x="344170" y="93663"/>
                      <a:pt x="340678" y="93027"/>
                    </a:cubicBezTo>
                    <a:cubicBezTo>
                      <a:pt x="337185" y="92392"/>
                      <a:pt x="334010" y="91122"/>
                      <a:pt x="331153" y="89852"/>
                    </a:cubicBezTo>
                    <a:lnTo>
                      <a:pt x="331153" y="99377"/>
                    </a:lnTo>
                    <a:cubicBezTo>
                      <a:pt x="334010" y="100647"/>
                      <a:pt x="336868" y="101282"/>
                      <a:pt x="340360" y="101917"/>
                    </a:cubicBezTo>
                    <a:cubicBezTo>
                      <a:pt x="343535" y="102552"/>
                      <a:pt x="347345" y="102870"/>
                      <a:pt x="351155" y="102870"/>
                    </a:cubicBezTo>
                    <a:cubicBezTo>
                      <a:pt x="367982" y="102870"/>
                      <a:pt x="376555" y="94932"/>
                      <a:pt x="376555" y="79057"/>
                    </a:cubicBezTo>
                    <a:lnTo>
                      <a:pt x="376555" y="23495"/>
                    </a:lnTo>
                    <a:lnTo>
                      <a:pt x="367665" y="23495"/>
                    </a:lnTo>
                    <a:lnTo>
                      <a:pt x="366395" y="30797"/>
                    </a:lnTo>
                    <a:lnTo>
                      <a:pt x="365760" y="30797"/>
                    </a:lnTo>
                    <a:cubicBezTo>
                      <a:pt x="363855" y="27940"/>
                      <a:pt x="361315" y="26035"/>
                      <a:pt x="358457" y="24447"/>
                    </a:cubicBezTo>
                    <a:cubicBezTo>
                      <a:pt x="355600" y="22860"/>
                      <a:pt x="352425" y="22542"/>
                      <a:pt x="348932" y="22542"/>
                    </a:cubicBezTo>
                    <a:cubicBezTo>
                      <a:pt x="342265" y="22225"/>
                      <a:pt x="336868" y="24765"/>
                      <a:pt x="333057" y="29845"/>
                    </a:cubicBezTo>
                    <a:moveTo>
                      <a:pt x="284480" y="24130"/>
                    </a:moveTo>
                    <a:cubicBezTo>
                      <a:pt x="281305" y="25400"/>
                      <a:pt x="279082" y="27622"/>
                      <a:pt x="277178" y="30480"/>
                    </a:cubicBezTo>
                    <a:lnTo>
                      <a:pt x="276543" y="30480"/>
                    </a:lnTo>
                    <a:lnTo>
                      <a:pt x="274955" y="23177"/>
                    </a:lnTo>
                    <a:lnTo>
                      <a:pt x="266382" y="23177"/>
                    </a:lnTo>
                    <a:lnTo>
                      <a:pt x="266382" y="77788"/>
                    </a:lnTo>
                    <a:lnTo>
                      <a:pt x="277178" y="77788"/>
                    </a:lnTo>
                    <a:lnTo>
                      <a:pt x="277178" y="50165"/>
                    </a:lnTo>
                    <a:cubicBezTo>
                      <a:pt x="277178" y="43815"/>
                      <a:pt x="278130" y="39052"/>
                      <a:pt x="280353" y="35877"/>
                    </a:cubicBezTo>
                    <a:cubicBezTo>
                      <a:pt x="282575" y="32702"/>
                      <a:pt x="286385" y="30797"/>
                      <a:pt x="291782" y="30797"/>
                    </a:cubicBezTo>
                    <a:cubicBezTo>
                      <a:pt x="299403" y="30797"/>
                      <a:pt x="303212" y="34925"/>
                      <a:pt x="303212" y="43497"/>
                    </a:cubicBezTo>
                    <a:lnTo>
                      <a:pt x="303212" y="77788"/>
                    </a:lnTo>
                    <a:lnTo>
                      <a:pt x="314007" y="77788"/>
                    </a:lnTo>
                    <a:lnTo>
                      <a:pt x="314007" y="42227"/>
                    </a:lnTo>
                    <a:cubicBezTo>
                      <a:pt x="314007" y="35242"/>
                      <a:pt x="312420" y="30163"/>
                      <a:pt x="308928" y="26988"/>
                    </a:cubicBezTo>
                    <a:cubicBezTo>
                      <a:pt x="305435" y="23813"/>
                      <a:pt x="300672" y="22225"/>
                      <a:pt x="294322" y="22225"/>
                    </a:cubicBezTo>
                    <a:cubicBezTo>
                      <a:pt x="290830" y="22225"/>
                      <a:pt x="287337" y="22860"/>
                      <a:pt x="284480" y="24130"/>
                    </a:cubicBezTo>
                    <a:moveTo>
                      <a:pt x="238760" y="77788"/>
                    </a:moveTo>
                    <a:lnTo>
                      <a:pt x="249555" y="77788"/>
                    </a:lnTo>
                    <a:lnTo>
                      <a:pt x="249555" y="23177"/>
                    </a:lnTo>
                    <a:lnTo>
                      <a:pt x="238760" y="23177"/>
                    </a:lnTo>
                    <a:lnTo>
                      <a:pt x="238760" y="77788"/>
                    </a:lnTo>
                    <a:close/>
                    <a:moveTo>
                      <a:pt x="240030" y="3810"/>
                    </a:moveTo>
                    <a:cubicBezTo>
                      <a:pt x="238760" y="4763"/>
                      <a:pt x="238125" y="6350"/>
                      <a:pt x="238125" y="8572"/>
                    </a:cubicBezTo>
                    <a:cubicBezTo>
                      <a:pt x="238125" y="10795"/>
                      <a:pt x="238760" y="12382"/>
                      <a:pt x="240030" y="13335"/>
                    </a:cubicBezTo>
                    <a:cubicBezTo>
                      <a:pt x="241300" y="14288"/>
                      <a:pt x="242570" y="14922"/>
                      <a:pt x="244475" y="14922"/>
                    </a:cubicBezTo>
                    <a:cubicBezTo>
                      <a:pt x="246062" y="14922"/>
                      <a:pt x="247650" y="14288"/>
                      <a:pt x="248603" y="13335"/>
                    </a:cubicBezTo>
                    <a:cubicBezTo>
                      <a:pt x="249872" y="12382"/>
                      <a:pt x="250507" y="10795"/>
                      <a:pt x="250507" y="8572"/>
                    </a:cubicBezTo>
                    <a:cubicBezTo>
                      <a:pt x="250507" y="6350"/>
                      <a:pt x="249872" y="4763"/>
                      <a:pt x="248603" y="3810"/>
                    </a:cubicBezTo>
                    <a:cubicBezTo>
                      <a:pt x="247332" y="2857"/>
                      <a:pt x="246062" y="2540"/>
                      <a:pt x="244475" y="2540"/>
                    </a:cubicBezTo>
                    <a:cubicBezTo>
                      <a:pt x="242570" y="2222"/>
                      <a:pt x="240982" y="2857"/>
                      <a:pt x="240030" y="3810"/>
                    </a:cubicBezTo>
                    <a:moveTo>
                      <a:pt x="212725" y="25400"/>
                    </a:moveTo>
                    <a:cubicBezTo>
                      <a:pt x="209868" y="27622"/>
                      <a:pt x="207645" y="30163"/>
                      <a:pt x="206057" y="33020"/>
                    </a:cubicBezTo>
                    <a:lnTo>
                      <a:pt x="205740" y="33020"/>
                    </a:lnTo>
                    <a:lnTo>
                      <a:pt x="204470" y="23177"/>
                    </a:lnTo>
                    <a:lnTo>
                      <a:pt x="195897" y="23177"/>
                    </a:lnTo>
                    <a:lnTo>
                      <a:pt x="195897" y="77788"/>
                    </a:lnTo>
                    <a:lnTo>
                      <a:pt x="206693" y="77788"/>
                    </a:lnTo>
                    <a:lnTo>
                      <a:pt x="206693" y="48895"/>
                    </a:lnTo>
                    <a:cubicBezTo>
                      <a:pt x="206693" y="45402"/>
                      <a:pt x="207328" y="42227"/>
                      <a:pt x="208915" y="39688"/>
                    </a:cubicBezTo>
                    <a:cubicBezTo>
                      <a:pt x="210503" y="37147"/>
                      <a:pt x="212407" y="35242"/>
                      <a:pt x="214630" y="33972"/>
                    </a:cubicBezTo>
                    <a:cubicBezTo>
                      <a:pt x="216853" y="32702"/>
                      <a:pt x="219710" y="32067"/>
                      <a:pt x="222250" y="32067"/>
                    </a:cubicBezTo>
                    <a:cubicBezTo>
                      <a:pt x="224155" y="32067"/>
                      <a:pt x="226060" y="32385"/>
                      <a:pt x="227647" y="32702"/>
                    </a:cubicBezTo>
                    <a:lnTo>
                      <a:pt x="228918" y="22542"/>
                    </a:lnTo>
                    <a:cubicBezTo>
                      <a:pt x="227012" y="22225"/>
                      <a:pt x="225107" y="21907"/>
                      <a:pt x="222885" y="21907"/>
                    </a:cubicBezTo>
                    <a:cubicBezTo>
                      <a:pt x="218757" y="22225"/>
                      <a:pt x="215582" y="23177"/>
                      <a:pt x="212725" y="25400"/>
                    </a:cubicBezTo>
                    <a:moveTo>
                      <a:pt x="168275" y="34290"/>
                    </a:moveTo>
                    <a:cubicBezTo>
                      <a:pt x="170180" y="36830"/>
                      <a:pt x="171450" y="40322"/>
                      <a:pt x="171450" y="44767"/>
                    </a:cubicBezTo>
                    <a:lnTo>
                      <a:pt x="145732" y="44767"/>
                    </a:lnTo>
                    <a:cubicBezTo>
                      <a:pt x="146050" y="40005"/>
                      <a:pt x="147637" y="36513"/>
                      <a:pt x="149860" y="33972"/>
                    </a:cubicBezTo>
                    <a:cubicBezTo>
                      <a:pt x="152082" y="31432"/>
                      <a:pt x="155257" y="30163"/>
                      <a:pt x="159068" y="30163"/>
                    </a:cubicBezTo>
                    <a:cubicBezTo>
                      <a:pt x="163195" y="30480"/>
                      <a:pt x="166370" y="31750"/>
                      <a:pt x="168275" y="34290"/>
                    </a:cubicBezTo>
                    <a:moveTo>
                      <a:pt x="146050" y="25400"/>
                    </a:moveTo>
                    <a:cubicBezTo>
                      <a:pt x="142240" y="27622"/>
                      <a:pt x="139382" y="30797"/>
                      <a:pt x="137478" y="35242"/>
                    </a:cubicBezTo>
                    <a:cubicBezTo>
                      <a:pt x="135255" y="39370"/>
                      <a:pt x="134303" y="44767"/>
                      <a:pt x="134303" y="50800"/>
                    </a:cubicBezTo>
                    <a:cubicBezTo>
                      <a:pt x="134303" y="56832"/>
                      <a:pt x="135572" y="62230"/>
                      <a:pt x="137795" y="66357"/>
                    </a:cubicBezTo>
                    <a:cubicBezTo>
                      <a:pt x="140018" y="70485"/>
                      <a:pt x="143193" y="73660"/>
                      <a:pt x="147320" y="75565"/>
                    </a:cubicBezTo>
                    <a:cubicBezTo>
                      <a:pt x="151447" y="77788"/>
                      <a:pt x="156210" y="78740"/>
                      <a:pt x="161290" y="78740"/>
                    </a:cubicBezTo>
                    <a:cubicBezTo>
                      <a:pt x="165100" y="78740"/>
                      <a:pt x="168593" y="78422"/>
                      <a:pt x="171132" y="77788"/>
                    </a:cubicBezTo>
                    <a:cubicBezTo>
                      <a:pt x="173990" y="77152"/>
                      <a:pt x="176530" y="76200"/>
                      <a:pt x="179387" y="74930"/>
                    </a:cubicBezTo>
                    <a:lnTo>
                      <a:pt x="179387" y="66040"/>
                    </a:lnTo>
                    <a:cubicBezTo>
                      <a:pt x="176530" y="67310"/>
                      <a:pt x="173672" y="68263"/>
                      <a:pt x="170815" y="68897"/>
                    </a:cubicBezTo>
                    <a:cubicBezTo>
                      <a:pt x="167957" y="69532"/>
                      <a:pt x="164782" y="69850"/>
                      <a:pt x="161290" y="69850"/>
                    </a:cubicBezTo>
                    <a:cubicBezTo>
                      <a:pt x="156210" y="69850"/>
                      <a:pt x="152400" y="68263"/>
                      <a:pt x="149543" y="65405"/>
                    </a:cubicBezTo>
                    <a:cubicBezTo>
                      <a:pt x="146685" y="62547"/>
                      <a:pt x="145415" y="58102"/>
                      <a:pt x="145097" y="52388"/>
                    </a:cubicBezTo>
                    <a:lnTo>
                      <a:pt x="181928" y="52388"/>
                    </a:lnTo>
                    <a:lnTo>
                      <a:pt x="181928" y="46355"/>
                    </a:lnTo>
                    <a:cubicBezTo>
                      <a:pt x="181928" y="38735"/>
                      <a:pt x="179705" y="32702"/>
                      <a:pt x="175578" y="28257"/>
                    </a:cubicBezTo>
                    <a:cubicBezTo>
                      <a:pt x="171450" y="23813"/>
                      <a:pt x="165735" y="21590"/>
                      <a:pt x="158750" y="21590"/>
                    </a:cubicBezTo>
                    <a:cubicBezTo>
                      <a:pt x="153987" y="22225"/>
                      <a:pt x="149860" y="23177"/>
                      <a:pt x="146050" y="25400"/>
                    </a:cubicBezTo>
                    <a:moveTo>
                      <a:pt x="127953" y="23177"/>
                    </a:moveTo>
                    <a:lnTo>
                      <a:pt x="114300" y="23177"/>
                    </a:lnTo>
                    <a:lnTo>
                      <a:pt x="114300" y="19685"/>
                    </a:lnTo>
                    <a:cubicBezTo>
                      <a:pt x="114300" y="12700"/>
                      <a:pt x="116840" y="8890"/>
                      <a:pt x="122237" y="8890"/>
                    </a:cubicBezTo>
                    <a:cubicBezTo>
                      <a:pt x="123825" y="8890"/>
                      <a:pt x="125095" y="8890"/>
                      <a:pt x="126682" y="9207"/>
                    </a:cubicBezTo>
                    <a:cubicBezTo>
                      <a:pt x="127953" y="9525"/>
                      <a:pt x="129540" y="9842"/>
                      <a:pt x="130493" y="10160"/>
                    </a:cubicBezTo>
                    <a:lnTo>
                      <a:pt x="133350" y="1905"/>
                    </a:lnTo>
                    <a:cubicBezTo>
                      <a:pt x="132080" y="1588"/>
                      <a:pt x="130493" y="952"/>
                      <a:pt x="128270" y="635"/>
                    </a:cubicBezTo>
                    <a:cubicBezTo>
                      <a:pt x="126365" y="317"/>
                      <a:pt x="124143" y="0"/>
                      <a:pt x="121920" y="0"/>
                    </a:cubicBezTo>
                    <a:cubicBezTo>
                      <a:pt x="116205" y="0"/>
                      <a:pt x="111760" y="1588"/>
                      <a:pt x="108585" y="4445"/>
                    </a:cubicBezTo>
                    <a:cubicBezTo>
                      <a:pt x="105410" y="7302"/>
                      <a:pt x="103822" y="12382"/>
                      <a:pt x="103822" y="19367"/>
                    </a:cubicBezTo>
                    <a:lnTo>
                      <a:pt x="103822" y="22860"/>
                    </a:lnTo>
                    <a:lnTo>
                      <a:pt x="94615" y="26352"/>
                    </a:lnTo>
                    <a:lnTo>
                      <a:pt x="94615" y="31432"/>
                    </a:lnTo>
                    <a:lnTo>
                      <a:pt x="103822" y="31432"/>
                    </a:lnTo>
                    <a:lnTo>
                      <a:pt x="103822" y="78105"/>
                    </a:lnTo>
                    <a:lnTo>
                      <a:pt x="114618" y="78105"/>
                    </a:lnTo>
                    <a:lnTo>
                      <a:pt x="114618" y="31432"/>
                    </a:lnTo>
                    <a:lnTo>
                      <a:pt x="128270" y="31432"/>
                    </a:lnTo>
                    <a:lnTo>
                      <a:pt x="128270" y="23177"/>
                    </a:lnTo>
                    <a:close/>
                    <a:moveTo>
                      <a:pt x="91757" y="23177"/>
                    </a:moveTo>
                    <a:lnTo>
                      <a:pt x="78105" y="23177"/>
                    </a:lnTo>
                    <a:lnTo>
                      <a:pt x="78105" y="19685"/>
                    </a:lnTo>
                    <a:cubicBezTo>
                      <a:pt x="78105" y="12700"/>
                      <a:pt x="80645" y="8890"/>
                      <a:pt x="86043" y="8890"/>
                    </a:cubicBezTo>
                    <a:cubicBezTo>
                      <a:pt x="87630" y="8890"/>
                      <a:pt x="88900" y="8890"/>
                      <a:pt x="90487" y="9207"/>
                    </a:cubicBezTo>
                    <a:cubicBezTo>
                      <a:pt x="91757" y="9525"/>
                      <a:pt x="93345" y="9842"/>
                      <a:pt x="94297" y="10160"/>
                    </a:cubicBezTo>
                    <a:lnTo>
                      <a:pt x="97155" y="1905"/>
                    </a:lnTo>
                    <a:cubicBezTo>
                      <a:pt x="95885" y="1588"/>
                      <a:pt x="94297" y="952"/>
                      <a:pt x="92075" y="635"/>
                    </a:cubicBezTo>
                    <a:cubicBezTo>
                      <a:pt x="89853" y="317"/>
                      <a:pt x="87947" y="0"/>
                      <a:pt x="85725" y="0"/>
                    </a:cubicBezTo>
                    <a:cubicBezTo>
                      <a:pt x="80010" y="0"/>
                      <a:pt x="75565" y="1588"/>
                      <a:pt x="72390" y="4445"/>
                    </a:cubicBezTo>
                    <a:cubicBezTo>
                      <a:pt x="69215" y="7302"/>
                      <a:pt x="67628" y="12382"/>
                      <a:pt x="67628" y="19367"/>
                    </a:cubicBezTo>
                    <a:lnTo>
                      <a:pt x="67628" y="22860"/>
                    </a:lnTo>
                    <a:lnTo>
                      <a:pt x="58420" y="26352"/>
                    </a:lnTo>
                    <a:lnTo>
                      <a:pt x="58420" y="31432"/>
                    </a:lnTo>
                    <a:lnTo>
                      <a:pt x="67628" y="31432"/>
                    </a:lnTo>
                    <a:lnTo>
                      <a:pt x="67628" y="78105"/>
                    </a:lnTo>
                    <a:lnTo>
                      <a:pt x="78422" y="78105"/>
                    </a:lnTo>
                    <a:lnTo>
                      <a:pt x="78422" y="31432"/>
                    </a:lnTo>
                    <a:lnTo>
                      <a:pt x="92075" y="31432"/>
                    </a:lnTo>
                    <a:lnTo>
                      <a:pt x="92075" y="23177"/>
                    </a:lnTo>
                    <a:close/>
                    <a:moveTo>
                      <a:pt x="14605" y="36195"/>
                    </a:moveTo>
                    <a:cubicBezTo>
                      <a:pt x="16828" y="32702"/>
                      <a:pt x="20637" y="31115"/>
                      <a:pt x="25718" y="31115"/>
                    </a:cubicBezTo>
                    <a:cubicBezTo>
                      <a:pt x="30797" y="31115"/>
                      <a:pt x="34607" y="32702"/>
                      <a:pt x="36830" y="36195"/>
                    </a:cubicBezTo>
                    <a:cubicBezTo>
                      <a:pt x="39053" y="39688"/>
                      <a:pt x="40322" y="44450"/>
                      <a:pt x="40322" y="50482"/>
                    </a:cubicBezTo>
                    <a:cubicBezTo>
                      <a:pt x="40322" y="56515"/>
                      <a:pt x="39053" y="61595"/>
                      <a:pt x="36830" y="64770"/>
                    </a:cubicBezTo>
                    <a:cubicBezTo>
                      <a:pt x="34607" y="68263"/>
                      <a:pt x="30797" y="69850"/>
                      <a:pt x="25718" y="69850"/>
                    </a:cubicBezTo>
                    <a:cubicBezTo>
                      <a:pt x="20637" y="69850"/>
                      <a:pt x="16828" y="68263"/>
                      <a:pt x="14605" y="64770"/>
                    </a:cubicBezTo>
                    <a:cubicBezTo>
                      <a:pt x="12382" y="61277"/>
                      <a:pt x="11112" y="56515"/>
                      <a:pt x="11112" y="50482"/>
                    </a:cubicBezTo>
                    <a:cubicBezTo>
                      <a:pt x="11112" y="44132"/>
                      <a:pt x="12382" y="39370"/>
                      <a:pt x="14605" y="36195"/>
                    </a:cubicBezTo>
                    <a:moveTo>
                      <a:pt x="48260" y="34925"/>
                    </a:moveTo>
                    <a:cubicBezTo>
                      <a:pt x="46037" y="30797"/>
                      <a:pt x="43180" y="27622"/>
                      <a:pt x="39370" y="25400"/>
                    </a:cubicBezTo>
                    <a:cubicBezTo>
                      <a:pt x="35560" y="23177"/>
                      <a:pt x="31115" y="22225"/>
                      <a:pt x="26035" y="22225"/>
                    </a:cubicBezTo>
                    <a:cubicBezTo>
                      <a:pt x="18097" y="22225"/>
                      <a:pt x="11747" y="24765"/>
                      <a:pt x="6985" y="29527"/>
                    </a:cubicBezTo>
                    <a:cubicBezTo>
                      <a:pt x="2222" y="34290"/>
                      <a:pt x="0" y="41275"/>
                      <a:pt x="0" y="50482"/>
                    </a:cubicBezTo>
                    <a:cubicBezTo>
                      <a:pt x="0" y="56515"/>
                      <a:pt x="952" y="61595"/>
                      <a:pt x="3175" y="66040"/>
                    </a:cubicBezTo>
                    <a:cubicBezTo>
                      <a:pt x="5397" y="70167"/>
                      <a:pt x="8255" y="73342"/>
                      <a:pt x="12065" y="75565"/>
                    </a:cubicBezTo>
                    <a:cubicBezTo>
                      <a:pt x="15875" y="77788"/>
                      <a:pt x="20320" y="78740"/>
                      <a:pt x="25082" y="78740"/>
                    </a:cubicBezTo>
                    <a:cubicBezTo>
                      <a:pt x="33020" y="78740"/>
                      <a:pt x="39370" y="76200"/>
                      <a:pt x="44132" y="71438"/>
                    </a:cubicBezTo>
                    <a:cubicBezTo>
                      <a:pt x="48895" y="66675"/>
                      <a:pt x="51118" y="59372"/>
                      <a:pt x="51118" y="50482"/>
                    </a:cubicBezTo>
                    <a:cubicBezTo>
                      <a:pt x="51435" y="44450"/>
                      <a:pt x="50482" y="39052"/>
                      <a:pt x="48260" y="34925"/>
                    </a:cubicBezTo>
                  </a:path>
                </a:pathLst>
              </a:custGeom>
              <a:grpFill/>
              <a:ln w="3175" cap="flat">
                <a:noFill/>
                <a:prstDash val="solid"/>
                <a:miter/>
              </a:ln>
            </p:spPr>
            <p:txBody>
              <a:bodyPr rtlCol="0" anchor="ctr"/>
              <a:lstStyle/>
              <a:p>
                <a:endParaRPr lang="en-GB">
                  <a:solidFill>
                    <a:srgbClr val="000000"/>
                  </a:solidFill>
                  <a:latin typeface="Verdana"/>
                </a:endParaRPr>
              </a:p>
            </p:txBody>
          </p:sp>
          <p:sp>
            <p:nvSpPr>
              <p:cNvPr id="53" name="Freeform: Shape 52">
                <a:extLst>
                  <a:ext uri="{FF2B5EF4-FFF2-40B4-BE49-F238E27FC236}">
                    <a16:creationId xmlns:a16="http://schemas.microsoft.com/office/drawing/2014/main" id="{85CA0568-1803-4EE1-8C82-6A2B61CD5F9E}"/>
                  </a:ext>
                </a:extLst>
              </p:cNvPr>
              <p:cNvSpPr/>
              <p:nvPr/>
            </p:nvSpPr>
            <p:spPr>
              <a:xfrm>
                <a:off x="1785302" y="1670050"/>
                <a:ext cx="1270000" cy="101600"/>
              </a:xfrm>
              <a:custGeom>
                <a:avLst/>
                <a:gdLst>
                  <a:gd name="connsiteX0" fmla="*/ 1239838 w 1270000"/>
                  <a:gd name="connsiteY0" fmla="*/ 77788 h 101600"/>
                  <a:gd name="connsiteX1" fmla="*/ 1237615 w 1270000"/>
                  <a:gd name="connsiteY1" fmla="*/ 83820 h 101600"/>
                  <a:gd name="connsiteX2" fmla="*/ 1233170 w 1270000"/>
                  <a:gd name="connsiteY2" fmla="*/ 90805 h 101600"/>
                  <a:gd name="connsiteX3" fmla="*/ 1225550 w 1270000"/>
                  <a:gd name="connsiteY3" fmla="*/ 93345 h 101600"/>
                  <a:gd name="connsiteX4" fmla="*/ 1222058 w 1270000"/>
                  <a:gd name="connsiteY4" fmla="*/ 93027 h 101600"/>
                  <a:gd name="connsiteX5" fmla="*/ 1219518 w 1270000"/>
                  <a:gd name="connsiteY5" fmla="*/ 92710 h 101600"/>
                  <a:gd name="connsiteX6" fmla="*/ 1219518 w 1270000"/>
                  <a:gd name="connsiteY6" fmla="*/ 101283 h 101600"/>
                  <a:gd name="connsiteX7" fmla="*/ 1222693 w 1270000"/>
                  <a:gd name="connsiteY7" fmla="*/ 101917 h 101600"/>
                  <a:gd name="connsiteX8" fmla="*/ 1227138 w 1270000"/>
                  <a:gd name="connsiteY8" fmla="*/ 102235 h 101600"/>
                  <a:gd name="connsiteX9" fmla="*/ 1239838 w 1270000"/>
                  <a:gd name="connsiteY9" fmla="*/ 97790 h 101600"/>
                  <a:gd name="connsiteX10" fmla="*/ 1247775 w 1270000"/>
                  <a:gd name="connsiteY10" fmla="*/ 85408 h 101600"/>
                  <a:gd name="connsiteX11" fmla="*/ 1271270 w 1270000"/>
                  <a:gd name="connsiteY11" fmla="*/ 23177 h 101600"/>
                  <a:gd name="connsiteX12" fmla="*/ 1259840 w 1270000"/>
                  <a:gd name="connsiteY12" fmla="*/ 23177 h 101600"/>
                  <a:gd name="connsiteX13" fmla="*/ 1249045 w 1270000"/>
                  <a:gd name="connsiteY13" fmla="*/ 54292 h 101600"/>
                  <a:gd name="connsiteX14" fmla="*/ 1246505 w 1270000"/>
                  <a:gd name="connsiteY14" fmla="*/ 61595 h 101600"/>
                  <a:gd name="connsiteX15" fmla="*/ 1244918 w 1270000"/>
                  <a:gd name="connsiteY15" fmla="*/ 67945 h 101600"/>
                  <a:gd name="connsiteX16" fmla="*/ 1244600 w 1270000"/>
                  <a:gd name="connsiteY16" fmla="*/ 67945 h 101600"/>
                  <a:gd name="connsiteX17" fmla="*/ 1243330 w 1270000"/>
                  <a:gd name="connsiteY17" fmla="*/ 61595 h 101600"/>
                  <a:gd name="connsiteX18" fmla="*/ 1241108 w 1270000"/>
                  <a:gd name="connsiteY18" fmla="*/ 54927 h 101600"/>
                  <a:gd name="connsiteX19" fmla="*/ 1229678 w 1270000"/>
                  <a:gd name="connsiteY19" fmla="*/ 23813 h 101600"/>
                  <a:gd name="connsiteX20" fmla="*/ 1218248 w 1270000"/>
                  <a:gd name="connsiteY20" fmla="*/ 23813 h 101600"/>
                  <a:gd name="connsiteX21" fmla="*/ 1239838 w 1270000"/>
                  <a:gd name="connsiteY21" fmla="*/ 77788 h 101600"/>
                  <a:gd name="connsiteX22" fmla="*/ 1203325 w 1270000"/>
                  <a:gd name="connsiteY22" fmla="*/ 50165 h 101600"/>
                  <a:gd name="connsiteX23" fmla="*/ 1200150 w 1270000"/>
                  <a:gd name="connsiteY23" fmla="*/ 64770 h 101600"/>
                  <a:gd name="connsiteX24" fmla="*/ 1190308 w 1270000"/>
                  <a:gd name="connsiteY24" fmla="*/ 69850 h 101600"/>
                  <a:gd name="connsiteX25" fmla="*/ 1179195 w 1270000"/>
                  <a:gd name="connsiteY25" fmla="*/ 64770 h 101600"/>
                  <a:gd name="connsiteX26" fmla="*/ 1176338 w 1270000"/>
                  <a:gd name="connsiteY26" fmla="*/ 50165 h 101600"/>
                  <a:gd name="connsiteX27" fmla="*/ 1176338 w 1270000"/>
                  <a:gd name="connsiteY27" fmla="*/ 49213 h 101600"/>
                  <a:gd name="connsiteX28" fmla="*/ 1179513 w 1270000"/>
                  <a:gd name="connsiteY28" fmla="*/ 34925 h 101600"/>
                  <a:gd name="connsiteX29" fmla="*/ 1190308 w 1270000"/>
                  <a:gd name="connsiteY29" fmla="*/ 30163 h 101600"/>
                  <a:gd name="connsiteX30" fmla="*/ 1203325 w 1270000"/>
                  <a:gd name="connsiteY30" fmla="*/ 50165 h 101600"/>
                  <a:gd name="connsiteX31" fmla="*/ 1165225 w 1270000"/>
                  <a:gd name="connsiteY31" fmla="*/ 635 h 101600"/>
                  <a:gd name="connsiteX32" fmla="*/ 1165225 w 1270000"/>
                  <a:gd name="connsiteY32" fmla="*/ 77788 h 101600"/>
                  <a:gd name="connsiteX33" fmla="*/ 1173163 w 1270000"/>
                  <a:gd name="connsiteY33" fmla="*/ 77788 h 101600"/>
                  <a:gd name="connsiteX34" fmla="*/ 1175068 w 1270000"/>
                  <a:gd name="connsiteY34" fmla="*/ 71120 h 101600"/>
                  <a:gd name="connsiteX35" fmla="*/ 1176020 w 1270000"/>
                  <a:gd name="connsiteY35" fmla="*/ 71120 h 101600"/>
                  <a:gd name="connsiteX36" fmla="*/ 1182370 w 1270000"/>
                  <a:gd name="connsiteY36" fmla="*/ 76517 h 101600"/>
                  <a:gd name="connsiteX37" fmla="*/ 1192530 w 1270000"/>
                  <a:gd name="connsiteY37" fmla="*/ 78740 h 101600"/>
                  <a:gd name="connsiteX38" fmla="*/ 1208405 w 1270000"/>
                  <a:gd name="connsiteY38" fmla="*/ 71438 h 101600"/>
                  <a:gd name="connsiteX39" fmla="*/ 1214438 w 1270000"/>
                  <a:gd name="connsiteY39" fmla="*/ 50165 h 101600"/>
                  <a:gd name="connsiteX40" fmla="*/ 1208405 w 1270000"/>
                  <a:gd name="connsiteY40" fmla="*/ 28892 h 101600"/>
                  <a:gd name="connsiteX41" fmla="*/ 1192530 w 1270000"/>
                  <a:gd name="connsiteY41" fmla="*/ 21908 h 101600"/>
                  <a:gd name="connsiteX42" fmla="*/ 1182370 w 1270000"/>
                  <a:gd name="connsiteY42" fmla="*/ 24130 h 101600"/>
                  <a:gd name="connsiteX43" fmla="*/ 1176020 w 1270000"/>
                  <a:gd name="connsiteY43" fmla="*/ 29845 h 101600"/>
                  <a:gd name="connsiteX44" fmla="*/ 1175385 w 1270000"/>
                  <a:gd name="connsiteY44" fmla="*/ 29845 h 101600"/>
                  <a:gd name="connsiteX45" fmla="*/ 1175703 w 1270000"/>
                  <a:gd name="connsiteY45" fmla="*/ 25083 h 101600"/>
                  <a:gd name="connsiteX46" fmla="*/ 1175703 w 1270000"/>
                  <a:gd name="connsiteY46" fmla="*/ 18733 h 101600"/>
                  <a:gd name="connsiteX47" fmla="*/ 1175703 w 1270000"/>
                  <a:gd name="connsiteY47" fmla="*/ 0 h 101600"/>
                  <a:gd name="connsiteX48" fmla="*/ 1165225 w 1270000"/>
                  <a:gd name="connsiteY48" fmla="*/ 0 h 101600"/>
                  <a:gd name="connsiteX49" fmla="*/ 1110298 w 1270000"/>
                  <a:gd name="connsiteY49" fmla="*/ 49848 h 101600"/>
                  <a:gd name="connsiteX50" fmla="*/ 1107758 w 1270000"/>
                  <a:gd name="connsiteY50" fmla="*/ 62230 h 101600"/>
                  <a:gd name="connsiteX51" fmla="*/ 1100138 w 1270000"/>
                  <a:gd name="connsiteY51" fmla="*/ 66675 h 101600"/>
                  <a:gd name="connsiteX52" fmla="*/ 1091565 w 1270000"/>
                  <a:gd name="connsiteY52" fmla="*/ 62230 h 101600"/>
                  <a:gd name="connsiteX53" fmla="*/ 1089025 w 1270000"/>
                  <a:gd name="connsiteY53" fmla="*/ 49848 h 101600"/>
                  <a:gd name="connsiteX54" fmla="*/ 1089025 w 1270000"/>
                  <a:gd name="connsiteY54" fmla="*/ 48260 h 101600"/>
                  <a:gd name="connsiteX55" fmla="*/ 1091565 w 1270000"/>
                  <a:gd name="connsiteY55" fmla="*/ 37148 h 101600"/>
                  <a:gd name="connsiteX56" fmla="*/ 1099820 w 1270000"/>
                  <a:gd name="connsiteY56" fmla="*/ 33338 h 101600"/>
                  <a:gd name="connsiteX57" fmla="*/ 1110298 w 1270000"/>
                  <a:gd name="connsiteY57" fmla="*/ 49848 h 101600"/>
                  <a:gd name="connsiteX58" fmla="*/ 1095058 w 1270000"/>
                  <a:gd name="connsiteY58" fmla="*/ 23813 h 101600"/>
                  <a:gd name="connsiteX59" fmla="*/ 1089025 w 1270000"/>
                  <a:gd name="connsiteY59" fmla="*/ 29527 h 101600"/>
                  <a:gd name="connsiteX60" fmla="*/ 1088390 w 1270000"/>
                  <a:gd name="connsiteY60" fmla="*/ 29527 h 101600"/>
                  <a:gd name="connsiteX61" fmla="*/ 1086168 w 1270000"/>
                  <a:gd name="connsiteY61" fmla="*/ 22225 h 101600"/>
                  <a:gd name="connsiteX62" fmla="*/ 1073785 w 1270000"/>
                  <a:gd name="connsiteY62" fmla="*/ 22225 h 101600"/>
                  <a:gd name="connsiteX63" fmla="*/ 1073785 w 1270000"/>
                  <a:gd name="connsiteY63" fmla="*/ 102235 h 101600"/>
                  <a:gd name="connsiteX64" fmla="*/ 1089025 w 1270000"/>
                  <a:gd name="connsiteY64" fmla="*/ 102235 h 101600"/>
                  <a:gd name="connsiteX65" fmla="*/ 1089025 w 1270000"/>
                  <a:gd name="connsiteY65" fmla="*/ 80010 h 101600"/>
                  <a:gd name="connsiteX66" fmla="*/ 1088073 w 1270000"/>
                  <a:gd name="connsiteY66" fmla="*/ 71755 h 101600"/>
                  <a:gd name="connsiteX67" fmla="*/ 1089025 w 1270000"/>
                  <a:gd name="connsiteY67" fmla="*/ 71755 h 101600"/>
                  <a:gd name="connsiteX68" fmla="*/ 1094740 w 1270000"/>
                  <a:gd name="connsiteY68" fmla="*/ 76835 h 101600"/>
                  <a:gd name="connsiteX69" fmla="*/ 1104265 w 1270000"/>
                  <a:gd name="connsiteY69" fmla="*/ 79058 h 101600"/>
                  <a:gd name="connsiteX70" fmla="*/ 1119505 w 1270000"/>
                  <a:gd name="connsiteY70" fmla="*/ 71755 h 101600"/>
                  <a:gd name="connsiteX71" fmla="*/ 1125538 w 1270000"/>
                  <a:gd name="connsiteY71" fmla="*/ 50165 h 101600"/>
                  <a:gd name="connsiteX72" fmla="*/ 1119823 w 1270000"/>
                  <a:gd name="connsiteY72" fmla="*/ 28892 h 101600"/>
                  <a:gd name="connsiteX73" fmla="*/ 1104583 w 1270000"/>
                  <a:gd name="connsiteY73" fmla="*/ 21590 h 101600"/>
                  <a:gd name="connsiteX74" fmla="*/ 1095058 w 1270000"/>
                  <a:gd name="connsiteY74" fmla="*/ 23813 h 101600"/>
                  <a:gd name="connsiteX75" fmla="*/ 1042988 w 1270000"/>
                  <a:gd name="connsiteY75" fmla="*/ 77788 h 101600"/>
                  <a:gd name="connsiteX76" fmla="*/ 1058228 w 1270000"/>
                  <a:gd name="connsiteY76" fmla="*/ 77788 h 101600"/>
                  <a:gd name="connsiteX77" fmla="*/ 1058228 w 1270000"/>
                  <a:gd name="connsiteY77" fmla="*/ 22225 h 101600"/>
                  <a:gd name="connsiteX78" fmla="*/ 1042988 w 1270000"/>
                  <a:gd name="connsiteY78" fmla="*/ 22225 h 101600"/>
                  <a:gd name="connsiteX79" fmla="*/ 1042988 w 1270000"/>
                  <a:gd name="connsiteY79" fmla="*/ 77788 h 101600"/>
                  <a:gd name="connsiteX80" fmla="*/ 1044893 w 1270000"/>
                  <a:gd name="connsiteY80" fmla="*/ 2223 h 101600"/>
                  <a:gd name="connsiteX81" fmla="*/ 1042352 w 1270000"/>
                  <a:gd name="connsiteY81" fmla="*/ 7938 h 101600"/>
                  <a:gd name="connsiteX82" fmla="*/ 1044893 w 1270000"/>
                  <a:gd name="connsiteY82" fmla="*/ 13652 h 101600"/>
                  <a:gd name="connsiteX83" fmla="*/ 1050608 w 1270000"/>
                  <a:gd name="connsiteY83" fmla="*/ 15240 h 101600"/>
                  <a:gd name="connsiteX84" fmla="*/ 1056323 w 1270000"/>
                  <a:gd name="connsiteY84" fmla="*/ 13652 h 101600"/>
                  <a:gd name="connsiteX85" fmla="*/ 1058863 w 1270000"/>
                  <a:gd name="connsiteY85" fmla="*/ 7938 h 101600"/>
                  <a:gd name="connsiteX86" fmla="*/ 1056323 w 1270000"/>
                  <a:gd name="connsiteY86" fmla="*/ 2223 h 101600"/>
                  <a:gd name="connsiteX87" fmla="*/ 1050608 w 1270000"/>
                  <a:gd name="connsiteY87" fmla="*/ 635 h 101600"/>
                  <a:gd name="connsiteX88" fmla="*/ 1044893 w 1270000"/>
                  <a:gd name="connsiteY88" fmla="*/ 2223 h 101600"/>
                  <a:gd name="connsiteX89" fmla="*/ 976313 w 1270000"/>
                  <a:gd name="connsiteY89" fmla="*/ 635 h 101600"/>
                  <a:gd name="connsiteX90" fmla="*/ 976313 w 1270000"/>
                  <a:gd name="connsiteY90" fmla="*/ 77788 h 101600"/>
                  <a:gd name="connsiteX91" fmla="*/ 991552 w 1270000"/>
                  <a:gd name="connsiteY91" fmla="*/ 77788 h 101600"/>
                  <a:gd name="connsiteX92" fmla="*/ 991552 w 1270000"/>
                  <a:gd name="connsiteY92" fmla="*/ 51752 h 101600"/>
                  <a:gd name="connsiteX93" fmla="*/ 994093 w 1270000"/>
                  <a:gd name="connsiteY93" fmla="*/ 38100 h 101600"/>
                  <a:gd name="connsiteX94" fmla="*/ 1003618 w 1270000"/>
                  <a:gd name="connsiteY94" fmla="*/ 33338 h 101600"/>
                  <a:gd name="connsiteX95" fmla="*/ 1012508 w 1270000"/>
                  <a:gd name="connsiteY95" fmla="*/ 45402 h 101600"/>
                  <a:gd name="connsiteX96" fmla="*/ 1012508 w 1270000"/>
                  <a:gd name="connsiteY96" fmla="*/ 77788 h 101600"/>
                  <a:gd name="connsiteX97" fmla="*/ 1027748 w 1270000"/>
                  <a:gd name="connsiteY97" fmla="*/ 77788 h 101600"/>
                  <a:gd name="connsiteX98" fmla="*/ 1027748 w 1270000"/>
                  <a:gd name="connsiteY98" fmla="*/ 41592 h 101600"/>
                  <a:gd name="connsiteX99" fmla="*/ 1022350 w 1270000"/>
                  <a:gd name="connsiteY99" fmla="*/ 26035 h 101600"/>
                  <a:gd name="connsiteX100" fmla="*/ 1008063 w 1270000"/>
                  <a:gd name="connsiteY100" fmla="*/ 21273 h 101600"/>
                  <a:gd name="connsiteX101" fmla="*/ 998855 w 1270000"/>
                  <a:gd name="connsiteY101" fmla="*/ 23177 h 101600"/>
                  <a:gd name="connsiteX102" fmla="*/ 992188 w 1270000"/>
                  <a:gd name="connsiteY102" fmla="*/ 29527 h 101600"/>
                  <a:gd name="connsiteX103" fmla="*/ 991235 w 1270000"/>
                  <a:gd name="connsiteY103" fmla="*/ 29527 h 101600"/>
                  <a:gd name="connsiteX104" fmla="*/ 991552 w 1270000"/>
                  <a:gd name="connsiteY104" fmla="*/ 24448 h 101600"/>
                  <a:gd name="connsiteX105" fmla="*/ 991870 w 1270000"/>
                  <a:gd name="connsiteY105" fmla="*/ 16510 h 101600"/>
                  <a:gd name="connsiteX106" fmla="*/ 991870 w 1270000"/>
                  <a:gd name="connsiteY106" fmla="*/ 635 h 101600"/>
                  <a:gd name="connsiteX107" fmla="*/ 976313 w 1270000"/>
                  <a:gd name="connsiteY107" fmla="*/ 635 h 101600"/>
                  <a:gd name="connsiteX108" fmla="*/ 962660 w 1270000"/>
                  <a:gd name="connsiteY108" fmla="*/ 53340 h 101600"/>
                  <a:gd name="connsiteX109" fmla="*/ 957263 w 1270000"/>
                  <a:gd name="connsiteY109" fmla="*/ 48260 h 101600"/>
                  <a:gd name="connsiteX110" fmla="*/ 949008 w 1270000"/>
                  <a:gd name="connsiteY110" fmla="*/ 44133 h 101600"/>
                  <a:gd name="connsiteX111" fmla="*/ 941705 w 1270000"/>
                  <a:gd name="connsiteY111" fmla="*/ 40958 h 101600"/>
                  <a:gd name="connsiteX112" fmla="*/ 938213 w 1270000"/>
                  <a:gd name="connsiteY112" fmla="*/ 38735 h 101600"/>
                  <a:gd name="connsiteX113" fmla="*/ 937260 w 1270000"/>
                  <a:gd name="connsiteY113" fmla="*/ 36195 h 101600"/>
                  <a:gd name="connsiteX114" fmla="*/ 943927 w 1270000"/>
                  <a:gd name="connsiteY114" fmla="*/ 32385 h 101600"/>
                  <a:gd name="connsiteX115" fmla="*/ 951230 w 1270000"/>
                  <a:gd name="connsiteY115" fmla="*/ 33655 h 101600"/>
                  <a:gd name="connsiteX116" fmla="*/ 958850 w 1270000"/>
                  <a:gd name="connsiteY116" fmla="*/ 36513 h 101600"/>
                  <a:gd name="connsiteX117" fmla="*/ 963295 w 1270000"/>
                  <a:gd name="connsiteY117" fmla="*/ 25717 h 101600"/>
                  <a:gd name="connsiteX118" fmla="*/ 953770 w 1270000"/>
                  <a:gd name="connsiteY118" fmla="*/ 22225 h 101600"/>
                  <a:gd name="connsiteX119" fmla="*/ 943927 w 1270000"/>
                  <a:gd name="connsiteY119" fmla="*/ 21273 h 101600"/>
                  <a:gd name="connsiteX120" fmla="*/ 928052 w 1270000"/>
                  <a:gd name="connsiteY120" fmla="*/ 25083 h 101600"/>
                  <a:gd name="connsiteX121" fmla="*/ 922020 w 1270000"/>
                  <a:gd name="connsiteY121" fmla="*/ 36513 h 101600"/>
                  <a:gd name="connsiteX122" fmla="*/ 923608 w 1270000"/>
                  <a:gd name="connsiteY122" fmla="*/ 44133 h 101600"/>
                  <a:gd name="connsiteX123" fmla="*/ 928688 w 1270000"/>
                  <a:gd name="connsiteY123" fmla="*/ 49530 h 101600"/>
                  <a:gd name="connsiteX124" fmla="*/ 937260 w 1270000"/>
                  <a:gd name="connsiteY124" fmla="*/ 53975 h 101600"/>
                  <a:gd name="connsiteX125" fmla="*/ 945198 w 1270000"/>
                  <a:gd name="connsiteY125" fmla="*/ 57785 h 101600"/>
                  <a:gd name="connsiteX126" fmla="*/ 948373 w 1270000"/>
                  <a:gd name="connsiteY126" fmla="*/ 60325 h 101600"/>
                  <a:gd name="connsiteX127" fmla="*/ 949008 w 1270000"/>
                  <a:gd name="connsiteY127" fmla="*/ 62865 h 101600"/>
                  <a:gd name="connsiteX128" fmla="*/ 947102 w 1270000"/>
                  <a:gd name="connsiteY128" fmla="*/ 66358 h 101600"/>
                  <a:gd name="connsiteX129" fmla="*/ 940752 w 1270000"/>
                  <a:gd name="connsiteY129" fmla="*/ 67627 h 101600"/>
                  <a:gd name="connsiteX130" fmla="*/ 931545 w 1270000"/>
                  <a:gd name="connsiteY130" fmla="*/ 66358 h 101600"/>
                  <a:gd name="connsiteX131" fmla="*/ 922020 w 1270000"/>
                  <a:gd name="connsiteY131" fmla="*/ 62865 h 101600"/>
                  <a:gd name="connsiteX132" fmla="*/ 922020 w 1270000"/>
                  <a:gd name="connsiteY132" fmla="*/ 75248 h 101600"/>
                  <a:gd name="connsiteX133" fmla="*/ 930275 w 1270000"/>
                  <a:gd name="connsiteY133" fmla="*/ 77788 h 101600"/>
                  <a:gd name="connsiteX134" fmla="*/ 940118 w 1270000"/>
                  <a:gd name="connsiteY134" fmla="*/ 78423 h 101600"/>
                  <a:gd name="connsiteX135" fmla="*/ 957898 w 1270000"/>
                  <a:gd name="connsiteY135" fmla="*/ 73977 h 101600"/>
                  <a:gd name="connsiteX136" fmla="*/ 963930 w 1270000"/>
                  <a:gd name="connsiteY136" fmla="*/ 60960 h 101600"/>
                  <a:gd name="connsiteX137" fmla="*/ 962660 w 1270000"/>
                  <a:gd name="connsiteY137" fmla="*/ 53340 h 101600"/>
                  <a:gd name="connsiteX138" fmla="*/ 900748 w 1270000"/>
                  <a:gd name="connsiteY138" fmla="*/ 24448 h 101600"/>
                  <a:gd name="connsiteX139" fmla="*/ 894080 w 1270000"/>
                  <a:gd name="connsiteY139" fmla="*/ 31750 h 101600"/>
                  <a:gd name="connsiteX140" fmla="*/ 893445 w 1270000"/>
                  <a:gd name="connsiteY140" fmla="*/ 31750 h 101600"/>
                  <a:gd name="connsiteX141" fmla="*/ 891223 w 1270000"/>
                  <a:gd name="connsiteY141" fmla="*/ 22225 h 101600"/>
                  <a:gd name="connsiteX142" fmla="*/ 879793 w 1270000"/>
                  <a:gd name="connsiteY142" fmla="*/ 22225 h 101600"/>
                  <a:gd name="connsiteX143" fmla="*/ 879793 w 1270000"/>
                  <a:gd name="connsiteY143" fmla="*/ 77788 h 101600"/>
                  <a:gd name="connsiteX144" fmla="*/ 895033 w 1270000"/>
                  <a:gd name="connsiteY144" fmla="*/ 77788 h 101600"/>
                  <a:gd name="connsiteX145" fmla="*/ 895033 w 1270000"/>
                  <a:gd name="connsiteY145" fmla="*/ 49530 h 101600"/>
                  <a:gd name="connsiteX146" fmla="*/ 897255 w 1270000"/>
                  <a:gd name="connsiteY146" fmla="*/ 41275 h 101600"/>
                  <a:gd name="connsiteX147" fmla="*/ 902970 w 1270000"/>
                  <a:gd name="connsiteY147" fmla="*/ 36830 h 101600"/>
                  <a:gd name="connsiteX148" fmla="*/ 910273 w 1270000"/>
                  <a:gd name="connsiteY148" fmla="*/ 35560 h 101600"/>
                  <a:gd name="connsiteX149" fmla="*/ 912495 w 1270000"/>
                  <a:gd name="connsiteY149" fmla="*/ 35560 h 101600"/>
                  <a:gd name="connsiteX150" fmla="*/ 914718 w 1270000"/>
                  <a:gd name="connsiteY150" fmla="*/ 35877 h 101600"/>
                  <a:gd name="connsiteX151" fmla="*/ 915988 w 1270000"/>
                  <a:gd name="connsiteY151" fmla="*/ 21590 h 101600"/>
                  <a:gd name="connsiteX152" fmla="*/ 913448 w 1270000"/>
                  <a:gd name="connsiteY152" fmla="*/ 21273 h 101600"/>
                  <a:gd name="connsiteX153" fmla="*/ 910908 w 1270000"/>
                  <a:gd name="connsiteY153" fmla="*/ 21273 h 101600"/>
                  <a:gd name="connsiteX154" fmla="*/ 900748 w 1270000"/>
                  <a:gd name="connsiteY154" fmla="*/ 24448 h 101600"/>
                  <a:gd name="connsiteX155" fmla="*/ 850265 w 1270000"/>
                  <a:gd name="connsiteY155" fmla="*/ 35560 h 101600"/>
                  <a:gd name="connsiteX156" fmla="*/ 852805 w 1270000"/>
                  <a:gd name="connsiteY156" fmla="*/ 43815 h 101600"/>
                  <a:gd name="connsiteX157" fmla="*/ 831533 w 1270000"/>
                  <a:gd name="connsiteY157" fmla="*/ 43815 h 101600"/>
                  <a:gd name="connsiteX158" fmla="*/ 835025 w 1270000"/>
                  <a:gd name="connsiteY158" fmla="*/ 34925 h 101600"/>
                  <a:gd name="connsiteX159" fmla="*/ 842327 w 1270000"/>
                  <a:gd name="connsiteY159" fmla="*/ 32067 h 101600"/>
                  <a:gd name="connsiteX160" fmla="*/ 850265 w 1270000"/>
                  <a:gd name="connsiteY160" fmla="*/ 35560 h 101600"/>
                  <a:gd name="connsiteX161" fmla="*/ 828675 w 1270000"/>
                  <a:gd name="connsiteY161" fmla="*/ 24765 h 101600"/>
                  <a:gd name="connsiteX162" fmla="*/ 819468 w 1270000"/>
                  <a:gd name="connsiteY162" fmla="*/ 34608 h 101600"/>
                  <a:gd name="connsiteX163" fmla="*/ 816293 w 1270000"/>
                  <a:gd name="connsiteY163" fmla="*/ 50800 h 101600"/>
                  <a:gd name="connsiteX164" fmla="*/ 820102 w 1270000"/>
                  <a:gd name="connsiteY164" fmla="*/ 66675 h 101600"/>
                  <a:gd name="connsiteX165" fmla="*/ 830263 w 1270000"/>
                  <a:gd name="connsiteY165" fmla="*/ 75883 h 101600"/>
                  <a:gd name="connsiteX166" fmla="*/ 844868 w 1270000"/>
                  <a:gd name="connsiteY166" fmla="*/ 79058 h 101600"/>
                  <a:gd name="connsiteX167" fmla="*/ 855663 w 1270000"/>
                  <a:gd name="connsiteY167" fmla="*/ 78105 h 101600"/>
                  <a:gd name="connsiteX168" fmla="*/ 864235 w 1270000"/>
                  <a:gd name="connsiteY168" fmla="*/ 75248 h 101600"/>
                  <a:gd name="connsiteX169" fmla="*/ 864235 w 1270000"/>
                  <a:gd name="connsiteY169" fmla="*/ 63500 h 101600"/>
                  <a:gd name="connsiteX170" fmla="*/ 855027 w 1270000"/>
                  <a:gd name="connsiteY170" fmla="*/ 66675 h 101600"/>
                  <a:gd name="connsiteX171" fmla="*/ 845185 w 1270000"/>
                  <a:gd name="connsiteY171" fmla="*/ 67627 h 101600"/>
                  <a:gd name="connsiteX172" fmla="*/ 835025 w 1270000"/>
                  <a:gd name="connsiteY172" fmla="*/ 63817 h 101600"/>
                  <a:gd name="connsiteX173" fmla="*/ 831215 w 1270000"/>
                  <a:gd name="connsiteY173" fmla="*/ 53658 h 101600"/>
                  <a:gd name="connsiteX174" fmla="*/ 867093 w 1270000"/>
                  <a:gd name="connsiteY174" fmla="*/ 53658 h 101600"/>
                  <a:gd name="connsiteX175" fmla="*/ 867093 w 1270000"/>
                  <a:gd name="connsiteY175" fmla="*/ 46355 h 101600"/>
                  <a:gd name="connsiteX176" fmla="*/ 860425 w 1270000"/>
                  <a:gd name="connsiteY176" fmla="*/ 27623 h 101600"/>
                  <a:gd name="connsiteX177" fmla="*/ 842327 w 1270000"/>
                  <a:gd name="connsiteY177" fmla="*/ 20955 h 101600"/>
                  <a:gd name="connsiteX178" fmla="*/ 828675 w 1270000"/>
                  <a:gd name="connsiteY178" fmla="*/ 24765 h 101600"/>
                  <a:gd name="connsiteX179" fmla="*/ 770255 w 1270000"/>
                  <a:gd name="connsiteY179" fmla="*/ 62548 h 101600"/>
                  <a:gd name="connsiteX180" fmla="*/ 767398 w 1270000"/>
                  <a:gd name="connsiteY180" fmla="*/ 50165 h 101600"/>
                  <a:gd name="connsiteX181" fmla="*/ 770255 w 1270000"/>
                  <a:gd name="connsiteY181" fmla="*/ 37783 h 101600"/>
                  <a:gd name="connsiteX182" fmla="*/ 778193 w 1270000"/>
                  <a:gd name="connsiteY182" fmla="*/ 33338 h 101600"/>
                  <a:gd name="connsiteX183" fmla="*/ 787400 w 1270000"/>
                  <a:gd name="connsiteY183" fmla="*/ 37783 h 101600"/>
                  <a:gd name="connsiteX184" fmla="*/ 789940 w 1270000"/>
                  <a:gd name="connsiteY184" fmla="*/ 50165 h 101600"/>
                  <a:gd name="connsiteX185" fmla="*/ 789940 w 1270000"/>
                  <a:gd name="connsiteY185" fmla="*/ 51752 h 101600"/>
                  <a:gd name="connsiteX186" fmla="*/ 787083 w 1270000"/>
                  <a:gd name="connsiteY186" fmla="*/ 62865 h 101600"/>
                  <a:gd name="connsiteX187" fmla="*/ 778193 w 1270000"/>
                  <a:gd name="connsiteY187" fmla="*/ 66675 h 101600"/>
                  <a:gd name="connsiteX188" fmla="*/ 770255 w 1270000"/>
                  <a:gd name="connsiteY188" fmla="*/ 62548 h 101600"/>
                  <a:gd name="connsiteX189" fmla="*/ 782638 w 1270000"/>
                  <a:gd name="connsiteY189" fmla="*/ 76517 h 101600"/>
                  <a:gd name="connsiteX190" fmla="*/ 788670 w 1270000"/>
                  <a:gd name="connsiteY190" fmla="*/ 70802 h 101600"/>
                  <a:gd name="connsiteX191" fmla="*/ 789305 w 1270000"/>
                  <a:gd name="connsiteY191" fmla="*/ 70802 h 101600"/>
                  <a:gd name="connsiteX192" fmla="*/ 792163 w 1270000"/>
                  <a:gd name="connsiteY192" fmla="*/ 78105 h 101600"/>
                  <a:gd name="connsiteX193" fmla="*/ 803593 w 1270000"/>
                  <a:gd name="connsiteY193" fmla="*/ 78105 h 101600"/>
                  <a:gd name="connsiteX194" fmla="*/ 803593 w 1270000"/>
                  <a:gd name="connsiteY194" fmla="*/ 952 h 101600"/>
                  <a:gd name="connsiteX195" fmla="*/ 788352 w 1270000"/>
                  <a:gd name="connsiteY195" fmla="*/ 952 h 101600"/>
                  <a:gd name="connsiteX196" fmla="*/ 788352 w 1270000"/>
                  <a:gd name="connsiteY196" fmla="*/ 18733 h 101600"/>
                  <a:gd name="connsiteX197" fmla="*/ 788670 w 1270000"/>
                  <a:gd name="connsiteY197" fmla="*/ 25083 h 101600"/>
                  <a:gd name="connsiteX198" fmla="*/ 789305 w 1270000"/>
                  <a:gd name="connsiteY198" fmla="*/ 29845 h 101600"/>
                  <a:gd name="connsiteX199" fmla="*/ 788670 w 1270000"/>
                  <a:gd name="connsiteY199" fmla="*/ 29845 h 101600"/>
                  <a:gd name="connsiteX200" fmla="*/ 782638 w 1270000"/>
                  <a:gd name="connsiteY200" fmla="*/ 24130 h 101600"/>
                  <a:gd name="connsiteX201" fmla="*/ 772795 w 1270000"/>
                  <a:gd name="connsiteY201" fmla="*/ 21908 h 101600"/>
                  <a:gd name="connsiteX202" fmla="*/ 757238 w 1270000"/>
                  <a:gd name="connsiteY202" fmla="*/ 29210 h 101600"/>
                  <a:gd name="connsiteX203" fmla="*/ 751205 w 1270000"/>
                  <a:gd name="connsiteY203" fmla="*/ 50800 h 101600"/>
                  <a:gd name="connsiteX204" fmla="*/ 756920 w 1270000"/>
                  <a:gd name="connsiteY204" fmla="*/ 72073 h 101600"/>
                  <a:gd name="connsiteX205" fmla="*/ 772160 w 1270000"/>
                  <a:gd name="connsiteY205" fmla="*/ 79375 h 101600"/>
                  <a:gd name="connsiteX206" fmla="*/ 782638 w 1270000"/>
                  <a:gd name="connsiteY206" fmla="*/ 76517 h 101600"/>
                  <a:gd name="connsiteX207" fmla="*/ 724535 w 1270000"/>
                  <a:gd name="connsiteY207" fmla="*/ 56833 h 101600"/>
                  <a:gd name="connsiteX208" fmla="*/ 721043 w 1270000"/>
                  <a:gd name="connsiteY208" fmla="*/ 65088 h 101600"/>
                  <a:gd name="connsiteX209" fmla="*/ 712788 w 1270000"/>
                  <a:gd name="connsiteY209" fmla="*/ 67945 h 101600"/>
                  <a:gd name="connsiteX210" fmla="*/ 707390 w 1270000"/>
                  <a:gd name="connsiteY210" fmla="*/ 66358 h 101600"/>
                  <a:gd name="connsiteX211" fmla="*/ 705485 w 1270000"/>
                  <a:gd name="connsiteY211" fmla="*/ 61277 h 101600"/>
                  <a:gd name="connsiteX212" fmla="*/ 708343 w 1270000"/>
                  <a:gd name="connsiteY212" fmla="*/ 54927 h 101600"/>
                  <a:gd name="connsiteX213" fmla="*/ 718502 w 1270000"/>
                  <a:gd name="connsiteY213" fmla="*/ 52388 h 101600"/>
                  <a:gd name="connsiteX214" fmla="*/ 724535 w 1270000"/>
                  <a:gd name="connsiteY214" fmla="*/ 52070 h 101600"/>
                  <a:gd name="connsiteX215" fmla="*/ 724535 w 1270000"/>
                  <a:gd name="connsiteY215" fmla="*/ 56833 h 101600"/>
                  <a:gd name="connsiteX216" fmla="*/ 705168 w 1270000"/>
                  <a:gd name="connsiteY216" fmla="*/ 22542 h 101600"/>
                  <a:gd name="connsiteX217" fmla="*/ 695325 w 1270000"/>
                  <a:gd name="connsiteY217" fmla="*/ 26035 h 101600"/>
                  <a:gd name="connsiteX218" fmla="*/ 700405 w 1270000"/>
                  <a:gd name="connsiteY218" fmla="*/ 36195 h 101600"/>
                  <a:gd name="connsiteX219" fmla="*/ 708025 w 1270000"/>
                  <a:gd name="connsiteY219" fmla="*/ 33338 h 101600"/>
                  <a:gd name="connsiteX220" fmla="*/ 715963 w 1270000"/>
                  <a:gd name="connsiteY220" fmla="*/ 32067 h 101600"/>
                  <a:gd name="connsiteX221" fmla="*/ 722313 w 1270000"/>
                  <a:gd name="connsiteY221" fmla="*/ 33973 h 101600"/>
                  <a:gd name="connsiteX222" fmla="*/ 724535 w 1270000"/>
                  <a:gd name="connsiteY222" fmla="*/ 40323 h 101600"/>
                  <a:gd name="connsiteX223" fmla="*/ 724535 w 1270000"/>
                  <a:gd name="connsiteY223" fmla="*/ 42863 h 101600"/>
                  <a:gd name="connsiteX224" fmla="*/ 715010 w 1270000"/>
                  <a:gd name="connsiteY224" fmla="*/ 43180 h 101600"/>
                  <a:gd name="connsiteX225" fmla="*/ 696277 w 1270000"/>
                  <a:gd name="connsiteY225" fmla="*/ 47942 h 101600"/>
                  <a:gd name="connsiteX226" fmla="*/ 689927 w 1270000"/>
                  <a:gd name="connsiteY226" fmla="*/ 60960 h 101600"/>
                  <a:gd name="connsiteX227" fmla="*/ 694690 w 1270000"/>
                  <a:gd name="connsiteY227" fmla="*/ 74295 h 101600"/>
                  <a:gd name="connsiteX228" fmla="*/ 707073 w 1270000"/>
                  <a:gd name="connsiteY228" fmla="*/ 78423 h 101600"/>
                  <a:gd name="connsiteX229" fmla="*/ 717868 w 1270000"/>
                  <a:gd name="connsiteY229" fmla="*/ 76517 h 101600"/>
                  <a:gd name="connsiteX230" fmla="*/ 725488 w 1270000"/>
                  <a:gd name="connsiteY230" fmla="*/ 70167 h 101600"/>
                  <a:gd name="connsiteX231" fmla="*/ 725805 w 1270000"/>
                  <a:gd name="connsiteY231" fmla="*/ 70167 h 101600"/>
                  <a:gd name="connsiteX232" fmla="*/ 728663 w 1270000"/>
                  <a:gd name="connsiteY232" fmla="*/ 77788 h 101600"/>
                  <a:gd name="connsiteX233" fmla="*/ 739140 w 1270000"/>
                  <a:gd name="connsiteY233" fmla="*/ 77788 h 101600"/>
                  <a:gd name="connsiteX234" fmla="*/ 739140 w 1270000"/>
                  <a:gd name="connsiteY234" fmla="*/ 40958 h 101600"/>
                  <a:gd name="connsiteX235" fmla="*/ 733108 w 1270000"/>
                  <a:gd name="connsiteY235" fmla="*/ 26035 h 101600"/>
                  <a:gd name="connsiteX236" fmla="*/ 715963 w 1270000"/>
                  <a:gd name="connsiteY236" fmla="*/ 21273 h 101600"/>
                  <a:gd name="connsiteX237" fmla="*/ 705168 w 1270000"/>
                  <a:gd name="connsiteY237" fmla="*/ 22542 h 101600"/>
                  <a:gd name="connsiteX238" fmla="*/ 664845 w 1270000"/>
                  <a:gd name="connsiteY238" fmla="*/ 35560 h 101600"/>
                  <a:gd name="connsiteX239" fmla="*/ 667385 w 1270000"/>
                  <a:gd name="connsiteY239" fmla="*/ 43815 h 101600"/>
                  <a:gd name="connsiteX240" fmla="*/ 646113 w 1270000"/>
                  <a:gd name="connsiteY240" fmla="*/ 43815 h 101600"/>
                  <a:gd name="connsiteX241" fmla="*/ 649605 w 1270000"/>
                  <a:gd name="connsiteY241" fmla="*/ 34925 h 101600"/>
                  <a:gd name="connsiteX242" fmla="*/ 656908 w 1270000"/>
                  <a:gd name="connsiteY242" fmla="*/ 32067 h 101600"/>
                  <a:gd name="connsiteX243" fmla="*/ 664845 w 1270000"/>
                  <a:gd name="connsiteY243" fmla="*/ 35560 h 101600"/>
                  <a:gd name="connsiteX244" fmla="*/ 642938 w 1270000"/>
                  <a:gd name="connsiteY244" fmla="*/ 24765 h 101600"/>
                  <a:gd name="connsiteX245" fmla="*/ 633730 w 1270000"/>
                  <a:gd name="connsiteY245" fmla="*/ 34608 h 101600"/>
                  <a:gd name="connsiteX246" fmla="*/ 630555 w 1270000"/>
                  <a:gd name="connsiteY246" fmla="*/ 50800 h 101600"/>
                  <a:gd name="connsiteX247" fmla="*/ 634365 w 1270000"/>
                  <a:gd name="connsiteY247" fmla="*/ 66675 h 101600"/>
                  <a:gd name="connsiteX248" fmla="*/ 644525 w 1270000"/>
                  <a:gd name="connsiteY248" fmla="*/ 75883 h 101600"/>
                  <a:gd name="connsiteX249" fmla="*/ 659130 w 1270000"/>
                  <a:gd name="connsiteY249" fmla="*/ 79058 h 101600"/>
                  <a:gd name="connsiteX250" fmla="*/ 669925 w 1270000"/>
                  <a:gd name="connsiteY250" fmla="*/ 78105 h 101600"/>
                  <a:gd name="connsiteX251" fmla="*/ 678498 w 1270000"/>
                  <a:gd name="connsiteY251" fmla="*/ 75248 h 101600"/>
                  <a:gd name="connsiteX252" fmla="*/ 678498 w 1270000"/>
                  <a:gd name="connsiteY252" fmla="*/ 63500 h 101600"/>
                  <a:gd name="connsiteX253" fmla="*/ 669290 w 1270000"/>
                  <a:gd name="connsiteY253" fmla="*/ 66675 h 101600"/>
                  <a:gd name="connsiteX254" fmla="*/ 659448 w 1270000"/>
                  <a:gd name="connsiteY254" fmla="*/ 67627 h 101600"/>
                  <a:gd name="connsiteX255" fmla="*/ 649288 w 1270000"/>
                  <a:gd name="connsiteY255" fmla="*/ 63817 h 101600"/>
                  <a:gd name="connsiteX256" fmla="*/ 645477 w 1270000"/>
                  <a:gd name="connsiteY256" fmla="*/ 53658 h 101600"/>
                  <a:gd name="connsiteX257" fmla="*/ 681673 w 1270000"/>
                  <a:gd name="connsiteY257" fmla="*/ 53658 h 101600"/>
                  <a:gd name="connsiteX258" fmla="*/ 681673 w 1270000"/>
                  <a:gd name="connsiteY258" fmla="*/ 46355 h 101600"/>
                  <a:gd name="connsiteX259" fmla="*/ 675005 w 1270000"/>
                  <a:gd name="connsiteY259" fmla="*/ 27623 h 101600"/>
                  <a:gd name="connsiteX260" fmla="*/ 656908 w 1270000"/>
                  <a:gd name="connsiteY260" fmla="*/ 20955 h 101600"/>
                  <a:gd name="connsiteX261" fmla="*/ 642938 w 1270000"/>
                  <a:gd name="connsiteY261" fmla="*/ 24765 h 101600"/>
                  <a:gd name="connsiteX262" fmla="*/ 618173 w 1270000"/>
                  <a:gd name="connsiteY262" fmla="*/ 635 h 101600"/>
                  <a:gd name="connsiteX263" fmla="*/ 602933 w 1270000"/>
                  <a:gd name="connsiteY263" fmla="*/ 635 h 101600"/>
                  <a:gd name="connsiteX264" fmla="*/ 602933 w 1270000"/>
                  <a:gd name="connsiteY264" fmla="*/ 77788 h 101600"/>
                  <a:gd name="connsiteX265" fmla="*/ 618173 w 1270000"/>
                  <a:gd name="connsiteY265" fmla="*/ 77788 h 101600"/>
                  <a:gd name="connsiteX266" fmla="*/ 618173 w 1270000"/>
                  <a:gd name="connsiteY266" fmla="*/ 635 h 101600"/>
                  <a:gd name="connsiteX267" fmla="*/ 531495 w 1270000"/>
                  <a:gd name="connsiteY267" fmla="*/ 23177 h 101600"/>
                  <a:gd name="connsiteX268" fmla="*/ 524193 w 1270000"/>
                  <a:gd name="connsiteY268" fmla="*/ 29527 h 101600"/>
                  <a:gd name="connsiteX269" fmla="*/ 523240 w 1270000"/>
                  <a:gd name="connsiteY269" fmla="*/ 29527 h 101600"/>
                  <a:gd name="connsiteX270" fmla="*/ 521335 w 1270000"/>
                  <a:gd name="connsiteY270" fmla="*/ 22542 h 101600"/>
                  <a:gd name="connsiteX271" fmla="*/ 509905 w 1270000"/>
                  <a:gd name="connsiteY271" fmla="*/ 22542 h 101600"/>
                  <a:gd name="connsiteX272" fmla="*/ 509905 w 1270000"/>
                  <a:gd name="connsiteY272" fmla="*/ 78105 h 101600"/>
                  <a:gd name="connsiteX273" fmla="*/ 525145 w 1270000"/>
                  <a:gd name="connsiteY273" fmla="*/ 78105 h 101600"/>
                  <a:gd name="connsiteX274" fmla="*/ 525145 w 1270000"/>
                  <a:gd name="connsiteY274" fmla="*/ 52070 h 101600"/>
                  <a:gd name="connsiteX275" fmla="*/ 527685 w 1270000"/>
                  <a:gd name="connsiteY275" fmla="*/ 38417 h 101600"/>
                  <a:gd name="connsiteX276" fmla="*/ 537210 w 1270000"/>
                  <a:gd name="connsiteY276" fmla="*/ 33655 h 101600"/>
                  <a:gd name="connsiteX277" fmla="*/ 543877 w 1270000"/>
                  <a:gd name="connsiteY277" fmla="*/ 36513 h 101600"/>
                  <a:gd name="connsiteX278" fmla="*/ 546100 w 1270000"/>
                  <a:gd name="connsiteY278" fmla="*/ 45402 h 101600"/>
                  <a:gd name="connsiteX279" fmla="*/ 546100 w 1270000"/>
                  <a:gd name="connsiteY279" fmla="*/ 77788 h 101600"/>
                  <a:gd name="connsiteX280" fmla="*/ 561340 w 1270000"/>
                  <a:gd name="connsiteY280" fmla="*/ 77788 h 101600"/>
                  <a:gd name="connsiteX281" fmla="*/ 561340 w 1270000"/>
                  <a:gd name="connsiteY281" fmla="*/ 41592 h 101600"/>
                  <a:gd name="connsiteX282" fmla="*/ 555943 w 1270000"/>
                  <a:gd name="connsiteY282" fmla="*/ 26035 h 101600"/>
                  <a:gd name="connsiteX283" fmla="*/ 541655 w 1270000"/>
                  <a:gd name="connsiteY283" fmla="*/ 21273 h 101600"/>
                  <a:gd name="connsiteX284" fmla="*/ 531495 w 1270000"/>
                  <a:gd name="connsiteY284" fmla="*/ 23177 h 101600"/>
                  <a:gd name="connsiteX285" fmla="*/ 480377 w 1270000"/>
                  <a:gd name="connsiteY285" fmla="*/ 35560 h 101600"/>
                  <a:gd name="connsiteX286" fmla="*/ 482918 w 1270000"/>
                  <a:gd name="connsiteY286" fmla="*/ 43815 h 101600"/>
                  <a:gd name="connsiteX287" fmla="*/ 461645 w 1270000"/>
                  <a:gd name="connsiteY287" fmla="*/ 43815 h 101600"/>
                  <a:gd name="connsiteX288" fmla="*/ 465138 w 1270000"/>
                  <a:gd name="connsiteY288" fmla="*/ 34925 h 101600"/>
                  <a:gd name="connsiteX289" fmla="*/ 472440 w 1270000"/>
                  <a:gd name="connsiteY289" fmla="*/ 32067 h 101600"/>
                  <a:gd name="connsiteX290" fmla="*/ 480377 w 1270000"/>
                  <a:gd name="connsiteY290" fmla="*/ 35560 h 101600"/>
                  <a:gd name="connsiteX291" fmla="*/ 458788 w 1270000"/>
                  <a:gd name="connsiteY291" fmla="*/ 24765 h 101600"/>
                  <a:gd name="connsiteX292" fmla="*/ 449580 w 1270000"/>
                  <a:gd name="connsiteY292" fmla="*/ 34608 h 101600"/>
                  <a:gd name="connsiteX293" fmla="*/ 446405 w 1270000"/>
                  <a:gd name="connsiteY293" fmla="*/ 50800 h 101600"/>
                  <a:gd name="connsiteX294" fmla="*/ 450215 w 1270000"/>
                  <a:gd name="connsiteY294" fmla="*/ 66675 h 101600"/>
                  <a:gd name="connsiteX295" fmla="*/ 460375 w 1270000"/>
                  <a:gd name="connsiteY295" fmla="*/ 75883 h 101600"/>
                  <a:gd name="connsiteX296" fmla="*/ 474980 w 1270000"/>
                  <a:gd name="connsiteY296" fmla="*/ 79058 h 101600"/>
                  <a:gd name="connsiteX297" fmla="*/ 485775 w 1270000"/>
                  <a:gd name="connsiteY297" fmla="*/ 78105 h 101600"/>
                  <a:gd name="connsiteX298" fmla="*/ 494348 w 1270000"/>
                  <a:gd name="connsiteY298" fmla="*/ 75248 h 101600"/>
                  <a:gd name="connsiteX299" fmla="*/ 494348 w 1270000"/>
                  <a:gd name="connsiteY299" fmla="*/ 63500 h 101600"/>
                  <a:gd name="connsiteX300" fmla="*/ 485140 w 1270000"/>
                  <a:gd name="connsiteY300" fmla="*/ 66675 h 101600"/>
                  <a:gd name="connsiteX301" fmla="*/ 475298 w 1270000"/>
                  <a:gd name="connsiteY301" fmla="*/ 67627 h 101600"/>
                  <a:gd name="connsiteX302" fmla="*/ 465138 w 1270000"/>
                  <a:gd name="connsiteY302" fmla="*/ 63817 h 101600"/>
                  <a:gd name="connsiteX303" fmla="*/ 461327 w 1270000"/>
                  <a:gd name="connsiteY303" fmla="*/ 53658 h 101600"/>
                  <a:gd name="connsiteX304" fmla="*/ 497523 w 1270000"/>
                  <a:gd name="connsiteY304" fmla="*/ 53658 h 101600"/>
                  <a:gd name="connsiteX305" fmla="*/ 497523 w 1270000"/>
                  <a:gd name="connsiteY305" fmla="*/ 46355 h 101600"/>
                  <a:gd name="connsiteX306" fmla="*/ 490855 w 1270000"/>
                  <a:gd name="connsiteY306" fmla="*/ 27623 h 101600"/>
                  <a:gd name="connsiteX307" fmla="*/ 472758 w 1270000"/>
                  <a:gd name="connsiteY307" fmla="*/ 20955 h 101600"/>
                  <a:gd name="connsiteX308" fmla="*/ 458788 w 1270000"/>
                  <a:gd name="connsiteY308" fmla="*/ 24765 h 101600"/>
                  <a:gd name="connsiteX309" fmla="*/ 382905 w 1270000"/>
                  <a:gd name="connsiteY309" fmla="*/ 635 h 101600"/>
                  <a:gd name="connsiteX310" fmla="*/ 382905 w 1270000"/>
                  <a:gd name="connsiteY310" fmla="*/ 77788 h 101600"/>
                  <a:gd name="connsiteX311" fmla="*/ 398145 w 1270000"/>
                  <a:gd name="connsiteY311" fmla="*/ 77788 h 101600"/>
                  <a:gd name="connsiteX312" fmla="*/ 398145 w 1270000"/>
                  <a:gd name="connsiteY312" fmla="*/ 51752 h 101600"/>
                  <a:gd name="connsiteX313" fmla="*/ 400685 w 1270000"/>
                  <a:gd name="connsiteY313" fmla="*/ 38100 h 101600"/>
                  <a:gd name="connsiteX314" fmla="*/ 410210 w 1270000"/>
                  <a:gd name="connsiteY314" fmla="*/ 33338 h 101600"/>
                  <a:gd name="connsiteX315" fmla="*/ 419100 w 1270000"/>
                  <a:gd name="connsiteY315" fmla="*/ 45402 h 101600"/>
                  <a:gd name="connsiteX316" fmla="*/ 419100 w 1270000"/>
                  <a:gd name="connsiteY316" fmla="*/ 77788 h 101600"/>
                  <a:gd name="connsiteX317" fmla="*/ 434340 w 1270000"/>
                  <a:gd name="connsiteY317" fmla="*/ 77788 h 101600"/>
                  <a:gd name="connsiteX318" fmla="*/ 434340 w 1270000"/>
                  <a:gd name="connsiteY318" fmla="*/ 41592 h 101600"/>
                  <a:gd name="connsiteX319" fmla="*/ 428943 w 1270000"/>
                  <a:gd name="connsiteY319" fmla="*/ 26035 h 101600"/>
                  <a:gd name="connsiteX320" fmla="*/ 414655 w 1270000"/>
                  <a:gd name="connsiteY320" fmla="*/ 21273 h 101600"/>
                  <a:gd name="connsiteX321" fmla="*/ 405448 w 1270000"/>
                  <a:gd name="connsiteY321" fmla="*/ 23177 h 101600"/>
                  <a:gd name="connsiteX322" fmla="*/ 398780 w 1270000"/>
                  <a:gd name="connsiteY322" fmla="*/ 29527 h 101600"/>
                  <a:gd name="connsiteX323" fmla="*/ 397827 w 1270000"/>
                  <a:gd name="connsiteY323" fmla="*/ 29527 h 101600"/>
                  <a:gd name="connsiteX324" fmla="*/ 398145 w 1270000"/>
                  <a:gd name="connsiteY324" fmla="*/ 24448 h 101600"/>
                  <a:gd name="connsiteX325" fmla="*/ 398463 w 1270000"/>
                  <a:gd name="connsiteY325" fmla="*/ 16510 h 101600"/>
                  <a:gd name="connsiteX326" fmla="*/ 398463 w 1270000"/>
                  <a:gd name="connsiteY326" fmla="*/ 635 h 101600"/>
                  <a:gd name="connsiteX327" fmla="*/ 382905 w 1270000"/>
                  <a:gd name="connsiteY327" fmla="*/ 635 h 101600"/>
                  <a:gd name="connsiteX328" fmla="*/ 357505 w 1270000"/>
                  <a:gd name="connsiteY328" fmla="*/ 65088 h 101600"/>
                  <a:gd name="connsiteX329" fmla="*/ 355600 w 1270000"/>
                  <a:gd name="connsiteY329" fmla="*/ 60325 h 101600"/>
                  <a:gd name="connsiteX330" fmla="*/ 355600 w 1270000"/>
                  <a:gd name="connsiteY330" fmla="*/ 33655 h 101600"/>
                  <a:gd name="connsiteX331" fmla="*/ 371158 w 1270000"/>
                  <a:gd name="connsiteY331" fmla="*/ 33655 h 101600"/>
                  <a:gd name="connsiteX332" fmla="*/ 371158 w 1270000"/>
                  <a:gd name="connsiteY332" fmla="*/ 22225 h 101600"/>
                  <a:gd name="connsiteX333" fmla="*/ 355600 w 1270000"/>
                  <a:gd name="connsiteY333" fmla="*/ 22225 h 101600"/>
                  <a:gd name="connsiteX334" fmla="*/ 355600 w 1270000"/>
                  <a:gd name="connsiteY334" fmla="*/ 10477 h 101600"/>
                  <a:gd name="connsiteX335" fmla="*/ 346075 w 1270000"/>
                  <a:gd name="connsiteY335" fmla="*/ 10477 h 101600"/>
                  <a:gd name="connsiteX336" fmla="*/ 341630 w 1270000"/>
                  <a:gd name="connsiteY336" fmla="*/ 22225 h 101600"/>
                  <a:gd name="connsiteX337" fmla="*/ 333375 w 1270000"/>
                  <a:gd name="connsiteY337" fmla="*/ 27305 h 101600"/>
                  <a:gd name="connsiteX338" fmla="*/ 333375 w 1270000"/>
                  <a:gd name="connsiteY338" fmla="*/ 33655 h 101600"/>
                  <a:gd name="connsiteX339" fmla="*/ 340677 w 1270000"/>
                  <a:gd name="connsiteY339" fmla="*/ 33655 h 101600"/>
                  <a:gd name="connsiteX340" fmla="*/ 340677 w 1270000"/>
                  <a:gd name="connsiteY340" fmla="*/ 60325 h 101600"/>
                  <a:gd name="connsiteX341" fmla="*/ 342900 w 1270000"/>
                  <a:gd name="connsiteY341" fmla="*/ 71438 h 101600"/>
                  <a:gd name="connsiteX342" fmla="*/ 349250 w 1270000"/>
                  <a:gd name="connsiteY342" fmla="*/ 77152 h 101600"/>
                  <a:gd name="connsiteX343" fmla="*/ 358140 w 1270000"/>
                  <a:gd name="connsiteY343" fmla="*/ 78740 h 101600"/>
                  <a:gd name="connsiteX344" fmla="*/ 366077 w 1270000"/>
                  <a:gd name="connsiteY344" fmla="*/ 78105 h 101600"/>
                  <a:gd name="connsiteX345" fmla="*/ 372110 w 1270000"/>
                  <a:gd name="connsiteY345" fmla="*/ 76200 h 101600"/>
                  <a:gd name="connsiteX346" fmla="*/ 372110 w 1270000"/>
                  <a:gd name="connsiteY346" fmla="*/ 64770 h 101600"/>
                  <a:gd name="connsiteX347" fmla="*/ 367348 w 1270000"/>
                  <a:gd name="connsiteY347" fmla="*/ 66040 h 101600"/>
                  <a:gd name="connsiteX348" fmla="*/ 362585 w 1270000"/>
                  <a:gd name="connsiteY348" fmla="*/ 66358 h 101600"/>
                  <a:gd name="connsiteX349" fmla="*/ 357505 w 1270000"/>
                  <a:gd name="connsiteY349" fmla="*/ 65088 h 101600"/>
                  <a:gd name="connsiteX350" fmla="*/ 306070 w 1270000"/>
                  <a:gd name="connsiteY350" fmla="*/ 37465 h 101600"/>
                  <a:gd name="connsiteX351" fmla="*/ 308927 w 1270000"/>
                  <a:gd name="connsiteY351" fmla="*/ 50165 h 101600"/>
                  <a:gd name="connsiteX352" fmla="*/ 308927 w 1270000"/>
                  <a:gd name="connsiteY352" fmla="*/ 52070 h 101600"/>
                  <a:gd name="connsiteX353" fmla="*/ 306070 w 1270000"/>
                  <a:gd name="connsiteY353" fmla="*/ 63500 h 101600"/>
                  <a:gd name="connsiteX354" fmla="*/ 297498 w 1270000"/>
                  <a:gd name="connsiteY354" fmla="*/ 66675 h 101600"/>
                  <a:gd name="connsiteX355" fmla="*/ 286702 w 1270000"/>
                  <a:gd name="connsiteY355" fmla="*/ 50165 h 101600"/>
                  <a:gd name="connsiteX356" fmla="*/ 297498 w 1270000"/>
                  <a:gd name="connsiteY356" fmla="*/ 33338 h 101600"/>
                  <a:gd name="connsiteX357" fmla="*/ 306070 w 1270000"/>
                  <a:gd name="connsiteY357" fmla="*/ 37465 h 101600"/>
                  <a:gd name="connsiteX358" fmla="*/ 276860 w 1270000"/>
                  <a:gd name="connsiteY358" fmla="*/ 28892 h 101600"/>
                  <a:gd name="connsiteX359" fmla="*/ 271145 w 1270000"/>
                  <a:gd name="connsiteY359" fmla="*/ 50165 h 101600"/>
                  <a:gd name="connsiteX360" fmla="*/ 276543 w 1270000"/>
                  <a:gd name="connsiteY360" fmla="*/ 71120 h 101600"/>
                  <a:gd name="connsiteX361" fmla="*/ 291783 w 1270000"/>
                  <a:gd name="connsiteY361" fmla="*/ 78740 h 101600"/>
                  <a:gd name="connsiteX362" fmla="*/ 300673 w 1270000"/>
                  <a:gd name="connsiteY362" fmla="*/ 76835 h 101600"/>
                  <a:gd name="connsiteX363" fmla="*/ 307340 w 1270000"/>
                  <a:gd name="connsiteY363" fmla="*/ 70485 h 101600"/>
                  <a:gd name="connsiteX364" fmla="*/ 307658 w 1270000"/>
                  <a:gd name="connsiteY364" fmla="*/ 70485 h 101600"/>
                  <a:gd name="connsiteX365" fmla="*/ 307340 w 1270000"/>
                  <a:gd name="connsiteY365" fmla="*/ 73660 h 101600"/>
                  <a:gd name="connsiteX366" fmla="*/ 307340 w 1270000"/>
                  <a:gd name="connsiteY366" fmla="*/ 77152 h 101600"/>
                  <a:gd name="connsiteX367" fmla="*/ 307340 w 1270000"/>
                  <a:gd name="connsiteY367" fmla="*/ 78423 h 101600"/>
                  <a:gd name="connsiteX368" fmla="*/ 295593 w 1270000"/>
                  <a:gd name="connsiteY368" fmla="*/ 91123 h 101600"/>
                  <a:gd name="connsiteX369" fmla="*/ 274002 w 1270000"/>
                  <a:gd name="connsiteY369" fmla="*/ 86995 h 101600"/>
                  <a:gd name="connsiteX370" fmla="*/ 274002 w 1270000"/>
                  <a:gd name="connsiteY370" fmla="*/ 99060 h 101600"/>
                  <a:gd name="connsiteX371" fmla="*/ 283845 w 1270000"/>
                  <a:gd name="connsiteY371" fmla="*/ 101600 h 101600"/>
                  <a:gd name="connsiteX372" fmla="*/ 294640 w 1270000"/>
                  <a:gd name="connsiteY372" fmla="*/ 102235 h 101600"/>
                  <a:gd name="connsiteX373" fmla="*/ 315277 w 1270000"/>
                  <a:gd name="connsiteY373" fmla="*/ 95885 h 101600"/>
                  <a:gd name="connsiteX374" fmla="*/ 322263 w 1270000"/>
                  <a:gd name="connsiteY374" fmla="*/ 77788 h 101600"/>
                  <a:gd name="connsiteX375" fmla="*/ 322263 w 1270000"/>
                  <a:gd name="connsiteY375" fmla="*/ 22225 h 101600"/>
                  <a:gd name="connsiteX376" fmla="*/ 309563 w 1270000"/>
                  <a:gd name="connsiteY376" fmla="*/ 22225 h 101600"/>
                  <a:gd name="connsiteX377" fmla="*/ 308293 w 1270000"/>
                  <a:gd name="connsiteY377" fmla="*/ 29210 h 101600"/>
                  <a:gd name="connsiteX378" fmla="*/ 307975 w 1270000"/>
                  <a:gd name="connsiteY378" fmla="*/ 29210 h 101600"/>
                  <a:gd name="connsiteX379" fmla="*/ 291783 w 1270000"/>
                  <a:gd name="connsiteY379" fmla="*/ 20955 h 101600"/>
                  <a:gd name="connsiteX380" fmla="*/ 276860 w 1270000"/>
                  <a:gd name="connsiteY380" fmla="*/ 28892 h 101600"/>
                  <a:gd name="connsiteX381" fmla="*/ 229552 w 1270000"/>
                  <a:gd name="connsiteY381" fmla="*/ 23177 h 101600"/>
                  <a:gd name="connsiteX382" fmla="*/ 222250 w 1270000"/>
                  <a:gd name="connsiteY382" fmla="*/ 29527 h 101600"/>
                  <a:gd name="connsiteX383" fmla="*/ 221298 w 1270000"/>
                  <a:gd name="connsiteY383" fmla="*/ 29527 h 101600"/>
                  <a:gd name="connsiteX384" fmla="*/ 219393 w 1270000"/>
                  <a:gd name="connsiteY384" fmla="*/ 22542 h 101600"/>
                  <a:gd name="connsiteX385" fmla="*/ 207963 w 1270000"/>
                  <a:gd name="connsiteY385" fmla="*/ 22542 h 101600"/>
                  <a:gd name="connsiteX386" fmla="*/ 207963 w 1270000"/>
                  <a:gd name="connsiteY386" fmla="*/ 78105 h 101600"/>
                  <a:gd name="connsiteX387" fmla="*/ 223202 w 1270000"/>
                  <a:gd name="connsiteY387" fmla="*/ 78105 h 101600"/>
                  <a:gd name="connsiteX388" fmla="*/ 223202 w 1270000"/>
                  <a:gd name="connsiteY388" fmla="*/ 52070 h 101600"/>
                  <a:gd name="connsiteX389" fmla="*/ 225743 w 1270000"/>
                  <a:gd name="connsiteY389" fmla="*/ 38417 h 101600"/>
                  <a:gd name="connsiteX390" fmla="*/ 235268 w 1270000"/>
                  <a:gd name="connsiteY390" fmla="*/ 33655 h 101600"/>
                  <a:gd name="connsiteX391" fmla="*/ 241935 w 1270000"/>
                  <a:gd name="connsiteY391" fmla="*/ 36513 h 101600"/>
                  <a:gd name="connsiteX392" fmla="*/ 244158 w 1270000"/>
                  <a:gd name="connsiteY392" fmla="*/ 45402 h 101600"/>
                  <a:gd name="connsiteX393" fmla="*/ 244158 w 1270000"/>
                  <a:gd name="connsiteY393" fmla="*/ 77788 h 101600"/>
                  <a:gd name="connsiteX394" fmla="*/ 259398 w 1270000"/>
                  <a:gd name="connsiteY394" fmla="*/ 77788 h 101600"/>
                  <a:gd name="connsiteX395" fmla="*/ 259398 w 1270000"/>
                  <a:gd name="connsiteY395" fmla="*/ 41592 h 101600"/>
                  <a:gd name="connsiteX396" fmla="*/ 254000 w 1270000"/>
                  <a:gd name="connsiteY396" fmla="*/ 26035 h 101600"/>
                  <a:gd name="connsiteX397" fmla="*/ 239713 w 1270000"/>
                  <a:gd name="connsiteY397" fmla="*/ 21273 h 101600"/>
                  <a:gd name="connsiteX398" fmla="*/ 229552 w 1270000"/>
                  <a:gd name="connsiteY398" fmla="*/ 23177 h 101600"/>
                  <a:gd name="connsiteX399" fmla="*/ 178435 w 1270000"/>
                  <a:gd name="connsiteY399" fmla="*/ 35560 h 101600"/>
                  <a:gd name="connsiteX400" fmla="*/ 180975 w 1270000"/>
                  <a:gd name="connsiteY400" fmla="*/ 43815 h 101600"/>
                  <a:gd name="connsiteX401" fmla="*/ 159702 w 1270000"/>
                  <a:gd name="connsiteY401" fmla="*/ 43815 h 101600"/>
                  <a:gd name="connsiteX402" fmla="*/ 163195 w 1270000"/>
                  <a:gd name="connsiteY402" fmla="*/ 34925 h 101600"/>
                  <a:gd name="connsiteX403" fmla="*/ 170498 w 1270000"/>
                  <a:gd name="connsiteY403" fmla="*/ 32067 h 101600"/>
                  <a:gd name="connsiteX404" fmla="*/ 178435 w 1270000"/>
                  <a:gd name="connsiteY404" fmla="*/ 35560 h 101600"/>
                  <a:gd name="connsiteX405" fmla="*/ 156845 w 1270000"/>
                  <a:gd name="connsiteY405" fmla="*/ 24765 h 101600"/>
                  <a:gd name="connsiteX406" fmla="*/ 147638 w 1270000"/>
                  <a:gd name="connsiteY406" fmla="*/ 34608 h 101600"/>
                  <a:gd name="connsiteX407" fmla="*/ 144463 w 1270000"/>
                  <a:gd name="connsiteY407" fmla="*/ 50800 h 101600"/>
                  <a:gd name="connsiteX408" fmla="*/ 148273 w 1270000"/>
                  <a:gd name="connsiteY408" fmla="*/ 66675 h 101600"/>
                  <a:gd name="connsiteX409" fmla="*/ 158433 w 1270000"/>
                  <a:gd name="connsiteY409" fmla="*/ 75883 h 101600"/>
                  <a:gd name="connsiteX410" fmla="*/ 173038 w 1270000"/>
                  <a:gd name="connsiteY410" fmla="*/ 79058 h 101600"/>
                  <a:gd name="connsiteX411" fmla="*/ 183833 w 1270000"/>
                  <a:gd name="connsiteY411" fmla="*/ 78105 h 101600"/>
                  <a:gd name="connsiteX412" fmla="*/ 192405 w 1270000"/>
                  <a:gd name="connsiteY412" fmla="*/ 75248 h 101600"/>
                  <a:gd name="connsiteX413" fmla="*/ 192405 w 1270000"/>
                  <a:gd name="connsiteY413" fmla="*/ 63500 h 101600"/>
                  <a:gd name="connsiteX414" fmla="*/ 183198 w 1270000"/>
                  <a:gd name="connsiteY414" fmla="*/ 66675 h 101600"/>
                  <a:gd name="connsiteX415" fmla="*/ 173355 w 1270000"/>
                  <a:gd name="connsiteY415" fmla="*/ 67627 h 101600"/>
                  <a:gd name="connsiteX416" fmla="*/ 163195 w 1270000"/>
                  <a:gd name="connsiteY416" fmla="*/ 63817 h 101600"/>
                  <a:gd name="connsiteX417" fmla="*/ 159385 w 1270000"/>
                  <a:gd name="connsiteY417" fmla="*/ 53658 h 101600"/>
                  <a:gd name="connsiteX418" fmla="*/ 195263 w 1270000"/>
                  <a:gd name="connsiteY418" fmla="*/ 53658 h 101600"/>
                  <a:gd name="connsiteX419" fmla="*/ 195263 w 1270000"/>
                  <a:gd name="connsiteY419" fmla="*/ 46355 h 101600"/>
                  <a:gd name="connsiteX420" fmla="*/ 188595 w 1270000"/>
                  <a:gd name="connsiteY420" fmla="*/ 27623 h 101600"/>
                  <a:gd name="connsiteX421" fmla="*/ 170498 w 1270000"/>
                  <a:gd name="connsiteY421" fmla="*/ 20955 h 101600"/>
                  <a:gd name="connsiteX422" fmla="*/ 156845 w 1270000"/>
                  <a:gd name="connsiteY422" fmla="*/ 24765 h 101600"/>
                  <a:gd name="connsiteX423" fmla="*/ 124777 w 1270000"/>
                  <a:gd name="connsiteY423" fmla="*/ 24448 h 101600"/>
                  <a:gd name="connsiteX424" fmla="*/ 118110 w 1270000"/>
                  <a:gd name="connsiteY424" fmla="*/ 31750 h 101600"/>
                  <a:gd name="connsiteX425" fmla="*/ 117475 w 1270000"/>
                  <a:gd name="connsiteY425" fmla="*/ 31750 h 101600"/>
                  <a:gd name="connsiteX426" fmla="*/ 115252 w 1270000"/>
                  <a:gd name="connsiteY426" fmla="*/ 22542 h 101600"/>
                  <a:gd name="connsiteX427" fmla="*/ 103823 w 1270000"/>
                  <a:gd name="connsiteY427" fmla="*/ 22542 h 101600"/>
                  <a:gd name="connsiteX428" fmla="*/ 103823 w 1270000"/>
                  <a:gd name="connsiteY428" fmla="*/ 78105 h 101600"/>
                  <a:gd name="connsiteX429" fmla="*/ 119063 w 1270000"/>
                  <a:gd name="connsiteY429" fmla="*/ 78105 h 101600"/>
                  <a:gd name="connsiteX430" fmla="*/ 119063 w 1270000"/>
                  <a:gd name="connsiteY430" fmla="*/ 49848 h 101600"/>
                  <a:gd name="connsiteX431" fmla="*/ 121285 w 1270000"/>
                  <a:gd name="connsiteY431" fmla="*/ 41592 h 101600"/>
                  <a:gd name="connsiteX432" fmla="*/ 127000 w 1270000"/>
                  <a:gd name="connsiteY432" fmla="*/ 37148 h 101600"/>
                  <a:gd name="connsiteX433" fmla="*/ 134302 w 1270000"/>
                  <a:gd name="connsiteY433" fmla="*/ 35877 h 101600"/>
                  <a:gd name="connsiteX434" fmla="*/ 136525 w 1270000"/>
                  <a:gd name="connsiteY434" fmla="*/ 35877 h 101600"/>
                  <a:gd name="connsiteX435" fmla="*/ 138748 w 1270000"/>
                  <a:gd name="connsiteY435" fmla="*/ 36195 h 101600"/>
                  <a:gd name="connsiteX436" fmla="*/ 140018 w 1270000"/>
                  <a:gd name="connsiteY436" fmla="*/ 21908 h 101600"/>
                  <a:gd name="connsiteX437" fmla="*/ 137477 w 1270000"/>
                  <a:gd name="connsiteY437" fmla="*/ 21590 h 101600"/>
                  <a:gd name="connsiteX438" fmla="*/ 134938 w 1270000"/>
                  <a:gd name="connsiteY438" fmla="*/ 21590 h 101600"/>
                  <a:gd name="connsiteX439" fmla="*/ 124777 w 1270000"/>
                  <a:gd name="connsiteY439" fmla="*/ 24448 h 101600"/>
                  <a:gd name="connsiteX440" fmla="*/ 78105 w 1270000"/>
                  <a:gd name="connsiteY440" fmla="*/ 65088 h 101600"/>
                  <a:gd name="connsiteX441" fmla="*/ 76200 w 1270000"/>
                  <a:gd name="connsiteY441" fmla="*/ 60325 h 101600"/>
                  <a:gd name="connsiteX442" fmla="*/ 76200 w 1270000"/>
                  <a:gd name="connsiteY442" fmla="*/ 33655 h 101600"/>
                  <a:gd name="connsiteX443" fmla="*/ 91758 w 1270000"/>
                  <a:gd name="connsiteY443" fmla="*/ 33655 h 101600"/>
                  <a:gd name="connsiteX444" fmla="*/ 91758 w 1270000"/>
                  <a:gd name="connsiteY444" fmla="*/ 22225 h 101600"/>
                  <a:gd name="connsiteX445" fmla="*/ 76200 w 1270000"/>
                  <a:gd name="connsiteY445" fmla="*/ 22225 h 101600"/>
                  <a:gd name="connsiteX446" fmla="*/ 76200 w 1270000"/>
                  <a:gd name="connsiteY446" fmla="*/ 10477 h 101600"/>
                  <a:gd name="connsiteX447" fmla="*/ 66675 w 1270000"/>
                  <a:gd name="connsiteY447" fmla="*/ 10477 h 101600"/>
                  <a:gd name="connsiteX448" fmla="*/ 62230 w 1270000"/>
                  <a:gd name="connsiteY448" fmla="*/ 22225 h 101600"/>
                  <a:gd name="connsiteX449" fmla="*/ 53975 w 1270000"/>
                  <a:gd name="connsiteY449" fmla="*/ 27305 h 101600"/>
                  <a:gd name="connsiteX450" fmla="*/ 53975 w 1270000"/>
                  <a:gd name="connsiteY450" fmla="*/ 33655 h 101600"/>
                  <a:gd name="connsiteX451" fmla="*/ 61277 w 1270000"/>
                  <a:gd name="connsiteY451" fmla="*/ 33655 h 101600"/>
                  <a:gd name="connsiteX452" fmla="*/ 61277 w 1270000"/>
                  <a:gd name="connsiteY452" fmla="*/ 60325 h 101600"/>
                  <a:gd name="connsiteX453" fmla="*/ 63500 w 1270000"/>
                  <a:gd name="connsiteY453" fmla="*/ 71438 h 101600"/>
                  <a:gd name="connsiteX454" fmla="*/ 69850 w 1270000"/>
                  <a:gd name="connsiteY454" fmla="*/ 77152 h 101600"/>
                  <a:gd name="connsiteX455" fmla="*/ 78740 w 1270000"/>
                  <a:gd name="connsiteY455" fmla="*/ 78740 h 101600"/>
                  <a:gd name="connsiteX456" fmla="*/ 86677 w 1270000"/>
                  <a:gd name="connsiteY456" fmla="*/ 78105 h 101600"/>
                  <a:gd name="connsiteX457" fmla="*/ 92710 w 1270000"/>
                  <a:gd name="connsiteY457" fmla="*/ 76200 h 101600"/>
                  <a:gd name="connsiteX458" fmla="*/ 92710 w 1270000"/>
                  <a:gd name="connsiteY458" fmla="*/ 64770 h 101600"/>
                  <a:gd name="connsiteX459" fmla="*/ 87948 w 1270000"/>
                  <a:gd name="connsiteY459" fmla="*/ 66040 h 101600"/>
                  <a:gd name="connsiteX460" fmla="*/ 83185 w 1270000"/>
                  <a:gd name="connsiteY460" fmla="*/ 66358 h 101600"/>
                  <a:gd name="connsiteX461" fmla="*/ 78105 w 1270000"/>
                  <a:gd name="connsiteY461" fmla="*/ 65088 h 101600"/>
                  <a:gd name="connsiteX462" fmla="*/ 45402 w 1270000"/>
                  <a:gd name="connsiteY462" fmla="*/ 48260 h 101600"/>
                  <a:gd name="connsiteX463" fmla="*/ 39370 w 1270000"/>
                  <a:gd name="connsiteY463" fmla="*/ 41592 h 101600"/>
                  <a:gd name="connsiteX464" fmla="*/ 29845 w 1270000"/>
                  <a:gd name="connsiteY464" fmla="*/ 36195 h 101600"/>
                  <a:gd name="connsiteX465" fmla="*/ 19685 w 1270000"/>
                  <a:gd name="connsiteY465" fmla="*/ 30798 h 101600"/>
                  <a:gd name="connsiteX466" fmla="*/ 16193 w 1270000"/>
                  <a:gd name="connsiteY466" fmla="*/ 24765 h 101600"/>
                  <a:gd name="connsiteX467" fmla="*/ 18415 w 1270000"/>
                  <a:gd name="connsiteY467" fmla="*/ 19367 h 101600"/>
                  <a:gd name="connsiteX468" fmla="*/ 25083 w 1270000"/>
                  <a:gd name="connsiteY468" fmla="*/ 17463 h 101600"/>
                  <a:gd name="connsiteX469" fmla="*/ 33338 w 1270000"/>
                  <a:gd name="connsiteY469" fmla="*/ 18733 h 101600"/>
                  <a:gd name="connsiteX470" fmla="*/ 42227 w 1270000"/>
                  <a:gd name="connsiteY470" fmla="*/ 21908 h 101600"/>
                  <a:gd name="connsiteX471" fmla="*/ 47308 w 1270000"/>
                  <a:gd name="connsiteY471" fmla="*/ 9842 h 101600"/>
                  <a:gd name="connsiteX472" fmla="*/ 36513 w 1270000"/>
                  <a:gd name="connsiteY472" fmla="*/ 6033 h 101600"/>
                  <a:gd name="connsiteX473" fmla="*/ 25718 w 1270000"/>
                  <a:gd name="connsiteY473" fmla="*/ 4763 h 101600"/>
                  <a:gd name="connsiteX474" fmla="*/ 7620 w 1270000"/>
                  <a:gd name="connsiteY474" fmla="*/ 10160 h 101600"/>
                  <a:gd name="connsiteX475" fmla="*/ 952 w 1270000"/>
                  <a:gd name="connsiteY475" fmla="*/ 25400 h 101600"/>
                  <a:gd name="connsiteX476" fmla="*/ 2540 w 1270000"/>
                  <a:gd name="connsiteY476" fmla="*/ 33973 h 101600"/>
                  <a:gd name="connsiteX477" fmla="*/ 6985 w 1270000"/>
                  <a:gd name="connsiteY477" fmla="*/ 40005 h 101600"/>
                  <a:gd name="connsiteX478" fmla="*/ 12700 w 1270000"/>
                  <a:gd name="connsiteY478" fmla="*/ 44133 h 101600"/>
                  <a:gd name="connsiteX479" fmla="*/ 18098 w 1270000"/>
                  <a:gd name="connsiteY479" fmla="*/ 46990 h 101600"/>
                  <a:gd name="connsiteX480" fmla="*/ 25400 w 1270000"/>
                  <a:gd name="connsiteY480" fmla="*/ 50483 h 101600"/>
                  <a:gd name="connsiteX481" fmla="*/ 30480 w 1270000"/>
                  <a:gd name="connsiteY481" fmla="*/ 53975 h 101600"/>
                  <a:gd name="connsiteX482" fmla="*/ 32385 w 1270000"/>
                  <a:gd name="connsiteY482" fmla="*/ 58738 h 101600"/>
                  <a:gd name="connsiteX483" fmla="*/ 29845 w 1270000"/>
                  <a:gd name="connsiteY483" fmla="*/ 64135 h 101600"/>
                  <a:gd name="connsiteX484" fmla="*/ 21908 w 1270000"/>
                  <a:gd name="connsiteY484" fmla="*/ 66358 h 101600"/>
                  <a:gd name="connsiteX485" fmla="*/ 10795 w 1270000"/>
                  <a:gd name="connsiteY485" fmla="*/ 64452 h 101600"/>
                  <a:gd name="connsiteX486" fmla="*/ 0 w 1270000"/>
                  <a:gd name="connsiteY486" fmla="*/ 60325 h 101600"/>
                  <a:gd name="connsiteX487" fmla="*/ 0 w 1270000"/>
                  <a:gd name="connsiteY487" fmla="*/ 74613 h 101600"/>
                  <a:gd name="connsiteX488" fmla="*/ 20638 w 1270000"/>
                  <a:gd name="connsiteY488" fmla="*/ 79058 h 101600"/>
                  <a:gd name="connsiteX489" fmla="*/ 40323 w 1270000"/>
                  <a:gd name="connsiteY489" fmla="*/ 73342 h 101600"/>
                  <a:gd name="connsiteX490" fmla="*/ 47308 w 1270000"/>
                  <a:gd name="connsiteY490" fmla="*/ 58102 h 101600"/>
                  <a:gd name="connsiteX491" fmla="*/ 45402 w 1270000"/>
                  <a:gd name="connsiteY491" fmla="*/ 4826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Lst>
                <a:rect l="l" t="t" r="r" b="b"/>
                <a:pathLst>
                  <a:path w="1270000" h="101600">
                    <a:moveTo>
                      <a:pt x="1239838" y="77788"/>
                    </a:moveTo>
                    <a:lnTo>
                      <a:pt x="1237615" y="83820"/>
                    </a:lnTo>
                    <a:cubicBezTo>
                      <a:pt x="1236663" y="86677"/>
                      <a:pt x="1235075" y="89217"/>
                      <a:pt x="1233170" y="90805"/>
                    </a:cubicBezTo>
                    <a:cubicBezTo>
                      <a:pt x="1231265" y="92392"/>
                      <a:pt x="1228725" y="93345"/>
                      <a:pt x="1225550" y="93345"/>
                    </a:cubicBezTo>
                    <a:cubicBezTo>
                      <a:pt x="1224280" y="93345"/>
                      <a:pt x="1223328" y="93345"/>
                      <a:pt x="1222058" y="93027"/>
                    </a:cubicBezTo>
                    <a:cubicBezTo>
                      <a:pt x="1221105" y="93027"/>
                      <a:pt x="1220153" y="92710"/>
                      <a:pt x="1219518" y="92710"/>
                    </a:cubicBezTo>
                    <a:lnTo>
                      <a:pt x="1219518" y="101283"/>
                    </a:lnTo>
                    <a:cubicBezTo>
                      <a:pt x="1220470" y="101600"/>
                      <a:pt x="1221423" y="101600"/>
                      <a:pt x="1222693" y="101917"/>
                    </a:cubicBezTo>
                    <a:cubicBezTo>
                      <a:pt x="1223963" y="102235"/>
                      <a:pt x="1225233" y="102235"/>
                      <a:pt x="1227138" y="102235"/>
                    </a:cubicBezTo>
                    <a:cubicBezTo>
                      <a:pt x="1232535" y="102235"/>
                      <a:pt x="1236663" y="100648"/>
                      <a:pt x="1239838" y="97790"/>
                    </a:cubicBezTo>
                    <a:cubicBezTo>
                      <a:pt x="1243013" y="94933"/>
                      <a:pt x="1245870" y="90488"/>
                      <a:pt x="1247775" y="85408"/>
                    </a:cubicBezTo>
                    <a:lnTo>
                      <a:pt x="1271270" y="23177"/>
                    </a:lnTo>
                    <a:lnTo>
                      <a:pt x="1259840" y="23177"/>
                    </a:lnTo>
                    <a:lnTo>
                      <a:pt x="1249045" y="54292"/>
                    </a:lnTo>
                    <a:cubicBezTo>
                      <a:pt x="1248093" y="56833"/>
                      <a:pt x="1247458" y="59055"/>
                      <a:pt x="1246505" y="61595"/>
                    </a:cubicBezTo>
                    <a:cubicBezTo>
                      <a:pt x="1245553" y="64135"/>
                      <a:pt x="1245235" y="66040"/>
                      <a:pt x="1244918" y="67945"/>
                    </a:cubicBezTo>
                    <a:lnTo>
                      <a:pt x="1244600" y="67945"/>
                    </a:lnTo>
                    <a:cubicBezTo>
                      <a:pt x="1244283" y="65723"/>
                      <a:pt x="1243965" y="63500"/>
                      <a:pt x="1243330" y="61595"/>
                    </a:cubicBezTo>
                    <a:cubicBezTo>
                      <a:pt x="1242695" y="59373"/>
                      <a:pt x="1241743" y="57150"/>
                      <a:pt x="1241108" y="54927"/>
                    </a:cubicBezTo>
                    <a:lnTo>
                      <a:pt x="1229678" y="23813"/>
                    </a:lnTo>
                    <a:lnTo>
                      <a:pt x="1218248" y="23813"/>
                    </a:lnTo>
                    <a:lnTo>
                      <a:pt x="1239838" y="77788"/>
                    </a:lnTo>
                    <a:close/>
                    <a:moveTo>
                      <a:pt x="1203325" y="50165"/>
                    </a:moveTo>
                    <a:cubicBezTo>
                      <a:pt x="1203325" y="56515"/>
                      <a:pt x="1202373" y="61277"/>
                      <a:pt x="1200150" y="64770"/>
                    </a:cubicBezTo>
                    <a:cubicBezTo>
                      <a:pt x="1197928" y="68263"/>
                      <a:pt x="1194753" y="69850"/>
                      <a:pt x="1190308" y="69850"/>
                    </a:cubicBezTo>
                    <a:cubicBezTo>
                      <a:pt x="1184910" y="69850"/>
                      <a:pt x="1181100" y="68263"/>
                      <a:pt x="1179195" y="64770"/>
                    </a:cubicBezTo>
                    <a:cubicBezTo>
                      <a:pt x="1177290" y="61277"/>
                      <a:pt x="1176338" y="56515"/>
                      <a:pt x="1176338" y="50165"/>
                    </a:cubicBezTo>
                    <a:lnTo>
                      <a:pt x="1176338" y="49213"/>
                    </a:lnTo>
                    <a:cubicBezTo>
                      <a:pt x="1176338" y="42863"/>
                      <a:pt x="1177608" y="38100"/>
                      <a:pt x="1179513" y="34925"/>
                    </a:cubicBezTo>
                    <a:cubicBezTo>
                      <a:pt x="1181418" y="31750"/>
                      <a:pt x="1185228" y="30163"/>
                      <a:pt x="1190308" y="30163"/>
                    </a:cubicBezTo>
                    <a:cubicBezTo>
                      <a:pt x="1198880" y="30798"/>
                      <a:pt x="1203325" y="37465"/>
                      <a:pt x="1203325" y="50165"/>
                    </a:cubicBezTo>
                    <a:moveTo>
                      <a:pt x="1165225" y="635"/>
                    </a:moveTo>
                    <a:lnTo>
                      <a:pt x="1165225" y="77788"/>
                    </a:lnTo>
                    <a:lnTo>
                      <a:pt x="1173163" y="77788"/>
                    </a:lnTo>
                    <a:lnTo>
                      <a:pt x="1175068" y="71120"/>
                    </a:lnTo>
                    <a:lnTo>
                      <a:pt x="1176020" y="71120"/>
                    </a:lnTo>
                    <a:cubicBezTo>
                      <a:pt x="1177608" y="73342"/>
                      <a:pt x="1179513" y="74930"/>
                      <a:pt x="1182370" y="76517"/>
                    </a:cubicBezTo>
                    <a:cubicBezTo>
                      <a:pt x="1185228" y="78105"/>
                      <a:pt x="1188403" y="78740"/>
                      <a:pt x="1192530" y="78740"/>
                    </a:cubicBezTo>
                    <a:cubicBezTo>
                      <a:pt x="1199198" y="78740"/>
                      <a:pt x="1204278" y="76200"/>
                      <a:pt x="1208405" y="71438"/>
                    </a:cubicBezTo>
                    <a:cubicBezTo>
                      <a:pt x="1212533" y="66675"/>
                      <a:pt x="1214438" y="59690"/>
                      <a:pt x="1214438" y="50165"/>
                    </a:cubicBezTo>
                    <a:cubicBezTo>
                      <a:pt x="1214438" y="40958"/>
                      <a:pt x="1212533" y="33655"/>
                      <a:pt x="1208405" y="28892"/>
                    </a:cubicBezTo>
                    <a:cubicBezTo>
                      <a:pt x="1204278" y="24130"/>
                      <a:pt x="1199198" y="21908"/>
                      <a:pt x="1192530" y="21908"/>
                    </a:cubicBezTo>
                    <a:cubicBezTo>
                      <a:pt x="1188403" y="21908"/>
                      <a:pt x="1184910" y="22542"/>
                      <a:pt x="1182370" y="24130"/>
                    </a:cubicBezTo>
                    <a:cubicBezTo>
                      <a:pt x="1179830" y="25717"/>
                      <a:pt x="1177608" y="27623"/>
                      <a:pt x="1176020" y="29845"/>
                    </a:cubicBezTo>
                    <a:lnTo>
                      <a:pt x="1175385" y="29845"/>
                    </a:lnTo>
                    <a:cubicBezTo>
                      <a:pt x="1175385" y="28892"/>
                      <a:pt x="1175703" y="27305"/>
                      <a:pt x="1175703" y="25083"/>
                    </a:cubicBezTo>
                    <a:cubicBezTo>
                      <a:pt x="1175703" y="22860"/>
                      <a:pt x="1175703" y="20955"/>
                      <a:pt x="1175703" y="18733"/>
                    </a:cubicBezTo>
                    <a:lnTo>
                      <a:pt x="1175703" y="0"/>
                    </a:lnTo>
                    <a:lnTo>
                      <a:pt x="1165225" y="0"/>
                    </a:lnTo>
                    <a:close/>
                    <a:moveTo>
                      <a:pt x="1110298" y="49848"/>
                    </a:moveTo>
                    <a:cubicBezTo>
                      <a:pt x="1110298" y="55245"/>
                      <a:pt x="1109345" y="59373"/>
                      <a:pt x="1107758" y="62230"/>
                    </a:cubicBezTo>
                    <a:cubicBezTo>
                      <a:pt x="1106170" y="65088"/>
                      <a:pt x="1103630" y="66675"/>
                      <a:pt x="1100138" y="66675"/>
                    </a:cubicBezTo>
                    <a:cubicBezTo>
                      <a:pt x="1096010" y="66675"/>
                      <a:pt x="1093153" y="65088"/>
                      <a:pt x="1091565" y="62230"/>
                    </a:cubicBezTo>
                    <a:cubicBezTo>
                      <a:pt x="1089978" y="59373"/>
                      <a:pt x="1089025" y="55245"/>
                      <a:pt x="1089025" y="49848"/>
                    </a:cubicBezTo>
                    <a:lnTo>
                      <a:pt x="1089025" y="48260"/>
                    </a:lnTo>
                    <a:cubicBezTo>
                      <a:pt x="1089025" y="43180"/>
                      <a:pt x="1089978" y="39688"/>
                      <a:pt x="1091565" y="37148"/>
                    </a:cubicBezTo>
                    <a:cubicBezTo>
                      <a:pt x="1093153" y="34608"/>
                      <a:pt x="1096010" y="33338"/>
                      <a:pt x="1099820" y="33338"/>
                    </a:cubicBezTo>
                    <a:cubicBezTo>
                      <a:pt x="1106805" y="33338"/>
                      <a:pt x="1110298" y="39052"/>
                      <a:pt x="1110298" y="49848"/>
                    </a:cubicBezTo>
                    <a:moveTo>
                      <a:pt x="1095058" y="23813"/>
                    </a:moveTo>
                    <a:cubicBezTo>
                      <a:pt x="1092518" y="25400"/>
                      <a:pt x="1090613" y="27305"/>
                      <a:pt x="1089025" y="29527"/>
                    </a:cubicBezTo>
                    <a:lnTo>
                      <a:pt x="1088390" y="29527"/>
                    </a:lnTo>
                    <a:lnTo>
                      <a:pt x="1086168" y="22225"/>
                    </a:lnTo>
                    <a:lnTo>
                      <a:pt x="1073785" y="22225"/>
                    </a:lnTo>
                    <a:lnTo>
                      <a:pt x="1073785" y="102235"/>
                    </a:lnTo>
                    <a:lnTo>
                      <a:pt x="1089025" y="102235"/>
                    </a:lnTo>
                    <a:lnTo>
                      <a:pt x="1089025" y="80010"/>
                    </a:lnTo>
                    <a:cubicBezTo>
                      <a:pt x="1089025" y="77470"/>
                      <a:pt x="1088708" y="74613"/>
                      <a:pt x="1088073" y="71755"/>
                    </a:cubicBezTo>
                    <a:lnTo>
                      <a:pt x="1089025" y="71755"/>
                    </a:lnTo>
                    <a:cubicBezTo>
                      <a:pt x="1090613" y="73660"/>
                      <a:pt x="1092518" y="75248"/>
                      <a:pt x="1094740" y="76835"/>
                    </a:cubicBezTo>
                    <a:cubicBezTo>
                      <a:pt x="1096963" y="78423"/>
                      <a:pt x="1100138" y="79058"/>
                      <a:pt x="1104265" y="79058"/>
                    </a:cubicBezTo>
                    <a:cubicBezTo>
                      <a:pt x="1110615" y="79058"/>
                      <a:pt x="1115695" y="76517"/>
                      <a:pt x="1119505" y="71755"/>
                    </a:cubicBezTo>
                    <a:cubicBezTo>
                      <a:pt x="1123315" y="66992"/>
                      <a:pt x="1125538" y="59690"/>
                      <a:pt x="1125538" y="50165"/>
                    </a:cubicBezTo>
                    <a:cubicBezTo>
                      <a:pt x="1125538" y="40640"/>
                      <a:pt x="1123633" y="33655"/>
                      <a:pt x="1119823" y="28892"/>
                    </a:cubicBezTo>
                    <a:cubicBezTo>
                      <a:pt x="1116013" y="24130"/>
                      <a:pt x="1110933" y="21590"/>
                      <a:pt x="1104583" y="21590"/>
                    </a:cubicBezTo>
                    <a:cubicBezTo>
                      <a:pt x="1100773" y="21273"/>
                      <a:pt x="1097598" y="22225"/>
                      <a:pt x="1095058" y="23813"/>
                    </a:cubicBezTo>
                    <a:moveTo>
                      <a:pt x="1042988" y="77788"/>
                    </a:moveTo>
                    <a:lnTo>
                      <a:pt x="1058228" y="77788"/>
                    </a:lnTo>
                    <a:lnTo>
                      <a:pt x="1058228" y="22225"/>
                    </a:lnTo>
                    <a:lnTo>
                      <a:pt x="1042988" y="22225"/>
                    </a:lnTo>
                    <a:lnTo>
                      <a:pt x="1042988" y="77788"/>
                    </a:lnTo>
                    <a:close/>
                    <a:moveTo>
                      <a:pt x="1044893" y="2223"/>
                    </a:moveTo>
                    <a:cubicBezTo>
                      <a:pt x="1043305" y="3175"/>
                      <a:pt x="1042352" y="5080"/>
                      <a:pt x="1042352" y="7938"/>
                    </a:cubicBezTo>
                    <a:cubicBezTo>
                      <a:pt x="1042352" y="10795"/>
                      <a:pt x="1043305" y="12700"/>
                      <a:pt x="1044893" y="13652"/>
                    </a:cubicBezTo>
                    <a:cubicBezTo>
                      <a:pt x="1046480" y="14605"/>
                      <a:pt x="1048385" y="15240"/>
                      <a:pt x="1050608" y="15240"/>
                    </a:cubicBezTo>
                    <a:cubicBezTo>
                      <a:pt x="1052830" y="15240"/>
                      <a:pt x="1054735" y="14605"/>
                      <a:pt x="1056323" y="13652"/>
                    </a:cubicBezTo>
                    <a:cubicBezTo>
                      <a:pt x="1057910" y="12700"/>
                      <a:pt x="1058863" y="10795"/>
                      <a:pt x="1058863" y="7938"/>
                    </a:cubicBezTo>
                    <a:cubicBezTo>
                      <a:pt x="1058863" y="5080"/>
                      <a:pt x="1057910" y="3175"/>
                      <a:pt x="1056323" y="2223"/>
                    </a:cubicBezTo>
                    <a:cubicBezTo>
                      <a:pt x="1054735" y="1270"/>
                      <a:pt x="1052830" y="635"/>
                      <a:pt x="1050608" y="635"/>
                    </a:cubicBezTo>
                    <a:cubicBezTo>
                      <a:pt x="1048385" y="635"/>
                      <a:pt x="1046480" y="1270"/>
                      <a:pt x="1044893" y="2223"/>
                    </a:cubicBezTo>
                    <a:moveTo>
                      <a:pt x="976313" y="635"/>
                    </a:moveTo>
                    <a:lnTo>
                      <a:pt x="976313" y="77788"/>
                    </a:lnTo>
                    <a:lnTo>
                      <a:pt x="991552" y="77788"/>
                    </a:lnTo>
                    <a:lnTo>
                      <a:pt x="991552" y="51752"/>
                    </a:lnTo>
                    <a:cubicBezTo>
                      <a:pt x="991552" y="45720"/>
                      <a:pt x="992505" y="41275"/>
                      <a:pt x="994093" y="38100"/>
                    </a:cubicBezTo>
                    <a:cubicBezTo>
                      <a:pt x="995680" y="34925"/>
                      <a:pt x="998855" y="33338"/>
                      <a:pt x="1003618" y="33338"/>
                    </a:cubicBezTo>
                    <a:cubicBezTo>
                      <a:pt x="1009650" y="33338"/>
                      <a:pt x="1012508" y="37465"/>
                      <a:pt x="1012508" y="45402"/>
                    </a:cubicBezTo>
                    <a:lnTo>
                      <a:pt x="1012508" y="77788"/>
                    </a:lnTo>
                    <a:lnTo>
                      <a:pt x="1027748" y="77788"/>
                    </a:lnTo>
                    <a:lnTo>
                      <a:pt x="1027748" y="41592"/>
                    </a:lnTo>
                    <a:cubicBezTo>
                      <a:pt x="1027748" y="34608"/>
                      <a:pt x="1025843" y="29210"/>
                      <a:pt x="1022350" y="26035"/>
                    </a:cubicBezTo>
                    <a:cubicBezTo>
                      <a:pt x="1018540" y="22860"/>
                      <a:pt x="1013777" y="21273"/>
                      <a:pt x="1008063" y="21273"/>
                    </a:cubicBezTo>
                    <a:cubicBezTo>
                      <a:pt x="1004570" y="21273"/>
                      <a:pt x="1001713" y="21908"/>
                      <a:pt x="998855" y="23177"/>
                    </a:cubicBezTo>
                    <a:cubicBezTo>
                      <a:pt x="995998" y="24448"/>
                      <a:pt x="993775" y="26670"/>
                      <a:pt x="992188" y="29527"/>
                    </a:cubicBezTo>
                    <a:lnTo>
                      <a:pt x="991235" y="29527"/>
                    </a:lnTo>
                    <a:cubicBezTo>
                      <a:pt x="991235" y="28575"/>
                      <a:pt x="991552" y="26670"/>
                      <a:pt x="991552" y="24448"/>
                    </a:cubicBezTo>
                    <a:cubicBezTo>
                      <a:pt x="991870" y="21908"/>
                      <a:pt x="991870" y="19367"/>
                      <a:pt x="991870" y="16510"/>
                    </a:cubicBezTo>
                    <a:lnTo>
                      <a:pt x="991870" y="635"/>
                    </a:lnTo>
                    <a:lnTo>
                      <a:pt x="976313" y="635"/>
                    </a:lnTo>
                    <a:close/>
                    <a:moveTo>
                      <a:pt x="962660" y="53340"/>
                    </a:moveTo>
                    <a:cubicBezTo>
                      <a:pt x="961390" y="51117"/>
                      <a:pt x="959485" y="49530"/>
                      <a:pt x="957263" y="48260"/>
                    </a:cubicBezTo>
                    <a:cubicBezTo>
                      <a:pt x="955040" y="46990"/>
                      <a:pt x="952183" y="45402"/>
                      <a:pt x="949008" y="44133"/>
                    </a:cubicBezTo>
                    <a:cubicBezTo>
                      <a:pt x="945833" y="42863"/>
                      <a:pt x="943293" y="41592"/>
                      <a:pt x="941705" y="40958"/>
                    </a:cubicBezTo>
                    <a:cubicBezTo>
                      <a:pt x="940118" y="40323"/>
                      <a:pt x="938848" y="39370"/>
                      <a:pt x="938213" y="38735"/>
                    </a:cubicBezTo>
                    <a:cubicBezTo>
                      <a:pt x="937577" y="38100"/>
                      <a:pt x="937260" y="37148"/>
                      <a:pt x="937260" y="36195"/>
                    </a:cubicBezTo>
                    <a:cubicBezTo>
                      <a:pt x="937260" y="33655"/>
                      <a:pt x="939483" y="32385"/>
                      <a:pt x="943927" y="32385"/>
                    </a:cubicBezTo>
                    <a:cubicBezTo>
                      <a:pt x="946468" y="32385"/>
                      <a:pt x="949008" y="32702"/>
                      <a:pt x="951230" y="33655"/>
                    </a:cubicBezTo>
                    <a:cubicBezTo>
                      <a:pt x="953452" y="34608"/>
                      <a:pt x="956310" y="35242"/>
                      <a:pt x="958850" y="36513"/>
                    </a:cubicBezTo>
                    <a:lnTo>
                      <a:pt x="963295" y="25717"/>
                    </a:lnTo>
                    <a:cubicBezTo>
                      <a:pt x="960120" y="24130"/>
                      <a:pt x="956627" y="23177"/>
                      <a:pt x="953770" y="22225"/>
                    </a:cubicBezTo>
                    <a:cubicBezTo>
                      <a:pt x="950595" y="21590"/>
                      <a:pt x="947420" y="21273"/>
                      <a:pt x="943927" y="21273"/>
                    </a:cubicBezTo>
                    <a:cubicBezTo>
                      <a:pt x="937260" y="21273"/>
                      <a:pt x="931863" y="22542"/>
                      <a:pt x="928052" y="25083"/>
                    </a:cubicBezTo>
                    <a:cubicBezTo>
                      <a:pt x="924243" y="27623"/>
                      <a:pt x="922020" y="31433"/>
                      <a:pt x="922020" y="36513"/>
                    </a:cubicBezTo>
                    <a:cubicBezTo>
                      <a:pt x="922020" y="39688"/>
                      <a:pt x="922655" y="42227"/>
                      <a:pt x="923608" y="44133"/>
                    </a:cubicBezTo>
                    <a:cubicBezTo>
                      <a:pt x="924560" y="46355"/>
                      <a:pt x="926465" y="47942"/>
                      <a:pt x="928688" y="49530"/>
                    </a:cubicBezTo>
                    <a:cubicBezTo>
                      <a:pt x="930910" y="51117"/>
                      <a:pt x="933768" y="52388"/>
                      <a:pt x="937260" y="53975"/>
                    </a:cubicBezTo>
                    <a:cubicBezTo>
                      <a:pt x="940752" y="55563"/>
                      <a:pt x="943610" y="56833"/>
                      <a:pt x="945198" y="57785"/>
                    </a:cubicBezTo>
                    <a:cubicBezTo>
                      <a:pt x="946785" y="58738"/>
                      <a:pt x="948055" y="59690"/>
                      <a:pt x="948373" y="60325"/>
                    </a:cubicBezTo>
                    <a:cubicBezTo>
                      <a:pt x="948690" y="60960"/>
                      <a:pt x="949008" y="61913"/>
                      <a:pt x="949008" y="62865"/>
                    </a:cubicBezTo>
                    <a:cubicBezTo>
                      <a:pt x="949008" y="64135"/>
                      <a:pt x="948373" y="65405"/>
                      <a:pt x="947102" y="66358"/>
                    </a:cubicBezTo>
                    <a:cubicBezTo>
                      <a:pt x="945833" y="67310"/>
                      <a:pt x="943610" y="67627"/>
                      <a:pt x="940752" y="67627"/>
                    </a:cubicBezTo>
                    <a:cubicBezTo>
                      <a:pt x="938213" y="67627"/>
                      <a:pt x="935038" y="67310"/>
                      <a:pt x="931545" y="66358"/>
                    </a:cubicBezTo>
                    <a:cubicBezTo>
                      <a:pt x="928052" y="65405"/>
                      <a:pt x="924877" y="64452"/>
                      <a:pt x="922020" y="62865"/>
                    </a:cubicBezTo>
                    <a:lnTo>
                      <a:pt x="922020" y="75248"/>
                    </a:lnTo>
                    <a:cubicBezTo>
                      <a:pt x="924877" y="76517"/>
                      <a:pt x="927418" y="77152"/>
                      <a:pt x="930275" y="77788"/>
                    </a:cubicBezTo>
                    <a:cubicBezTo>
                      <a:pt x="933133" y="78423"/>
                      <a:pt x="936308" y="78423"/>
                      <a:pt x="940118" y="78423"/>
                    </a:cubicBezTo>
                    <a:cubicBezTo>
                      <a:pt x="948055" y="78423"/>
                      <a:pt x="953770" y="76835"/>
                      <a:pt x="957898" y="73977"/>
                    </a:cubicBezTo>
                    <a:cubicBezTo>
                      <a:pt x="961708" y="71120"/>
                      <a:pt x="963930" y="66675"/>
                      <a:pt x="963930" y="60960"/>
                    </a:cubicBezTo>
                    <a:cubicBezTo>
                      <a:pt x="964565" y="58102"/>
                      <a:pt x="963930" y="55563"/>
                      <a:pt x="962660" y="53340"/>
                    </a:cubicBezTo>
                    <a:moveTo>
                      <a:pt x="900748" y="24448"/>
                    </a:moveTo>
                    <a:cubicBezTo>
                      <a:pt x="897890" y="26352"/>
                      <a:pt x="895668" y="28892"/>
                      <a:pt x="894080" y="31750"/>
                    </a:cubicBezTo>
                    <a:lnTo>
                      <a:pt x="893445" y="31750"/>
                    </a:lnTo>
                    <a:lnTo>
                      <a:pt x="891223" y="22225"/>
                    </a:lnTo>
                    <a:lnTo>
                      <a:pt x="879793" y="22225"/>
                    </a:lnTo>
                    <a:lnTo>
                      <a:pt x="879793" y="77788"/>
                    </a:lnTo>
                    <a:lnTo>
                      <a:pt x="895033" y="77788"/>
                    </a:lnTo>
                    <a:lnTo>
                      <a:pt x="895033" y="49530"/>
                    </a:lnTo>
                    <a:cubicBezTo>
                      <a:pt x="895033" y="46038"/>
                      <a:pt x="895668" y="43180"/>
                      <a:pt x="897255" y="41275"/>
                    </a:cubicBezTo>
                    <a:cubicBezTo>
                      <a:pt x="898843" y="39370"/>
                      <a:pt x="900748" y="37783"/>
                      <a:pt x="902970" y="36830"/>
                    </a:cubicBezTo>
                    <a:cubicBezTo>
                      <a:pt x="905193" y="35877"/>
                      <a:pt x="907733" y="35560"/>
                      <a:pt x="910273" y="35560"/>
                    </a:cubicBezTo>
                    <a:cubicBezTo>
                      <a:pt x="910908" y="35560"/>
                      <a:pt x="911860" y="35560"/>
                      <a:pt x="912495" y="35560"/>
                    </a:cubicBezTo>
                    <a:cubicBezTo>
                      <a:pt x="913130" y="35560"/>
                      <a:pt x="914083" y="35877"/>
                      <a:pt x="914718" y="35877"/>
                    </a:cubicBezTo>
                    <a:lnTo>
                      <a:pt x="915988" y="21590"/>
                    </a:lnTo>
                    <a:cubicBezTo>
                      <a:pt x="915352" y="21590"/>
                      <a:pt x="914718" y="21273"/>
                      <a:pt x="913448" y="21273"/>
                    </a:cubicBezTo>
                    <a:cubicBezTo>
                      <a:pt x="912495" y="21273"/>
                      <a:pt x="911543" y="21273"/>
                      <a:pt x="910908" y="21273"/>
                    </a:cubicBezTo>
                    <a:cubicBezTo>
                      <a:pt x="906780" y="21273"/>
                      <a:pt x="903605" y="22225"/>
                      <a:pt x="900748" y="24448"/>
                    </a:cubicBezTo>
                    <a:moveTo>
                      <a:pt x="850265" y="35560"/>
                    </a:moveTo>
                    <a:cubicBezTo>
                      <a:pt x="851852" y="37783"/>
                      <a:pt x="852805" y="40640"/>
                      <a:pt x="852805" y="43815"/>
                    </a:cubicBezTo>
                    <a:lnTo>
                      <a:pt x="831533" y="43815"/>
                    </a:lnTo>
                    <a:cubicBezTo>
                      <a:pt x="831850" y="39688"/>
                      <a:pt x="833120" y="36830"/>
                      <a:pt x="835025" y="34925"/>
                    </a:cubicBezTo>
                    <a:cubicBezTo>
                      <a:pt x="836930" y="33020"/>
                      <a:pt x="839470" y="32067"/>
                      <a:pt x="842327" y="32067"/>
                    </a:cubicBezTo>
                    <a:cubicBezTo>
                      <a:pt x="846138" y="32067"/>
                      <a:pt x="848677" y="33338"/>
                      <a:pt x="850265" y="35560"/>
                    </a:cubicBezTo>
                    <a:moveTo>
                      <a:pt x="828675" y="24765"/>
                    </a:moveTo>
                    <a:cubicBezTo>
                      <a:pt x="824865" y="26988"/>
                      <a:pt x="821690" y="30163"/>
                      <a:pt x="819468" y="34608"/>
                    </a:cubicBezTo>
                    <a:cubicBezTo>
                      <a:pt x="817245" y="39052"/>
                      <a:pt x="816293" y="44450"/>
                      <a:pt x="816293" y="50800"/>
                    </a:cubicBezTo>
                    <a:cubicBezTo>
                      <a:pt x="816293" y="57150"/>
                      <a:pt x="817563" y="62548"/>
                      <a:pt x="820102" y="66675"/>
                    </a:cubicBezTo>
                    <a:cubicBezTo>
                      <a:pt x="822643" y="70802"/>
                      <a:pt x="825818" y="73977"/>
                      <a:pt x="830263" y="75883"/>
                    </a:cubicBezTo>
                    <a:cubicBezTo>
                      <a:pt x="834390" y="78105"/>
                      <a:pt x="839470" y="79058"/>
                      <a:pt x="844868" y="79058"/>
                    </a:cubicBezTo>
                    <a:cubicBezTo>
                      <a:pt x="848995" y="79058"/>
                      <a:pt x="852805" y="78740"/>
                      <a:pt x="855663" y="78105"/>
                    </a:cubicBezTo>
                    <a:cubicBezTo>
                      <a:pt x="858520" y="77470"/>
                      <a:pt x="861377" y="76517"/>
                      <a:pt x="864235" y="75248"/>
                    </a:cubicBezTo>
                    <a:lnTo>
                      <a:pt x="864235" y="63500"/>
                    </a:lnTo>
                    <a:cubicBezTo>
                      <a:pt x="861060" y="65088"/>
                      <a:pt x="858202" y="66040"/>
                      <a:pt x="855027" y="66675"/>
                    </a:cubicBezTo>
                    <a:cubicBezTo>
                      <a:pt x="852170" y="67310"/>
                      <a:pt x="848995" y="67627"/>
                      <a:pt x="845185" y="67627"/>
                    </a:cubicBezTo>
                    <a:cubicBezTo>
                      <a:pt x="841058" y="67627"/>
                      <a:pt x="837565" y="66358"/>
                      <a:pt x="835025" y="63817"/>
                    </a:cubicBezTo>
                    <a:cubicBezTo>
                      <a:pt x="832485" y="61277"/>
                      <a:pt x="831215" y="58102"/>
                      <a:pt x="831215" y="53658"/>
                    </a:cubicBezTo>
                    <a:lnTo>
                      <a:pt x="867093" y="53658"/>
                    </a:lnTo>
                    <a:lnTo>
                      <a:pt x="867093" y="46355"/>
                    </a:lnTo>
                    <a:cubicBezTo>
                      <a:pt x="867093" y="38417"/>
                      <a:pt x="864870" y="32067"/>
                      <a:pt x="860425" y="27623"/>
                    </a:cubicBezTo>
                    <a:cubicBezTo>
                      <a:pt x="855980" y="23177"/>
                      <a:pt x="849948" y="20955"/>
                      <a:pt x="842327" y="20955"/>
                    </a:cubicBezTo>
                    <a:cubicBezTo>
                      <a:pt x="837248" y="21273"/>
                      <a:pt x="832802" y="22542"/>
                      <a:pt x="828675" y="24765"/>
                    </a:cubicBezTo>
                    <a:moveTo>
                      <a:pt x="770255" y="62548"/>
                    </a:moveTo>
                    <a:cubicBezTo>
                      <a:pt x="768350" y="59690"/>
                      <a:pt x="767398" y="55880"/>
                      <a:pt x="767398" y="50165"/>
                    </a:cubicBezTo>
                    <a:cubicBezTo>
                      <a:pt x="767398" y="44450"/>
                      <a:pt x="768350" y="40640"/>
                      <a:pt x="770255" y="37783"/>
                    </a:cubicBezTo>
                    <a:cubicBezTo>
                      <a:pt x="772160" y="34925"/>
                      <a:pt x="774700" y="33338"/>
                      <a:pt x="778193" y="33338"/>
                    </a:cubicBezTo>
                    <a:cubicBezTo>
                      <a:pt x="782638" y="33338"/>
                      <a:pt x="785813" y="34925"/>
                      <a:pt x="787400" y="37783"/>
                    </a:cubicBezTo>
                    <a:cubicBezTo>
                      <a:pt x="788988" y="40640"/>
                      <a:pt x="789940" y="44767"/>
                      <a:pt x="789940" y="50165"/>
                    </a:cubicBezTo>
                    <a:lnTo>
                      <a:pt x="789940" y="51752"/>
                    </a:lnTo>
                    <a:cubicBezTo>
                      <a:pt x="789940" y="56833"/>
                      <a:pt x="788988" y="60325"/>
                      <a:pt x="787083" y="62865"/>
                    </a:cubicBezTo>
                    <a:cubicBezTo>
                      <a:pt x="785495" y="65405"/>
                      <a:pt x="782638" y="66675"/>
                      <a:pt x="778193" y="66675"/>
                    </a:cubicBezTo>
                    <a:cubicBezTo>
                      <a:pt x="774700" y="66675"/>
                      <a:pt x="772160" y="65405"/>
                      <a:pt x="770255" y="62548"/>
                    </a:cubicBezTo>
                    <a:moveTo>
                      <a:pt x="782638" y="76517"/>
                    </a:moveTo>
                    <a:cubicBezTo>
                      <a:pt x="785177" y="74930"/>
                      <a:pt x="787083" y="73025"/>
                      <a:pt x="788670" y="70802"/>
                    </a:cubicBezTo>
                    <a:lnTo>
                      <a:pt x="789305" y="70802"/>
                    </a:lnTo>
                    <a:lnTo>
                      <a:pt x="792163" y="78105"/>
                    </a:lnTo>
                    <a:lnTo>
                      <a:pt x="803593" y="78105"/>
                    </a:lnTo>
                    <a:lnTo>
                      <a:pt x="803593" y="952"/>
                    </a:lnTo>
                    <a:lnTo>
                      <a:pt x="788352" y="952"/>
                    </a:lnTo>
                    <a:lnTo>
                      <a:pt x="788352" y="18733"/>
                    </a:lnTo>
                    <a:cubicBezTo>
                      <a:pt x="788352" y="20955"/>
                      <a:pt x="788352" y="22860"/>
                      <a:pt x="788670" y="25083"/>
                    </a:cubicBezTo>
                    <a:cubicBezTo>
                      <a:pt x="788988" y="27305"/>
                      <a:pt x="789305" y="28575"/>
                      <a:pt x="789305" y="29845"/>
                    </a:cubicBezTo>
                    <a:lnTo>
                      <a:pt x="788670" y="29845"/>
                    </a:lnTo>
                    <a:cubicBezTo>
                      <a:pt x="787083" y="27623"/>
                      <a:pt x="785177" y="25717"/>
                      <a:pt x="782638" y="24130"/>
                    </a:cubicBezTo>
                    <a:cubicBezTo>
                      <a:pt x="780098" y="22542"/>
                      <a:pt x="776923" y="21908"/>
                      <a:pt x="772795" y="21908"/>
                    </a:cubicBezTo>
                    <a:cubicBezTo>
                      <a:pt x="766445" y="21908"/>
                      <a:pt x="761365" y="24448"/>
                      <a:pt x="757238" y="29210"/>
                    </a:cubicBezTo>
                    <a:cubicBezTo>
                      <a:pt x="753427" y="33973"/>
                      <a:pt x="751205" y="41275"/>
                      <a:pt x="751205" y="50800"/>
                    </a:cubicBezTo>
                    <a:cubicBezTo>
                      <a:pt x="751205" y="60325"/>
                      <a:pt x="753110" y="67310"/>
                      <a:pt x="756920" y="72073"/>
                    </a:cubicBezTo>
                    <a:cubicBezTo>
                      <a:pt x="760730" y="76835"/>
                      <a:pt x="765810" y="79375"/>
                      <a:pt x="772160" y="79375"/>
                    </a:cubicBezTo>
                    <a:cubicBezTo>
                      <a:pt x="776923" y="78740"/>
                      <a:pt x="780098" y="78105"/>
                      <a:pt x="782638" y="76517"/>
                    </a:cubicBezTo>
                    <a:moveTo>
                      <a:pt x="724535" y="56833"/>
                    </a:moveTo>
                    <a:cubicBezTo>
                      <a:pt x="724535" y="60325"/>
                      <a:pt x="723265" y="63183"/>
                      <a:pt x="721043" y="65088"/>
                    </a:cubicBezTo>
                    <a:cubicBezTo>
                      <a:pt x="718820" y="66992"/>
                      <a:pt x="715963" y="67945"/>
                      <a:pt x="712788" y="67945"/>
                    </a:cubicBezTo>
                    <a:cubicBezTo>
                      <a:pt x="710565" y="67945"/>
                      <a:pt x="708977" y="67310"/>
                      <a:pt x="707390" y="66358"/>
                    </a:cubicBezTo>
                    <a:cubicBezTo>
                      <a:pt x="706120" y="65405"/>
                      <a:pt x="705485" y="63817"/>
                      <a:pt x="705485" y="61277"/>
                    </a:cubicBezTo>
                    <a:cubicBezTo>
                      <a:pt x="705485" y="58738"/>
                      <a:pt x="706438" y="56515"/>
                      <a:pt x="708343" y="54927"/>
                    </a:cubicBezTo>
                    <a:cubicBezTo>
                      <a:pt x="710248" y="53340"/>
                      <a:pt x="713740" y="52388"/>
                      <a:pt x="718502" y="52388"/>
                    </a:cubicBezTo>
                    <a:lnTo>
                      <a:pt x="724535" y="52070"/>
                    </a:lnTo>
                    <a:lnTo>
                      <a:pt x="724535" y="56833"/>
                    </a:lnTo>
                    <a:close/>
                    <a:moveTo>
                      <a:pt x="705168" y="22542"/>
                    </a:moveTo>
                    <a:cubicBezTo>
                      <a:pt x="701358" y="23495"/>
                      <a:pt x="698183" y="24765"/>
                      <a:pt x="695325" y="26035"/>
                    </a:cubicBezTo>
                    <a:lnTo>
                      <a:pt x="700405" y="36195"/>
                    </a:lnTo>
                    <a:cubicBezTo>
                      <a:pt x="702945" y="34925"/>
                      <a:pt x="705485" y="33973"/>
                      <a:pt x="708025" y="33338"/>
                    </a:cubicBezTo>
                    <a:cubicBezTo>
                      <a:pt x="710565" y="32702"/>
                      <a:pt x="713105" y="32067"/>
                      <a:pt x="715963" y="32067"/>
                    </a:cubicBezTo>
                    <a:cubicBezTo>
                      <a:pt x="718820" y="32067"/>
                      <a:pt x="720725" y="32702"/>
                      <a:pt x="722313" y="33973"/>
                    </a:cubicBezTo>
                    <a:cubicBezTo>
                      <a:pt x="723900" y="35242"/>
                      <a:pt x="724535" y="37465"/>
                      <a:pt x="724535" y="40323"/>
                    </a:cubicBezTo>
                    <a:lnTo>
                      <a:pt x="724535" y="42863"/>
                    </a:lnTo>
                    <a:lnTo>
                      <a:pt x="715010" y="43180"/>
                    </a:lnTo>
                    <a:cubicBezTo>
                      <a:pt x="706755" y="43498"/>
                      <a:pt x="700405" y="45085"/>
                      <a:pt x="696277" y="47942"/>
                    </a:cubicBezTo>
                    <a:cubicBezTo>
                      <a:pt x="692150" y="50800"/>
                      <a:pt x="689927" y="54927"/>
                      <a:pt x="689927" y="60960"/>
                    </a:cubicBezTo>
                    <a:cubicBezTo>
                      <a:pt x="689927" y="66992"/>
                      <a:pt x="691515" y="71438"/>
                      <a:pt x="694690" y="74295"/>
                    </a:cubicBezTo>
                    <a:cubicBezTo>
                      <a:pt x="697865" y="77152"/>
                      <a:pt x="701993" y="78423"/>
                      <a:pt x="707073" y="78423"/>
                    </a:cubicBezTo>
                    <a:cubicBezTo>
                      <a:pt x="711835" y="78423"/>
                      <a:pt x="715327" y="77788"/>
                      <a:pt x="717868" y="76517"/>
                    </a:cubicBezTo>
                    <a:cubicBezTo>
                      <a:pt x="720408" y="75248"/>
                      <a:pt x="722948" y="73025"/>
                      <a:pt x="725488" y="70167"/>
                    </a:cubicBezTo>
                    <a:lnTo>
                      <a:pt x="725805" y="70167"/>
                    </a:lnTo>
                    <a:lnTo>
                      <a:pt x="728663" y="77788"/>
                    </a:lnTo>
                    <a:lnTo>
                      <a:pt x="739140" y="77788"/>
                    </a:lnTo>
                    <a:lnTo>
                      <a:pt x="739140" y="40958"/>
                    </a:lnTo>
                    <a:cubicBezTo>
                      <a:pt x="739140" y="34290"/>
                      <a:pt x="737235" y="29527"/>
                      <a:pt x="733108" y="26035"/>
                    </a:cubicBezTo>
                    <a:cubicBezTo>
                      <a:pt x="729298" y="22860"/>
                      <a:pt x="723583" y="21273"/>
                      <a:pt x="715963" y="21273"/>
                    </a:cubicBezTo>
                    <a:cubicBezTo>
                      <a:pt x="712788" y="21273"/>
                      <a:pt x="708977" y="21590"/>
                      <a:pt x="705168" y="22542"/>
                    </a:cubicBezTo>
                    <a:moveTo>
                      <a:pt x="664845" y="35560"/>
                    </a:moveTo>
                    <a:cubicBezTo>
                      <a:pt x="666433" y="37783"/>
                      <a:pt x="667385" y="40640"/>
                      <a:pt x="667385" y="43815"/>
                    </a:cubicBezTo>
                    <a:lnTo>
                      <a:pt x="646113" y="43815"/>
                    </a:lnTo>
                    <a:cubicBezTo>
                      <a:pt x="646430" y="39688"/>
                      <a:pt x="647700" y="36830"/>
                      <a:pt x="649605" y="34925"/>
                    </a:cubicBezTo>
                    <a:cubicBezTo>
                      <a:pt x="651510" y="33020"/>
                      <a:pt x="654050" y="32067"/>
                      <a:pt x="656908" y="32067"/>
                    </a:cubicBezTo>
                    <a:cubicBezTo>
                      <a:pt x="660400" y="32067"/>
                      <a:pt x="662940" y="33338"/>
                      <a:pt x="664845" y="35560"/>
                    </a:cubicBezTo>
                    <a:moveTo>
                      <a:pt x="642938" y="24765"/>
                    </a:moveTo>
                    <a:cubicBezTo>
                      <a:pt x="639127" y="26988"/>
                      <a:pt x="635952" y="30163"/>
                      <a:pt x="633730" y="34608"/>
                    </a:cubicBezTo>
                    <a:cubicBezTo>
                      <a:pt x="631508" y="39052"/>
                      <a:pt x="630555" y="44450"/>
                      <a:pt x="630555" y="50800"/>
                    </a:cubicBezTo>
                    <a:cubicBezTo>
                      <a:pt x="630555" y="57150"/>
                      <a:pt x="631825" y="62548"/>
                      <a:pt x="634365" y="66675"/>
                    </a:cubicBezTo>
                    <a:cubicBezTo>
                      <a:pt x="636905" y="70802"/>
                      <a:pt x="640080" y="73977"/>
                      <a:pt x="644525" y="75883"/>
                    </a:cubicBezTo>
                    <a:cubicBezTo>
                      <a:pt x="648652" y="78105"/>
                      <a:pt x="653733" y="79058"/>
                      <a:pt x="659130" y="79058"/>
                    </a:cubicBezTo>
                    <a:cubicBezTo>
                      <a:pt x="663258" y="79058"/>
                      <a:pt x="667068" y="78740"/>
                      <a:pt x="669925" y="78105"/>
                    </a:cubicBezTo>
                    <a:cubicBezTo>
                      <a:pt x="672783" y="77470"/>
                      <a:pt x="675640" y="76517"/>
                      <a:pt x="678498" y="75248"/>
                    </a:cubicBezTo>
                    <a:lnTo>
                      <a:pt x="678498" y="63500"/>
                    </a:lnTo>
                    <a:cubicBezTo>
                      <a:pt x="675323" y="65088"/>
                      <a:pt x="672465" y="66040"/>
                      <a:pt x="669290" y="66675"/>
                    </a:cubicBezTo>
                    <a:cubicBezTo>
                      <a:pt x="666433" y="67310"/>
                      <a:pt x="663258" y="67627"/>
                      <a:pt x="659448" y="67627"/>
                    </a:cubicBezTo>
                    <a:cubicBezTo>
                      <a:pt x="655320" y="67627"/>
                      <a:pt x="651827" y="66358"/>
                      <a:pt x="649288" y="63817"/>
                    </a:cubicBezTo>
                    <a:cubicBezTo>
                      <a:pt x="646748" y="61277"/>
                      <a:pt x="645477" y="58102"/>
                      <a:pt x="645477" y="53658"/>
                    </a:cubicBezTo>
                    <a:lnTo>
                      <a:pt x="681673" y="53658"/>
                    </a:lnTo>
                    <a:lnTo>
                      <a:pt x="681673" y="46355"/>
                    </a:lnTo>
                    <a:cubicBezTo>
                      <a:pt x="681673" y="38417"/>
                      <a:pt x="679450" y="32067"/>
                      <a:pt x="675005" y="27623"/>
                    </a:cubicBezTo>
                    <a:cubicBezTo>
                      <a:pt x="670560" y="23177"/>
                      <a:pt x="664527" y="20955"/>
                      <a:pt x="656908" y="20955"/>
                    </a:cubicBezTo>
                    <a:cubicBezTo>
                      <a:pt x="651510" y="21273"/>
                      <a:pt x="647065" y="22542"/>
                      <a:pt x="642938" y="24765"/>
                    </a:cubicBezTo>
                    <a:moveTo>
                      <a:pt x="618173" y="635"/>
                    </a:moveTo>
                    <a:lnTo>
                      <a:pt x="602933" y="635"/>
                    </a:lnTo>
                    <a:lnTo>
                      <a:pt x="602933" y="77788"/>
                    </a:lnTo>
                    <a:lnTo>
                      <a:pt x="618173" y="77788"/>
                    </a:lnTo>
                    <a:lnTo>
                      <a:pt x="618173" y="635"/>
                    </a:lnTo>
                    <a:close/>
                    <a:moveTo>
                      <a:pt x="531495" y="23177"/>
                    </a:moveTo>
                    <a:cubicBezTo>
                      <a:pt x="528320" y="24448"/>
                      <a:pt x="526098" y="26670"/>
                      <a:pt x="524193" y="29527"/>
                    </a:cubicBezTo>
                    <a:lnTo>
                      <a:pt x="523240" y="29527"/>
                    </a:lnTo>
                    <a:lnTo>
                      <a:pt x="521335" y="22542"/>
                    </a:lnTo>
                    <a:lnTo>
                      <a:pt x="509905" y="22542"/>
                    </a:lnTo>
                    <a:lnTo>
                      <a:pt x="509905" y="78105"/>
                    </a:lnTo>
                    <a:lnTo>
                      <a:pt x="525145" y="78105"/>
                    </a:lnTo>
                    <a:lnTo>
                      <a:pt x="525145" y="52070"/>
                    </a:lnTo>
                    <a:cubicBezTo>
                      <a:pt x="525145" y="46038"/>
                      <a:pt x="526098" y="41592"/>
                      <a:pt x="527685" y="38417"/>
                    </a:cubicBezTo>
                    <a:cubicBezTo>
                      <a:pt x="529273" y="35242"/>
                      <a:pt x="532448" y="33655"/>
                      <a:pt x="537210" y="33655"/>
                    </a:cubicBezTo>
                    <a:cubicBezTo>
                      <a:pt x="540385" y="33655"/>
                      <a:pt x="542608" y="34608"/>
                      <a:pt x="543877" y="36513"/>
                    </a:cubicBezTo>
                    <a:cubicBezTo>
                      <a:pt x="545148" y="38417"/>
                      <a:pt x="546100" y="41592"/>
                      <a:pt x="546100" y="45402"/>
                    </a:cubicBezTo>
                    <a:lnTo>
                      <a:pt x="546100" y="77788"/>
                    </a:lnTo>
                    <a:lnTo>
                      <a:pt x="561340" y="77788"/>
                    </a:lnTo>
                    <a:lnTo>
                      <a:pt x="561340" y="41592"/>
                    </a:lnTo>
                    <a:cubicBezTo>
                      <a:pt x="561340" y="34608"/>
                      <a:pt x="559435" y="29210"/>
                      <a:pt x="555943" y="26035"/>
                    </a:cubicBezTo>
                    <a:cubicBezTo>
                      <a:pt x="552450" y="22860"/>
                      <a:pt x="547688" y="21273"/>
                      <a:pt x="541655" y="21273"/>
                    </a:cubicBezTo>
                    <a:cubicBezTo>
                      <a:pt x="537845" y="21273"/>
                      <a:pt x="534352" y="21908"/>
                      <a:pt x="531495" y="23177"/>
                    </a:cubicBezTo>
                    <a:moveTo>
                      <a:pt x="480377" y="35560"/>
                    </a:moveTo>
                    <a:cubicBezTo>
                      <a:pt x="481965" y="37783"/>
                      <a:pt x="482918" y="40640"/>
                      <a:pt x="482918" y="43815"/>
                    </a:cubicBezTo>
                    <a:lnTo>
                      <a:pt x="461645" y="43815"/>
                    </a:lnTo>
                    <a:cubicBezTo>
                      <a:pt x="461963" y="39688"/>
                      <a:pt x="463233" y="36830"/>
                      <a:pt x="465138" y="34925"/>
                    </a:cubicBezTo>
                    <a:cubicBezTo>
                      <a:pt x="467043" y="33020"/>
                      <a:pt x="469583" y="32067"/>
                      <a:pt x="472440" y="32067"/>
                    </a:cubicBezTo>
                    <a:cubicBezTo>
                      <a:pt x="476250" y="32067"/>
                      <a:pt x="478790" y="33338"/>
                      <a:pt x="480377" y="35560"/>
                    </a:cubicBezTo>
                    <a:moveTo>
                      <a:pt x="458788" y="24765"/>
                    </a:moveTo>
                    <a:cubicBezTo>
                      <a:pt x="454977" y="26988"/>
                      <a:pt x="451802" y="30163"/>
                      <a:pt x="449580" y="34608"/>
                    </a:cubicBezTo>
                    <a:cubicBezTo>
                      <a:pt x="447358" y="39052"/>
                      <a:pt x="446405" y="44450"/>
                      <a:pt x="446405" y="50800"/>
                    </a:cubicBezTo>
                    <a:cubicBezTo>
                      <a:pt x="446405" y="57150"/>
                      <a:pt x="447675" y="62548"/>
                      <a:pt x="450215" y="66675"/>
                    </a:cubicBezTo>
                    <a:cubicBezTo>
                      <a:pt x="452755" y="70802"/>
                      <a:pt x="455930" y="73977"/>
                      <a:pt x="460375" y="75883"/>
                    </a:cubicBezTo>
                    <a:cubicBezTo>
                      <a:pt x="464502" y="78105"/>
                      <a:pt x="469583" y="79058"/>
                      <a:pt x="474980" y="79058"/>
                    </a:cubicBezTo>
                    <a:cubicBezTo>
                      <a:pt x="479108" y="79058"/>
                      <a:pt x="482918" y="78740"/>
                      <a:pt x="485775" y="78105"/>
                    </a:cubicBezTo>
                    <a:cubicBezTo>
                      <a:pt x="488633" y="77470"/>
                      <a:pt x="491490" y="76517"/>
                      <a:pt x="494348" y="75248"/>
                    </a:cubicBezTo>
                    <a:lnTo>
                      <a:pt x="494348" y="63500"/>
                    </a:lnTo>
                    <a:cubicBezTo>
                      <a:pt x="491173" y="65088"/>
                      <a:pt x="488315" y="66040"/>
                      <a:pt x="485140" y="66675"/>
                    </a:cubicBezTo>
                    <a:cubicBezTo>
                      <a:pt x="482283" y="67310"/>
                      <a:pt x="479108" y="67627"/>
                      <a:pt x="475298" y="67627"/>
                    </a:cubicBezTo>
                    <a:cubicBezTo>
                      <a:pt x="471170" y="67627"/>
                      <a:pt x="467677" y="66358"/>
                      <a:pt x="465138" y="63817"/>
                    </a:cubicBezTo>
                    <a:cubicBezTo>
                      <a:pt x="462598" y="61277"/>
                      <a:pt x="461327" y="58102"/>
                      <a:pt x="461327" y="53658"/>
                    </a:cubicBezTo>
                    <a:lnTo>
                      <a:pt x="497523" y="53658"/>
                    </a:lnTo>
                    <a:lnTo>
                      <a:pt x="497523" y="46355"/>
                    </a:lnTo>
                    <a:cubicBezTo>
                      <a:pt x="497523" y="38417"/>
                      <a:pt x="495300" y="32067"/>
                      <a:pt x="490855" y="27623"/>
                    </a:cubicBezTo>
                    <a:cubicBezTo>
                      <a:pt x="486410" y="23177"/>
                      <a:pt x="480377" y="20955"/>
                      <a:pt x="472758" y="20955"/>
                    </a:cubicBezTo>
                    <a:cubicBezTo>
                      <a:pt x="467360" y="21273"/>
                      <a:pt x="462598" y="22542"/>
                      <a:pt x="458788" y="24765"/>
                    </a:cubicBezTo>
                    <a:moveTo>
                      <a:pt x="382905" y="635"/>
                    </a:moveTo>
                    <a:lnTo>
                      <a:pt x="382905" y="77788"/>
                    </a:lnTo>
                    <a:lnTo>
                      <a:pt x="398145" y="77788"/>
                    </a:lnTo>
                    <a:lnTo>
                      <a:pt x="398145" y="51752"/>
                    </a:lnTo>
                    <a:cubicBezTo>
                      <a:pt x="398145" y="45720"/>
                      <a:pt x="399098" y="41275"/>
                      <a:pt x="400685" y="38100"/>
                    </a:cubicBezTo>
                    <a:cubicBezTo>
                      <a:pt x="402273" y="34925"/>
                      <a:pt x="405448" y="33338"/>
                      <a:pt x="410210" y="33338"/>
                    </a:cubicBezTo>
                    <a:cubicBezTo>
                      <a:pt x="416243" y="33338"/>
                      <a:pt x="419100" y="37465"/>
                      <a:pt x="419100" y="45402"/>
                    </a:cubicBezTo>
                    <a:lnTo>
                      <a:pt x="419100" y="77788"/>
                    </a:lnTo>
                    <a:lnTo>
                      <a:pt x="434340" y="77788"/>
                    </a:lnTo>
                    <a:lnTo>
                      <a:pt x="434340" y="41592"/>
                    </a:lnTo>
                    <a:cubicBezTo>
                      <a:pt x="434340" y="34608"/>
                      <a:pt x="432435" y="29210"/>
                      <a:pt x="428943" y="26035"/>
                    </a:cubicBezTo>
                    <a:cubicBezTo>
                      <a:pt x="425133" y="22860"/>
                      <a:pt x="420370" y="21273"/>
                      <a:pt x="414655" y="21273"/>
                    </a:cubicBezTo>
                    <a:cubicBezTo>
                      <a:pt x="411163" y="21273"/>
                      <a:pt x="408305" y="21908"/>
                      <a:pt x="405448" y="23177"/>
                    </a:cubicBezTo>
                    <a:cubicBezTo>
                      <a:pt x="402590" y="24448"/>
                      <a:pt x="400368" y="26670"/>
                      <a:pt x="398780" y="29527"/>
                    </a:cubicBezTo>
                    <a:lnTo>
                      <a:pt x="397827" y="29527"/>
                    </a:lnTo>
                    <a:cubicBezTo>
                      <a:pt x="397827" y="28575"/>
                      <a:pt x="398145" y="26670"/>
                      <a:pt x="398145" y="24448"/>
                    </a:cubicBezTo>
                    <a:cubicBezTo>
                      <a:pt x="398463" y="21908"/>
                      <a:pt x="398463" y="19367"/>
                      <a:pt x="398463" y="16510"/>
                    </a:cubicBezTo>
                    <a:lnTo>
                      <a:pt x="398463" y="635"/>
                    </a:lnTo>
                    <a:lnTo>
                      <a:pt x="382905" y="635"/>
                    </a:lnTo>
                    <a:close/>
                    <a:moveTo>
                      <a:pt x="357505" y="65088"/>
                    </a:moveTo>
                    <a:cubicBezTo>
                      <a:pt x="356235" y="64135"/>
                      <a:pt x="355600" y="62548"/>
                      <a:pt x="355600" y="60325"/>
                    </a:cubicBezTo>
                    <a:lnTo>
                      <a:pt x="355600" y="33655"/>
                    </a:lnTo>
                    <a:lnTo>
                      <a:pt x="371158" y="33655"/>
                    </a:lnTo>
                    <a:lnTo>
                      <a:pt x="371158" y="22225"/>
                    </a:lnTo>
                    <a:lnTo>
                      <a:pt x="355600" y="22225"/>
                    </a:lnTo>
                    <a:lnTo>
                      <a:pt x="355600" y="10477"/>
                    </a:lnTo>
                    <a:lnTo>
                      <a:pt x="346075" y="10477"/>
                    </a:lnTo>
                    <a:lnTo>
                      <a:pt x="341630" y="22225"/>
                    </a:lnTo>
                    <a:lnTo>
                      <a:pt x="333375" y="27305"/>
                    </a:lnTo>
                    <a:lnTo>
                      <a:pt x="333375" y="33655"/>
                    </a:lnTo>
                    <a:lnTo>
                      <a:pt x="340677" y="33655"/>
                    </a:lnTo>
                    <a:lnTo>
                      <a:pt x="340677" y="60325"/>
                    </a:lnTo>
                    <a:cubicBezTo>
                      <a:pt x="340677" y="65088"/>
                      <a:pt x="341313" y="68898"/>
                      <a:pt x="342900" y="71438"/>
                    </a:cubicBezTo>
                    <a:cubicBezTo>
                      <a:pt x="344488" y="73977"/>
                      <a:pt x="346393" y="75883"/>
                      <a:pt x="349250" y="77152"/>
                    </a:cubicBezTo>
                    <a:cubicBezTo>
                      <a:pt x="351790" y="78105"/>
                      <a:pt x="354965" y="78740"/>
                      <a:pt x="358140" y="78740"/>
                    </a:cubicBezTo>
                    <a:cubicBezTo>
                      <a:pt x="360998" y="78740"/>
                      <a:pt x="363538" y="78423"/>
                      <a:pt x="366077" y="78105"/>
                    </a:cubicBezTo>
                    <a:cubicBezTo>
                      <a:pt x="368618" y="77788"/>
                      <a:pt x="370523" y="77152"/>
                      <a:pt x="372110" y="76200"/>
                    </a:cubicBezTo>
                    <a:lnTo>
                      <a:pt x="372110" y="64770"/>
                    </a:lnTo>
                    <a:cubicBezTo>
                      <a:pt x="370523" y="65405"/>
                      <a:pt x="368935" y="65723"/>
                      <a:pt x="367348" y="66040"/>
                    </a:cubicBezTo>
                    <a:cubicBezTo>
                      <a:pt x="365760" y="66358"/>
                      <a:pt x="364173" y="66358"/>
                      <a:pt x="362585" y="66358"/>
                    </a:cubicBezTo>
                    <a:cubicBezTo>
                      <a:pt x="360363" y="66675"/>
                      <a:pt x="358775" y="66358"/>
                      <a:pt x="357505" y="65088"/>
                    </a:cubicBezTo>
                    <a:moveTo>
                      <a:pt x="306070" y="37465"/>
                    </a:moveTo>
                    <a:cubicBezTo>
                      <a:pt x="307975" y="40005"/>
                      <a:pt x="308927" y="44450"/>
                      <a:pt x="308927" y="50165"/>
                    </a:cubicBezTo>
                    <a:lnTo>
                      <a:pt x="308927" y="52070"/>
                    </a:lnTo>
                    <a:cubicBezTo>
                      <a:pt x="308927" y="57467"/>
                      <a:pt x="307975" y="61277"/>
                      <a:pt x="306070" y="63500"/>
                    </a:cubicBezTo>
                    <a:cubicBezTo>
                      <a:pt x="304165" y="65723"/>
                      <a:pt x="301308" y="66675"/>
                      <a:pt x="297498" y="66675"/>
                    </a:cubicBezTo>
                    <a:cubicBezTo>
                      <a:pt x="290195" y="66675"/>
                      <a:pt x="286702" y="61277"/>
                      <a:pt x="286702" y="50165"/>
                    </a:cubicBezTo>
                    <a:cubicBezTo>
                      <a:pt x="286702" y="39052"/>
                      <a:pt x="290195" y="33338"/>
                      <a:pt x="297498" y="33338"/>
                    </a:cubicBezTo>
                    <a:cubicBezTo>
                      <a:pt x="301308" y="33655"/>
                      <a:pt x="304165" y="34925"/>
                      <a:pt x="306070" y="37465"/>
                    </a:cubicBezTo>
                    <a:moveTo>
                      <a:pt x="276860" y="28892"/>
                    </a:moveTo>
                    <a:cubicBezTo>
                      <a:pt x="273050" y="33973"/>
                      <a:pt x="271145" y="40958"/>
                      <a:pt x="271145" y="50165"/>
                    </a:cubicBezTo>
                    <a:cubicBezTo>
                      <a:pt x="271145" y="59055"/>
                      <a:pt x="273050" y="66358"/>
                      <a:pt x="276543" y="71120"/>
                    </a:cubicBezTo>
                    <a:cubicBezTo>
                      <a:pt x="280352" y="76200"/>
                      <a:pt x="285433" y="78740"/>
                      <a:pt x="291783" y="78740"/>
                    </a:cubicBezTo>
                    <a:cubicBezTo>
                      <a:pt x="294958" y="78740"/>
                      <a:pt x="298133" y="78105"/>
                      <a:pt x="300673" y="76835"/>
                    </a:cubicBezTo>
                    <a:cubicBezTo>
                      <a:pt x="303213" y="75565"/>
                      <a:pt x="305435" y="73342"/>
                      <a:pt x="307340" y="70485"/>
                    </a:cubicBezTo>
                    <a:lnTo>
                      <a:pt x="307658" y="70485"/>
                    </a:lnTo>
                    <a:cubicBezTo>
                      <a:pt x="307658" y="71438"/>
                      <a:pt x="307340" y="72390"/>
                      <a:pt x="307340" y="73660"/>
                    </a:cubicBezTo>
                    <a:cubicBezTo>
                      <a:pt x="307340" y="74930"/>
                      <a:pt x="307340" y="76200"/>
                      <a:pt x="307340" y="77152"/>
                    </a:cubicBezTo>
                    <a:lnTo>
                      <a:pt x="307340" y="78423"/>
                    </a:lnTo>
                    <a:cubicBezTo>
                      <a:pt x="307340" y="86677"/>
                      <a:pt x="303530" y="91123"/>
                      <a:pt x="295593" y="91123"/>
                    </a:cubicBezTo>
                    <a:cubicBezTo>
                      <a:pt x="287973" y="91123"/>
                      <a:pt x="280670" y="89852"/>
                      <a:pt x="274002" y="86995"/>
                    </a:cubicBezTo>
                    <a:lnTo>
                      <a:pt x="274002" y="99060"/>
                    </a:lnTo>
                    <a:cubicBezTo>
                      <a:pt x="277177" y="100330"/>
                      <a:pt x="280352" y="101283"/>
                      <a:pt x="283845" y="101600"/>
                    </a:cubicBezTo>
                    <a:cubicBezTo>
                      <a:pt x="287338" y="101917"/>
                      <a:pt x="290830" y="102235"/>
                      <a:pt x="294640" y="102235"/>
                    </a:cubicBezTo>
                    <a:cubicBezTo>
                      <a:pt x="303848" y="102235"/>
                      <a:pt x="310833" y="100013"/>
                      <a:pt x="315277" y="95885"/>
                    </a:cubicBezTo>
                    <a:cubicBezTo>
                      <a:pt x="320040" y="91758"/>
                      <a:pt x="322263" y="85725"/>
                      <a:pt x="322263" y="77788"/>
                    </a:cubicBezTo>
                    <a:lnTo>
                      <a:pt x="322263" y="22225"/>
                    </a:lnTo>
                    <a:lnTo>
                      <a:pt x="309563" y="22225"/>
                    </a:lnTo>
                    <a:lnTo>
                      <a:pt x="308293" y="29210"/>
                    </a:lnTo>
                    <a:lnTo>
                      <a:pt x="307975" y="29210"/>
                    </a:lnTo>
                    <a:cubicBezTo>
                      <a:pt x="304165" y="23813"/>
                      <a:pt x="298768" y="20955"/>
                      <a:pt x="291783" y="20955"/>
                    </a:cubicBezTo>
                    <a:cubicBezTo>
                      <a:pt x="285750" y="21273"/>
                      <a:pt x="280670" y="23813"/>
                      <a:pt x="276860" y="28892"/>
                    </a:cubicBezTo>
                    <a:moveTo>
                      <a:pt x="229552" y="23177"/>
                    </a:moveTo>
                    <a:cubicBezTo>
                      <a:pt x="226377" y="24448"/>
                      <a:pt x="224155" y="26670"/>
                      <a:pt x="222250" y="29527"/>
                    </a:cubicBezTo>
                    <a:lnTo>
                      <a:pt x="221298" y="29527"/>
                    </a:lnTo>
                    <a:lnTo>
                      <a:pt x="219393" y="22542"/>
                    </a:lnTo>
                    <a:lnTo>
                      <a:pt x="207963" y="22542"/>
                    </a:lnTo>
                    <a:lnTo>
                      <a:pt x="207963" y="78105"/>
                    </a:lnTo>
                    <a:lnTo>
                      <a:pt x="223202" y="78105"/>
                    </a:lnTo>
                    <a:lnTo>
                      <a:pt x="223202" y="52070"/>
                    </a:lnTo>
                    <a:cubicBezTo>
                      <a:pt x="223202" y="46038"/>
                      <a:pt x="224155" y="41592"/>
                      <a:pt x="225743" y="38417"/>
                    </a:cubicBezTo>
                    <a:cubicBezTo>
                      <a:pt x="227330" y="35242"/>
                      <a:pt x="230505" y="33655"/>
                      <a:pt x="235268" y="33655"/>
                    </a:cubicBezTo>
                    <a:cubicBezTo>
                      <a:pt x="238443" y="33655"/>
                      <a:pt x="240665" y="34608"/>
                      <a:pt x="241935" y="36513"/>
                    </a:cubicBezTo>
                    <a:cubicBezTo>
                      <a:pt x="243205" y="38417"/>
                      <a:pt x="244158" y="41592"/>
                      <a:pt x="244158" y="45402"/>
                    </a:cubicBezTo>
                    <a:lnTo>
                      <a:pt x="244158" y="77788"/>
                    </a:lnTo>
                    <a:lnTo>
                      <a:pt x="259398" y="77788"/>
                    </a:lnTo>
                    <a:lnTo>
                      <a:pt x="259398" y="41592"/>
                    </a:lnTo>
                    <a:cubicBezTo>
                      <a:pt x="259398" y="34608"/>
                      <a:pt x="257493" y="29210"/>
                      <a:pt x="254000" y="26035"/>
                    </a:cubicBezTo>
                    <a:cubicBezTo>
                      <a:pt x="250508" y="22860"/>
                      <a:pt x="245745" y="21273"/>
                      <a:pt x="239713" y="21273"/>
                    </a:cubicBezTo>
                    <a:cubicBezTo>
                      <a:pt x="235902" y="21273"/>
                      <a:pt x="232410" y="21908"/>
                      <a:pt x="229552" y="23177"/>
                    </a:cubicBezTo>
                    <a:moveTo>
                      <a:pt x="178435" y="35560"/>
                    </a:moveTo>
                    <a:cubicBezTo>
                      <a:pt x="180023" y="37783"/>
                      <a:pt x="180975" y="40640"/>
                      <a:pt x="180975" y="43815"/>
                    </a:cubicBezTo>
                    <a:lnTo>
                      <a:pt x="159702" y="43815"/>
                    </a:lnTo>
                    <a:cubicBezTo>
                      <a:pt x="160020" y="39688"/>
                      <a:pt x="161290" y="36830"/>
                      <a:pt x="163195" y="34925"/>
                    </a:cubicBezTo>
                    <a:cubicBezTo>
                      <a:pt x="165100" y="33020"/>
                      <a:pt x="167640" y="32067"/>
                      <a:pt x="170498" y="32067"/>
                    </a:cubicBezTo>
                    <a:cubicBezTo>
                      <a:pt x="174308" y="32067"/>
                      <a:pt x="176848" y="33338"/>
                      <a:pt x="178435" y="35560"/>
                    </a:cubicBezTo>
                    <a:moveTo>
                      <a:pt x="156845" y="24765"/>
                    </a:moveTo>
                    <a:cubicBezTo>
                      <a:pt x="153035" y="26988"/>
                      <a:pt x="149860" y="30163"/>
                      <a:pt x="147638" y="34608"/>
                    </a:cubicBezTo>
                    <a:cubicBezTo>
                      <a:pt x="145415" y="39052"/>
                      <a:pt x="144463" y="44450"/>
                      <a:pt x="144463" y="50800"/>
                    </a:cubicBezTo>
                    <a:cubicBezTo>
                      <a:pt x="144463" y="57150"/>
                      <a:pt x="145733" y="62548"/>
                      <a:pt x="148273" y="66675"/>
                    </a:cubicBezTo>
                    <a:cubicBezTo>
                      <a:pt x="150813" y="70802"/>
                      <a:pt x="153988" y="73977"/>
                      <a:pt x="158433" y="75883"/>
                    </a:cubicBezTo>
                    <a:cubicBezTo>
                      <a:pt x="162560" y="78105"/>
                      <a:pt x="167640" y="79058"/>
                      <a:pt x="173038" y="79058"/>
                    </a:cubicBezTo>
                    <a:cubicBezTo>
                      <a:pt x="177165" y="79058"/>
                      <a:pt x="180975" y="78740"/>
                      <a:pt x="183833" y="78105"/>
                    </a:cubicBezTo>
                    <a:cubicBezTo>
                      <a:pt x="186690" y="77470"/>
                      <a:pt x="189548" y="76517"/>
                      <a:pt x="192405" y="75248"/>
                    </a:cubicBezTo>
                    <a:lnTo>
                      <a:pt x="192405" y="63500"/>
                    </a:lnTo>
                    <a:cubicBezTo>
                      <a:pt x="189230" y="65088"/>
                      <a:pt x="186373" y="66040"/>
                      <a:pt x="183198" y="66675"/>
                    </a:cubicBezTo>
                    <a:cubicBezTo>
                      <a:pt x="180340" y="67310"/>
                      <a:pt x="177165" y="67627"/>
                      <a:pt x="173355" y="67627"/>
                    </a:cubicBezTo>
                    <a:cubicBezTo>
                      <a:pt x="169227" y="67627"/>
                      <a:pt x="165735" y="66358"/>
                      <a:pt x="163195" y="63817"/>
                    </a:cubicBezTo>
                    <a:cubicBezTo>
                      <a:pt x="160655" y="61277"/>
                      <a:pt x="159385" y="58102"/>
                      <a:pt x="159385" y="53658"/>
                    </a:cubicBezTo>
                    <a:lnTo>
                      <a:pt x="195263" y="53658"/>
                    </a:lnTo>
                    <a:lnTo>
                      <a:pt x="195263" y="46355"/>
                    </a:lnTo>
                    <a:cubicBezTo>
                      <a:pt x="195263" y="38417"/>
                      <a:pt x="193040" y="32067"/>
                      <a:pt x="188595" y="27623"/>
                    </a:cubicBezTo>
                    <a:cubicBezTo>
                      <a:pt x="184150" y="23177"/>
                      <a:pt x="178118" y="20955"/>
                      <a:pt x="170498" y="20955"/>
                    </a:cubicBezTo>
                    <a:cubicBezTo>
                      <a:pt x="165418" y="21273"/>
                      <a:pt x="160655" y="22542"/>
                      <a:pt x="156845" y="24765"/>
                    </a:cubicBezTo>
                    <a:moveTo>
                      <a:pt x="124777" y="24448"/>
                    </a:moveTo>
                    <a:cubicBezTo>
                      <a:pt x="121920" y="26352"/>
                      <a:pt x="119698" y="28892"/>
                      <a:pt x="118110" y="31750"/>
                    </a:cubicBezTo>
                    <a:lnTo>
                      <a:pt x="117475" y="31750"/>
                    </a:lnTo>
                    <a:lnTo>
                      <a:pt x="115252" y="22542"/>
                    </a:lnTo>
                    <a:lnTo>
                      <a:pt x="103823" y="22542"/>
                    </a:lnTo>
                    <a:lnTo>
                      <a:pt x="103823" y="78105"/>
                    </a:lnTo>
                    <a:lnTo>
                      <a:pt x="119063" y="78105"/>
                    </a:lnTo>
                    <a:lnTo>
                      <a:pt x="119063" y="49848"/>
                    </a:lnTo>
                    <a:cubicBezTo>
                      <a:pt x="119063" y="46355"/>
                      <a:pt x="119698" y="43498"/>
                      <a:pt x="121285" y="41592"/>
                    </a:cubicBezTo>
                    <a:cubicBezTo>
                      <a:pt x="122873" y="39688"/>
                      <a:pt x="124777" y="38100"/>
                      <a:pt x="127000" y="37148"/>
                    </a:cubicBezTo>
                    <a:cubicBezTo>
                      <a:pt x="129223" y="36195"/>
                      <a:pt x="131763" y="35877"/>
                      <a:pt x="134302" y="35877"/>
                    </a:cubicBezTo>
                    <a:cubicBezTo>
                      <a:pt x="134938" y="35877"/>
                      <a:pt x="135890" y="35877"/>
                      <a:pt x="136525" y="35877"/>
                    </a:cubicBezTo>
                    <a:cubicBezTo>
                      <a:pt x="137160" y="35877"/>
                      <a:pt x="138113" y="36195"/>
                      <a:pt x="138748" y="36195"/>
                    </a:cubicBezTo>
                    <a:lnTo>
                      <a:pt x="140018" y="21908"/>
                    </a:lnTo>
                    <a:cubicBezTo>
                      <a:pt x="139383" y="21908"/>
                      <a:pt x="138748" y="21590"/>
                      <a:pt x="137477" y="21590"/>
                    </a:cubicBezTo>
                    <a:cubicBezTo>
                      <a:pt x="136525" y="21590"/>
                      <a:pt x="135573" y="21590"/>
                      <a:pt x="134938" y="21590"/>
                    </a:cubicBezTo>
                    <a:cubicBezTo>
                      <a:pt x="130810" y="21273"/>
                      <a:pt x="127635" y="22225"/>
                      <a:pt x="124777" y="24448"/>
                    </a:cubicBezTo>
                    <a:moveTo>
                      <a:pt x="78105" y="65088"/>
                    </a:moveTo>
                    <a:cubicBezTo>
                      <a:pt x="76835" y="64135"/>
                      <a:pt x="76200" y="62548"/>
                      <a:pt x="76200" y="60325"/>
                    </a:cubicBezTo>
                    <a:lnTo>
                      <a:pt x="76200" y="33655"/>
                    </a:lnTo>
                    <a:lnTo>
                      <a:pt x="91758" y="33655"/>
                    </a:lnTo>
                    <a:lnTo>
                      <a:pt x="91758" y="22225"/>
                    </a:lnTo>
                    <a:lnTo>
                      <a:pt x="76200" y="22225"/>
                    </a:lnTo>
                    <a:lnTo>
                      <a:pt x="76200" y="10477"/>
                    </a:lnTo>
                    <a:lnTo>
                      <a:pt x="66675" y="10477"/>
                    </a:lnTo>
                    <a:lnTo>
                      <a:pt x="62230" y="22225"/>
                    </a:lnTo>
                    <a:lnTo>
                      <a:pt x="53975" y="27305"/>
                    </a:lnTo>
                    <a:lnTo>
                      <a:pt x="53975" y="33655"/>
                    </a:lnTo>
                    <a:lnTo>
                      <a:pt x="61277" y="33655"/>
                    </a:lnTo>
                    <a:lnTo>
                      <a:pt x="61277" y="60325"/>
                    </a:lnTo>
                    <a:cubicBezTo>
                      <a:pt x="61277" y="65088"/>
                      <a:pt x="61913" y="68898"/>
                      <a:pt x="63500" y="71438"/>
                    </a:cubicBezTo>
                    <a:cubicBezTo>
                      <a:pt x="65088" y="73977"/>
                      <a:pt x="66993" y="75883"/>
                      <a:pt x="69850" y="77152"/>
                    </a:cubicBezTo>
                    <a:cubicBezTo>
                      <a:pt x="72390" y="78105"/>
                      <a:pt x="75565" y="78740"/>
                      <a:pt x="78740" y="78740"/>
                    </a:cubicBezTo>
                    <a:cubicBezTo>
                      <a:pt x="81598" y="78740"/>
                      <a:pt x="84138" y="78423"/>
                      <a:pt x="86677" y="78105"/>
                    </a:cubicBezTo>
                    <a:cubicBezTo>
                      <a:pt x="89218" y="77788"/>
                      <a:pt x="91123" y="77152"/>
                      <a:pt x="92710" y="76200"/>
                    </a:cubicBezTo>
                    <a:lnTo>
                      <a:pt x="92710" y="64770"/>
                    </a:lnTo>
                    <a:cubicBezTo>
                      <a:pt x="91123" y="65405"/>
                      <a:pt x="89535" y="65723"/>
                      <a:pt x="87948" y="66040"/>
                    </a:cubicBezTo>
                    <a:cubicBezTo>
                      <a:pt x="86360" y="66358"/>
                      <a:pt x="84773" y="66358"/>
                      <a:pt x="83185" y="66358"/>
                    </a:cubicBezTo>
                    <a:cubicBezTo>
                      <a:pt x="80963" y="66675"/>
                      <a:pt x="79375" y="66358"/>
                      <a:pt x="78105" y="65088"/>
                    </a:cubicBezTo>
                    <a:moveTo>
                      <a:pt x="45402" y="48260"/>
                    </a:moveTo>
                    <a:cubicBezTo>
                      <a:pt x="44133" y="45720"/>
                      <a:pt x="41910" y="43498"/>
                      <a:pt x="39370" y="41592"/>
                    </a:cubicBezTo>
                    <a:cubicBezTo>
                      <a:pt x="36830" y="39688"/>
                      <a:pt x="33655" y="37783"/>
                      <a:pt x="29845" y="36195"/>
                    </a:cubicBezTo>
                    <a:cubicBezTo>
                      <a:pt x="25400" y="33973"/>
                      <a:pt x="21908" y="32067"/>
                      <a:pt x="19685" y="30798"/>
                    </a:cubicBezTo>
                    <a:cubicBezTo>
                      <a:pt x="17463" y="29210"/>
                      <a:pt x="16193" y="27305"/>
                      <a:pt x="16193" y="24765"/>
                    </a:cubicBezTo>
                    <a:cubicBezTo>
                      <a:pt x="16193" y="22542"/>
                      <a:pt x="16827" y="20955"/>
                      <a:pt x="18415" y="19367"/>
                    </a:cubicBezTo>
                    <a:cubicBezTo>
                      <a:pt x="20002" y="17780"/>
                      <a:pt x="22225" y="17463"/>
                      <a:pt x="25083" y="17463"/>
                    </a:cubicBezTo>
                    <a:cubicBezTo>
                      <a:pt x="27940" y="17463"/>
                      <a:pt x="30480" y="17780"/>
                      <a:pt x="33338" y="18733"/>
                    </a:cubicBezTo>
                    <a:cubicBezTo>
                      <a:pt x="35877" y="19367"/>
                      <a:pt x="39052" y="20638"/>
                      <a:pt x="42227" y="21908"/>
                    </a:cubicBezTo>
                    <a:lnTo>
                      <a:pt x="47308" y="9842"/>
                    </a:lnTo>
                    <a:cubicBezTo>
                      <a:pt x="43498" y="8255"/>
                      <a:pt x="40005" y="6985"/>
                      <a:pt x="36513" y="6033"/>
                    </a:cubicBezTo>
                    <a:cubicBezTo>
                      <a:pt x="33020" y="5080"/>
                      <a:pt x="29527" y="4763"/>
                      <a:pt x="25718" y="4763"/>
                    </a:cubicBezTo>
                    <a:cubicBezTo>
                      <a:pt x="18098" y="4763"/>
                      <a:pt x="12065" y="6667"/>
                      <a:pt x="7620" y="10160"/>
                    </a:cubicBezTo>
                    <a:cubicBezTo>
                      <a:pt x="3175" y="13652"/>
                      <a:pt x="952" y="18733"/>
                      <a:pt x="952" y="25400"/>
                    </a:cubicBezTo>
                    <a:cubicBezTo>
                      <a:pt x="952" y="28575"/>
                      <a:pt x="1588" y="31433"/>
                      <a:pt x="2540" y="33973"/>
                    </a:cubicBezTo>
                    <a:cubicBezTo>
                      <a:pt x="3810" y="36195"/>
                      <a:pt x="5080" y="38417"/>
                      <a:pt x="6985" y="40005"/>
                    </a:cubicBezTo>
                    <a:cubicBezTo>
                      <a:pt x="8890" y="41592"/>
                      <a:pt x="10795" y="43180"/>
                      <a:pt x="12700" y="44133"/>
                    </a:cubicBezTo>
                    <a:cubicBezTo>
                      <a:pt x="14605" y="45402"/>
                      <a:pt x="16510" y="46355"/>
                      <a:pt x="18098" y="46990"/>
                    </a:cubicBezTo>
                    <a:cubicBezTo>
                      <a:pt x="20955" y="48260"/>
                      <a:pt x="23177" y="49530"/>
                      <a:pt x="25400" y="50483"/>
                    </a:cubicBezTo>
                    <a:cubicBezTo>
                      <a:pt x="27623" y="51752"/>
                      <a:pt x="29210" y="52705"/>
                      <a:pt x="30480" y="53975"/>
                    </a:cubicBezTo>
                    <a:cubicBezTo>
                      <a:pt x="31750" y="55245"/>
                      <a:pt x="32385" y="56833"/>
                      <a:pt x="32385" y="58738"/>
                    </a:cubicBezTo>
                    <a:cubicBezTo>
                      <a:pt x="32385" y="60960"/>
                      <a:pt x="31433" y="62865"/>
                      <a:pt x="29845" y="64135"/>
                    </a:cubicBezTo>
                    <a:cubicBezTo>
                      <a:pt x="28258" y="65405"/>
                      <a:pt x="25718" y="66358"/>
                      <a:pt x="21908" y="66358"/>
                    </a:cubicBezTo>
                    <a:cubicBezTo>
                      <a:pt x="18098" y="66358"/>
                      <a:pt x="14605" y="65723"/>
                      <a:pt x="10795" y="64452"/>
                    </a:cubicBezTo>
                    <a:cubicBezTo>
                      <a:pt x="6985" y="63183"/>
                      <a:pt x="3493" y="61913"/>
                      <a:pt x="0" y="60325"/>
                    </a:cubicBezTo>
                    <a:lnTo>
                      <a:pt x="0" y="74613"/>
                    </a:lnTo>
                    <a:cubicBezTo>
                      <a:pt x="6033" y="77470"/>
                      <a:pt x="13018" y="79058"/>
                      <a:pt x="20638" y="79058"/>
                    </a:cubicBezTo>
                    <a:cubicBezTo>
                      <a:pt x="29210" y="79058"/>
                      <a:pt x="35877" y="77152"/>
                      <a:pt x="40323" y="73342"/>
                    </a:cubicBezTo>
                    <a:cubicBezTo>
                      <a:pt x="45085" y="69533"/>
                      <a:pt x="47308" y="64452"/>
                      <a:pt x="47308" y="58102"/>
                    </a:cubicBezTo>
                    <a:cubicBezTo>
                      <a:pt x="47625" y="53975"/>
                      <a:pt x="46673" y="50800"/>
                      <a:pt x="45402" y="48260"/>
                    </a:cubicBezTo>
                  </a:path>
                </a:pathLst>
              </a:custGeom>
              <a:grpFill/>
              <a:ln w="3175" cap="flat">
                <a:noFill/>
                <a:prstDash val="solid"/>
                <a:miter/>
              </a:ln>
            </p:spPr>
            <p:txBody>
              <a:bodyPr rtlCol="0" anchor="ctr"/>
              <a:lstStyle/>
              <a:p>
                <a:endParaRPr lang="en-GB" dirty="0">
                  <a:solidFill>
                    <a:srgbClr val="000000"/>
                  </a:solidFill>
                  <a:latin typeface="Verdana"/>
                </a:endParaRPr>
              </a:p>
            </p:txBody>
          </p:sp>
        </p:grpSp>
        <p:grpSp>
          <p:nvGrpSpPr>
            <p:cNvPr id="16" name="Group 15">
              <a:extLst>
                <a:ext uri="{FF2B5EF4-FFF2-40B4-BE49-F238E27FC236}">
                  <a16:creationId xmlns:a16="http://schemas.microsoft.com/office/drawing/2014/main" id="{54AA44B0-171B-48B1-9E53-3FC0A0508B67}"/>
                </a:ext>
              </a:extLst>
            </p:cNvPr>
            <p:cNvGrpSpPr/>
            <p:nvPr/>
          </p:nvGrpSpPr>
          <p:grpSpPr>
            <a:xfrm>
              <a:off x="1781175" y="3083560"/>
              <a:ext cx="1269048" cy="780415"/>
              <a:chOff x="1781175" y="2987675"/>
              <a:chExt cx="1269048" cy="780415"/>
            </a:xfrm>
            <a:solidFill>
              <a:srgbClr val="EAAB00"/>
            </a:solidFill>
          </p:grpSpPr>
          <p:sp>
            <p:nvSpPr>
              <p:cNvPr id="44" name="Freeform: Shape 43">
                <a:extLst>
                  <a:ext uri="{FF2B5EF4-FFF2-40B4-BE49-F238E27FC236}">
                    <a16:creationId xmlns:a16="http://schemas.microsoft.com/office/drawing/2014/main" id="{A8D72E0E-8709-461A-8D37-6F2219879A55}"/>
                  </a:ext>
                </a:extLst>
              </p:cNvPr>
              <p:cNvSpPr/>
              <p:nvPr/>
            </p:nvSpPr>
            <p:spPr>
              <a:xfrm>
                <a:off x="2351723" y="3666490"/>
                <a:ext cx="698500" cy="101600"/>
              </a:xfrm>
              <a:custGeom>
                <a:avLst/>
                <a:gdLst>
                  <a:gd name="connsiteX0" fmla="*/ 698500 w 698500"/>
                  <a:gd name="connsiteY0" fmla="*/ 54610 h 101600"/>
                  <a:gd name="connsiteX1" fmla="*/ 693102 w 698500"/>
                  <a:gd name="connsiteY1" fmla="*/ 49530 h 101600"/>
                  <a:gd name="connsiteX2" fmla="*/ 684530 w 698500"/>
                  <a:gd name="connsiteY2" fmla="*/ 45402 h 101600"/>
                  <a:gd name="connsiteX3" fmla="*/ 676592 w 698500"/>
                  <a:gd name="connsiteY3" fmla="*/ 41910 h 101600"/>
                  <a:gd name="connsiteX4" fmla="*/ 672465 w 698500"/>
                  <a:gd name="connsiteY4" fmla="*/ 39052 h 101600"/>
                  <a:gd name="connsiteX5" fmla="*/ 671195 w 698500"/>
                  <a:gd name="connsiteY5" fmla="*/ 35560 h 101600"/>
                  <a:gd name="connsiteX6" fmla="*/ 681038 w 698500"/>
                  <a:gd name="connsiteY6" fmla="*/ 29845 h 101600"/>
                  <a:gd name="connsiteX7" fmla="*/ 688657 w 698500"/>
                  <a:gd name="connsiteY7" fmla="*/ 30797 h 101600"/>
                  <a:gd name="connsiteX8" fmla="*/ 695960 w 698500"/>
                  <a:gd name="connsiteY8" fmla="*/ 33338 h 101600"/>
                  <a:gd name="connsiteX9" fmla="*/ 699452 w 698500"/>
                  <a:gd name="connsiteY9" fmla="*/ 25082 h 101600"/>
                  <a:gd name="connsiteX10" fmla="*/ 690880 w 698500"/>
                  <a:gd name="connsiteY10" fmla="*/ 22225 h 101600"/>
                  <a:gd name="connsiteX11" fmla="*/ 681355 w 698500"/>
                  <a:gd name="connsiteY11" fmla="*/ 21272 h 101600"/>
                  <a:gd name="connsiteX12" fmla="*/ 666115 w 698500"/>
                  <a:gd name="connsiteY12" fmla="*/ 25082 h 101600"/>
                  <a:gd name="connsiteX13" fmla="*/ 660400 w 698500"/>
                  <a:gd name="connsiteY13" fmla="*/ 35877 h 101600"/>
                  <a:gd name="connsiteX14" fmla="*/ 662305 w 698500"/>
                  <a:gd name="connsiteY14" fmla="*/ 43180 h 101600"/>
                  <a:gd name="connsiteX15" fmla="*/ 667702 w 698500"/>
                  <a:gd name="connsiteY15" fmla="*/ 48260 h 101600"/>
                  <a:gd name="connsiteX16" fmla="*/ 676592 w 698500"/>
                  <a:gd name="connsiteY16" fmla="*/ 52388 h 101600"/>
                  <a:gd name="connsiteX17" fmla="*/ 684848 w 698500"/>
                  <a:gd name="connsiteY17" fmla="*/ 55880 h 101600"/>
                  <a:gd name="connsiteX18" fmla="*/ 688657 w 698500"/>
                  <a:gd name="connsiteY18" fmla="*/ 59055 h 101600"/>
                  <a:gd name="connsiteX19" fmla="*/ 689610 w 698500"/>
                  <a:gd name="connsiteY19" fmla="*/ 62230 h 101600"/>
                  <a:gd name="connsiteX20" fmla="*/ 687070 w 698500"/>
                  <a:gd name="connsiteY20" fmla="*/ 67310 h 101600"/>
                  <a:gd name="connsiteX21" fmla="*/ 678180 w 698500"/>
                  <a:gd name="connsiteY21" fmla="*/ 69215 h 101600"/>
                  <a:gd name="connsiteX22" fmla="*/ 668655 w 698500"/>
                  <a:gd name="connsiteY22" fmla="*/ 67945 h 101600"/>
                  <a:gd name="connsiteX23" fmla="*/ 660400 w 698500"/>
                  <a:gd name="connsiteY23" fmla="*/ 64770 h 101600"/>
                  <a:gd name="connsiteX24" fmla="*/ 660400 w 698500"/>
                  <a:gd name="connsiteY24" fmla="*/ 74295 h 101600"/>
                  <a:gd name="connsiteX25" fmla="*/ 668020 w 698500"/>
                  <a:gd name="connsiteY25" fmla="*/ 76835 h 101600"/>
                  <a:gd name="connsiteX26" fmla="*/ 677863 w 698500"/>
                  <a:gd name="connsiteY26" fmla="*/ 77788 h 101600"/>
                  <a:gd name="connsiteX27" fmla="*/ 694373 w 698500"/>
                  <a:gd name="connsiteY27" fmla="*/ 73660 h 101600"/>
                  <a:gd name="connsiteX28" fmla="*/ 700088 w 698500"/>
                  <a:gd name="connsiteY28" fmla="*/ 61277 h 101600"/>
                  <a:gd name="connsiteX29" fmla="*/ 698500 w 698500"/>
                  <a:gd name="connsiteY29" fmla="*/ 54610 h 101600"/>
                  <a:gd name="connsiteX30" fmla="*/ 636905 w 698500"/>
                  <a:gd name="connsiteY30" fmla="*/ 55880 h 101600"/>
                  <a:gd name="connsiteX31" fmla="*/ 632777 w 698500"/>
                  <a:gd name="connsiteY31" fmla="*/ 66675 h 101600"/>
                  <a:gd name="connsiteX32" fmla="*/ 622300 w 698500"/>
                  <a:gd name="connsiteY32" fmla="*/ 70167 h 101600"/>
                  <a:gd name="connsiteX33" fmla="*/ 615632 w 698500"/>
                  <a:gd name="connsiteY33" fmla="*/ 68263 h 101600"/>
                  <a:gd name="connsiteX34" fmla="*/ 613092 w 698500"/>
                  <a:gd name="connsiteY34" fmla="*/ 61913 h 101600"/>
                  <a:gd name="connsiteX35" fmla="*/ 616585 w 698500"/>
                  <a:gd name="connsiteY35" fmla="*/ 54292 h 101600"/>
                  <a:gd name="connsiteX36" fmla="*/ 629602 w 698500"/>
                  <a:gd name="connsiteY36" fmla="*/ 51117 h 101600"/>
                  <a:gd name="connsiteX37" fmla="*/ 636905 w 698500"/>
                  <a:gd name="connsiteY37" fmla="*/ 50800 h 101600"/>
                  <a:gd name="connsiteX38" fmla="*/ 636905 w 698500"/>
                  <a:gd name="connsiteY38" fmla="*/ 55880 h 101600"/>
                  <a:gd name="connsiteX39" fmla="*/ 616585 w 698500"/>
                  <a:gd name="connsiteY39" fmla="*/ 22860 h 101600"/>
                  <a:gd name="connsiteX40" fmla="*/ 607695 w 698500"/>
                  <a:gd name="connsiteY40" fmla="*/ 26352 h 101600"/>
                  <a:gd name="connsiteX41" fmla="*/ 611188 w 698500"/>
                  <a:gd name="connsiteY41" fmla="*/ 34290 h 101600"/>
                  <a:gd name="connsiteX42" fmla="*/ 618490 w 698500"/>
                  <a:gd name="connsiteY42" fmla="*/ 31432 h 101600"/>
                  <a:gd name="connsiteX43" fmla="*/ 626427 w 698500"/>
                  <a:gd name="connsiteY43" fmla="*/ 30163 h 101600"/>
                  <a:gd name="connsiteX44" fmla="*/ 634048 w 698500"/>
                  <a:gd name="connsiteY44" fmla="*/ 32702 h 101600"/>
                  <a:gd name="connsiteX45" fmla="*/ 636905 w 698500"/>
                  <a:gd name="connsiteY45" fmla="*/ 41275 h 101600"/>
                  <a:gd name="connsiteX46" fmla="*/ 636905 w 698500"/>
                  <a:gd name="connsiteY46" fmla="*/ 44450 h 101600"/>
                  <a:gd name="connsiteX47" fmla="*/ 627698 w 698500"/>
                  <a:gd name="connsiteY47" fmla="*/ 44767 h 101600"/>
                  <a:gd name="connsiteX48" fmla="*/ 608330 w 698500"/>
                  <a:gd name="connsiteY48" fmla="*/ 49530 h 101600"/>
                  <a:gd name="connsiteX49" fmla="*/ 601980 w 698500"/>
                  <a:gd name="connsiteY49" fmla="*/ 62230 h 101600"/>
                  <a:gd name="connsiteX50" fmla="*/ 606742 w 698500"/>
                  <a:gd name="connsiteY50" fmla="*/ 74930 h 101600"/>
                  <a:gd name="connsiteX51" fmla="*/ 619125 w 698500"/>
                  <a:gd name="connsiteY51" fmla="*/ 79057 h 101600"/>
                  <a:gd name="connsiteX52" fmla="*/ 629920 w 698500"/>
                  <a:gd name="connsiteY52" fmla="*/ 76835 h 101600"/>
                  <a:gd name="connsiteX53" fmla="*/ 637540 w 698500"/>
                  <a:gd name="connsiteY53" fmla="*/ 70167 h 101600"/>
                  <a:gd name="connsiteX54" fmla="*/ 637857 w 698500"/>
                  <a:gd name="connsiteY54" fmla="*/ 70167 h 101600"/>
                  <a:gd name="connsiteX55" fmla="*/ 640080 w 698500"/>
                  <a:gd name="connsiteY55" fmla="*/ 77788 h 101600"/>
                  <a:gd name="connsiteX56" fmla="*/ 647700 w 698500"/>
                  <a:gd name="connsiteY56" fmla="*/ 77788 h 101600"/>
                  <a:gd name="connsiteX57" fmla="*/ 647700 w 698500"/>
                  <a:gd name="connsiteY57" fmla="*/ 40640 h 101600"/>
                  <a:gd name="connsiteX58" fmla="*/ 642620 w 698500"/>
                  <a:gd name="connsiteY58" fmla="*/ 26352 h 101600"/>
                  <a:gd name="connsiteX59" fmla="*/ 627380 w 698500"/>
                  <a:gd name="connsiteY59" fmla="*/ 21907 h 101600"/>
                  <a:gd name="connsiteX60" fmla="*/ 616585 w 698500"/>
                  <a:gd name="connsiteY60" fmla="*/ 22860 h 101600"/>
                  <a:gd name="connsiteX61" fmla="*/ 578485 w 698500"/>
                  <a:gd name="connsiteY61" fmla="*/ 33972 h 101600"/>
                  <a:gd name="connsiteX62" fmla="*/ 581660 w 698500"/>
                  <a:gd name="connsiteY62" fmla="*/ 44450 h 101600"/>
                  <a:gd name="connsiteX63" fmla="*/ 555942 w 698500"/>
                  <a:gd name="connsiteY63" fmla="*/ 44450 h 101600"/>
                  <a:gd name="connsiteX64" fmla="*/ 560070 w 698500"/>
                  <a:gd name="connsiteY64" fmla="*/ 33655 h 101600"/>
                  <a:gd name="connsiteX65" fmla="*/ 569277 w 698500"/>
                  <a:gd name="connsiteY65" fmla="*/ 29845 h 101600"/>
                  <a:gd name="connsiteX66" fmla="*/ 578485 w 698500"/>
                  <a:gd name="connsiteY66" fmla="*/ 33972 h 101600"/>
                  <a:gd name="connsiteX67" fmla="*/ 556260 w 698500"/>
                  <a:gd name="connsiteY67" fmla="*/ 25082 h 101600"/>
                  <a:gd name="connsiteX68" fmla="*/ 547688 w 698500"/>
                  <a:gd name="connsiteY68" fmla="*/ 34925 h 101600"/>
                  <a:gd name="connsiteX69" fmla="*/ 544513 w 698500"/>
                  <a:gd name="connsiteY69" fmla="*/ 50482 h 101600"/>
                  <a:gd name="connsiteX70" fmla="*/ 548005 w 698500"/>
                  <a:gd name="connsiteY70" fmla="*/ 66040 h 101600"/>
                  <a:gd name="connsiteX71" fmla="*/ 557530 w 698500"/>
                  <a:gd name="connsiteY71" fmla="*/ 75247 h 101600"/>
                  <a:gd name="connsiteX72" fmla="*/ 571500 w 698500"/>
                  <a:gd name="connsiteY72" fmla="*/ 78422 h 101600"/>
                  <a:gd name="connsiteX73" fmla="*/ 581342 w 698500"/>
                  <a:gd name="connsiteY73" fmla="*/ 77470 h 101600"/>
                  <a:gd name="connsiteX74" fmla="*/ 589598 w 698500"/>
                  <a:gd name="connsiteY74" fmla="*/ 74613 h 101600"/>
                  <a:gd name="connsiteX75" fmla="*/ 589598 w 698500"/>
                  <a:gd name="connsiteY75" fmla="*/ 65722 h 101600"/>
                  <a:gd name="connsiteX76" fmla="*/ 581025 w 698500"/>
                  <a:gd name="connsiteY76" fmla="*/ 68580 h 101600"/>
                  <a:gd name="connsiteX77" fmla="*/ 571500 w 698500"/>
                  <a:gd name="connsiteY77" fmla="*/ 69532 h 101600"/>
                  <a:gd name="connsiteX78" fmla="*/ 559752 w 698500"/>
                  <a:gd name="connsiteY78" fmla="*/ 65088 h 101600"/>
                  <a:gd name="connsiteX79" fmla="*/ 555307 w 698500"/>
                  <a:gd name="connsiteY79" fmla="*/ 52070 h 101600"/>
                  <a:gd name="connsiteX80" fmla="*/ 592138 w 698500"/>
                  <a:gd name="connsiteY80" fmla="*/ 52070 h 101600"/>
                  <a:gd name="connsiteX81" fmla="*/ 592138 w 698500"/>
                  <a:gd name="connsiteY81" fmla="*/ 46038 h 101600"/>
                  <a:gd name="connsiteX82" fmla="*/ 585788 w 698500"/>
                  <a:gd name="connsiteY82" fmla="*/ 27940 h 101600"/>
                  <a:gd name="connsiteX83" fmla="*/ 568960 w 698500"/>
                  <a:gd name="connsiteY83" fmla="*/ 21272 h 101600"/>
                  <a:gd name="connsiteX84" fmla="*/ 556260 w 698500"/>
                  <a:gd name="connsiteY84" fmla="*/ 25082 h 101600"/>
                  <a:gd name="connsiteX85" fmla="*/ 523875 w 698500"/>
                  <a:gd name="connsiteY85" fmla="*/ 24765 h 101600"/>
                  <a:gd name="connsiteX86" fmla="*/ 517207 w 698500"/>
                  <a:gd name="connsiteY86" fmla="*/ 32385 h 101600"/>
                  <a:gd name="connsiteX87" fmla="*/ 516890 w 698500"/>
                  <a:gd name="connsiteY87" fmla="*/ 32385 h 101600"/>
                  <a:gd name="connsiteX88" fmla="*/ 515620 w 698500"/>
                  <a:gd name="connsiteY88" fmla="*/ 22542 h 101600"/>
                  <a:gd name="connsiteX89" fmla="*/ 507048 w 698500"/>
                  <a:gd name="connsiteY89" fmla="*/ 22542 h 101600"/>
                  <a:gd name="connsiteX90" fmla="*/ 507048 w 698500"/>
                  <a:gd name="connsiteY90" fmla="*/ 77152 h 101600"/>
                  <a:gd name="connsiteX91" fmla="*/ 517842 w 698500"/>
                  <a:gd name="connsiteY91" fmla="*/ 77152 h 101600"/>
                  <a:gd name="connsiteX92" fmla="*/ 517842 w 698500"/>
                  <a:gd name="connsiteY92" fmla="*/ 48260 h 101600"/>
                  <a:gd name="connsiteX93" fmla="*/ 520065 w 698500"/>
                  <a:gd name="connsiteY93" fmla="*/ 39052 h 101600"/>
                  <a:gd name="connsiteX94" fmla="*/ 525780 w 698500"/>
                  <a:gd name="connsiteY94" fmla="*/ 33338 h 101600"/>
                  <a:gd name="connsiteX95" fmla="*/ 533400 w 698500"/>
                  <a:gd name="connsiteY95" fmla="*/ 31432 h 101600"/>
                  <a:gd name="connsiteX96" fmla="*/ 538798 w 698500"/>
                  <a:gd name="connsiteY96" fmla="*/ 32067 h 101600"/>
                  <a:gd name="connsiteX97" fmla="*/ 540067 w 698500"/>
                  <a:gd name="connsiteY97" fmla="*/ 21907 h 101600"/>
                  <a:gd name="connsiteX98" fmla="*/ 534035 w 698500"/>
                  <a:gd name="connsiteY98" fmla="*/ 21272 h 101600"/>
                  <a:gd name="connsiteX99" fmla="*/ 523875 w 698500"/>
                  <a:gd name="connsiteY99" fmla="*/ 24765 h 101600"/>
                  <a:gd name="connsiteX100" fmla="*/ 479425 w 698500"/>
                  <a:gd name="connsiteY100" fmla="*/ 55880 h 101600"/>
                  <a:gd name="connsiteX101" fmla="*/ 475298 w 698500"/>
                  <a:gd name="connsiteY101" fmla="*/ 66675 h 101600"/>
                  <a:gd name="connsiteX102" fmla="*/ 464820 w 698500"/>
                  <a:gd name="connsiteY102" fmla="*/ 70167 h 101600"/>
                  <a:gd name="connsiteX103" fmla="*/ 458152 w 698500"/>
                  <a:gd name="connsiteY103" fmla="*/ 68263 h 101600"/>
                  <a:gd name="connsiteX104" fmla="*/ 455613 w 698500"/>
                  <a:gd name="connsiteY104" fmla="*/ 61913 h 101600"/>
                  <a:gd name="connsiteX105" fmla="*/ 459105 w 698500"/>
                  <a:gd name="connsiteY105" fmla="*/ 54292 h 101600"/>
                  <a:gd name="connsiteX106" fmla="*/ 472123 w 698500"/>
                  <a:gd name="connsiteY106" fmla="*/ 51117 h 101600"/>
                  <a:gd name="connsiteX107" fmla="*/ 479425 w 698500"/>
                  <a:gd name="connsiteY107" fmla="*/ 50800 h 101600"/>
                  <a:gd name="connsiteX108" fmla="*/ 479425 w 698500"/>
                  <a:gd name="connsiteY108" fmla="*/ 55880 h 101600"/>
                  <a:gd name="connsiteX109" fmla="*/ 459105 w 698500"/>
                  <a:gd name="connsiteY109" fmla="*/ 22860 h 101600"/>
                  <a:gd name="connsiteX110" fmla="*/ 450215 w 698500"/>
                  <a:gd name="connsiteY110" fmla="*/ 26352 h 101600"/>
                  <a:gd name="connsiteX111" fmla="*/ 453707 w 698500"/>
                  <a:gd name="connsiteY111" fmla="*/ 34290 h 101600"/>
                  <a:gd name="connsiteX112" fmla="*/ 461010 w 698500"/>
                  <a:gd name="connsiteY112" fmla="*/ 31432 h 101600"/>
                  <a:gd name="connsiteX113" fmla="*/ 468948 w 698500"/>
                  <a:gd name="connsiteY113" fmla="*/ 30163 h 101600"/>
                  <a:gd name="connsiteX114" fmla="*/ 476567 w 698500"/>
                  <a:gd name="connsiteY114" fmla="*/ 32702 h 101600"/>
                  <a:gd name="connsiteX115" fmla="*/ 479425 w 698500"/>
                  <a:gd name="connsiteY115" fmla="*/ 41275 h 101600"/>
                  <a:gd name="connsiteX116" fmla="*/ 479425 w 698500"/>
                  <a:gd name="connsiteY116" fmla="*/ 44450 h 101600"/>
                  <a:gd name="connsiteX117" fmla="*/ 470217 w 698500"/>
                  <a:gd name="connsiteY117" fmla="*/ 44767 h 101600"/>
                  <a:gd name="connsiteX118" fmla="*/ 450850 w 698500"/>
                  <a:gd name="connsiteY118" fmla="*/ 49530 h 101600"/>
                  <a:gd name="connsiteX119" fmla="*/ 444500 w 698500"/>
                  <a:gd name="connsiteY119" fmla="*/ 62230 h 101600"/>
                  <a:gd name="connsiteX120" fmla="*/ 449263 w 698500"/>
                  <a:gd name="connsiteY120" fmla="*/ 74930 h 101600"/>
                  <a:gd name="connsiteX121" fmla="*/ 461645 w 698500"/>
                  <a:gd name="connsiteY121" fmla="*/ 79057 h 101600"/>
                  <a:gd name="connsiteX122" fmla="*/ 472440 w 698500"/>
                  <a:gd name="connsiteY122" fmla="*/ 76835 h 101600"/>
                  <a:gd name="connsiteX123" fmla="*/ 480060 w 698500"/>
                  <a:gd name="connsiteY123" fmla="*/ 70167 h 101600"/>
                  <a:gd name="connsiteX124" fmla="*/ 480377 w 698500"/>
                  <a:gd name="connsiteY124" fmla="*/ 70167 h 101600"/>
                  <a:gd name="connsiteX125" fmla="*/ 482600 w 698500"/>
                  <a:gd name="connsiteY125" fmla="*/ 77788 h 101600"/>
                  <a:gd name="connsiteX126" fmla="*/ 490220 w 698500"/>
                  <a:gd name="connsiteY126" fmla="*/ 77788 h 101600"/>
                  <a:gd name="connsiteX127" fmla="*/ 490220 w 698500"/>
                  <a:gd name="connsiteY127" fmla="*/ 40640 h 101600"/>
                  <a:gd name="connsiteX128" fmla="*/ 485140 w 698500"/>
                  <a:gd name="connsiteY128" fmla="*/ 26352 h 101600"/>
                  <a:gd name="connsiteX129" fmla="*/ 469900 w 698500"/>
                  <a:gd name="connsiteY129" fmla="*/ 21907 h 101600"/>
                  <a:gd name="connsiteX130" fmla="*/ 459105 w 698500"/>
                  <a:gd name="connsiteY130" fmla="*/ 22860 h 101600"/>
                  <a:gd name="connsiteX131" fmla="*/ 396875 w 698500"/>
                  <a:gd name="connsiteY131" fmla="*/ 67627 h 101600"/>
                  <a:gd name="connsiteX132" fmla="*/ 394652 w 698500"/>
                  <a:gd name="connsiteY132" fmla="*/ 60960 h 101600"/>
                  <a:gd name="connsiteX133" fmla="*/ 394652 w 698500"/>
                  <a:gd name="connsiteY133" fmla="*/ 30797 h 101600"/>
                  <a:gd name="connsiteX134" fmla="*/ 410210 w 698500"/>
                  <a:gd name="connsiteY134" fmla="*/ 30797 h 101600"/>
                  <a:gd name="connsiteX135" fmla="*/ 410210 w 698500"/>
                  <a:gd name="connsiteY135" fmla="*/ 22542 h 101600"/>
                  <a:gd name="connsiteX136" fmla="*/ 394652 w 698500"/>
                  <a:gd name="connsiteY136" fmla="*/ 22542 h 101600"/>
                  <a:gd name="connsiteX137" fmla="*/ 394652 w 698500"/>
                  <a:gd name="connsiteY137" fmla="*/ 10160 h 101600"/>
                  <a:gd name="connsiteX138" fmla="*/ 387985 w 698500"/>
                  <a:gd name="connsiteY138" fmla="*/ 10160 h 101600"/>
                  <a:gd name="connsiteX139" fmla="*/ 384175 w 698500"/>
                  <a:gd name="connsiteY139" fmla="*/ 21590 h 101600"/>
                  <a:gd name="connsiteX140" fmla="*/ 376238 w 698500"/>
                  <a:gd name="connsiteY140" fmla="*/ 25717 h 101600"/>
                  <a:gd name="connsiteX141" fmla="*/ 376238 w 698500"/>
                  <a:gd name="connsiteY141" fmla="*/ 30480 h 101600"/>
                  <a:gd name="connsiteX142" fmla="*/ 383857 w 698500"/>
                  <a:gd name="connsiteY142" fmla="*/ 30480 h 101600"/>
                  <a:gd name="connsiteX143" fmla="*/ 383857 w 698500"/>
                  <a:gd name="connsiteY143" fmla="*/ 60642 h 101600"/>
                  <a:gd name="connsiteX144" fmla="*/ 386080 w 698500"/>
                  <a:gd name="connsiteY144" fmla="*/ 71120 h 101600"/>
                  <a:gd name="connsiteX145" fmla="*/ 392113 w 698500"/>
                  <a:gd name="connsiteY145" fmla="*/ 76517 h 101600"/>
                  <a:gd name="connsiteX146" fmla="*/ 400367 w 698500"/>
                  <a:gd name="connsiteY146" fmla="*/ 78105 h 101600"/>
                  <a:gd name="connsiteX147" fmla="*/ 406400 w 698500"/>
                  <a:gd name="connsiteY147" fmla="*/ 77470 h 101600"/>
                  <a:gd name="connsiteX148" fmla="*/ 411163 w 698500"/>
                  <a:gd name="connsiteY148" fmla="*/ 76200 h 101600"/>
                  <a:gd name="connsiteX149" fmla="*/ 411163 w 698500"/>
                  <a:gd name="connsiteY149" fmla="*/ 67945 h 101600"/>
                  <a:gd name="connsiteX150" fmla="*/ 402907 w 698500"/>
                  <a:gd name="connsiteY150" fmla="*/ 69215 h 101600"/>
                  <a:gd name="connsiteX151" fmla="*/ 396875 w 698500"/>
                  <a:gd name="connsiteY151" fmla="*/ 67627 h 101600"/>
                  <a:gd name="connsiteX152" fmla="*/ 336867 w 698500"/>
                  <a:gd name="connsiteY152" fmla="*/ 23495 h 101600"/>
                  <a:gd name="connsiteX153" fmla="*/ 329565 w 698500"/>
                  <a:gd name="connsiteY153" fmla="*/ 29845 h 101600"/>
                  <a:gd name="connsiteX154" fmla="*/ 328930 w 698500"/>
                  <a:gd name="connsiteY154" fmla="*/ 29845 h 101600"/>
                  <a:gd name="connsiteX155" fmla="*/ 327342 w 698500"/>
                  <a:gd name="connsiteY155" fmla="*/ 22542 h 101600"/>
                  <a:gd name="connsiteX156" fmla="*/ 318770 w 698500"/>
                  <a:gd name="connsiteY156" fmla="*/ 22542 h 101600"/>
                  <a:gd name="connsiteX157" fmla="*/ 318770 w 698500"/>
                  <a:gd name="connsiteY157" fmla="*/ 77152 h 101600"/>
                  <a:gd name="connsiteX158" fmla="*/ 329565 w 698500"/>
                  <a:gd name="connsiteY158" fmla="*/ 77152 h 101600"/>
                  <a:gd name="connsiteX159" fmla="*/ 329565 w 698500"/>
                  <a:gd name="connsiteY159" fmla="*/ 49530 h 101600"/>
                  <a:gd name="connsiteX160" fmla="*/ 332740 w 698500"/>
                  <a:gd name="connsiteY160" fmla="*/ 35242 h 101600"/>
                  <a:gd name="connsiteX161" fmla="*/ 344170 w 698500"/>
                  <a:gd name="connsiteY161" fmla="*/ 30163 h 101600"/>
                  <a:gd name="connsiteX162" fmla="*/ 355600 w 698500"/>
                  <a:gd name="connsiteY162" fmla="*/ 42863 h 101600"/>
                  <a:gd name="connsiteX163" fmla="*/ 355600 w 698500"/>
                  <a:gd name="connsiteY163" fmla="*/ 77152 h 101600"/>
                  <a:gd name="connsiteX164" fmla="*/ 366395 w 698500"/>
                  <a:gd name="connsiteY164" fmla="*/ 77152 h 101600"/>
                  <a:gd name="connsiteX165" fmla="*/ 366395 w 698500"/>
                  <a:gd name="connsiteY165" fmla="*/ 41592 h 101600"/>
                  <a:gd name="connsiteX166" fmla="*/ 361315 w 698500"/>
                  <a:gd name="connsiteY166" fmla="*/ 26352 h 101600"/>
                  <a:gd name="connsiteX167" fmla="*/ 346710 w 698500"/>
                  <a:gd name="connsiteY167" fmla="*/ 21590 h 101600"/>
                  <a:gd name="connsiteX168" fmla="*/ 336867 w 698500"/>
                  <a:gd name="connsiteY168" fmla="*/ 23495 h 101600"/>
                  <a:gd name="connsiteX169" fmla="*/ 291782 w 698500"/>
                  <a:gd name="connsiteY169" fmla="*/ 33972 h 101600"/>
                  <a:gd name="connsiteX170" fmla="*/ 294957 w 698500"/>
                  <a:gd name="connsiteY170" fmla="*/ 44450 h 101600"/>
                  <a:gd name="connsiteX171" fmla="*/ 269240 w 698500"/>
                  <a:gd name="connsiteY171" fmla="*/ 44450 h 101600"/>
                  <a:gd name="connsiteX172" fmla="*/ 273367 w 698500"/>
                  <a:gd name="connsiteY172" fmla="*/ 33655 h 101600"/>
                  <a:gd name="connsiteX173" fmla="*/ 282575 w 698500"/>
                  <a:gd name="connsiteY173" fmla="*/ 29845 h 101600"/>
                  <a:gd name="connsiteX174" fmla="*/ 291782 w 698500"/>
                  <a:gd name="connsiteY174" fmla="*/ 33972 h 101600"/>
                  <a:gd name="connsiteX175" fmla="*/ 269240 w 698500"/>
                  <a:gd name="connsiteY175" fmla="*/ 25082 h 101600"/>
                  <a:gd name="connsiteX176" fmla="*/ 260667 w 698500"/>
                  <a:gd name="connsiteY176" fmla="*/ 34925 h 101600"/>
                  <a:gd name="connsiteX177" fmla="*/ 257492 w 698500"/>
                  <a:gd name="connsiteY177" fmla="*/ 50482 h 101600"/>
                  <a:gd name="connsiteX178" fmla="*/ 260985 w 698500"/>
                  <a:gd name="connsiteY178" fmla="*/ 66040 h 101600"/>
                  <a:gd name="connsiteX179" fmla="*/ 270510 w 698500"/>
                  <a:gd name="connsiteY179" fmla="*/ 75247 h 101600"/>
                  <a:gd name="connsiteX180" fmla="*/ 284480 w 698500"/>
                  <a:gd name="connsiteY180" fmla="*/ 78422 h 101600"/>
                  <a:gd name="connsiteX181" fmla="*/ 294323 w 698500"/>
                  <a:gd name="connsiteY181" fmla="*/ 77470 h 101600"/>
                  <a:gd name="connsiteX182" fmla="*/ 302577 w 698500"/>
                  <a:gd name="connsiteY182" fmla="*/ 74613 h 101600"/>
                  <a:gd name="connsiteX183" fmla="*/ 302577 w 698500"/>
                  <a:gd name="connsiteY183" fmla="*/ 65722 h 101600"/>
                  <a:gd name="connsiteX184" fmla="*/ 294005 w 698500"/>
                  <a:gd name="connsiteY184" fmla="*/ 68580 h 101600"/>
                  <a:gd name="connsiteX185" fmla="*/ 284480 w 698500"/>
                  <a:gd name="connsiteY185" fmla="*/ 69532 h 101600"/>
                  <a:gd name="connsiteX186" fmla="*/ 272732 w 698500"/>
                  <a:gd name="connsiteY186" fmla="*/ 65088 h 101600"/>
                  <a:gd name="connsiteX187" fmla="*/ 268288 w 698500"/>
                  <a:gd name="connsiteY187" fmla="*/ 52070 h 101600"/>
                  <a:gd name="connsiteX188" fmla="*/ 305117 w 698500"/>
                  <a:gd name="connsiteY188" fmla="*/ 52070 h 101600"/>
                  <a:gd name="connsiteX189" fmla="*/ 305117 w 698500"/>
                  <a:gd name="connsiteY189" fmla="*/ 46038 h 101600"/>
                  <a:gd name="connsiteX190" fmla="*/ 298767 w 698500"/>
                  <a:gd name="connsiteY190" fmla="*/ 27940 h 101600"/>
                  <a:gd name="connsiteX191" fmla="*/ 281940 w 698500"/>
                  <a:gd name="connsiteY191" fmla="*/ 21272 h 101600"/>
                  <a:gd name="connsiteX192" fmla="*/ 269240 w 698500"/>
                  <a:gd name="connsiteY192" fmla="*/ 25082 h 101600"/>
                  <a:gd name="connsiteX193" fmla="*/ 241617 w 698500"/>
                  <a:gd name="connsiteY193" fmla="*/ 77470 h 101600"/>
                  <a:gd name="connsiteX194" fmla="*/ 247967 w 698500"/>
                  <a:gd name="connsiteY194" fmla="*/ 74930 h 101600"/>
                  <a:gd name="connsiteX195" fmla="*/ 247967 w 698500"/>
                  <a:gd name="connsiteY195" fmla="*/ 65722 h 101600"/>
                  <a:gd name="connsiteX196" fmla="*/ 241617 w 698500"/>
                  <a:gd name="connsiteY196" fmla="*/ 68263 h 101600"/>
                  <a:gd name="connsiteX197" fmla="*/ 233680 w 698500"/>
                  <a:gd name="connsiteY197" fmla="*/ 69215 h 101600"/>
                  <a:gd name="connsiteX198" fmla="*/ 222885 w 698500"/>
                  <a:gd name="connsiteY198" fmla="*/ 64452 h 101600"/>
                  <a:gd name="connsiteX199" fmla="*/ 219075 w 698500"/>
                  <a:gd name="connsiteY199" fmla="*/ 50165 h 101600"/>
                  <a:gd name="connsiteX200" fmla="*/ 233998 w 698500"/>
                  <a:gd name="connsiteY200" fmla="*/ 30797 h 101600"/>
                  <a:gd name="connsiteX201" fmla="*/ 240030 w 698500"/>
                  <a:gd name="connsiteY201" fmla="*/ 31750 h 101600"/>
                  <a:gd name="connsiteX202" fmla="*/ 246063 w 698500"/>
                  <a:gd name="connsiteY202" fmla="*/ 33655 h 101600"/>
                  <a:gd name="connsiteX203" fmla="*/ 249238 w 698500"/>
                  <a:gd name="connsiteY203" fmla="*/ 24765 h 101600"/>
                  <a:gd name="connsiteX204" fmla="*/ 242570 w 698500"/>
                  <a:gd name="connsiteY204" fmla="*/ 22542 h 101600"/>
                  <a:gd name="connsiteX205" fmla="*/ 233998 w 698500"/>
                  <a:gd name="connsiteY205" fmla="*/ 21590 h 101600"/>
                  <a:gd name="connsiteX206" fmla="*/ 220663 w 698500"/>
                  <a:gd name="connsiteY206" fmla="*/ 24447 h 101600"/>
                  <a:gd name="connsiteX207" fmla="*/ 211455 w 698500"/>
                  <a:gd name="connsiteY207" fmla="*/ 33655 h 101600"/>
                  <a:gd name="connsiteX208" fmla="*/ 207963 w 698500"/>
                  <a:gd name="connsiteY208" fmla="*/ 50165 h 101600"/>
                  <a:gd name="connsiteX209" fmla="*/ 214948 w 698500"/>
                  <a:gd name="connsiteY209" fmla="*/ 71438 h 101600"/>
                  <a:gd name="connsiteX210" fmla="*/ 233363 w 698500"/>
                  <a:gd name="connsiteY210" fmla="*/ 78105 h 101600"/>
                  <a:gd name="connsiteX211" fmla="*/ 241617 w 698500"/>
                  <a:gd name="connsiteY211" fmla="*/ 77470 h 101600"/>
                  <a:gd name="connsiteX212" fmla="*/ 183832 w 698500"/>
                  <a:gd name="connsiteY212" fmla="*/ 55880 h 101600"/>
                  <a:gd name="connsiteX213" fmla="*/ 179705 w 698500"/>
                  <a:gd name="connsiteY213" fmla="*/ 66675 h 101600"/>
                  <a:gd name="connsiteX214" fmla="*/ 169227 w 698500"/>
                  <a:gd name="connsiteY214" fmla="*/ 70167 h 101600"/>
                  <a:gd name="connsiteX215" fmla="*/ 162560 w 698500"/>
                  <a:gd name="connsiteY215" fmla="*/ 68263 h 101600"/>
                  <a:gd name="connsiteX216" fmla="*/ 160020 w 698500"/>
                  <a:gd name="connsiteY216" fmla="*/ 61913 h 101600"/>
                  <a:gd name="connsiteX217" fmla="*/ 163513 w 698500"/>
                  <a:gd name="connsiteY217" fmla="*/ 54292 h 101600"/>
                  <a:gd name="connsiteX218" fmla="*/ 176530 w 698500"/>
                  <a:gd name="connsiteY218" fmla="*/ 51117 h 101600"/>
                  <a:gd name="connsiteX219" fmla="*/ 183832 w 698500"/>
                  <a:gd name="connsiteY219" fmla="*/ 50800 h 101600"/>
                  <a:gd name="connsiteX220" fmla="*/ 183832 w 698500"/>
                  <a:gd name="connsiteY220" fmla="*/ 55880 h 101600"/>
                  <a:gd name="connsiteX221" fmla="*/ 163513 w 698500"/>
                  <a:gd name="connsiteY221" fmla="*/ 22860 h 101600"/>
                  <a:gd name="connsiteX222" fmla="*/ 154623 w 698500"/>
                  <a:gd name="connsiteY222" fmla="*/ 26352 h 101600"/>
                  <a:gd name="connsiteX223" fmla="*/ 158115 w 698500"/>
                  <a:gd name="connsiteY223" fmla="*/ 34290 h 101600"/>
                  <a:gd name="connsiteX224" fmla="*/ 165417 w 698500"/>
                  <a:gd name="connsiteY224" fmla="*/ 31432 h 101600"/>
                  <a:gd name="connsiteX225" fmla="*/ 173355 w 698500"/>
                  <a:gd name="connsiteY225" fmla="*/ 30163 h 101600"/>
                  <a:gd name="connsiteX226" fmla="*/ 180975 w 698500"/>
                  <a:gd name="connsiteY226" fmla="*/ 32702 h 101600"/>
                  <a:gd name="connsiteX227" fmla="*/ 183832 w 698500"/>
                  <a:gd name="connsiteY227" fmla="*/ 41275 h 101600"/>
                  <a:gd name="connsiteX228" fmla="*/ 183832 w 698500"/>
                  <a:gd name="connsiteY228" fmla="*/ 44450 h 101600"/>
                  <a:gd name="connsiteX229" fmla="*/ 174625 w 698500"/>
                  <a:gd name="connsiteY229" fmla="*/ 44767 h 101600"/>
                  <a:gd name="connsiteX230" fmla="*/ 155257 w 698500"/>
                  <a:gd name="connsiteY230" fmla="*/ 49530 h 101600"/>
                  <a:gd name="connsiteX231" fmla="*/ 148907 w 698500"/>
                  <a:gd name="connsiteY231" fmla="*/ 62230 h 101600"/>
                  <a:gd name="connsiteX232" fmla="*/ 153670 w 698500"/>
                  <a:gd name="connsiteY232" fmla="*/ 74930 h 101600"/>
                  <a:gd name="connsiteX233" fmla="*/ 166052 w 698500"/>
                  <a:gd name="connsiteY233" fmla="*/ 79057 h 101600"/>
                  <a:gd name="connsiteX234" fmla="*/ 176848 w 698500"/>
                  <a:gd name="connsiteY234" fmla="*/ 76835 h 101600"/>
                  <a:gd name="connsiteX235" fmla="*/ 184467 w 698500"/>
                  <a:gd name="connsiteY235" fmla="*/ 70167 h 101600"/>
                  <a:gd name="connsiteX236" fmla="*/ 184785 w 698500"/>
                  <a:gd name="connsiteY236" fmla="*/ 70167 h 101600"/>
                  <a:gd name="connsiteX237" fmla="*/ 187007 w 698500"/>
                  <a:gd name="connsiteY237" fmla="*/ 77788 h 101600"/>
                  <a:gd name="connsiteX238" fmla="*/ 194627 w 698500"/>
                  <a:gd name="connsiteY238" fmla="*/ 77788 h 101600"/>
                  <a:gd name="connsiteX239" fmla="*/ 194627 w 698500"/>
                  <a:gd name="connsiteY239" fmla="*/ 40640 h 101600"/>
                  <a:gd name="connsiteX240" fmla="*/ 189548 w 698500"/>
                  <a:gd name="connsiteY240" fmla="*/ 26352 h 101600"/>
                  <a:gd name="connsiteX241" fmla="*/ 174307 w 698500"/>
                  <a:gd name="connsiteY241" fmla="*/ 21907 h 101600"/>
                  <a:gd name="connsiteX242" fmla="*/ 163513 w 698500"/>
                  <a:gd name="connsiteY242" fmla="*/ 22860 h 101600"/>
                  <a:gd name="connsiteX243" fmla="*/ 131763 w 698500"/>
                  <a:gd name="connsiteY243" fmla="*/ 97155 h 101600"/>
                  <a:gd name="connsiteX244" fmla="*/ 135573 w 698500"/>
                  <a:gd name="connsiteY244" fmla="*/ 84772 h 101600"/>
                  <a:gd name="connsiteX245" fmla="*/ 135573 w 698500"/>
                  <a:gd name="connsiteY245" fmla="*/ 22542 h 101600"/>
                  <a:gd name="connsiteX246" fmla="*/ 124777 w 698500"/>
                  <a:gd name="connsiteY246" fmla="*/ 22542 h 101600"/>
                  <a:gd name="connsiteX247" fmla="*/ 124777 w 698500"/>
                  <a:gd name="connsiteY247" fmla="*/ 84455 h 101600"/>
                  <a:gd name="connsiteX248" fmla="*/ 122555 w 698500"/>
                  <a:gd name="connsiteY248" fmla="*/ 91122 h 101600"/>
                  <a:gd name="connsiteX249" fmla="*/ 117157 w 698500"/>
                  <a:gd name="connsiteY249" fmla="*/ 93027 h 101600"/>
                  <a:gd name="connsiteX250" fmla="*/ 113348 w 698500"/>
                  <a:gd name="connsiteY250" fmla="*/ 92710 h 101600"/>
                  <a:gd name="connsiteX251" fmla="*/ 110173 w 698500"/>
                  <a:gd name="connsiteY251" fmla="*/ 92075 h 101600"/>
                  <a:gd name="connsiteX252" fmla="*/ 110173 w 698500"/>
                  <a:gd name="connsiteY252" fmla="*/ 100647 h 101600"/>
                  <a:gd name="connsiteX253" fmla="*/ 113982 w 698500"/>
                  <a:gd name="connsiteY253" fmla="*/ 101600 h 101600"/>
                  <a:gd name="connsiteX254" fmla="*/ 118745 w 698500"/>
                  <a:gd name="connsiteY254" fmla="*/ 101917 h 101600"/>
                  <a:gd name="connsiteX255" fmla="*/ 131763 w 698500"/>
                  <a:gd name="connsiteY255" fmla="*/ 97155 h 101600"/>
                  <a:gd name="connsiteX256" fmla="*/ 126048 w 698500"/>
                  <a:gd name="connsiteY256" fmla="*/ 12700 h 101600"/>
                  <a:gd name="connsiteX257" fmla="*/ 130492 w 698500"/>
                  <a:gd name="connsiteY257" fmla="*/ 14288 h 101600"/>
                  <a:gd name="connsiteX258" fmla="*/ 134620 w 698500"/>
                  <a:gd name="connsiteY258" fmla="*/ 12700 h 101600"/>
                  <a:gd name="connsiteX259" fmla="*/ 136525 w 698500"/>
                  <a:gd name="connsiteY259" fmla="*/ 7938 h 101600"/>
                  <a:gd name="connsiteX260" fmla="*/ 134620 w 698500"/>
                  <a:gd name="connsiteY260" fmla="*/ 3175 h 101600"/>
                  <a:gd name="connsiteX261" fmla="*/ 130492 w 698500"/>
                  <a:gd name="connsiteY261" fmla="*/ 1905 h 101600"/>
                  <a:gd name="connsiteX262" fmla="*/ 126048 w 698500"/>
                  <a:gd name="connsiteY262" fmla="*/ 3175 h 101600"/>
                  <a:gd name="connsiteX263" fmla="*/ 124142 w 698500"/>
                  <a:gd name="connsiteY263" fmla="*/ 7938 h 101600"/>
                  <a:gd name="connsiteX264" fmla="*/ 126048 w 698500"/>
                  <a:gd name="connsiteY264" fmla="*/ 12700 h 101600"/>
                  <a:gd name="connsiteX265" fmla="*/ 73342 w 698500"/>
                  <a:gd name="connsiteY265" fmla="*/ 64452 h 101600"/>
                  <a:gd name="connsiteX266" fmla="*/ 69850 w 698500"/>
                  <a:gd name="connsiteY266" fmla="*/ 50165 h 101600"/>
                  <a:gd name="connsiteX267" fmla="*/ 73342 w 698500"/>
                  <a:gd name="connsiteY267" fmla="*/ 35560 h 101600"/>
                  <a:gd name="connsiteX268" fmla="*/ 83185 w 698500"/>
                  <a:gd name="connsiteY268" fmla="*/ 30163 h 101600"/>
                  <a:gd name="connsiteX269" fmla="*/ 94615 w 698500"/>
                  <a:gd name="connsiteY269" fmla="*/ 35242 h 101600"/>
                  <a:gd name="connsiteX270" fmla="*/ 97790 w 698500"/>
                  <a:gd name="connsiteY270" fmla="*/ 49847 h 101600"/>
                  <a:gd name="connsiteX271" fmla="*/ 97790 w 698500"/>
                  <a:gd name="connsiteY271" fmla="*/ 51435 h 101600"/>
                  <a:gd name="connsiteX272" fmla="*/ 94615 w 698500"/>
                  <a:gd name="connsiteY272" fmla="*/ 64770 h 101600"/>
                  <a:gd name="connsiteX273" fmla="*/ 83502 w 698500"/>
                  <a:gd name="connsiteY273" fmla="*/ 69215 h 101600"/>
                  <a:gd name="connsiteX274" fmla="*/ 73342 w 698500"/>
                  <a:gd name="connsiteY274" fmla="*/ 64452 h 101600"/>
                  <a:gd name="connsiteX275" fmla="*/ 91123 w 698500"/>
                  <a:gd name="connsiteY275" fmla="*/ 75882 h 101600"/>
                  <a:gd name="connsiteX276" fmla="*/ 97473 w 698500"/>
                  <a:gd name="connsiteY276" fmla="*/ 69850 h 101600"/>
                  <a:gd name="connsiteX277" fmla="*/ 98107 w 698500"/>
                  <a:gd name="connsiteY277" fmla="*/ 69850 h 101600"/>
                  <a:gd name="connsiteX278" fmla="*/ 100013 w 698500"/>
                  <a:gd name="connsiteY278" fmla="*/ 77152 h 101600"/>
                  <a:gd name="connsiteX279" fmla="*/ 108585 w 698500"/>
                  <a:gd name="connsiteY279" fmla="*/ 77152 h 101600"/>
                  <a:gd name="connsiteX280" fmla="*/ 108585 w 698500"/>
                  <a:gd name="connsiteY280" fmla="*/ 0 h 101600"/>
                  <a:gd name="connsiteX281" fmla="*/ 97790 w 698500"/>
                  <a:gd name="connsiteY281" fmla="*/ 0 h 101600"/>
                  <a:gd name="connsiteX282" fmla="*/ 97790 w 698500"/>
                  <a:gd name="connsiteY282" fmla="*/ 20638 h 101600"/>
                  <a:gd name="connsiteX283" fmla="*/ 98107 w 698500"/>
                  <a:gd name="connsiteY283" fmla="*/ 25400 h 101600"/>
                  <a:gd name="connsiteX284" fmla="*/ 98742 w 698500"/>
                  <a:gd name="connsiteY284" fmla="*/ 29527 h 101600"/>
                  <a:gd name="connsiteX285" fmla="*/ 98107 w 698500"/>
                  <a:gd name="connsiteY285" fmla="*/ 29527 h 101600"/>
                  <a:gd name="connsiteX286" fmla="*/ 91757 w 698500"/>
                  <a:gd name="connsiteY286" fmla="*/ 23813 h 101600"/>
                  <a:gd name="connsiteX287" fmla="*/ 81598 w 698500"/>
                  <a:gd name="connsiteY287" fmla="*/ 21590 h 101600"/>
                  <a:gd name="connsiteX288" fmla="*/ 65405 w 698500"/>
                  <a:gd name="connsiteY288" fmla="*/ 28892 h 101600"/>
                  <a:gd name="connsiteX289" fmla="*/ 59373 w 698500"/>
                  <a:gd name="connsiteY289" fmla="*/ 50165 h 101600"/>
                  <a:gd name="connsiteX290" fmla="*/ 65405 w 698500"/>
                  <a:gd name="connsiteY290" fmla="*/ 71438 h 101600"/>
                  <a:gd name="connsiteX291" fmla="*/ 81280 w 698500"/>
                  <a:gd name="connsiteY291" fmla="*/ 78422 h 101600"/>
                  <a:gd name="connsiteX292" fmla="*/ 91123 w 698500"/>
                  <a:gd name="connsiteY292" fmla="*/ 75882 h 101600"/>
                  <a:gd name="connsiteX293" fmla="*/ 34925 w 698500"/>
                  <a:gd name="connsiteY293" fmla="*/ 55880 h 101600"/>
                  <a:gd name="connsiteX294" fmla="*/ 30798 w 698500"/>
                  <a:gd name="connsiteY294" fmla="*/ 66675 h 101600"/>
                  <a:gd name="connsiteX295" fmla="*/ 20320 w 698500"/>
                  <a:gd name="connsiteY295" fmla="*/ 70167 h 101600"/>
                  <a:gd name="connsiteX296" fmla="*/ 13652 w 698500"/>
                  <a:gd name="connsiteY296" fmla="*/ 68263 h 101600"/>
                  <a:gd name="connsiteX297" fmla="*/ 11113 w 698500"/>
                  <a:gd name="connsiteY297" fmla="*/ 61913 h 101600"/>
                  <a:gd name="connsiteX298" fmla="*/ 14605 w 698500"/>
                  <a:gd name="connsiteY298" fmla="*/ 54292 h 101600"/>
                  <a:gd name="connsiteX299" fmla="*/ 27623 w 698500"/>
                  <a:gd name="connsiteY299" fmla="*/ 51117 h 101600"/>
                  <a:gd name="connsiteX300" fmla="*/ 34925 w 698500"/>
                  <a:gd name="connsiteY300" fmla="*/ 50800 h 101600"/>
                  <a:gd name="connsiteX301" fmla="*/ 34925 w 698500"/>
                  <a:gd name="connsiteY301" fmla="*/ 55880 h 101600"/>
                  <a:gd name="connsiteX302" fmla="*/ 14605 w 698500"/>
                  <a:gd name="connsiteY302" fmla="*/ 22860 h 101600"/>
                  <a:gd name="connsiteX303" fmla="*/ 5715 w 698500"/>
                  <a:gd name="connsiteY303" fmla="*/ 26352 h 101600"/>
                  <a:gd name="connsiteX304" fmla="*/ 9207 w 698500"/>
                  <a:gd name="connsiteY304" fmla="*/ 34290 h 101600"/>
                  <a:gd name="connsiteX305" fmla="*/ 16510 w 698500"/>
                  <a:gd name="connsiteY305" fmla="*/ 31432 h 101600"/>
                  <a:gd name="connsiteX306" fmla="*/ 24448 w 698500"/>
                  <a:gd name="connsiteY306" fmla="*/ 30163 h 101600"/>
                  <a:gd name="connsiteX307" fmla="*/ 32067 w 698500"/>
                  <a:gd name="connsiteY307" fmla="*/ 32702 h 101600"/>
                  <a:gd name="connsiteX308" fmla="*/ 34925 w 698500"/>
                  <a:gd name="connsiteY308" fmla="*/ 41275 h 101600"/>
                  <a:gd name="connsiteX309" fmla="*/ 34925 w 698500"/>
                  <a:gd name="connsiteY309" fmla="*/ 44450 h 101600"/>
                  <a:gd name="connsiteX310" fmla="*/ 25717 w 698500"/>
                  <a:gd name="connsiteY310" fmla="*/ 44767 h 101600"/>
                  <a:gd name="connsiteX311" fmla="*/ 6350 w 698500"/>
                  <a:gd name="connsiteY311" fmla="*/ 49530 h 101600"/>
                  <a:gd name="connsiteX312" fmla="*/ 0 w 698500"/>
                  <a:gd name="connsiteY312" fmla="*/ 62230 h 101600"/>
                  <a:gd name="connsiteX313" fmla="*/ 4763 w 698500"/>
                  <a:gd name="connsiteY313" fmla="*/ 74930 h 101600"/>
                  <a:gd name="connsiteX314" fmla="*/ 17145 w 698500"/>
                  <a:gd name="connsiteY314" fmla="*/ 79057 h 101600"/>
                  <a:gd name="connsiteX315" fmla="*/ 27940 w 698500"/>
                  <a:gd name="connsiteY315" fmla="*/ 76835 h 101600"/>
                  <a:gd name="connsiteX316" fmla="*/ 35560 w 698500"/>
                  <a:gd name="connsiteY316" fmla="*/ 70167 h 101600"/>
                  <a:gd name="connsiteX317" fmla="*/ 35877 w 698500"/>
                  <a:gd name="connsiteY317" fmla="*/ 70167 h 101600"/>
                  <a:gd name="connsiteX318" fmla="*/ 38100 w 698500"/>
                  <a:gd name="connsiteY318" fmla="*/ 77788 h 101600"/>
                  <a:gd name="connsiteX319" fmla="*/ 45720 w 698500"/>
                  <a:gd name="connsiteY319" fmla="*/ 77788 h 101600"/>
                  <a:gd name="connsiteX320" fmla="*/ 45720 w 698500"/>
                  <a:gd name="connsiteY320" fmla="*/ 40640 h 101600"/>
                  <a:gd name="connsiteX321" fmla="*/ 40640 w 698500"/>
                  <a:gd name="connsiteY321" fmla="*/ 26352 h 101600"/>
                  <a:gd name="connsiteX322" fmla="*/ 25400 w 698500"/>
                  <a:gd name="connsiteY322" fmla="*/ 21907 h 101600"/>
                  <a:gd name="connsiteX323" fmla="*/ 14605 w 698500"/>
                  <a:gd name="connsiteY323" fmla="*/ 2286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698500" h="101600">
                    <a:moveTo>
                      <a:pt x="698500" y="54610"/>
                    </a:moveTo>
                    <a:cubicBezTo>
                      <a:pt x="697230" y="52705"/>
                      <a:pt x="695325" y="51117"/>
                      <a:pt x="693102" y="49530"/>
                    </a:cubicBezTo>
                    <a:cubicBezTo>
                      <a:pt x="690563" y="48260"/>
                      <a:pt x="687705" y="46672"/>
                      <a:pt x="684530" y="45402"/>
                    </a:cubicBezTo>
                    <a:cubicBezTo>
                      <a:pt x="681038" y="44132"/>
                      <a:pt x="678498" y="42863"/>
                      <a:pt x="676592" y="41910"/>
                    </a:cubicBezTo>
                    <a:cubicBezTo>
                      <a:pt x="674688" y="40957"/>
                      <a:pt x="673417" y="40005"/>
                      <a:pt x="672465" y="39052"/>
                    </a:cubicBezTo>
                    <a:cubicBezTo>
                      <a:pt x="671830" y="38100"/>
                      <a:pt x="671195" y="36830"/>
                      <a:pt x="671195" y="35560"/>
                    </a:cubicBezTo>
                    <a:cubicBezTo>
                      <a:pt x="671195" y="31750"/>
                      <a:pt x="674370" y="29845"/>
                      <a:pt x="681038" y="29845"/>
                    </a:cubicBezTo>
                    <a:cubicBezTo>
                      <a:pt x="683577" y="29845"/>
                      <a:pt x="686117" y="30163"/>
                      <a:pt x="688657" y="30797"/>
                    </a:cubicBezTo>
                    <a:cubicBezTo>
                      <a:pt x="691198" y="31432"/>
                      <a:pt x="693738" y="32385"/>
                      <a:pt x="695960" y="33338"/>
                    </a:cubicBezTo>
                    <a:lnTo>
                      <a:pt x="699452" y="25082"/>
                    </a:lnTo>
                    <a:cubicBezTo>
                      <a:pt x="696595" y="23813"/>
                      <a:pt x="693738" y="22860"/>
                      <a:pt x="690880" y="22225"/>
                    </a:cubicBezTo>
                    <a:cubicBezTo>
                      <a:pt x="688023" y="21590"/>
                      <a:pt x="684848" y="21272"/>
                      <a:pt x="681355" y="21272"/>
                    </a:cubicBezTo>
                    <a:cubicBezTo>
                      <a:pt x="675005" y="21272"/>
                      <a:pt x="669925" y="22542"/>
                      <a:pt x="666115" y="25082"/>
                    </a:cubicBezTo>
                    <a:cubicBezTo>
                      <a:pt x="662305" y="27622"/>
                      <a:pt x="660400" y="31115"/>
                      <a:pt x="660400" y="35877"/>
                    </a:cubicBezTo>
                    <a:cubicBezTo>
                      <a:pt x="660400" y="38735"/>
                      <a:pt x="661035" y="41275"/>
                      <a:pt x="662305" y="43180"/>
                    </a:cubicBezTo>
                    <a:cubicBezTo>
                      <a:pt x="663575" y="45085"/>
                      <a:pt x="665480" y="46990"/>
                      <a:pt x="667702" y="48260"/>
                    </a:cubicBezTo>
                    <a:cubicBezTo>
                      <a:pt x="669925" y="49530"/>
                      <a:pt x="673100" y="51117"/>
                      <a:pt x="676592" y="52388"/>
                    </a:cubicBezTo>
                    <a:cubicBezTo>
                      <a:pt x="680085" y="53657"/>
                      <a:pt x="682942" y="54927"/>
                      <a:pt x="684848" y="55880"/>
                    </a:cubicBezTo>
                    <a:cubicBezTo>
                      <a:pt x="686752" y="56832"/>
                      <a:pt x="688023" y="58102"/>
                      <a:pt x="688657" y="59055"/>
                    </a:cubicBezTo>
                    <a:cubicBezTo>
                      <a:pt x="689292" y="60007"/>
                      <a:pt x="689610" y="61277"/>
                      <a:pt x="689610" y="62230"/>
                    </a:cubicBezTo>
                    <a:cubicBezTo>
                      <a:pt x="689610" y="64452"/>
                      <a:pt x="688657" y="66040"/>
                      <a:pt x="687070" y="67310"/>
                    </a:cubicBezTo>
                    <a:cubicBezTo>
                      <a:pt x="685165" y="68580"/>
                      <a:pt x="682307" y="69215"/>
                      <a:pt x="678180" y="69215"/>
                    </a:cubicBezTo>
                    <a:cubicBezTo>
                      <a:pt x="675005" y="69215"/>
                      <a:pt x="672148" y="68897"/>
                      <a:pt x="668655" y="67945"/>
                    </a:cubicBezTo>
                    <a:cubicBezTo>
                      <a:pt x="665163" y="66992"/>
                      <a:pt x="662623" y="66040"/>
                      <a:pt x="660400" y="64770"/>
                    </a:cubicBezTo>
                    <a:lnTo>
                      <a:pt x="660400" y="74295"/>
                    </a:lnTo>
                    <a:cubicBezTo>
                      <a:pt x="662623" y="75565"/>
                      <a:pt x="665163" y="76200"/>
                      <a:pt x="668020" y="76835"/>
                    </a:cubicBezTo>
                    <a:cubicBezTo>
                      <a:pt x="670877" y="77470"/>
                      <a:pt x="674052" y="77788"/>
                      <a:pt x="677863" y="77788"/>
                    </a:cubicBezTo>
                    <a:cubicBezTo>
                      <a:pt x="684848" y="77788"/>
                      <a:pt x="690245" y="76517"/>
                      <a:pt x="694373" y="73660"/>
                    </a:cubicBezTo>
                    <a:cubicBezTo>
                      <a:pt x="698182" y="70802"/>
                      <a:pt x="700088" y="66675"/>
                      <a:pt x="700088" y="61277"/>
                    </a:cubicBezTo>
                    <a:cubicBezTo>
                      <a:pt x="700405" y="59055"/>
                      <a:pt x="699770" y="56515"/>
                      <a:pt x="698500" y="54610"/>
                    </a:cubicBezTo>
                    <a:moveTo>
                      <a:pt x="636905" y="55880"/>
                    </a:moveTo>
                    <a:cubicBezTo>
                      <a:pt x="636905" y="60642"/>
                      <a:pt x="635635" y="64135"/>
                      <a:pt x="632777" y="66675"/>
                    </a:cubicBezTo>
                    <a:cubicBezTo>
                      <a:pt x="629920" y="68897"/>
                      <a:pt x="626427" y="70167"/>
                      <a:pt x="622300" y="70167"/>
                    </a:cubicBezTo>
                    <a:cubicBezTo>
                      <a:pt x="619442" y="70167"/>
                      <a:pt x="617538" y="69532"/>
                      <a:pt x="615632" y="68263"/>
                    </a:cubicBezTo>
                    <a:cubicBezTo>
                      <a:pt x="613727" y="66992"/>
                      <a:pt x="613092" y="64770"/>
                      <a:pt x="613092" y="61913"/>
                    </a:cubicBezTo>
                    <a:cubicBezTo>
                      <a:pt x="613092" y="58738"/>
                      <a:pt x="614363" y="56197"/>
                      <a:pt x="616585" y="54292"/>
                    </a:cubicBezTo>
                    <a:cubicBezTo>
                      <a:pt x="619125" y="52388"/>
                      <a:pt x="623252" y="51435"/>
                      <a:pt x="629602" y="51117"/>
                    </a:cubicBezTo>
                    <a:lnTo>
                      <a:pt x="636905" y="50800"/>
                    </a:lnTo>
                    <a:lnTo>
                      <a:pt x="636905" y="55880"/>
                    </a:lnTo>
                    <a:close/>
                    <a:moveTo>
                      <a:pt x="616585" y="22860"/>
                    </a:moveTo>
                    <a:cubicBezTo>
                      <a:pt x="613092" y="23813"/>
                      <a:pt x="610235" y="24765"/>
                      <a:pt x="607695" y="26352"/>
                    </a:cubicBezTo>
                    <a:lnTo>
                      <a:pt x="611188" y="34290"/>
                    </a:lnTo>
                    <a:cubicBezTo>
                      <a:pt x="613410" y="33020"/>
                      <a:pt x="615950" y="32067"/>
                      <a:pt x="618490" y="31432"/>
                    </a:cubicBezTo>
                    <a:cubicBezTo>
                      <a:pt x="621030" y="30480"/>
                      <a:pt x="623888" y="30163"/>
                      <a:pt x="626427" y="30163"/>
                    </a:cubicBezTo>
                    <a:cubicBezTo>
                      <a:pt x="629602" y="30163"/>
                      <a:pt x="632460" y="31115"/>
                      <a:pt x="634048" y="32702"/>
                    </a:cubicBezTo>
                    <a:cubicBezTo>
                      <a:pt x="635952" y="34290"/>
                      <a:pt x="636905" y="37147"/>
                      <a:pt x="636905" y="41275"/>
                    </a:cubicBezTo>
                    <a:lnTo>
                      <a:pt x="636905" y="44450"/>
                    </a:lnTo>
                    <a:lnTo>
                      <a:pt x="627698" y="44767"/>
                    </a:lnTo>
                    <a:cubicBezTo>
                      <a:pt x="619125" y="45085"/>
                      <a:pt x="612457" y="46672"/>
                      <a:pt x="608330" y="49530"/>
                    </a:cubicBezTo>
                    <a:cubicBezTo>
                      <a:pt x="604202" y="52388"/>
                      <a:pt x="601980" y="56515"/>
                      <a:pt x="601980" y="62230"/>
                    </a:cubicBezTo>
                    <a:cubicBezTo>
                      <a:pt x="601980" y="67945"/>
                      <a:pt x="603567" y="72072"/>
                      <a:pt x="606742" y="74930"/>
                    </a:cubicBezTo>
                    <a:cubicBezTo>
                      <a:pt x="609917" y="77788"/>
                      <a:pt x="614045" y="79057"/>
                      <a:pt x="619125" y="79057"/>
                    </a:cubicBezTo>
                    <a:cubicBezTo>
                      <a:pt x="623888" y="79057"/>
                      <a:pt x="627380" y="78422"/>
                      <a:pt x="629920" y="76835"/>
                    </a:cubicBezTo>
                    <a:cubicBezTo>
                      <a:pt x="632460" y="75565"/>
                      <a:pt x="635000" y="73342"/>
                      <a:pt x="637540" y="70167"/>
                    </a:cubicBezTo>
                    <a:lnTo>
                      <a:pt x="637857" y="70167"/>
                    </a:lnTo>
                    <a:lnTo>
                      <a:pt x="640080" y="77788"/>
                    </a:lnTo>
                    <a:lnTo>
                      <a:pt x="647700" y="77788"/>
                    </a:lnTo>
                    <a:lnTo>
                      <a:pt x="647700" y="40640"/>
                    </a:lnTo>
                    <a:cubicBezTo>
                      <a:pt x="647700" y="34290"/>
                      <a:pt x="646113" y="29527"/>
                      <a:pt x="642620" y="26352"/>
                    </a:cubicBezTo>
                    <a:cubicBezTo>
                      <a:pt x="639127" y="23177"/>
                      <a:pt x="634048" y="21907"/>
                      <a:pt x="627380" y="21907"/>
                    </a:cubicBezTo>
                    <a:cubicBezTo>
                      <a:pt x="623252" y="21590"/>
                      <a:pt x="619760" y="21907"/>
                      <a:pt x="616585" y="22860"/>
                    </a:cubicBezTo>
                    <a:moveTo>
                      <a:pt x="578485" y="33972"/>
                    </a:moveTo>
                    <a:cubicBezTo>
                      <a:pt x="580390" y="36513"/>
                      <a:pt x="581660" y="40005"/>
                      <a:pt x="581660" y="44450"/>
                    </a:cubicBezTo>
                    <a:lnTo>
                      <a:pt x="555942" y="44450"/>
                    </a:lnTo>
                    <a:cubicBezTo>
                      <a:pt x="556260" y="39688"/>
                      <a:pt x="557848" y="36195"/>
                      <a:pt x="560070" y="33655"/>
                    </a:cubicBezTo>
                    <a:cubicBezTo>
                      <a:pt x="562292" y="31115"/>
                      <a:pt x="565467" y="29845"/>
                      <a:pt x="569277" y="29845"/>
                    </a:cubicBezTo>
                    <a:cubicBezTo>
                      <a:pt x="573405" y="29845"/>
                      <a:pt x="576580" y="31115"/>
                      <a:pt x="578485" y="33972"/>
                    </a:cubicBezTo>
                    <a:moveTo>
                      <a:pt x="556260" y="25082"/>
                    </a:moveTo>
                    <a:cubicBezTo>
                      <a:pt x="552450" y="27305"/>
                      <a:pt x="549592" y="30480"/>
                      <a:pt x="547688" y="34925"/>
                    </a:cubicBezTo>
                    <a:cubicBezTo>
                      <a:pt x="545782" y="39052"/>
                      <a:pt x="544513" y="44450"/>
                      <a:pt x="544513" y="50482"/>
                    </a:cubicBezTo>
                    <a:cubicBezTo>
                      <a:pt x="544513" y="56515"/>
                      <a:pt x="545782" y="61913"/>
                      <a:pt x="548005" y="66040"/>
                    </a:cubicBezTo>
                    <a:cubicBezTo>
                      <a:pt x="550227" y="70167"/>
                      <a:pt x="553402" y="73342"/>
                      <a:pt x="557530" y="75247"/>
                    </a:cubicBezTo>
                    <a:cubicBezTo>
                      <a:pt x="561657" y="77470"/>
                      <a:pt x="566420" y="78422"/>
                      <a:pt x="571500" y="78422"/>
                    </a:cubicBezTo>
                    <a:cubicBezTo>
                      <a:pt x="575310" y="78422"/>
                      <a:pt x="578802" y="78105"/>
                      <a:pt x="581342" y="77470"/>
                    </a:cubicBezTo>
                    <a:cubicBezTo>
                      <a:pt x="584200" y="76835"/>
                      <a:pt x="587057" y="75882"/>
                      <a:pt x="589598" y="74613"/>
                    </a:cubicBezTo>
                    <a:lnTo>
                      <a:pt x="589598" y="65722"/>
                    </a:lnTo>
                    <a:cubicBezTo>
                      <a:pt x="586740" y="66992"/>
                      <a:pt x="583882" y="67945"/>
                      <a:pt x="581025" y="68580"/>
                    </a:cubicBezTo>
                    <a:cubicBezTo>
                      <a:pt x="578167" y="69215"/>
                      <a:pt x="575310" y="69532"/>
                      <a:pt x="571500" y="69532"/>
                    </a:cubicBezTo>
                    <a:cubicBezTo>
                      <a:pt x="566420" y="69532"/>
                      <a:pt x="562610" y="67945"/>
                      <a:pt x="559752" y="65088"/>
                    </a:cubicBezTo>
                    <a:cubicBezTo>
                      <a:pt x="556895" y="62230"/>
                      <a:pt x="555625" y="57785"/>
                      <a:pt x="555307" y="52070"/>
                    </a:cubicBezTo>
                    <a:lnTo>
                      <a:pt x="592138" y="52070"/>
                    </a:lnTo>
                    <a:lnTo>
                      <a:pt x="592138" y="46038"/>
                    </a:lnTo>
                    <a:cubicBezTo>
                      <a:pt x="592138" y="38417"/>
                      <a:pt x="590232" y="32385"/>
                      <a:pt x="585788" y="27940"/>
                    </a:cubicBezTo>
                    <a:cubicBezTo>
                      <a:pt x="581660" y="23495"/>
                      <a:pt x="575945" y="21272"/>
                      <a:pt x="568960" y="21272"/>
                    </a:cubicBezTo>
                    <a:cubicBezTo>
                      <a:pt x="564198" y="21590"/>
                      <a:pt x="560070" y="22860"/>
                      <a:pt x="556260" y="25082"/>
                    </a:cubicBezTo>
                    <a:moveTo>
                      <a:pt x="523875" y="24765"/>
                    </a:moveTo>
                    <a:cubicBezTo>
                      <a:pt x="521017" y="26988"/>
                      <a:pt x="518795" y="29527"/>
                      <a:pt x="517207" y="32385"/>
                    </a:cubicBezTo>
                    <a:lnTo>
                      <a:pt x="516890" y="32385"/>
                    </a:lnTo>
                    <a:lnTo>
                      <a:pt x="515620" y="22542"/>
                    </a:lnTo>
                    <a:lnTo>
                      <a:pt x="507048" y="22542"/>
                    </a:lnTo>
                    <a:lnTo>
                      <a:pt x="507048" y="77152"/>
                    </a:lnTo>
                    <a:lnTo>
                      <a:pt x="517842" y="77152"/>
                    </a:lnTo>
                    <a:lnTo>
                      <a:pt x="517842" y="48260"/>
                    </a:lnTo>
                    <a:cubicBezTo>
                      <a:pt x="517842" y="44767"/>
                      <a:pt x="518477" y="41592"/>
                      <a:pt x="520065" y="39052"/>
                    </a:cubicBezTo>
                    <a:cubicBezTo>
                      <a:pt x="521652" y="36513"/>
                      <a:pt x="523557" y="34607"/>
                      <a:pt x="525780" y="33338"/>
                    </a:cubicBezTo>
                    <a:cubicBezTo>
                      <a:pt x="528002" y="32067"/>
                      <a:pt x="530860" y="31432"/>
                      <a:pt x="533400" y="31432"/>
                    </a:cubicBezTo>
                    <a:cubicBezTo>
                      <a:pt x="535305" y="31432"/>
                      <a:pt x="537210" y="31750"/>
                      <a:pt x="538798" y="32067"/>
                    </a:cubicBezTo>
                    <a:lnTo>
                      <a:pt x="540067" y="21907"/>
                    </a:lnTo>
                    <a:cubicBezTo>
                      <a:pt x="538163" y="21590"/>
                      <a:pt x="536257" y="21272"/>
                      <a:pt x="534035" y="21272"/>
                    </a:cubicBezTo>
                    <a:cubicBezTo>
                      <a:pt x="529907" y="21590"/>
                      <a:pt x="526415" y="22542"/>
                      <a:pt x="523875" y="24765"/>
                    </a:cubicBezTo>
                    <a:moveTo>
                      <a:pt x="479425" y="55880"/>
                    </a:moveTo>
                    <a:cubicBezTo>
                      <a:pt x="479425" y="60642"/>
                      <a:pt x="478155" y="64135"/>
                      <a:pt x="475298" y="66675"/>
                    </a:cubicBezTo>
                    <a:cubicBezTo>
                      <a:pt x="472440" y="68897"/>
                      <a:pt x="468948" y="70167"/>
                      <a:pt x="464820" y="70167"/>
                    </a:cubicBezTo>
                    <a:cubicBezTo>
                      <a:pt x="461963" y="70167"/>
                      <a:pt x="460057" y="69532"/>
                      <a:pt x="458152" y="68263"/>
                    </a:cubicBezTo>
                    <a:cubicBezTo>
                      <a:pt x="456565" y="66992"/>
                      <a:pt x="455613" y="64770"/>
                      <a:pt x="455613" y="61913"/>
                    </a:cubicBezTo>
                    <a:cubicBezTo>
                      <a:pt x="455613" y="58738"/>
                      <a:pt x="456882" y="56197"/>
                      <a:pt x="459105" y="54292"/>
                    </a:cubicBezTo>
                    <a:cubicBezTo>
                      <a:pt x="461645" y="52388"/>
                      <a:pt x="465773" y="51435"/>
                      <a:pt x="472123" y="51117"/>
                    </a:cubicBezTo>
                    <a:lnTo>
                      <a:pt x="479425" y="50800"/>
                    </a:lnTo>
                    <a:lnTo>
                      <a:pt x="479425" y="55880"/>
                    </a:lnTo>
                    <a:close/>
                    <a:moveTo>
                      <a:pt x="459105" y="22860"/>
                    </a:moveTo>
                    <a:cubicBezTo>
                      <a:pt x="455613" y="23813"/>
                      <a:pt x="452755" y="24765"/>
                      <a:pt x="450215" y="26352"/>
                    </a:cubicBezTo>
                    <a:lnTo>
                      <a:pt x="453707" y="34290"/>
                    </a:lnTo>
                    <a:cubicBezTo>
                      <a:pt x="455930" y="33020"/>
                      <a:pt x="458470" y="32067"/>
                      <a:pt x="461010" y="31432"/>
                    </a:cubicBezTo>
                    <a:cubicBezTo>
                      <a:pt x="463550" y="30480"/>
                      <a:pt x="466407" y="30163"/>
                      <a:pt x="468948" y="30163"/>
                    </a:cubicBezTo>
                    <a:cubicBezTo>
                      <a:pt x="472123" y="30163"/>
                      <a:pt x="474980" y="31115"/>
                      <a:pt x="476567" y="32702"/>
                    </a:cubicBezTo>
                    <a:cubicBezTo>
                      <a:pt x="478473" y="34290"/>
                      <a:pt x="479425" y="37147"/>
                      <a:pt x="479425" y="41275"/>
                    </a:cubicBezTo>
                    <a:lnTo>
                      <a:pt x="479425" y="44450"/>
                    </a:lnTo>
                    <a:lnTo>
                      <a:pt x="470217" y="44767"/>
                    </a:lnTo>
                    <a:cubicBezTo>
                      <a:pt x="461645" y="45085"/>
                      <a:pt x="454977" y="46672"/>
                      <a:pt x="450850" y="49530"/>
                    </a:cubicBezTo>
                    <a:cubicBezTo>
                      <a:pt x="446723" y="52388"/>
                      <a:pt x="444500" y="56515"/>
                      <a:pt x="444500" y="62230"/>
                    </a:cubicBezTo>
                    <a:cubicBezTo>
                      <a:pt x="444500" y="67945"/>
                      <a:pt x="446088" y="72072"/>
                      <a:pt x="449263" y="74930"/>
                    </a:cubicBezTo>
                    <a:cubicBezTo>
                      <a:pt x="452438" y="77470"/>
                      <a:pt x="456565" y="79057"/>
                      <a:pt x="461645" y="79057"/>
                    </a:cubicBezTo>
                    <a:cubicBezTo>
                      <a:pt x="466407" y="79057"/>
                      <a:pt x="469900" y="78422"/>
                      <a:pt x="472440" y="76835"/>
                    </a:cubicBezTo>
                    <a:cubicBezTo>
                      <a:pt x="474980" y="75565"/>
                      <a:pt x="477520" y="73342"/>
                      <a:pt x="480060" y="70167"/>
                    </a:cubicBezTo>
                    <a:lnTo>
                      <a:pt x="480377" y="70167"/>
                    </a:lnTo>
                    <a:lnTo>
                      <a:pt x="482600" y="77788"/>
                    </a:lnTo>
                    <a:lnTo>
                      <a:pt x="490220" y="77788"/>
                    </a:lnTo>
                    <a:lnTo>
                      <a:pt x="490220" y="40640"/>
                    </a:lnTo>
                    <a:cubicBezTo>
                      <a:pt x="490220" y="34290"/>
                      <a:pt x="488632" y="29527"/>
                      <a:pt x="485140" y="26352"/>
                    </a:cubicBezTo>
                    <a:cubicBezTo>
                      <a:pt x="481648" y="23495"/>
                      <a:pt x="476567" y="21907"/>
                      <a:pt x="469900" y="21907"/>
                    </a:cubicBezTo>
                    <a:cubicBezTo>
                      <a:pt x="465773" y="21590"/>
                      <a:pt x="462280" y="21907"/>
                      <a:pt x="459105" y="22860"/>
                    </a:cubicBezTo>
                    <a:moveTo>
                      <a:pt x="396875" y="67627"/>
                    </a:moveTo>
                    <a:cubicBezTo>
                      <a:pt x="395288" y="66357"/>
                      <a:pt x="394652" y="64135"/>
                      <a:pt x="394652" y="60960"/>
                    </a:cubicBezTo>
                    <a:lnTo>
                      <a:pt x="394652" y="30797"/>
                    </a:lnTo>
                    <a:lnTo>
                      <a:pt x="410210" y="30797"/>
                    </a:lnTo>
                    <a:lnTo>
                      <a:pt x="410210" y="22542"/>
                    </a:lnTo>
                    <a:lnTo>
                      <a:pt x="394652" y="22542"/>
                    </a:lnTo>
                    <a:lnTo>
                      <a:pt x="394652" y="10160"/>
                    </a:lnTo>
                    <a:lnTo>
                      <a:pt x="387985" y="10160"/>
                    </a:lnTo>
                    <a:lnTo>
                      <a:pt x="384175" y="21590"/>
                    </a:lnTo>
                    <a:lnTo>
                      <a:pt x="376238" y="25717"/>
                    </a:lnTo>
                    <a:lnTo>
                      <a:pt x="376238" y="30480"/>
                    </a:lnTo>
                    <a:lnTo>
                      <a:pt x="383857" y="30480"/>
                    </a:lnTo>
                    <a:lnTo>
                      <a:pt x="383857" y="60642"/>
                    </a:lnTo>
                    <a:cubicBezTo>
                      <a:pt x="383857" y="65088"/>
                      <a:pt x="384492" y="68580"/>
                      <a:pt x="386080" y="71120"/>
                    </a:cubicBezTo>
                    <a:cubicBezTo>
                      <a:pt x="387667" y="73660"/>
                      <a:pt x="389573" y="75247"/>
                      <a:pt x="392113" y="76517"/>
                    </a:cubicBezTo>
                    <a:cubicBezTo>
                      <a:pt x="394652" y="77470"/>
                      <a:pt x="397192" y="78105"/>
                      <a:pt x="400367" y="78105"/>
                    </a:cubicBezTo>
                    <a:cubicBezTo>
                      <a:pt x="402273" y="78105"/>
                      <a:pt x="404177" y="77788"/>
                      <a:pt x="406400" y="77470"/>
                    </a:cubicBezTo>
                    <a:cubicBezTo>
                      <a:pt x="408305" y="77152"/>
                      <a:pt x="409892" y="76517"/>
                      <a:pt x="411163" y="76200"/>
                    </a:cubicBezTo>
                    <a:lnTo>
                      <a:pt x="411163" y="67945"/>
                    </a:lnTo>
                    <a:cubicBezTo>
                      <a:pt x="408623" y="68897"/>
                      <a:pt x="406082" y="69215"/>
                      <a:pt x="402907" y="69215"/>
                    </a:cubicBezTo>
                    <a:cubicBezTo>
                      <a:pt x="400367" y="69532"/>
                      <a:pt x="398463" y="68897"/>
                      <a:pt x="396875" y="67627"/>
                    </a:cubicBezTo>
                    <a:moveTo>
                      <a:pt x="336867" y="23495"/>
                    </a:moveTo>
                    <a:cubicBezTo>
                      <a:pt x="333692" y="24765"/>
                      <a:pt x="331470" y="26988"/>
                      <a:pt x="329565" y="29845"/>
                    </a:cubicBezTo>
                    <a:lnTo>
                      <a:pt x="328930" y="29845"/>
                    </a:lnTo>
                    <a:lnTo>
                      <a:pt x="327342" y="22542"/>
                    </a:lnTo>
                    <a:lnTo>
                      <a:pt x="318770" y="22542"/>
                    </a:lnTo>
                    <a:lnTo>
                      <a:pt x="318770" y="77152"/>
                    </a:lnTo>
                    <a:lnTo>
                      <a:pt x="329565" y="77152"/>
                    </a:lnTo>
                    <a:lnTo>
                      <a:pt x="329565" y="49530"/>
                    </a:lnTo>
                    <a:cubicBezTo>
                      <a:pt x="329565" y="43180"/>
                      <a:pt x="330517" y="38417"/>
                      <a:pt x="332740" y="35242"/>
                    </a:cubicBezTo>
                    <a:cubicBezTo>
                      <a:pt x="334963" y="32067"/>
                      <a:pt x="338773" y="30163"/>
                      <a:pt x="344170" y="30163"/>
                    </a:cubicBezTo>
                    <a:cubicBezTo>
                      <a:pt x="351790" y="30163"/>
                      <a:pt x="355600" y="34290"/>
                      <a:pt x="355600" y="42863"/>
                    </a:cubicBezTo>
                    <a:lnTo>
                      <a:pt x="355600" y="77152"/>
                    </a:lnTo>
                    <a:lnTo>
                      <a:pt x="366395" y="77152"/>
                    </a:lnTo>
                    <a:lnTo>
                      <a:pt x="366395" y="41592"/>
                    </a:lnTo>
                    <a:cubicBezTo>
                      <a:pt x="366395" y="34607"/>
                      <a:pt x="364807" y="29527"/>
                      <a:pt x="361315" y="26352"/>
                    </a:cubicBezTo>
                    <a:cubicBezTo>
                      <a:pt x="357823" y="23177"/>
                      <a:pt x="353060" y="21590"/>
                      <a:pt x="346710" y="21590"/>
                    </a:cubicBezTo>
                    <a:cubicBezTo>
                      <a:pt x="343217" y="21590"/>
                      <a:pt x="340042" y="22225"/>
                      <a:pt x="336867" y="23495"/>
                    </a:cubicBezTo>
                    <a:moveTo>
                      <a:pt x="291782" y="33972"/>
                    </a:moveTo>
                    <a:cubicBezTo>
                      <a:pt x="293688" y="36513"/>
                      <a:pt x="294957" y="40005"/>
                      <a:pt x="294957" y="44450"/>
                    </a:cubicBezTo>
                    <a:lnTo>
                      <a:pt x="269240" y="44450"/>
                    </a:lnTo>
                    <a:cubicBezTo>
                      <a:pt x="269557" y="39688"/>
                      <a:pt x="271145" y="36195"/>
                      <a:pt x="273367" y="33655"/>
                    </a:cubicBezTo>
                    <a:cubicBezTo>
                      <a:pt x="275590" y="31115"/>
                      <a:pt x="278765" y="29845"/>
                      <a:pt x="282575" y="29845"/>
                    </a:cubicBezTo>
                    <a:cubicBezTo>
                      <a:pt x="286385" y="29845"/>
                      <a:pt x="289560" y="31115"/>
                      <a:pt x="291782" y="33972"/>
                    </a:cubicBezTo>
                    <a:moveTo>
                      <a:pt x="269240" y="25082"/>
                    </a:moveTo>
                    <a:cubicBezTo>
                      <a:pt x="265430" y="27305"/>
                      <a:pt x="262573" y="30480"/>
                      <a:pt x="260667" y="34925"/>
                    </a:cubicBezTo>
                    <a:cubicBezTo>
                      <a:pt x="258445" y="39052"/>
                      <a:pt x="257492" y="44450"/>
                      <a:pt x="257492" y="50482"/>
                    </a:cubicBezTo>
                    <a:cubicBezTo>
                      <a:pt x="257492" y="56515"/>
                      <a:pt x="258763" y="61913"/>
                      <a:pt x="260985" y="66040"/>
                    </a:cubicBezTo>
                    <a:cubicBezTo>
                      <a:pt x="263207" y="70167"/>
                      <a:pt x="266382" y="73342"/>
                      <a:pt x="270510" y="75247"/>
                    </a:cubicBezTo>
                    <a:cubicBezTo>
                      <a:pt x="274638" y="77470"/>
                      <a:pt x="279400" y="78422"/>
                      <a:pt x="284480" y="78422"/>
                    </a:cubicBezTo>
                    <a:cubicBezTo>
                      <a:pt x="288290" y="78422"/>
                      <a:pt x="291782" y="78105"/>
                      <a:pt x="294323" y="77470"/>
                    </a:cubicBezTo>
                    <a:cubicBezTo>
                      <a:pt x="297180" y="76835"/>
                      <a:pt x="299720" y="75882"/>
                      <a:pt x="302577" y="74613"/>
                    </a:cubicBezTo>
                    <a:lnTo>
                      <a:pt x="302577" y="65722"/>
                    </a:lnTo>
                    <a:cubicBezTo>
                      <a:pt x="299720" y="66992"/>
                      <a:pt x="296863" y="67945"/>
                      <a:pt x="294005" y="68580"/>
                    </a:cubicBezTo>
                    <a:cubicBezTo>
                      <a:pt x="291148" y="69215"/>
                      <a:pt x="287973" y="69532"/>
                      <a:pt x="284480" y="69532"/>
                    </a:cubicBezTo>
                    <a:cubicBezTo>
                      <a:pt x="279400" y="69532"/>
                      <a:pt x="275590" y="67945"/>
                      <a:pt x="272732" y="65088"/>
                    </a:cubicBezTo>
                    <a:cubicBezTo>
                      <a:pt x="269875" y="62230"/>
                      <a:pt x="268288" y="57785"/>
                      <a:pt x="268288" y="52070"/>
                    </a:cubicBezTo>
                    <a:lnTo>
                      <a:pt x="305117" y="52070"/>
                    </a:lnTo>
                    <a:lnTo>
                      <a:pt x="305117" y="46038"/>
                    </a:lnTo>
                    <a:cubicBezTo>
                      <a:pt x="305117" y="38417"/>
                      <a:pt x="302895" y="32385"/>
                      <a:pt x="298767" y="27940"/>
                    </a:cubicBezTo>
                    <a:cubicBezTo>
                      <a:pt x="294640" y="23495"/>
                      <a:pt x="288925" y="21272"/>
                      <a:pt x="281940" y="21272"/>
                    </a:cubicBezTo>
                    <a:cubicBezTo>
                      <a:pt x="277495" y="21590"/>
                      <a:pt x="273050" y="22860"/>
                      <a:pt x="269240" y="25082"/>
                    </a:cubicBezTo>
                    <a:moveTo>
                      <a:pt x="241617" y="77470"/>
                    </a:moveTo>
                    <a:cubicBezTo>
                      <a:pt x="243840" y="76835"/>
                      <a:pt x="246063" y="76200"/>
                      <a:pt x="247967" y="74930"/>
                    </a:cubicBezTo>
                    <a:lnTo>
                      <a:pt x="247967" y="65722"/>
                    </a:lnTo>
                    <a:cubicBezTo>
                      <a:pt x="246063" y="66675"/>
                      <a:pt x="243840" y="67627"/>
                      <a:pt x="241617" y="68263"/>
                    </a:cubicBezTo>
                    <a:cubicBezTo>
                      <a:pt x="239395" y="68897"/>
                      <a:pt x="236538" y="69215"/>
                      <a:pt x="233680" y="69215"/>
                    </a:cubicBezTo>
                    <a:cubicBezTo>
                      <a:pt x="228917" y="69215"/>
                      <a:pt x="225425" y="67627"/>
                      <a:pt x="222885" y="64452"/>
                    </a:cubicBezTo>
                    <a:cubicBezTo>
                      <a:pt x="220345" y="61277"/>
                      <a:pt x="219075" y="56515"/>
                      <a:pt x="219075" y="50165"/>
                    </a:cubicBezTo>
                    <a:cubicBezTo>
                      <a:pt x="219075" y="37147"/>
                      <a:pt x="224155" y="30797"/>
                      <a:pt x="233998" y="30797"/>
                    </a:cubicBezTo>
                    <a:cubicBezTo>
                      <a:pt x="235902" y="30797"/>
                      <a:pt x="238125" y="31115"/>
                      <a:pt x="240030" y="31750"/>
                    </a:cubicBezTo>
                    <a:cubicBezTo>
                      <a:pt x="242252" y="32385"/>
                      <a:pt x="244157" y="33020"/>
                      <a:pt x="246063" y="33655"/>
                    </a:cubicBezTo>
                    <a:lnTo>
                      <a:pt x="249238" y="24765"/>
                    </a:lnTo>
                    <a:cubicBezTo>
                      <a:pt x="247332" y="23813"/>
                      <a:pt x="245110" y="23177"/>
                      <a:pt x="242570" y="22542"/>
                    </a:cubicBezTo>
                    <a:cubicBezTo>
                      <a:pt x="240030" y="21907"/>
                      <a:pt x="237173" y="21590"/>
                      <a:pt x="233998" y="21590"/>
                    </a:cubicBezTo>
                    <a:cubicBezTo>
                      <a:pt x="228917" y="21590"/>
                      <a:pt x="224473" y="22542"/>
                      <a:pt x="220663" y="24447"/>
                    </a:cubicBezTo>
                    <a:cubicBezTo>
                      <a:pt x="216852" y="26352"/>
                      <a:pt x="213677" y="29527"/>
                      <a:pt x="211455" y="33655"/>
                    </a:cubicBezTo>
                    <a:cubicBezTo>
                      <a:pt x="209232" y="37782"/>
                      <a:pt x="207963" y="43497"/>
                      <a:pt x="207963" y="50165"/>
                    </a:cubicBezTo>
                    <a:cubicBezTo>
                      <a:pt x="207963" y="60007"/>
                      <a:pt x="210185" y="66992"/>
                      <a:pt x="214948" y="71438"/>
                    </a:cubicBezTo>
                    <a:cubicBezTo>
                      <a:pt x="219392" y="75882"/>
                      <a:pt x="225742" y="78105"/>
                      <a:pt x="233363" y="78105"/>
                    </a:cubicBezTo>
                    <a:cubicBezTo>
                      <a:pt x="236220" y="78422"/>
                      <a:pt x="239077" y="78105"/>
                      <a:pt x="241617" y="77470"/>
                    </a:cubicBezTo>
                    <a:moveTo>
                      <a:pt x="183832" y="55880"/>
                    </a:moveTo>
                    <a:cubicBezTo>
                      <a:pt x="183832" y="60642"/>
                      <a:pt x="182563" y="64135"/>
                      <a:pt x="179705" y="66675"/>
                    </a:cubicBezTo>
                    <a:cubicBezTo>
                      <a:pt x="176848" y="68897"/>
                      <a:pt x="173355" y="70167"/>
                      <a:pt x="169227" y="70167"/>
                    </a:cubicBezTo>
                    <a:cubicBezTo>
                      <a:pt x="166370" y="70167"/>
                      <a:pt x="164465" y="69532"/>
                      <a:pt x="162560" y="68263"/>
                    </a:cubicBezTo>
                    <a:cubicBezTo>
                      <a:pt x="160973" y="66992"/>
                      <a:pt x="160020" y="64770"/>
                      <a:pt x="160020" y="61913"/>
                    </a:cubicBezTo>
                    <a:cubicBezTo>
                      <a:pt x="160020" y="58738"/>
                      <a:pt x="161290" y="56197"/>
                      <a:pt x="163513" y="54292"/>
                    </a:cubicBezTo>
                    <a:cubicBezTo>
                      <a:pt x="166052" y="52388"/>
                      <a:pt x="170180" y="51435"/>
                      <a:pt x="176530" y="51117"/>
                    </a:cubicBezTo>
                    <a:lnTo>
                      <a:pt x="183832" y="50800"/>
                    </a:lnTo>
                    <a:lnTo>
                      <a:pt x="183832" y="55880"/>
                    </a:lnTo>
                    <a:close/>
                    <a:moveTo>
                      <a:pt x="163513" y="22860"/>
                    </a:moveTo>
                    <a:cubicBezTo>
                      <a:pt x="160020" y="23813"/>
                      <a:pt x="157163" y="24765"/>
                      <a:pt x="154623" y="26352"/>
                    </a:cubicBezTo>
                    <a:lnTo>
                      <a:pt x="158115" y="34290"/>
                    </a:lnTo>
                    <a:cubicBezTo>
                      <a:pt x="160338" y="33020"/>
                      <a:pt x="162877" y="32067"/>
                      <a:pt x="165417" y="31432"/>
                    </a:cubicBezTo>
                    <a:cubicBezTo>
                      <a:pt x="167957" y="30480"/>
                      <a:pt x="170815" y="30163"/>
                      <a:pt x="173355" y="30163"/>
                    </a:cubicBezTo>
                    <a:cubicBezTo>
                      <a:pt x="176530" y="30163"/>
                      <a:pt x="179388" y="31115"/>
                      <a:pt x="180975" y="32702"/>
                    </a:cubicBezTo>
                    <a:cubicBezTo>
                      <a:pt x="182880" y="34290"/>
                      <a:pt x="183832" y="37147"/>
                      <a:pt x="183832" y="41275"/>
                    </a:cubicBezTo>
                    <a:lnTo>
                      <a:pt x="183832" y="44450"/>
                    </a:lnTo>
                    <a:lnTo>
                      <a:pt x="174625" y="44767"/>
                    </a:lnTo>
                    <a:cubicBezTo>
                      <a:pt x="166052" y="45085"/>
                      <a:pt x="159385" y="46672"/>
                      <a:pt x="155257" y="49530"/>
                    </a:cubicBezTo>
                    <a:cubicBezTo>
                      <a:pt x="151130" y="52388"/>
                      <a:pt x="148907" y="56515"/>
                      <a:pt x="148907" y="62230"/>
                    </a:cubicBezTo>
                    <a:cubicBezTo>
                      <a:pt x="148907" y="67945"/>
                      <a:pt x="150495" y="72072"/>
                      <a:pt x="153670" y="74930"/>
                    </a:cubicBezTo>
                    <a:cubicBezTo>
                      <a:pt x="156845" y="77788"/>
                      <a:pt x="160973" y="79057"/>
                      <a:pt x="166052" y="79057"/>
                    </a:cubicBezTo>
                    <a:cubicBezTo>
                      <a:pt x="170498" y="79057"/>
                      <a:pt x="174307" y="78422"/>
                      <a:pt x="176848" y="76835"/>
                    </a:cubicBezTo>
                    <a:cubicBezTo>
                      <a:pt x="179388" y="75565"/>
                      <a:pt x="181927" y="73342"/>
                      <a:pt x="184467" y="70167"/>
                    </a:cubicBezTo>
                    <a:lnTo>
                      <a:pt x="184785" y="70167"/>
                    </a:lnTo>
                    <a:lnTo>
                      <a:pt x="187007" y="77788"/>
                    </a:lnTo>
                    <a:lnTo>
                      <a:pt x="194627" y="77788"/>
                    </a:lnTo>
                    <a:lnTo>
                      <a:pt x="194627" y="40640"/>
                    </a:lnTo>
                    <a:cubicBezTo>
                      <a:pt x="194627" y="34290"/>
                      <a:pt x="193040" y="29527"/>
                      <a:pt x="189548" y="26352"/>
                    </a:cubicBezTo>
                    <a:cubicBezTo>
                      <a:pt x="186055" y="23495"/>
                      <a:pt x="180975" y="21907"/>
                      <a:pt x="174307" y="21907"/>
                    </a:cubicBezTo>
                    <a:cubicBezTo>
                      <a:pt x="170180" y="21590"/>
                      <a:pt x="166688" y="21907"/>
                      <a:pt x="163513" y="22860"/>
                    </a:cubicBezTo>
                    <a:moveTo>
                      <a:pt x="131763" y="97155"/>
                    </a:moveTo>
                    <a:cubicBezTo>
                      <a:pt x="134302" y="93980"/>
                      <a:pt x="135573" y="89852"/>
                      <a:pt x="135573" y="84772"/>
                    </a:cubicBezTo>
                    <a:lnTo>
                      <a:pt x="135573" y="22542"/>
                    </a:lnTo>
                    <a:lnTo>
                      <a:pt x="124777" y="22542"/>
                    </a:lnTo>
                    <a:lnTo>
                      <a:pt x="124777" y="84455"/>
                    </a:lnTo>
                    <a:cubicBezTo>
                      <a:pt x="124777" y="87630"/>
                      <a:pt x="124142" y="90170"/>
                      <a:pt x="122555" y="91122"/>
                    </a:cubicBezTo>
                    <a:cubicBezTo>
                      <a:pt x="121285" y="92392"/>
                      <a:pt x="119380" y="93027"/>
                      <a:pt x="117157" y="93027"/>
                    </a:cubicBezTo>
                    <a:cubicBezTo>
                      <a:pt x="115888" y="93027"/>
                      <a:pt x="114617" y="93027"/>
                      <a:pt x="113348" y="92710"/>
                    </a:cubicBezTo>
                    <a:cubicBezTo>
                      <a:pt x="112395" y="92392"/>
                      <a:pt x="111125" y="92392"/>
                      <a:pt x="110173" y="92075"/>
                    </a:cubicBezTo>
                    <a:lnTo>
                      <a:pt x="110173" y="100647"/>
                    </a:lnTo>
                    <a:cubicBezTo>
                      <a:pt x="111125" y="100965"/>
                      <a:pt x="112395" y="101282"/>
                      <a:pt x="113982" y="101600"/>
                    </a:cubicBezTo>
                    <a:cubicBezTo>
                      <a:pt x="115570" y="101917"/>
                      <a:pt x="117157" y="101917"/>
                      <a:pt x="118745" y="101917"/>
                    </a:cubicBezTo>
                    <a:cubicBezTo>
                      <a:pt x="125095" y="101917"/>
                      <a:pt x="129223" y="100330"/>
                      <a:pt x="131763" y="97155"/>
                    </a:cubicBezTo>
                    <a:moveTo>
                      <a:pt x="126048" y="12700"/>
                    </a:moveTo>
                    <a:cubicBezTo>
                      <a:pt x="127317" y="13652"/>
                      <a:pt x="128588" y="14288"/>
                      <a:pt x="130492" y="14288"/>
                    </a:cubicBezTo>
                    <a:cubicBezTo>
                      <a:pt x="132080" y="14288"/>
                      <a:pt x="133667" y="13652"/>
                      <a:pt x="134620" y="12700"/>
                    </a:cubicBezTo>
                    <a:cubicBezTo>
                      <a:pt x="135890" y="11747"/>
                      <a:pt x="136525" y="10160"/>
                      <a:pt x="136525" y="7938"/>
                    </a:cubicBezTo>
                    <a:cubicBezTo>
                      <a:pt x="136525" y="5715"/>
                      <a:pt x="135890" y="4127"/>
                      <a:pt x="134620" y="3175"/>
                    </a:cubicBezTo>
                    <a:cubicBezTo>
                      <a:pt x="133350" y="2222"/>
                      <a:pt x="132080" y="1905"/>
                      <a:pt x="130492" y="1905"/>
                    </a:cubicBezTo>
                    <a:cubicBezTo>
                      <a:pt x="128905" y="1905"/>
                      <a:pt x="127317" y="2222"/>
                      <a:pt x="126048" y="3175"/>
                    </a:cubicBezTo>
                    <a:cubicBezTo>
                      <a:pt x="124777" y="4127"/>
                      <a:pt x="124142" y="5715"/>
                      <a:pt x="124142" y="7938"/>
                    </a:cubicBezTo>
                    <a:cubicBezTo>
                      <a:pt x="124460" y="10160"/>
                      <a:pt x="125095" y="11747"/>
                      <a:pt x="126048" y="12700"/>
                    </a:cubicBezTo>
                    <a:moveTo>
                      <a:pt x="73342" y="64452"/>
                    </a:moveTo>
                    <a:cubicBezTo>
                      <a:pt x="71120" y="61277"/>
                      <a:pt x="69850" y="56515"/>
                      <a:pt x="69850" y="50165"/>
                    </a:cubicBezTo>
                    <a:cubicBezTo>
                      <a:pt x="69850" y="43815"/>
                      <a:pt x="71120" y="39052"/>
                      <a:pt x="73342" y="35560"/>
                    </a:cubicBezTo>
                    <a:cubicBezTo>
                      <a:pt x="75565" y="32067"/>
                      <a:pt x="78740" y="30163"/>
                      <a:pt x="83185" y="30163"/>
                    </a:cubicBezTo>
                    <a:cubicBezTo>
                      <a:pt x="88582" y="30163"/>
                      <a:pt x="92392" y="31750"/>
                      <a:pt x="94615" y="35242"/>
                    </a:cubicBezTo>
                    <a:cubicBezTo>
                      <a:pt x="96838" y="38735"/>
                      <a:pt x="97790" y="43497"/>
                      <a:pt x="97790" y="49847"/>
                    </a:cubicBezTo>
                    <a:lnTo>
                      <a:pt x="97790" y="51435"/>
                    </a:lnTo>
                    <a:cubicBezTo>
                      <a:pt x="97790" y="57467"/>
                      <a:pt x="96520" y="61913"/>
                      <a:pt x="94615" y="64770"/>
                    </a:cubicBezTo>
                    <a:cubicBezTo>
                      <a:pt x="92392" y="67627"/>
                      <a:pt x="88900" y="69215"/>
                      <a:pt x="83502" y="69215"/>
                    </a:cubicBezTo>
                    <a:cubicBezTo>
                      <a:pt x="79057" y="69532"/>
                      <a:pt x="75565" y="67945"/>
                      <a:pt x="73342" y="64452"/>
                    </a:cubicBezTo>
                    <a:moveTo>
                      <a:pt x="91123" y="75882"/>
                    </a:moveTo>
                    <a:cubicBezTo>
                      <a:pt x="93663" y="74295"/>
                      <a:pt x="95885" y="72390"/>
                      <a:pt x="97473" y="69850"/>
                    </a:cubicBezTo>
                    <a:lnTo>
                      <a:pt x="98107" y="69850"/>
                    </a:lnTo>
                    <a:lnTo>
                      <a:pt x="100013" y="77152"/>
                    </a:lnTo>
                    <a:lnTo>
                      <a:pt x="108585" y="77152"/>
                    </a:lnTo>
                    <a:lnTo>
                      <a:pt x="108585" y="0"/>
                    </a:lnTo>
                    <a:lnTo>
                      <a:pt x="97790" y="0"/>
                    </a:lnTo>
                    <a:lnTo>
                      <a:pt x="97790" y="20638"/>
                    </a:lnTo>
                    <a:cubicBezTo>
                      <a:pt x="97790" y="21907"/>
                      <a:pt x="97790" y="23495"/>
                      <a:pt x="98107" y="25400"/>
                    </a:cubicBezTo>
                    <a:cubicBezTo>
                      <a:pt x="98425" y="27305"/>
                      <a:pt x="98425" y="28575"/>
                      <a:pt x="98742" y="29527"/>
                    </a:cubicBezTo>
                    <a:lnTo>
                      <a:pt x="98107" y="29527"/>
                    </a:lnTo>
                    <a:cubicBezTo>
                      <a:pt x="96520" y="27305"/>
                      <a:pt x="94298" y="25400"/>
                      <a:pt x="91757" y="23813"/>
                    </a:cubicBezTo>
                    <a:cubicBezTo>
                      <a:pt x="89217" y="22225"/>
                      <a:pt x="85725" y="21590"/>
                      <a:pt x="81598" y="21590"/>
                    </a:cubicBezTo>
                    <a:cubicBezTo>
                      <a:pt x="74930" y="21590"/>
                      <a:pt x="69532" y="24130"/>
                      <a:pt x="65405" y="28892"/>
                    </a:cubicBezTo>
                    <a:cubicBezTo>
                      <a:pt x="61277" y="33655"/>
                      <a:pt x="59373" y="40957"/>
                      <a:pt x="59373" y="50165"/>
                    </a:cubicBezTo>
                    <a:cubicBezTo>
                      <a:pt x="59373" y="59372"/>
                      <a:pt x="61277" y="66675"/>
                      <a:pt x="65405" y="71438"/>
                    </a:cubicBezTo>
                    <a:cubicBezTo>
                      <a:pt x="69532" y="76200"/>
                      <a:pt x="74613" y="78422"/>
                      <a:pt x="81280" y="78422"/>
                    </a:cubicBezTo>
                    <a:cubicBezTo>
                      <a:pt x="85090" y="78422"/>
                      <a:pt x="88582" y="77470"/>
                      <a:pt x="91123" y="75882"/>
                    </a:cubicBezTo>
                    <a:moveTo>
                      <a:pt x="34925" y="55880"/>
                    </a:moveTo>
                    <a:cubicBezTo>
                      <a:pt x="34925" y="60642"/>
                      <a:pt x="33655" y="64135"/>
                      <a:pt x="30798" y="66675"/>
                    </a:cubicBezTo>
                    <a:cubicBezTo>
                      <a:pt x="27940" y="68897"/>
                      <a:pt x="24448" y="70167"/>
                      <a:pt x="20320" y="70167"/>
                    </a:cubicBezTo>
                    <a:cubicBezTo>
                      <a:pt x="17463" y="70167"/>
                      <a:pt x="15557" y="69532"/>
                      <a:pt x="13652" y="68263"/>
                    </a:cubicBezTo>
                    <a:cubicBezTo>
                      <a:pt x="12065" y="66992"/>
                      <a:pt x="11113" y="64770"/>
                      <a:pt x="11113" y="61913"/>
                    </a:cubicBezTo>
                    <a:cubicBezTo>
                      <a:pt x="11113" y="58738"/>
                      <a:pt x="12382" y="56197"/>
                      <a:pt x="14605" y="54292"/>
                    </a:cubicBezTo>
                    <a:cubicBezTo>
                      <a:pt x="17145" y="52388"/>
                      <a:pt x="21273" y="51435"/>
                      <a:pt x="27623" y="51117"/>
                    </a:cubicBezTo>
                    <a:lnTo>
                      <a:pt x="34925" y="50800"/>
                    </a:lnTo>
                    <a:lnTo>
                      <a:pt x="34925" y="55880"/>
                    </a:lnTo>
                    <a:close/>
                    <a:moveTo>
                      <a:pt x="14605" y="22860"/>
                    </a:moveTo>
                    <a:cubicBezTo>
                      <a:pt x="11113" y="23813"/>
                      <a:pt x="8255" y="24765"/>
                      <a:pt x="5715" y="26352"/>
                    </a:cubicBezTo>
                    <a:lnTo>
                      <a:pt x="9207" y="34290"/>
                    </a:lnTo>
                    <a:cubicBezTo>
                      <a:pt x="11430" y="33020"/>
                      <a:pt x="13970" y="32067"/>
                      <a:pt x="16510" y="31432"/>
                    </a:cubicBezTo>
                    <a:cubicBezTo>
                      <a:pt x="19050" y="30797"/>
                      <a:pt x="21907" y="30163"/>
                      <a:pt x="24448" y="30163"/>
                    </a:cubicBezTo>
                    <a:cubicBezTo>
                      <a:pt x="27623" y="30163"/>
                      <a:pt x="30480" y="31115"/>
                      <a:pt x="32067" y="32702"/>
                    </a:cubicBezTo>
                    <a:cubicBezTo>
                      <a:pt x="33973" y="34290"/>
                      <a:pt x="34925" y="37147"/>
                      <a:pt x="34925" y="41275"/>
                    </a:cubicBezTo>
                    <a:lnTo>
                      <a:pt x="34925" y="44450"/>
                    </a:lnTo>
                    <a:lnTo>
                      <a:pt x="25717" y="44767"/>
                    </a:lnTo>
                    <a:cubicBezTo>
                      <a:pt x="17145" y="45085"/>
                      <a:pt x="10477" y="46672"/>
                      <a:pt x="6350" y="49530"/>
                    </a:cubicBezTo>
                    <a:cubicBezTo>
                      <a:pt x="2223" y="52388"/>
                      <a:pt x="0" y="56515"/>
                      <a:pt x="0" y="62230"/>
                    </a:cubicBezTo>
                    <a:cubicBezTo>
                      <a:pt x="0" y="67945"/>
                      <a:pt x="1588" y="72072"/>
                      <a:pt x="4763" y="74930"/>
                    </a:cubicBezTo>
                    <a:cubicBezTo>
                      <a:pt x="7938" y="77788"/>
                      <a:pt x="12065" y="79057"/>
                      <a:pt x="17145" y="79057"/>
                    </a:cubicBezTo>
                    <a:cubicBezTo>
                      <a:pt x="21907" y="79057"/>
                      <a:pt x="25400" y="78422"/>
                      <a:pt x="27940" y="76835"/>
                    </a:cubicBezTo>
                    <a:cubicBezTo>
                      <a:pt x="30480" y="75565"/>
                      <a:pt x="33020" y="73342"/>
                      <a:pt x="35560" y="70167"/>
                    </a:cubicBezTo>
                    <a:lnTo>
                      <a:pt x="35877" y="70167"/>
                    </a:lnTo>
                    <a:lnTo>
                      <a:pt x="38100" y="77788"/>
                    </a:lnTo>
                    <a:lnTo>
                      <a:pt x="45720" y="77788"/>
                    </a:lnTo>
                    <a:lnTo>
                      <a:pt x="45720" y="40640"/>
                    </a:lnTo>
                    <a:cubicBezTo>
                      <a:pt x="45720" y="34290"/>
                      <a:pt x="44132" y="29527"/>
                      <a:pt x="40640" y="26352"/>
                    </a:cubicBezTo>
                    <a:cubicBezTo>
                      <a:pt x="37148" y="23177"/>
                      <a:pt x="32067" y="21907"/>
                      <a:pt x="25400" y="21907"/>
                    </a:cubicBezTo>
                    <a:cubicBezTo>
                      <a:pt x="21273" y="21590"/>
                      <a:pt x="17780" y="21907"/>
                      <a:pt x="14605" y="22860"/>
                    </a:cubicBezTo>
                  </a:path>
                </a:pathLst>
              </a:custGeom>
              <a:grpFill/>
              <a:ln w="3175" cap="flat">
                <a:noFill/>
                <a:prstDash val="solid"/>
                <a:miter/>
              </a:ln>
            </p:spPr>
            <p:txBody>
              <a:bodyPr rtlCol="0" anchor="ctr"/>
              <a:lstStyle/>
              <a:p>
                <a:endParaRPr lang="en-GB">
                  <a:solidFill>
                    <a:srgbClr val="000000"/>
                  </a:solidFill>
                  <a:latin typeface="Verdana"/>
                </a:endParaRPr>
              </a:p>
            </p:txBody>
          </p:sp>
          <p:sp>
            <p:nvSpPr>
              <p:cNvPr id="45" name="Freeform: Shape 44">
                <a:extLst>
                  <a:ext uri="{FF2B5EF4-FFF2-40B4-BE49-F238E27FC236}">
                    <a16:creationId xmlns:a16="http://schemas.microsoft.com/office/drawing/2014/main" id="{13318461-CB0F-4156-B8CB-06189983E11E}"/>
                  </a:ext>
                </a:extLst>
              </p:cNvPr>
              <p:cNvSpPr/>
              <p:nvPr/>
            </p:nvSpPr>
            <p:spPr>
              <a:xfrm>
                <a:off x="2116455" y="3544570"/>
                <a:ext cx="933450" cy="101600"/>
              </a:xfrm>
              <a:custGeom>
                <a:avLst/>
                <a:gdLst>
                  <a:gd name="connsiteX0" fmla="*/ 898208 w 933450"/>
                  <a:gd name="connsiteY0" fmla="*/ 35560 h 101600"/>
                  <a:gd name="connsiteX1" fmla="*/ 909320 w 933450"/>
                  <a:gd name="connsiteY1" fmla="*/ 30480 h 101600"/>
                  <a:gd name="connsiteX2" fmla="*/ 920433 w 933450"/>
                  <a:gd name="connsiteY2" fmla="*/ 35560 h 101600"/>
                  <a:gd name="connsiteX3" fmla="*/ 923925 w 933450"/>
                  <a:gd name="connsiteY3" fmla="*/ 49847 h 101600"/>
                  <a:gd name="connsiteX4" fmla="*/ 920433 w 933450"/>
                  <a:gd name="connsiteY4" fmla="*/ 64135 h 101600"/>
                  <a:gd name="connsiteX5" fmla="*/ 909320 w 933450"/>
                  <a:gd name="connsiteY5" fmla="*/ 69215 h 101600"/>
                  <a:gd name="connsiteX6" fmla="*/ 898208 w 933450"/>
                  <a:gd name="connsiteY6" fmla="*/ 64135 h 101600"/>
                  <a:gd name="connsiteX7" fmla="*/ 894715 w 933450"/>
                  <a:gd name="connsiteY7" fmla="*/ 49847 h 101600"/>
                  <a:gd name="connsiteX8" fmla="*/ 898208 w 933450"/>
                  <a:gd name="connsiteY8" fmla="*/ 35560 h 101600"/>
                  <a:gd name="connsiteX9" fmla="*/ 931545 w 933450"/>
                  <a:gd name="connsiteY9" fmla="*/ 34608 h 101600"/>
                  <a:gd name="connsiteX10" fmla="*/ 922655 w 933450"/>
                  <a:gd name="connsiteY10" fmla="*/ 25083 h 101600"/>
                  <a:gd name="connsiteX11" fmla="*/ 909320 w 933450"/>
                  <a:gd name="connsiteY11" fmla="*/ 21908 h 101600"/>
                  <a:gd name="connsiteX12" fmla="*/ 890270 w 933450"/>
                  <a:gd name="connsiteY12" fmla="*/ 29210 h 101600"/>
                  <a:gd name="connsiteX13" fmla="*/ 883285 w 933450"/>
                  <a:gd name="connsiteY13" fmla="*/ 50165 h 101600"/>
                  <a:gd name="connsiteX14" fmla="*/ 886460 w 933450"/>
                  <a:gd name="connsiteY14" fmla="*/ 65722 h 101600"/>
                  <a:gd name="connsiteX15" fmla="*/ 895350 w 933450"/>
                  <a:gd name="connsiteY15" fmla="*/ 75247 h 101600"/>
                  <a:gd name="connsiteX16" fmla="*/ 908368 w 933450"/>
                  <a:gd name="connsiteY16" fmla="*/ 78422 h 101600"/>
                  <a:gd name="connsiteX17" fmla="*/ 927418 w 933450"/>
                  <a:gd name="connsiteY17" fmla="*/ 71120 h 101600"/>
                  <a:gd name="connsiteX18" fmla="*/ 934403 w 933450"/>
                  <a:gd name="connsiteY18" fmla="*/ 50165 h 101600"/>
                  <a:gd name="connsiteX19" fmla="*/ 931545 w 933450"/>
                  <a:gd name="connsiteY19" fmla="*/ 34608 h 101600"/>
                  <a:gd name="connsiteX20" fmla="*/ 861695 w 933450"/>
                  <a:gd name="connsiteY20" fmla="*/ 67627 h 101600"/>
                  <a:gd name="connsiteX21" fmla="*/ 859473 w 933450"/>
                  <a:gd name="connsiteY21" fmla="*/ 60960 h 101600"/>
                  <a:gd name="connsiteX22" fmla="*/ 859473 w 933450"/>
                  <a:gd name="connsiteY22" fmla="*/ 30797 h 101600"/>
                  <a:gd name="connsiteX23" fmla="*/ 875030 w 933450"/>
                  <a:gd name="connsiteY23" fmla="*/ 30797 h 101600"/>
                  <a:gd name="connsiteX24" fmla="*/ 875030 w 933450"/>
                  <a:gd name="connsiteY24" fmla="*/ 22542 h 101600"/>
                  <a:gd name="connsiteX25" fmla="*/ 859473 w 933450"/>
                  <a:gd name="connsiteY25" fmla="*/ 22542 h 101600"/>
                  <a:gd name="connsiteX26" fmla="*/ 859473 w 933450"/>
                  <a:gd name="connsiteY26" fmla="*/ 10160 h 101600"/>
                  <a:gd name="connsiteX27" fmla="*/ 852805 w 933450"/>
                  <a:gd name="connsiteY27" fmla="*/ 10160 h 101600"/>
                  <a:gd name="connsiteX28" fmla="*/ 848995 w 933450"/>
                  <a:gd name="connsiteY28" fmla="*/ 21590 h 101600"/>
                  <a:gd name="connsiteX29" fmla="*/ 841058 w 933450"/>
                  <a:gd name="connsiteY29" fmla="*/ 25717 h 101600"/>
                  <a:gd name="connsiteX30" fmla="*/ 841058 w 933450"/>
                  <a:gd name="connsiteY30" fmla="*/ 30480 h 101600"/>
                  <a:gd name="connsiteX31" fmla="*/ 848678 w 933450"/>
                  <a:gd name="connsiteY31" fmla="*/ 30480 h 101600"/>
                  <a:gd name="connsiteX32" fmla="*/ 848678 w 933450"/>
                  <a:gd name="connsiteY32" fmla="*/ 60642 h 101600"/>
                  <a:gd name="connsiteX33" fmla="*/ 850900 w 933450"/>
                  <a:gd name="connsiteY33" fmla="*/ 71120 h 101600"/>
                  <a:gd name="connsiteX34" fmla="*/ 856933 w 933450"/>
                  <a:gd name="connsiteY34" fmla="*/ 76517 h 101600"/>
                  <a:gd name="connsiteX35" fmla="*/ 865188 w 933450"/>
                  <a:gd name="connsiteY35" fmla="*/ 78105 h 101600"/>
                  <a:gd name="connsiteX36" fmla="*/ 871220 w 933450"/>
                  <a:gd name="connsiteY36" fmla="*/ 77470 h 101600"/>
                  <a:gd name="connsiteX37" fmla="*/ 875983 w 933450"/>
                  <a:gd name="connsiteY37" fmla="*/ 76200 h 101600"/>
                  <a:gd name="connsiteX38" fmla="*/ 875983 w 933450"/>
                  <a:gd name="connsiteY38" fmla="*/ 67945 h 101600"/>
                  <a:gd name="connsiteX39" fmla="*/ 867728 w 933450"/>
                  <a:gd name="connsiteY39" fmla="*/ 69215 h 101600"/>
                  <a:gd name="connsiteX40" fmla="*/ 861695 w 933450"/>
                  <a:gd name="connsiteY40" fmla="*/ 67627 h 101600"/>
                  <a:gd name="connsiteX41" fmla="*/ 801688 w 933450"/>
                  <a:gd name="connsiteY41" fmla="*/ 23495 h 101600"/>
                  <a:gd name="connsiteX42" fmla="*/ 794385 w 933450"/>
                  <a:gd name="connsiteY42" fmla="*/ 29845 h 101600"/>
                  <a:gd name="connsiteX43" fmla="*/ 793750 w 933450"/>
                  <a:gd name="connsiteY43" fmla="*/ 29845 h 101600"/>
                  <a:gd name="connsiteX44" fmla="*/ 792163 w 933450"/>
                  <a:gd name="connsiteY44" fmla="*/ 22542 h 101600"/>
                  <a:gd name="connsiteX45" fmla="*/ 783590 w 933450"/>
                  <a:gd name="connsiteY45" fmla="*/ 22542 h 101600"/>
                  <a:gd name="connsiteX46" fmla="*/ 783590 w 933450"/>
                  <a:gd name="connsiteY46" fmla="*/ 77152 h 101600"/>
                  <a:gd name="connsiteX47" fmla="*/ 794385 w 933450"/>
                  <a:gd name="connsiteY47" fmla="*/ 77152 h 101600"/>
                  <a:gd name="connsiteX48" fmla="*/ 794385 w 933450"/>
                  <a:gd name="connsiteY48" fmla="*/ 49530 h 101600"/>
                  <a:gd name="connsiteX49" fmla="*/ 797560 w 933450"/>
                  <a:gd name="connsiteY49" fmla="*/ 35242 h 101600"/>
                  <a:gd name="connsiteX50" fmla="*/ 808990 w 933450"/>
                  <a:gd name="connsiteY50" fmla="*/ 30163 h 101600"/>
                  <a:gd name="connsiteX51" fmla="*/ 820420 w 933450"/>
                  <a:gd name="connsiteY51" fmla="*/ 42863 h 101600"/>
                  <a:gd name="connsiteX52" fmla="*/ 820420 w 933450"/>
                  <a:gd name="connsiteY52" fmla="*/ 77152 h 101600"/>
                  <a:gd name="connsiteX53" fmla="*/ 831215 w 933450"/>
                  <a:gd name="connsiteY53" fmla="*/ 77152 h 101600"/>
                  <a:gd name="connsiteX54" fmla="*/ 831215 w 933450"/>
                  <a:gd name="connsiteY54" fmla="*/ 41592 h 101600"/>
                  <a:gd name="connsiteX55" fmla="*/ 826135 w 933450"/>
                  <a:gd name="connsiteY55" fmla="*/ 26352 h 101600"/>
                  <a:gd name="connsiteX56" fmla="*/ 811530 w 933450"/>
                  <a:gd name="connsiteY56" fmla="*/ 21590 h 101600"/>
                  <a:gd name="connsiteX57" fmla="*/ 801688 w 933450"/>
                  <a:gd name="connsiteY57" fmla="*/ 23495 h 101600"/>
                  <a:gd name="connsiteX58" fmla="*/ 756285 w 933450"/>
                  <a:gd name="connsiteY58" fmla="*/ 77470 h 101600"/>
                  <a:gd name="connsiteX59" fmla="*/ 767080 w 933450"/>
                  <a:gd name="connsiteY59" fmla="*/ 77470 h 101600"/>
                  <a:gd name="connsiteX60" fmla="*/ 767080 w 933450"/>
                  <a:gd name="connsiteY60" fmla="*/ 22860 h 101600"/>
                  <a:gd name="connsiteX61" fmla="*/ 756285 w 933450"/>
                  <a:gd name="connsiteY61" fmla="*/ 22860 h 101600"/>
                  <a:gd name="connsiteX62" fmla="*/ 756285 w 933450"/>
                  <a:gd name="connsiteY62" fmla="*/ 77470 h 101600"/>
                  <a:gd name="connsiteX63" fmla="*/ 757238 w 933450"/>
                  <a:gd name="connsiteY63" fmla="*/ 3175 h 101600"/>
                  <a:gd name="connsiteX64" fmla="*/ 755333 w 933450"/>
                  <a:gd name="connsiteY64" fmla="*/ 7938 h 101600"/>
                  <a:gd name="connsiteX65" fmla="*/ 757238 w 933450"/>
                  <a:gd name="connsiteY65" fmla="*/ 12700 h 101600"/>
                  <a:gd name="connsiteX66" fmla="*/ 761683 w 933450"/>
                  <a:gd name="connsiteY66" fmla="*/ 14288 h 101600"/>
                  <a:gd name="connsiteX67" fmla="*/ 765810 w 933450"/>
                  <a:gd name="connsiteY67" fmla="*/ 12700 h 101600"/>
                  <a:gd name="connsiteX68" fmla="*/ 767715 w 933450"/>
                  <a:gd name="connsiteY68" fmla="*/ 7938 h 101600"/>
                  <a:gd name="connsiteX69" fmla="*/ 765810 w 933450"/>
                  <a:gd name="connsiteY69" fmla="*/ 3175 h 101600"/>
                  <a:gd name="connsiteX70" fmla="*/ 761683 w 933450"/>
                  <a:gd name="connsiteY70" fmla="*/ 1905 h 101600"/>
                  <a:gd name="connsiteX71" fmla="*/ 757238 w 933450"/>
                  <a:gd name="connsiteY71" fmla="*/ 3175 h 101600"/>
                  <a:gd name="connsiteX72" fmla="*/ 699135 w 933450"/>
                  <a:gd name="connsiteY72" fmla="*/ 34925 h 101600"/>
                  <a:gd name="connsiteX73" fmla="*/ 702628 w 933450"/>
                  <a:gd name="connsiteY73" fmla="*/ 50165 h 101600"/>
                  <a:gd name="connsiteX74" fmla="*/ 702628 w 933450"/>
                  <a:gd name="connsiteY74" fmla="*/ 52070 h 101600"/>
                  <a:gd name="connsiteX75" fmla="*/ 699135 w 933450"/>
                  <a:gd name="connsiteY75" fmla="*/ 65405 h 101600"/>
                  <a:gd name="connsiteX76" fmla="*/ 688023 w 933450"/>
                  <a:gd name="connsiteY76" fmla="*/ 69533 h 101600"/>
                  <a:gd name="connsiteX77" fmla="*/ 677863 w 933450"/>
                  <a:gd name="connsiteY77" fmla="*/ 64452 h 101600"/>
                  <a:gd name="connsiteX78" fmla="*/ 674370 w 933450"/>
                  <a:gd name="connsiteY78" fmla="*/ 49847 h 101600"/>
                  <a:gd name="connsiteX79" fmla="*/ 677863 w 933450"/>
                  <a:gd name="connsiteY79" fmla="*/ 35242 h 101600"/>
                  <a:gd name="connsiteX80" fmla="*/ 687705 w 933450"/>
                  <a:gd name="connsiteY80" fmla="*/ 30163 h 101600"/>
                  <a:gd name="connsiteX81" fmla="*/ 699135 w 933450"/>
                  <a:gd name="connsiteY81" fmla="*/ 34925 h 101600"/>
                  <a:gd name="connsiteX82" fmla="*/ 669290 w 933450"/>
                  <a:gd name="connsiteY82" fmla="*/ 29210 h 101600"/>
                  <a:gd name="connsiteX83" fmla="*/ 663575 w 933450"/>
                  <a:gd name="connsiteY83" fmla="*/ 50165 h 101600"/>
                  <a:gd name="connsiteX84" fmla="*/ 669290 w 933450"/>
                  <a:gd name="connsiteY84" fmla="*/ 70802 h 101600"/>
                  <a:gd name="connsiteX85" fmla="*/ 685483 w 933450"/>
                  <a:gd name="connsiteY85" fmla="*/ 78422 h 101600"/>
                  <a:gd name="connsiteX86" fmla="*/ 695008 w 933450"/>
                  <a:gd name="connsiteY86" fmla="*/ 76517 h 101600"/>
                  <a:gd name="connsiteX87" fmla="*/ 701993 w 933450"/>
                  <a:gd name="connsiteY87" fmla="*/ 70167 h 101600"/>
                  <a:gd name="connsiteX88" fmla="*/ 702310 w 933450"/>
                  <a:gd name="connsiteY88" fmla="*/ 70167 h 101600"/>
                  <a:gd name="connsiteX89" fmla="*/ 701993 w 933450"/>
                  <a:gd name="connsiteY89" fmla="*/ 73342 h 101600"/>
                  <a:gd name="connsiteX90" fmla="*/ 701993 w 933450"/>
                  <a:gd name="connsiteY90" fmla="*/ 76835 h 101600"/>
                  <a:gd name="connsiteX91" fmla="*/ 701993 w 933450"/>
                  <a:gd name="connsiteY91" fmla="*/ 78740 h 101600"/>
                  <a:gd name="connsiteX92" fmla="*/ 698183 w 933450"/>
                  <a:gd name="connsiteY92" fmla="*/ 89535 h 101600"/>
                  <a:gd name="connsiteX93" fmla="*/ 688023 w 933450"/>
                  <a:gd name="connsiteY93" fmla="*/ 93345 h 101600"/>
                  <a:gd name="connsiteX94" fmla="*/ 676910 w 933450"/>
                  <a:gd name="connsiteY94" fmla="*/ 92392 h 101600"/>
                  <a:gd name="connsiteX95" fmla="*/ 667385 w 933450"/>
                  <a:gd name="connsiteY95" fmla="*/ 89217 h 101600"/>
                  <a:gd name="connsiteX96" fmla="*/ 667385 w 933450"/>
                  <a:gd name="connsiteY96" fmla="*/ 98742 h 101600"/>
                  <a:gd name="connsiteX97" fmla="*/ 676593 w 933450"/>
                  <a:gd name="connsiteY97" fmla="*/ 101283 h 101600"/>
                  <a:gd name="connsiteX98" fmla="*/ 687388 w 933450"/>
                  <a:gd name="connsiteY98" fmla="*/ 102235 h 101600"/>
                  <a:gd name="connsiteX99" fmla="*/ 712788 w 933450"/>
                  <a:gd name="connsiteY99" fmla="*/ 78422 h 101600"/>
                  <a:gd name="connsiteX100" fmla="*/ 712788 w 933450"/>
                  <a:gd name="connsiteY100" fmla="*/ 22860 h 101600"/>
                  <a:gd name="connsiteX101" fmla="*/ 703898 w 933450"/>
                  <a:gd name="connsiteY101" fmla="*/ 22860 h 101600"/>
                  <a:gd name="connsiteX102" fmla="*/ 702628 w 933450"/>
                  <a:gd name="connsiteY102" fmla="*/ 30163 h 101600"/>
                  <a:gd name="connsiteX103" fmla="*/ 701993 w 933450"/>
                  <a:gd name="connsiteY103" fmla="*/ 30163 h 101600"/>
                  <a:gd name="connsiteX104" fmla="*/ 694690 w 933450"/>
                  <a:gd name="connsiteY104" fmla="*/ 23813 h 101600"/>
                  <a:gd name="connsiteX105" fmla="*/ 685165 w 933450"/>
                  <a:gd name="connsiteY105" fmla="*/ 21908 h 101600"/>
                  <a:gd name="connsiteX106" fmla="*/ 669290 w 933450"/>
                  <a:gd name="connsiteY106" fmla="*/ 29210 h 101600"/>
                  <a:gd name="connsiteX107" fmla="*/ 620713 w 933450"/>
                  <a:gd name="connsiteY107" fmla="*/ 23495 h 101600"/>
                  <a:gd name="connsiteX108" fmla="*/ 613410 w 933450"/>
                  <a:gd name="connsiteY108" fmla="*/ 29845 h 101600"/>
                  <a:gd name="connsiteX109" fmla="*/ 612775 w 933450"/>
                  <a:gd name="connsiteY109" fmla="*/ 29845 h 101600"/>
                  <a:gd name="connsiteX110" fmla="*/ 611188 w 933450"/>
                  <a:gd name="connsiteY110" fmla="*/ 22542 h 101600"/>
                  <a:gd name="connsiteX111" fmla="*/ 602615 w 933450"/>
                  <a:gd name="connsiteY111" fmla="*/ 22542 h 101600"/>
                  <a:gd name="connsiteX112" fmla="*/ 602615 w 933450"/>
                  <a:gd name="connsiteY112" fmla="*/ 77152 h 101600"/>
                  <a:gd name="connsiteX113" fmla="*/ 613410 w 933450"/>
                  <a:gd name="connsiteY113" fmla="*/ 77152 h 101600"/>
                  <a:gd name="connsiteX114" fmla="*/ 613410 w 933450"/>
                  <a:gd name="connsiteY114" fmla="*/ 49530 h 101600"/>
                  <a:gd name="connsiteX115" fmla="*/ 616585 w 933450"/>
                  <a:gd name="connsiteY115" fmla="*/ 35242 h 101600"/>
                  <a:gd name="connsiteX116" fmla="*/ 628015 w 933450"/>
                  <a:gd name="connsiteY116" fmla="*/ 30163 h 101600"/>
                  <a:gd name="connsiteX117" fmla="*/ 639445 w 933450"/>
                  <a:gd name="connsiteY117" fmla="*/ 42863 h 101600"/>
                  <a:gd name="connsiteX118" fmla="*/ 639445 w 933450"/>
                  <a:gd name="connsiteY118" fmla="*/ 77152 h 101600"/>
                  <a:gd name="connsiteX119" fmla="*/ 650240 w 933450"/>
                  <a:gd name="connsiteY119" fmla="*/ 77152 h 101600"/>
                  <a:gd name="connsiteX120" fmla="*/ 650240 w 933450"/>
                  <a:gd name="connsiteY120" fmla="*/ 41592 h 101600"/>
                  <a:gd name="connsiteX121" fmla="*/ 645160 w 933450"/>
                  <a:gd name="connsiteY121" fmla="*/ 26352 h 101600"/>
                  <a:gd name="connsiteX122" fmla="*/ 630555 w 933450"/>
                  <a:gd name="connsiteY122" fmla="*/ 21590 h 101600"/>
                  <a:gd name="connsiteX123" fmla="*/ 620713 w 933450"/>
                  <a:gd name="connsiteY123" fmla="*/ 23495 h 101600"/>
                  <a:gd name="connsiteX124" fmla="*/ 574993 w 933450"/>
                  <a:gd name="connsiteY124" fmla="*/ 77470 h 101600"/>
                  <a:gd name="connsiteX125" fmla="*/ 585788 w 933450"/>
                  <a:gd name="connsiteY125" fmla="*/ 77470 h 101600"/>
                  <a:gd name="connsiteX126" fmla="*/ 585788 w 933450"/>
                  <a:gd name="connsiteY126" fmla="*/ 22860 h 101600"/>
                  <a:gd name="connsiteX127" fmla="*/ 574993 w 933450"/>
                  <a:gd name="connsiteY127" fmla="*/ 22860 h 101600"/>
                  <a:gd name="connsiteX128" fmla="*/ 574993 w 933450"/>
                  <a:gd name="connsiteY128" fmla="*/ 77470 h 101600"/>
                  <a:gd name="connsiteX129" fmla="*/ 576263 w 933450"/>
                  <a:gd name="connsiteY129" fmla="*/ 3175 h 101600"/>
                  <a:gd name="connsiteX130" fmla="*/ 574358 w 933450"/>
                  <a:gd name="connsiteY130" fmla="*/ 7938 h 101600"/>
                  <a:gd name="connsiteX131" fmla="*/ 576263 w 933450"/>
                  <a:gd name="connsiteY131" fmla="*/ 12700 h 101600"/>
                  <a:gd name="connsiteX132" fmla="*/ 580708 w 933450"/>
                  <a:gd name="connsiteY132" fmla="*/ 14288 h 101600"/>
                  <a:gd name="connsiteX133" fmla="*/ 584835 w 933450"/>
                  <a:gd name="connsiteY133" fmla="*/ 12700 h 101600"/>
                  <a:gd name="connsiteX134" fmla="*/ 586740 w 933450"/>
                  <a:gd name="connsiteY134" fmla="*/ 7938 h 101600"/>
                  <a:gd name="connsiteX135" fmla="*/ 584835 w 933450"/>
                  <a:gd name="connsiteY135" fmla="*/ 3175 h 101600"/>
                  <a:gd name="connsiteX136" fmla="*/ 580708 w 933450"/>
                  <a:gd name="connsiteY136" fmla="*/ 1905 h 101600"/>
                  <a:gd name="connsiteX137" fmla="*/ 576263 w 933450"/>
                  <a:gd name="connsiteY137" fmla="*/ 3175 h 101600"/>
                  <a:gd name="connsiteX138" fmla="*/ 523240 w 933450"/>
                  <a:gd name="connsiteY138" fmla="*/ 64452 h 101600"/>
                  <a:gd name="connsiteX139" fmla="*/ 519748 w 933450"/>
                  <a:gd name="connsiteY139" fmla="*/ 50165 h 101600"/>
                  <a:gd name="connsiteX140" fmla="*/ 523240 w 933450"/>
                  <a:gd name="connsiteY140" fmla="*/ 35560 h 101600"/>
                  <a:gd name="connsiteX141" fmla="*/ 533083 w 933450"/>
                  <a:gd name="connsiteY141" fmla="*/ 30163 h 101600"/>
                  <a:gd name="connsiteX142" fmla="*/ 544513 w 933450"/>
                  <a:gd name="connsiteY142" fmla="*/ 35242 h 101600"/>
                  <a:gd name="connsiteX143" fmla="*/ 547688 w 933450"/>
                  <a:gd name="connsiteY143" fmla="*/ 49847 h 101600"/>
                  <a:gd name="connsiteX144" fmla="*/ 547688 w 933450"/>
                  <a:gd name="connsiteY144" fmla="*/ 51435 h 101600"/>
                  <a:gd name="connsiteX145" fmla="*/ 544513 w 933450"/>
                  <a:gd name="connsiteY145" fmla="*/ 64770 h 101600"/>
                  <a:gd name="connsiteX146" fmla="*/ 533400 w 933450"/>
                  <a:gd name="connsiteY146" fmla="*/ 69215 h 101600"/>
                  <a:gd name="connsiteX147" fmla="*/ 523240 w 933450"/>
                  <a:gd name="connsiteY147" fmla="*/ 64452 h 101600"/>
                  <a:gd name="connsiteX148" fmla="*/ 541020 w 933450"/>
                  <a:gd name="connsiteY148" fmla="*/ 75883 h 101600"/>
                  <a:gd name="connsiteX149" fmla="*/ 547370 w 933450"/>
                  <a:gd name="connsiteY149" fmla="*/ 69850 h 101600"/>
                  <a:gd name="connsiteX150" fmla="*/ 548005 w 933450"/>
                  <a:gd name="connsiteY150" fmla="*/ 69850 h 101600"/>
                  <a:gd name="connsiteX151" fmla="*/ 549910 w 933450"/>
                  <a:gd name="connsiteY151" fmla="*/ 77152 h 101600"/>
                  <a:gd name="connsiteX152" fmla="*/ 558483 w 933450"/>
                  <a:gd name="connsiteY152" fmla="*/ 77152 h 101600"/>
                  <a:gd name="connsiteX153" fmla="*/ 558483 w 933450"/>
                  <a:gd name="connsiteY153" fmla="*/ 0 h 101600"/>
                  <a:gd name="connsiteX154" fmla="*/ 547370 w 933450"/>
                  <a:gd name="connsiteY154" fmla="*/ 0 h 101600"/>
                  <a:gd name="connsiteX155" fmla="*/ 547370 w 933450"/>
                  <a:gd name="connsiteY155" fmla="*/ 20638 h 101600"/>
                  <a:gd name="connsiteX156" fmla="*/ 547688 w 933450"/>
                  <a:gd name="connsiteY156" fmla="*/ 25400 h 101600"/>
                  <a:gd name="connsiteX157" fmla="*/ 548323 w 933450"/>
                  <a:gd name="connsiteY157" fmla="*/ 29527 h 101600"/>
                  <a:gd name="connsiteX158" fmla="*/ 547688 w 933450"/>
                  <a:gd name="connsiteY158" fmla="*/ 29527 h 101600"/>
                  <a:gd name="connsiteX159" fmla="*/ 541338 w 933450"/>
                  <a:gd name="connsiteY159" fmla="*/ 23813 h 101600"/>
                  <a:gd name="connsiteX160" fmla="*/ 531178 w 933450"/>
                  <a:gd name="connsiteY160" fmla="*/ 21590 h 101600"/>
                  <a:gd name="connsiteX161" fmla="*/ 514985 w 933450"/>
                  <a:gd name="connsiteY161" fmla="*/ 28892 h 101600"/>
                  <a:gd name="connsiteX162" fmla="*/ 508953 w 933450"/>
                  <a:gd name="connsiteY162" fmla="*/ 50165 h 101600"/>
                  <a:gd name="connsiteX163" fmla="*/ 514985 w 933450"/>
                  <a:gd name="connsiteY163" fmla="*/ 71438 h 101600"/>
                  <a:gd name="connsiteX164" fmla="*/ 530860 w 933450"/>
                  <a:gd name="connsiteY164" fmla="*/ 78422 h 101600"/>
                  <a:gd name="connsiteX165" fmla="*/ 541020 w 933450"/>
                  <a:gd name="connsiteY165" fmla="*/ 75883 h 101600"/>
                  <a:gd name="connsiteX166" fmla="*/ 466090 w 933450"/>
                  <a:gd name="connsiteY166" fmla="*/ 23495 h 101600"/>
                  <a:gd name="connsiteX167" fmla="*/ 458788 w 933450"/>
                  <a:gd name="connsiteY167" fmla="*/ 29845 h 101600"/>
                  <a:gd name="connsiteX168" fmla="*/ 458153 w 933450"/>
                  <a:gd name="connsiteY168" fmla="*/ 29845 h 101600"/>
                  <a:gd name="connsiteX169" fmla="*/ 456565 w 933450"/>
                  <a:gd name="connsiteY169" fmla="*/ 22542 h 101600"/>
                  <a:gd name="connsiteX170" fmla="*/ 447993 w 933450"/>
                  <a:gd name="connsiteY170" fmla="*/ 22542 h 101600"/>
                  <a:gd name="connsiteX171" fmla="*/ 447993 w 933450"/>
                  <a:gd name="connsiteY171" fmla="*/ 77152 h 101600"/>
                  <a:gd name="connsiteX172" fmla="*/ 458788 w 933450"/>
                  <a:gd name="connsiteY172" fmla="*/ 77152 h 101600"/>
                  <a:gd name="connsiteX173" fmla="*/ 458788 w 933450"/>
                  <a:gd name="connsiteY173" fmla="*/ 49530 h 101600"/>
                  <a:gd name="connsiteX174" fmla="*/ 461963 w 933450"/>
                  <a:gd name="connsiteY174" fmla="*/ 35242 h 101600"/>
                  <a:gd name="connsiteX175" fmla="*/ 473393 w 933450"/>
                  <a:gd name="connsiteY175" fmla="*/ 30163 h 101600"/>
                  <a:gd name="connsiteX176" fmla="*/ 484823 w 933450"/>
                  <a:gd name="connsiteY176" fmla="*/ 42863 h 101600"/>
                  <a:gd name="connsiteX177" fmla="*/ 484823 w 933450"/>
                  <a:gd name="connsiteY177" fmla="*/ 77152 h 101600"/>
                  <a:gd name="connsiteX178" fmla="*/ 495618 w 933450"/>
                  <a:gd name="connsiteY178" fmla="*/ 77152 h 101600"/>
                  <a:gd name="connsiteX179" fmla="*/ 495618 w 933450"/>
                  <a:gd name="connsiteY179" fmla="*/ 41592 h 101600"/>
                  <a:gd name="connsiteX180" fmla="*/ 490538 w 933450"/>
                  <a:gd name="connsiteY180" fmla="*/ 26352 h 101600"/>
                  <a:gd name="connsiteX181" fmla="*/ 475933 w 933450"/>
                  <a:gd name="connsiteY181" fmla="*/ 21590 h 101600"/>
                  <a:gd name="connsiteX182" fmla="*/ 466090 w 933450"/>
                  <a:gd name="connsiteY182" fmla="*/ 23495 h 101600"/>
                  <a:gd name="connsiteX183" fmla="*/ 421005 w 933450"/>
                  <a:gd name="connsiteY183" fmla="*/ 55880 h 101600"/>
                  <a:gd name="connsiteX184" fmla="*/ 416878 w 933450"/>
                  <a:gd name="connsiteY184" fmla="*/ 66675 h 101600"/>
                  <a:gd name="connsiteX185" fmla="*/ 406400 w 933450"/>
                  <a:gd name="connsiteY185" fmla="*/ 70167 h 101600"/>
                  <a:gd name="connsiteX186" fmla="*/ 399733 w 933450"/>
                  <a:gd name="connsiteY186" fmla="*/ 68263 h 101600"/>
                  <a:gd name="connsiteX187" fmla="*/ 397193 w 933450"/>
                  <a:gd name="connsiteY187" fmla="*/ 61913 h 101600"/>
                  <a:gd name="connsiteX188" fmla="*/ 400685 w 933450"/>
                  <a:gd name="connsiteY188" fmla="*/ 54292 h 101600"/>
                  <a:gd name="connsiteX189" fmla="*/ 413703 w 933450"/>
                  <a:gd name="connsiteY189" fmla="*/ 51117 h 101600"/>
                  <a:gd name="connsiteX190" fmla="*/ 421005 w 933450"/>
                  <a:gd name="connsiteY190" fmla="*/ 50800 h 101600"/>
                  <a:gd name="connsiteX191" fmla="*/ 421005 w 933450"/>
                  <a:gd name="connsiteY191" fmla="*/ 55880 h 101600"/>
                  <a:gd name="connsiteX192" fmla="*/ 400368 w 933450"/>
                  <a:gd name="connsiteY192" fmla="*/ 22860 h 101600"/>
                  <a:gd name="connsiteX193" fmla="*/ 391478 w 933450"/>
                  <a:gd name="connsiteY193" fmla="*/ 26352 h 101600"/>
                  <a:gd name="connsiteX194" fmla="*/ 394970 w 933450"/>
                  <a:gd name="connsiteY194" fmla="*/ 34290 h 101600"/>
                  <a:gd name="connsiteX195" fmla="*/ 402273 w 933450"/>
                  <a:gd name="connsiteY195" fmla="*/ 31433 h 101600"/>
                  <a:gd name="connsiteX196" fmla="*/ 410210 w 933450"/>
                  <a:gd name="connsiteY196" fmla="*/ 30163 h 101600"/>
                  <a:gd name="connsiteX197" fmla="*/ 417830 w 933450"/>
                  <a:gd name="connsiteY197" fmla="*/ 32702 h 101600"/>
                  <a:gd name="connsiteX198" fmla="*/ 420688 w 933450"/>
                  <a:gd name="connsiteY198" fmla="*/ 41275 h 101600"/>
                  <a:gd name="connsiteX199" fmla="*/ 420688 w 933450"/>
                  <a:gd name="connsiteY199" fmla="*/ 44450 h 101600"/>
                  <a:gd name="connsiteX200" fmla="*/ 411480 w 933450"/>
                  <a:gd name="connsiteY200" fmla="*/ 44767 h 101600"/>
                  <a:gd name="connsiteX201" fmla="*/ 392113 w 933450"/>
                  <a:gd name="connsiteY201" fmla="*/ 49530 h 101600"/>
                  <a:gd name="connsiteX202" fmla="*/ 385763 w 933450"/>
                  <a:gd name="connsiteY202" fmla="*/ 62230 h 101600"/>
                  <a:gd name="connsiteX203" fmla="*/ 390525 w 933450"/>
                  <a:gd name="connsiteY203" fmla="*/ 74930 h 101600"/>
                  <a:gd name="connsiteX204" fmla="*/ 402908 w 933450"/>
                  <a:gd name="connsiteY204" fmla="*/ 79058 h 101600"/>
                  <a:gd name="connsiteX205" fmla="*/ 413703 w 933450"/>
                  <a:gd name="connsiteY205" fmla="*/ 76835 h 101600"/>
                  <a:gd name="connsiteX206" fmla="*/ 421323 w 933450"/>
                  <a:gd name="connsiteY206" fmla="*/ 70167 h 101600"/>
                  <a:gd name="connsiteX207" fmla="*/ 421640 w 933450"/>
                  <a:gd name="connsiteY207" fmla="*/ 70167 h 101600"/>
                  <a:gd name="connsiteX208" fmla="*/ 423863 w 933450"/>
                  <a:gd name="connsiteY208" fmla="*/ 77788 h 101600"/>
                  <a:gd name="connsiteX209" fmla="*/ 431483 w 933450"/>
                  <a:gd name="connsiteY209" fmla="*/ 77788 h 101600"/>
                  <a:gd name="connsiteX210" fmla="*/ 431483 w 933450"/>
                  <a:gd name="connsiteY210" fmla="*/ 40640 h 101600"/>
                  <a:gd name="connsiteX211" fmla="*/ 426403 w 933450"/>
                  <a:gd name="connsiteY211" fmla="*/ 26352 h 101600"/>
                  <a:gd name="connsiteX212" fmla="*/ 411163 w 933450"/>
                  <a:gd name="connsiteY212" fmla="*/ 21908 h 101600"/>
                  <a:gd name="connsiteX213" fmla="*/ 400368 w 933450"/>
                  <a:gd name="connsiteY213" fmla="*/ 22860 h 101600"/>
                  <a:gd name="connsiteX214" fmla="*/ 361633 w 933450"/>
                  <a:gd name="connsiteY214" fmla="*/ 35560 h 101600"/>
                  <a:gd name="connsiteX215" fmla="*/ 364808 w 933450"/>
                  <a:gd name="connsiteY215" fmla="*/ 49530 h 101600"/>
                  <a:gd name="connsiteX216" fmla="*/ 361633 w 933450"/>
                  <a:gd name="connsiteY216" fmla="*/ 63817 h 101600"/>
                  <a:gd name="connsiteX217" fmla="*/ 351790 w 933450"/>
                  <a:gd name="connsiteY217" fmla="*/ 69215 h 101600"/>
                  <a:gd name="connsiteX218" fmla="*/ 340678 w 933450"/>
                  <a:gd name="connsiteY218" fmla="*/ 64135 h 101600"/>
                  <a:gd name="connsiteX219" fmla="*/ 337503 w 933450"/>
                  <a:gd name="connsiteY219" fmla="*/ 49530 h 101600"/>
                  <a:gd name="connsiteX220" fmla="*/ 337503 w 933450"/>
                  <a:gd name="connsiteY220" fmla="*/ 47942 h 101600"/>
                  <a:gd name="connsiteX221" fmla="*/ 340678 w 933450"/>
                  <a:gd name="connsiteY221" fmla="*/ 34608 h 101600"/>
                  <a:gd name="connsiteX222" fmla="*/ 351473 w 933450"/>
                  <a:gd name="connsiteY222" fmla="*/ 30163 h 101600"/>
                  <a:gd name="connsiteX223" fmla="*/ 361633 w 933450"/>
                  <a:gd name="connsiteY223" fmla="*/ 35560 h 101600"/>
                  <a:gd name="connsiteX224" fmla="*/ 343853 w 933450"/>
                  <a:gd name="connsiteY224" fmla="*/ 24130 h 101600"/>
                  <a:gd name="connsiteX225" fmla="*/ 337503 w 933450"/>
                  <a:gd name="connsiteY225" fmla="*/ 30163 h 101600"/>
                  <a:gd name="connsiteX226" fmla="*/ 336868 w 933450"/>
                  <a:gd name="connsiteY226" fmla="*/ 30163 h 101600"/>
                  <a:gd name="connsiteX227" fmla="*/ 335280 w 933450"/>
                  <a:gd name="connsiteY227" fmla="*/ 22860 h 101600"/>
                  <a:gd name="connsiteX228" fmla="*/ 326390 w 933450"/>
                  <a:gd name="connsiteY228" fmla="*/ 22860 h 101600"/>
                  <a:gd name="connsiteX229" fmla="*/ 326390 w 933450"/>
                  <a:gd name="connsiteY229" fmla="*/ 101917 h 101600"/>
                  <a:gd name="connsiteX230" fmla="*/ 337185 w 933450"/>
                  <a:gd name="connsiteY230" fmla="*/ 101917 h 101600"/>
                  <a:gd name="connsiteX231" fmla="*/ 337185 w 933450"/>
                  <a:gd name="connsiteY231" fmla="*/ 79692 h 101600"/>
                  <a:gd name="connsiteX232" fmla="*/ 336868 w 933450"/>
                  <a:gd name="connsiteY232" fmla="*/ 75247 h 101600"/>
                  <a:gd name="connsiteX233" fmla="*/ 336550 w 933450"/>
                  <a:gd name="connsiteY233" fmla="*/ 70802 h 101600"/>
                  <a:gd name="connsiteX234" fmla="*/ 337185 w 933450"/>
                  <a:gd name="connsiteY234" fmla="*/ 70802 h 101600"/>
                  <a:gd name="connsiteX235" fmla="*/ 343535 w 933450"/>
                  <a:gd name="connsiteY235" fmla="*/ 76200 h 101600"/>
                  <a:gd name="connsiteX236" fmla="*/ 353695 w 933450"/>
                  <a:gd name="connsiteY236" fmla="*/ 78422 h 101600"/>
                  <a:gd name="connsiteX237" fmla="*/ 369570 w 933450"/>
                  <a:gd name="connsiteY237" fmla="*/ 71120 h 101600"/>
                  <a:gd name="connsiteX238" fmla="*/ 375603 w 933450"/>
                  <a:gd name="connsiteY238" fmla="*/ 49847 h 101600"/>
                  <a:gd name="connsiteX239" fmla="*/ 369570 w 933450"/>
                  <a:gd name="connsiteY239" fmla="*/ 28575 h 101600"/>
                  <a:gd name="connsiteX240" fmla="*/ 353695 w 933450"/>
                  <a:gd name="connsiteY240" fmla="*/ 21590 h 101600"/>
                  <a:gd name="connsiteX241" fmla="*/ 343853 w 933450"/>
                  <a:gd name="connsiteY241" fmla="*/ 24130 h 101600"/>
                  <a:gd name="connsiteX242" fmla="*/ 264478 w 933450"/>
                  <a:gd name="connsiteY242" fmla="*/ 77470 h 101600"/>
                  <a:gd name="connsiteX243" fmla="*/ 276543 w 933450"/>
                  <a:gd name="connsiteY243" fmla="*/ 77470 h 101600"/>
                  <a:gd name="connsiteX244" fmla="*/ 290513 w 933450"/>
                  <a:gd name="connsiteY244" fmla="*/ 56515 h 101600"/>
                  <a:gd name="connsiteX245" fmla="*/ 304483 w 933450"/>
                  <a:gd name="connsiteY245" fmla="*/ 77470 h 101600"/>
                  <a:gd name="connsiteX246" fmla="*/ 316548 w 933450"/>
                  <a:gd name="connsiteY246" fmla="*/ 77470 h 101600"/>
                  <a:gd name="connsiteX247" fmla="*/ 297180 w 933450"/>
                  <a:gd name="connsiteY247" fmla="*/ 49530 h 101600"/>
                  <a:gd name="connsiteX248" fmla="*/ 315913 w 933450"/>
                  <a:gd name="connsiteY248" fmla="*/ 22860 h 101600"/>
                  <a:gd name="connsiteX249" fmla="*/ 303848 w 933450"/>
                  <a:gd name="connsiteY249" fmla="*/ 22860 h 101600"/>
                  <a:gd name="connsiteX250" fmla="*/ 290830 w 933450"/>
                  <a:gd name="connsiteY250" fmla="*/ 42545 h 101600"/>
                  <a:gd name="connsiteX251" fmla="*/ 277813 w 933450"/>
                  <a:gd name="connsiteY251" fmla="*/ 22860 h 101600"/>
                  <a:gd name="connsiteX252" fmla="*/ 265430 w 933450"/>
                  <a:gd name="connsiteY252" fmla="*/ 22860 h 101600"/>
                  <a:gd name="connsiteX253" fmla="*/ 284163 w 933450"/>
                  <a:gd name="connsiteY253" fmla="*/ 49530 h 101600"/>
                  <a:gd name="connsiteX254" fmla="*/ 264478 w 933450"/>
                  <a:gd name="connsiteY254" fmla="*/ 77470 h 101600"/>
                  <a:gd name="connsiteX255" fmla="*/ 246380 w 933450"/>
                  <a:gd name="connsiteY255" fmla="*/ 33972 h 101600"/>
                  <a:gd name="connsiteX256" fmla="*/ 249555 w 933450"/>
                  <a:gd name="connsiteY256" fmla="*/ 44450 h 101600"/>
                  <a:gd name="connsiteX257" fmla="*/ 223520 w 933450"/>
                  <a:gd name="connsiteY257" fmla="*/ 44450 h 101600"/>
                  <a:gd name="connsiteX258" fmla="*/ 227648 w 933450"/>
                  <a:gd name="connsiteY258" fmla="*/ 33655 h 101600"/>
                  <a:gd name="connsiteX259" fmla="*/ 236855 w 933450"/>
                  <a:gd name="connsiteY259" fmla="*/ 29845 h 101600"/>
                  <a:gd name="connsiteX260" fmla="*/ 246380 w 933450"/>
                  <a:gd name="connsiteY260" fmla="*/ 33972 h 101600"/>
                  <a:gd name="connsiteX261" fmla="*/ 224155 w 933450"/>
                  <a:gd name="connsiteY261" fmla="*/ 25083 h 101600"/>
                  <a:gd name="connsiteX262" fmla="*/ 215583 w 933450"/>
                  <a:gd name="connsiteY262" fmla="*/ 34925 h 101600"/>
                  <a:gd name="connsiteX263" fmla="*/ 212408 w 933450"/>
                  <a:gd name="connsiteY263" fmla="*/ 50483 h 101600"/>
                  <a:gd name="connsiteX264" fmla="*/ 215900 w 933450"/>
                  <a:gd name="connsiteY264" fmla="*/ 66040 h 101600"/>
                  <a:gd name="connsiteX265" fmla="*/ 225425 w 933450"/>
                  <a:gd name="connsiteY265" fmla="*/ 75247 h 101600"/>
                  <a:gd name="connsiteX266" fmla="*/ 239395 w 933450"/>
                  <a:gd name="connsiteY266" fmla="*/ 78422 h 101600"/>
                  <a:gd name="connsiteX267" fmla="*/ 249238 w 933450"/>
                  <a:gd name="connsiteY267" fmla="*/ 77470 h 101600"/>
                  <a:gd name="connsiteX268" fmla="*/ 257493 w 933450"/>
                  <a:gd name="connsiteY268" fmla="*/ 74613 h 101600"/>
                  <a:gd name="connsiteX269" fmla="*/ 257493 w 933450"/>
                  <a:gd name="connsiteY269" fmla="*/ 65722 h 101600"/>
                  <a:gd name="connsiteX270" fmla="*/ 248920 w 933450"/>
                  <a:gd name="connsiteY270" fmla="*/ 68580 h 101600"/>
                  <a:gd name="connsiteX271" fmla="*/ 239395 w 933450"/>
                  <a:gd name="connsiteY271" fmla="*/ 69533 h 101600"/>
                  <a:gd name="connsiteX272" fmla="*/ 227648 w 933450"/>
                  <a:gd name="connsiteY272" fmla="*/ 65088 h 101600"/>
                  <a:gd name="connsiteX273" fmla="*/ 223203 w 933450"/>
                  <a:gd name="connsiteY273" fmla="*/ 52070 h 101600"/>
                  <a:gd name="connsiteX274" fmla="*/ 260033 w 933450"/>
                  <a:gd name="connsiteY274" fmla="*/ 52070 h 101600"/>
                  <a:gd name="connsiteX275" fmla="*/ 260033 w 933450"/>
                  <a:gd name="connsiteY275" fmla="*/ 46038 h 101600"/>
                  <a:gd name="connsiteX276" fmla="*/ 253683 w 933450"/>
                  <a:gd name="connsiteY276" fmla="*/ 27940 h 101600"/>
                  <a:gd name="connsiteX277" fmla="*/ 236855 w 933450"/>
                  <a:gd name="connsiteY277" fmla="*/ 21272 h 101600"/>
                  <a:gd name="connsiteX278" fmla="*/ 224155 w 933450"/>
                  <a:gd name="connsiteY278" fmla="*/ 25083 h 101600"/>
                  <a:gd name="connsiteX279" fmla="*/ 137478 w 933450"/>
                  <a:gd name="connsiteY279" fmla="*/ 64452 h 101600"/>
                  <a:gd name="connsiteX280" fmla="*/ 133985 w 933450"/>
                  <a:gd name="connsiteY280" fmla="*/ 50165 h 101600"/>
                  <a:gd name="connsiteX281" fmla="*/ 137478 w 933450"/>
                  <a:gd name="connsiteY281" fmla="*/ 35560 h 101600"/>
                  <a:gd name="connsiteX282" fmla="*/ 147320 w 933450"/>
                  <a:gd name="connsiteY282" fmla="*/ 30163 h 101600"/>
                  <a:gd name="connsiteX283" fmla="*/ 158750 w 933450"/>
                  <a:gd name="connsiteY283" fmla="*/ 35242 h 101600"/>
                  <a:gd name="connsiteX284" fmla="*/ 161925 w 933450"/>
                  <a:gd name="connsiteY284" fmla="*/ 49847 h 101600"/>
                  <a:gd name="connsiteX285" fmla="*/ 161925 w 933450"/>
                  <a:gd name="connsiteY285" fmla="*/ 51435 h 101600"/>
                  <a:gd name="connsiteX286" fmla="*/ 158750 w 933450"/>
                  <a:gd name="connsiteY286" fmla="*/ 64770 h 101600"/>
                  <a:gd name="connsiteX287" fmla="*/ 147638 w 933450"/>
                  <a:gd name="connsiteY287" fmla="*/ 69215 h 101600"/>
                  <a:gd name="connsiteX288" fmla="*/ 137478 w 933450"/>
                  <a:gd name="connsiteY288" fmla="*/ 64452 h 101600"/>
                  <a:gd name="connsiteX289" fmla="*/ 155258 w 933450"/>
                  <a:gd name="connsiteY289" fmla="*/ 75883 h 101600"/>
                  <a:gd name="connsiteX290" fmla="*/ 161608 w 933450"/>
                  <a:gd name="connsiteY290" fmla="*/ 69850 h 101600"/>
                  <a:gd name="connsiteX291" fmla="*/ 162243 w 933450"/>
                  <a:gd name="connsiteY291" fmla="*/ 69850 h 101600"/>
                  <a:gd name="connsiteX292" fmla="*/ 164148 w 933450"/>
                  <a:gd name="connsiteY292" fmla="*/ 77152 h 101600"/>
                  <a:gd name="connsiteX293" fmla="*/ 172720 w 933450"/>
                  <a:gd name="connsiteY293" fmla="*/ 77152 h 101600"/>
                  <a:gd name="connsiteX294" fmla="*/ 172720 w 933450"/>
                  <a:gd name="connsiteY294" fmla="*/ 0 h 101600"/>
                  <a:gd name="connsiteX295" fmla="*/ 161925 w 933450"/>
                  <a:gd name="connsiteY295" fmla="*/ 0 h 101600"/>
                  <a:gd name="connsiteX296" fmla="*/ 161925 w 933450"/>
                  <a:gd name="connsiteY296" fmla="*/ 20638 h 101600"/>
                  <a:gd name="connsiteX297" fmla="*/ 162243 w 933450"/>
                  <a:gd name="connsiteY297" fmla="*/ 25400 h 101600"/>
                  <a:gd name="connsiteX298" fmla="*/ 162878 w 933450"/>
                  <a:gd name="connsiteY298" fmla="*/ 29527 h 101600"/>
                  <a:gd name="connsiteX299" fmla="*/ 162243 w 933450"/>
                  <a:gd name="connsiteY299" fmla="*/ 29527 h 101600"/>
                  <a:gd name="connsiteX300" fmla="*/ 155893 w 933450"/>
                  <a:gd name="connsiteY300" fmla="*/ 23813 h 101600"/>
                  <a:gd name="connsiteX301" fmla="*/ 145733 w 933450"/>
                  <a:gd name="connsiteY301" fmla="*/ 21590 h 101600"/>
                  <a:gd name="connsiteX302" fmla="*/ 129540 w 933450"/>
                  <a:gd name="connsiteY302" fmla="*/ 28892 h 101600"/>
                  <a:gd name="connsiteX303" fmla="*/ 123508 w 933450"/>
                  <a:gd name="connsiteY303" fmla="*/ 50165 h 101600"/>
                  <a:gd name="connsiteX304" fmla="*/ 129540 w 933450"/>
                  <a:gd name="connsiteY304" fmla="*/ 71438 h 101600"/>
                  <a:gd name="connsiteX305" fmla="*/ 145415 w 933450"/>
                  <a:gd name="connsiteY305" fmla="*/ 78422 h 101600"/>
                  <a:gd name="connsiteX306" fmla="*/ 155258 w 933450"/>
                  <a:gd name="connsiteY306" fmla="*/ 75883 h 101600"/>
                  <a:gd name="connsiteX307" fmla="*/ 80010 w 933450"/>
                  <a:gd name="connsiteY307" fmla="*/ 23495 h 101600"/>
                  <a:gd name="connsiteX308" fmla="*/ 72708 w 933450"/>
                  <a:gd name="connsiteY308" fmla="*/ 29845 h 101600"/>
                  <a:gd name="connsiteX309" fmla="*/ 72073 w 933450"/>
                  <a:gd name="connsiteY309" fmla="*/ 29845 h 101600"/>
                  <a:gd name="connsiteX310" fmla="*/ 70485 w 933450"/>
                  <a:gd name="connsiteY310" fmla="*/ 22542 h 101600"/>
                  <a:gd name="connsiteX311" fmla="*/ 61913 w 933450"/>
                  <a:gd name="connsiteY311" fmla="*/ 22542 h 101600"/>
                  <a:gd name="connsiteX312" fmla="*/ 61913 w 933450"/>
                  <a:gd name="connsiteY312" fmla="*/ 77152 h 101600"/>
                  <a:gd name="connsiteX313" fmla="*/ 72708 w 933450"/>
                  <a:gd name="connsiteY313" fmla="*/ 77152 h 101600"/>
                  <a:gd name="connsiteX314" fmla="*/ 72708 w 933450"/>
                  <a:gd name="connsiteY314" fmla="*/ 49530 h 101600"/>
                  <a:gd name="connsiteX315" fmla="*/ 75883 w 933450"/>
                  <a:gd name="connsiteY315" fmla="*/ 35242 h 101600"/>
                  <a:gd name="connsiteX316" fmla="*/ 87313 w 933450"/>
                  <a:gd name="connsiteY316" fmla="*/ 30163 h 101600"/>
                  <a:gd name="connsiteX317" fmla="*/ 98743 w 933450"/>
                  <a:gd name="connsiteY317" fmla="*/ 42863 h 101600"/>
                  <a:gd name="connsiteX318" fmla="*/ 98743 w 933450"/>
                  <a:gd name="connsiteY318" fmla="*/ 77152 h 101600"/>
                  <a:gd name="connsiteX319" fmla="*/ 109538 w 933450"/>
                  <a:gd name="connsiteY319" fmla="*/ 77152 h 101600"/>
                  <a:gd name="connsiteX320" fmla="*/ 109538 w 933450"/>
                  <a:gd name="connsiteY320" fmla="*/ 41592 h 101600"/>
                  <a:gd name="connsiteX321" fmla="*/ 104458 w 933450"/>
                  <a:gd name="connsiteY321" fmla="*/ 26352 h 101600"/>
                  <a:gd name="connsiteX322" fmla="*/ 89853 w 933450"/>
                  <a:gd name="connsiteY322" fmla="*/ 21590 h 101600"/>
                  <a:gd name="connsiteX323" fmla="*/ 80010 w 933450"/>
                  <a:gd name="connsiteY323" fmla="*/ 23495 h 101600"/>
                  <a:gd name="connsiteX324" fmla="*/ 34925 w 933450"/>
                  <a:gd name="connsiteY324" fmla="*/ 55880 h 101600"/>
                  <a:gd name="connsiteX325" fmla="*/ 30798 w 933450"/>
                  <a:gd name="connsiteY325" fmla="*/ 66675 h 101600"/>
                  <a:gd name="connsiteX326" fmla="*/ 20320 w 933450"/>
                  <a:gd name="connsiteY326" fmla="*/ 70167 h 101600"/>
                  <a:gd name="connsiteX327" fmla="*/ 13653 w 933450"/>
                  <a:gd name="connsiteY327" fmla="*/ 68263 h 101600"/>
                  <a:gd name="connsiteX328" fmla="*/ 11113 w 933450"/>
                  <a:gd name="connsiteY328" fmla="*/ 61913 h 101600"/>
                  <a:gd name="connsiteX329" fmla="*/ 14605 w 933450"/>
                  <a:gd name="connsiteY329" fmla="*/ 54292 h 101600"/>
                  <a:gd name="connsiteX330" fmla="*/ 27623 w 933450"/>
                  <a:gd name="connsiteY330" fmla="*/ 51117 h 101600"/>
                  <a:gd name="connsiteX331" fmla="*/ 34925 w 933450"/>
                  <a:gd name="connsiteY331" fmla="*/ 50800 h 101600"/>
                  <a:gd name="connsiteX332" fmla="*/ 34925 w 933450"/>
                  <a:gd name="connsiteY332" fmla="*/ 55880 h 101600"/>
                  <a:gd name="connsiteX333" fmla="*/ 14605 w 933450"/>
                  <a:gd name="connsiteY333" fmla="*/ 22860 h 101600"/>
                  <a:gd name="connsiteX334" fmla="*/ 5715 w 933450"/>
                  <a:gd name="connsiteY334" fmla="*/ 26352 h 101600"/>
                  <a:gd name="connsiteX335" fmla="*/ 9208 w 933450"/>
                  <a:gd name="connsiteY335" fmla="*/ 34290 h 101600"/>
                  <a:gd name="connsiteX336" fmla="*/ 16510 w 933450"/>
                  <a:gd name="connsiteY336" fmla="*/ 31433 h 101600"/>
                  <a:gd name="connsiteX337" fmla="*/ 24448 w 933450"/>
                  <a:gd name="connsiteY337" fmla="*/ 30163 h 101600"/>
                  <a:gd name="connsiteX338" fmla="*/ 32068 w 933450"/>
                  <a:gd name="connsiteY338" fmla="*/ 32702 h 101600"/>
                  <a:gd name="connsiteX339" fmla="*/ 34925 w 933450"/>
                  <a:gd name="connsiteY339" fmla="*/ 41275 h 101600"/>
                  <a:gd name="connsiteX340" fmla="*/ 34925 w 933450"/>
                  <a:gd name="connsiteY340" fmla="*/ 44450 h 101600"/>
                  <a:gd name="connsiteX341" fmla="*/ 25718 w 933450"/>
                  <a:gd name="connsiteY341" fmla="*/ 44767 h 101600"/>
                  <a:gd name="connsiteX342" fmla="*/ 6350 w 933450"/>
                  <a:gd name="connsiteY342" fmla="*/ 49530 h 101600"/>
                  <a:gd name="connsiteX343" fmla="*/ 0 w 933450"/>
                  <a:gd name="connsiteY343" fmla="*/ 62230 h 101600"/>
                  <a:gd name="connsiteX344" fmla="*/ 4763 w 933450"/>
                  <a:gd name="connsiteY344" fmla="*/ 74930 h 101600"/>
                  <a:gd name="connsiteX345" fmla="*/ 17145 w 933450"/>
                  <a:gd name="connsiteY345" fmla="*/ 79058 h 101600"/>
                  <a:gd name="connsiteX346" fmla="*/ 27940 w 933450"/>
                  <a:gd name="connsiteY346" fmla="*/ 76835 h 101600"/>
                  <a:gd name="connsiteX347" fmla="*/ 35560 w 933450"/>
                  <a:gd name="connsiteY347" fmla="*/ 70167 h 101600"/>
                  <a:gd name="connsiteX348" fmla="*/ 35878 w 933450"/>
                  <a:gd name="connsiteY348" fmla="*/ 70167 h 101600"/>
                  <a:gd name="connsiteX349" fmla="*/ 38100 w 933450"/>
                  <a:gd name="connsiteY349" fmla="*/ 77788 h 101600"/>
                  <a:gd name="connsiteX350" fmla="*/ 45720 w 933450"/>
                  <a:gd name="connsiteY350" fmla="*/ 77788 h 101600"/>
                  <a:gd name="connsiteX351" fmla="*/ 45720 w 933450"/>
                  <a:gd name="connsiteY351" fmla="*/ 40640 h 101600"/>
                  <a:gd name="connsiteX352" fmla="*/ 40640 w 933450"/>
                  <a:gd name="connsiteY352" fmla="*/ 26352 h 101600"/>
                  <a:gd name="connsiteX353" fmla="*/ 25400 w 933450"/>
                  <a:gd name="connsiteY353" fmla="*/ 21908 h 101600"/>
                  <a:gd name="connsiteX354" fmla="*/ 14605 w 933450"/>
                  <a:gd name="connsiteY354" fmla="*/ 2286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Lst>
                <a:rect l="l" t="t" r="r" b="b"/>
                <a:pathLst>
                  <a:path w="933450" h="101600">
                    <a:moveTo>
                      <a:pt x="898208" y="35560"/>
                    </a:moveTo>
                    <a:cubicBezTo>
                      <a:pt x="900430" y="32067"/>
                      <a:pt x="904240" y="30480"/>
                      <a:pt x="909320" y="30480"/>
                    </a:cubicBezTo>
                    <a:cubicBezTo>
                      <a:pt x="914400" y="30480"/>
                      <a:pt x="918210" y="32067"/>
                      <a:pt x="920433" y="35560"/>
                    </a:cubicBezTo>
                    <a:cubicBezTo>
                      <a:pt x="922655" y="39052"/>
                      <a:pt x="923925" y="43815"/>
                      <a:pt x="923925" y="49847"/>
                    </a:cubicBezTo>
                    <a:cubicBezTo>
                      <a:pt x="923925" y="55880"/>
                      <a:pt x="922655" y="60960"/>
                      <a:pt x="920433" y="64135"/>
                    </a:cubicBezTo>
                    <a:cubicBezTo>
                      <a:pt x="918210" y="67310"/>
                      <a:pt x="914400" y="69215"/>
                      <a:pt x="909320" y="69215"/>
                    </a:cubicBezTo>
                    <a:cubicBezTo>
                      <a:pt x="904240" y="69215"/>
                      <a:pt x="900430" y="67627"/>
                      <a:pt x="898208" y="64135"/>
                    </a:cubicBezTo>
                    <a:cubicBezTo>
                      <a:pt x="895985" y="60642"/>
                      <a:pt x="894715" y="55880"/>
                      <a:pt x="894715" y="49847"/>
                    </a:cubicBezTo>
                    <a:cubicBezTo>
                      <a:pt x="894715" y="43815"/>
                      <a:pt x="895668" y="39052"/>
                      <a:pt x="898208" y="35560"/>
                    </a:cubicBezTo>
                    <a:moveTo>
                      <a:pt x="931545" y="34608"/>
                    </a:moveTo>
                    <a:cubicBezTo>
                      <a:pt x="929323" y="30480"/>
                      <a:pt x="926465" y="27305"/>
                      <a:pt x="922655" y="25083"/>
                    </a:cubicBezTo>
                    <a:cubicBezTo>
                      <a:pt x="918845" y="22860"/>
                      <a:pt x="914400" y="21908"/>
                      <a:pt x="909320" y="21908"/>
                    </a:cubicBezTo>
                    <a:cubicBezTo>
                      <a:pt x="901383" y="21908"/>
                      <a:pt x="895033" y="24447"/>
                      <a:pt x="890270" y="29210"/>
                    </a:cubicBezTo>
                    <a:cubicBezTo>
                      <a:pt x="885508" y="33972"/>
                      <a:pt x="883285" y="40958"/>
                      <a:pt x="883285" y="50165"/>
                    </a:cubicBezTo>
                    <a:cubicBezTo>
                      <a:pt x="883285" y="56197"/>
                      <a:pt x="884238" y="61277"/>
                      <a:pt x="886460" y="65722"/>
                    </a:cubicBezTo>
                    <a:cubicBezTo>
                      <a:pt x="888683" y="69850"/>
                      <a:pt x="891540" y="73025"/>
                      <a:pt x="895350" y="75247"/>
                    </a:cubicBezTo>
                    <a:cubicBezTo>
                      <a:pt x="899160" y="77470"/>
                      <a:pt x="903605" y="78422"/>
                      <a:pt x="908368" y="78422"/>
                    </a:cubicBezTo>
                    <a:cubicBezTo>
                      <a:pt x="916305" y="78422"/>
                      <a:pt x="922655" y="75883"/>
                      <a:pt x="927418" y="71120"/>
                    </a:cubicBezTo>
                    <a:cubicBezTo>
                      <a:pt x="932180" y="66040"/>
                      <a:pt x="934403" y="59055"/>
                      <a:pt x="934403" y="50165"/>
                    </a:cubicBezTo>
                    <a:cubicBezTo>
                      <a:pt x="935038" y="43815"/>
                      <a:pt x="933768" y="38735"/>
                      <a:pt x="931545" y="34608"/>
                    </a:cubicBezTo>
                    <a:moveTo>
                      <a:pt x="861695" y="67627"/>
                    </a:moveTo>
                    <a:cubicBezTo>
                      <a:pt x="860108" y="66358"/>
                      <a:pt x="859473" y="64135"/>
                      <a:pt x="859473" y="60960"/>
                    </a:cubicBezTo>
                    <a:lnTo>
                      <a:pt x="859473" y="30797"/>
                    </a:lnTo>
                    <a:lnTo>
                      <a:pt x="875030" y="30797"/>
                    </a:lnTo>
                    <a:lnTo>
                      <a:pt x="875030" y="22542"/>
                    </a:lnTo>
                    <a:lnTo>
                      <a:pt x="859473" y="22542"/>
                    </a:lnTo>
                    <a:lnTo>
                      <a:pt x="859473" y="10160"/>
                    </a:lnTo>
                    <a:lnTo>
                      <a:pt x="852805" y="10160"/>
                    </a:lnTo>
                    <a:lnTo>
                      <a:pt x="848995" y="21590"/>
                    </a:lnTo>
                    <a:lnTo>
                      <a:pt x="841058" y="25717"/>
                    </a:lnTo>
                    <a:lnTo>
                      <a:pt x="841058" y="30480"/>
                    </a:lnTo>
                    <a:lnTo>
                      <a:pt x="848678" y="30480"/>
                    </a:lnTo>
                    <a:lnTo>
                      <a:pt x="848678" y="60642"/>
                    </a:lnTo>
                    <a:cubicBezTo>
                      <a:pt x="848678" y="65088"/>
                      <a:pt x="849313" y="68580"/>
                      <a:pt x="850900" y="71120"/>
                    </a:cubicBezTo>
                    <a:cubicBezTo>
                      <a:pt x="852488" y="73660"/>
                      <a:pt x="854393" y="75247"/>
                      <a:pt x="856933" y="76517"/>
                    </a:cubicBezTo>
                    <a:cubicBezTo>
                      <a:pt x="859473" y="77470"/>
                      <a:pt x="862013" y="78105"/>
                      <a:pt x="865188" y="78105"/>
                    </a:cubicBezTo>
                    <a:cubicBezTo>
                      <a:pt x="867093" y="78105"/>
                      <a:pt x="868998" y="77788"/>
                      <a:pt x="871220" y="77470"/>
                    </a:cubicBezTo>
                    <a:cubicBezTo>
                      <a:pt x="873443" y="77152"/>
                      <a:pt x="874713" y="76517"/>
                      <a:pt x="875983" y="76200"/>
                    </a:cubicBezTo>
                    <a:lnTo>
                      <a:pt x="875983" y="67945"/>
                    </a:lnTo>
                    <a:cubicBezTo>
                      <a:pt x="873443" y="68897"/>
                      <a:pt x="870903" y="69215"/>
                      <a:pt x="867728" y="69215"/>
                    </a:cubicBezTo>
                    <a:cubicBezTo>
                      <a:pt x="865188" y="69533"/>
                      <a:pt x="863283" y="68897"/>
                      <a:pt x="861695" y="67627"/>
                    </a:cubicBezTo>
                    <a:moveTo>
                      <a:pt x="801688" y="23495"/>
                    </a:moveTo>
                    <a:cubicBezTo>
                      <a:pt x="798513" y="24765"/>
                      <a:pt x="796290" y="26988"/>
                      <a:pt x="794385" y="29845"/>
                    </a:cubicBezTo>
                    <a:lnTo>
                      <a:pt x="793750" y="29845"/>
                    </a:lnTo>
                    <a:lnTo>
                      <a:pt x="792163" y="22542"/>
                    </a:lnTo>
                    <a:lnTo>
                      <a:pt x="783590" y="22542"/>
                    </a:lnTo>
                    <a:lnTo>
                      <a:pt x="783590" y="77152"/>
                    </a:lnTo>
                    <a:lnTo>
                      <a:pt x="794385" y="77152"/>
                    </a:lnTo>
                    <a:lnTo>
                      <a:pt x="794385" y="49530"/>
                    </a:lnTo>
                    <a:cubicBezTo>
                      <a:pt x="794385" y="43180"/>
                      <a:pt x="795338" y="38417"/>
                      <a:pt x="797560" y="35242"/>
                    </a:cubicBezTo>
                    <a:cubicBezTo>
                      <a:pt x="799783" y="32067"/>
                      <a:pt x="803593" y="30163"/>
                      <a:pt x="808990" y="30163"/>
                    </a:cubicBezTo>
                    <a:cubicBezTo>
                      <a:pt x="816610" y="30163"/>
                      <a:pt x="820420" y="34290"/>
                      <a:pt x="820420" y="42863"/>
                    </a:cubicBezTo>
                    <a:lnTo>
                      <a:pt x="820420" y="77152"/>
                    </a:lnTo>
                    <a:lnTo>
                      <a:pt x="831215" y="77152"/>
                    </a:lnTo>
                    <a:lnTo>
                      <a:pt x="831215" y="41592"/>
                    </a:lnTo>
                    <a:cubicBezTo>
                      <a:pt x="831215" y="34608"/>
                      <a:pt x="829628" y="29527"/>
                      <a:pt x="826135" y="26352"/>
                    </a:cubicBezTo>
                    <a:cubicBezTo>
                      <a:pt x="822643" y="23177"/>
                      <a:pt x="817880" y="21590"/>
                      <a:pt x="811530" y="21590"/>
                    </a:cubicBezTo>
                    <a:cubicBezTo>
                      <a:pt x="808038" y="21590"/>
                      <a:pt x="804863" y="22225"/>
                      <a:pt x="801688" y="23495"/>
                    </a:cubicBezTo>
                    <a:moveTo>
                      <a:pt x="756285" y="77470"/>
                    </a:moveTo>
                    <a:lnTo>
                      <a:pt x="767080" y="77470"/>
                    </a:lnTo>
                    <a:lnTo>
                      <a:pt x="767080" y="22860"/>
                    </a:lnTo>
                    <a:lnTo>
                      <a:pt x="756285" y="22860"/>
                    </a:lnTo>
                    <a:lnTo>
                      <a:pt x="756285" y="77470"/>
                    </a:lnTo>
                    <a:close/>
                    <a:moveTo>
                      <a:pt x="757238" y="3175"/>
                    </a:moveTo>
                    <a:cubicBezTo>
                      <a:pt x="755968" y="4127"/>
                      <a:pt x="755333" y="5715"/>
                      <a:pt x="755333" y="7938"/>
                    </a:cubicBezTo>
                    <a:cubicBezTo>
                      <a:pt x="755333" y="10160"/>
                      <a:pt x="755968" y="11747"/>
                      <a:pt x="757238" y="12700"/>
                    </a:cubicBezTo>
                    <a:cubicBezTo>
                      <a:pt x="758508" y="13652"/>
                      <a:pt x="759778" y="14288"/>
                      <a:pt x="761683" y="14288"/>
                    </a:cubicBezTo>
                    <a:cubicBezTo>
                      <a:pt x="763270" y="14288"/>
                      <a:pt x="764858" y="13652"/>
                      <a:pt x="765810" y="12700"/>
                    </a:cubicBezTo>
                    <a:cubicBezTo>
                      <a:pt x="766763" y="11747"/>
                      <a:pt x="767715" y="10160"/>
                      <a:pt x="767715" y="7938"/>
                    </a:cubicBezTo>
                    <a:cubicBezTo>
                      <a:pt x="767715" y="5715"/>
                      <a:pt x="767080" y="4127"/>
                      <a:pt x="765810" y="3175"/>
                    </a:cubicBezTo>
                    <a:cubicBezTo>
                      <a:pt x="764540" y="2222"/>
                      <a:pt x="763270" y="1905"/>
                      <a:pt x="761683" y="1905"/>
                    </a:cubicBezTo>
                    <a:cubicBezTo>
                      <a:pt x="760095" y="1905"/>
                      <a:pt x="758508" y="2222"/>
                      <a:pt x="757238" y="3175"/>
                    </a:cubicBezTo>
                    <a:moveTo>
                      <a:pt x="699135" y="34925"/>
                    </a:moveTo>
                    <a:cubicBezTo>
                      <a:pt x="701358" y="37783"/>
                      <a:pt x="702628" y="42863"/>
                      <a:pt x="702628" y="50165"/>
                    </a:cubicBezTo>
                    <a:lnTo>
                      <a:pt x="702628" y="52070"/>
                    </a:lnTo>
                    <a:cubicBezTo>
                      <a:pt x="702628" y="58420"/>
                      <a:pt x="701358" y="62865"/>
                      <a:pt x="699135" y="65405"/>
                    </a:cubicBezTo>
                    <a:cubicBezTo>
                      <a:pt x="696913" y="68263"/>
                      <a:pt x="693103" y="69533"/>
                      <a:pt x="688023" y="69533"/>
                    </a:cubicBezTo>
                    <a:cubicBezTo>
                      <a:pt x="683578" y="69533"/>
                      <a:pt x="680403" y="67945"/>
                      <a:pt x="677863" y="64452"/>
                    </a:cubicBezTo>
                    <a:cubicBezTo>
                      <a:pt x="675640" y="61277"/>
                      <a:pt x="674370" y="56197"/>
                      <a:pt x="674370" y="49847"/>
                    </a:cubicBezTo>
                    <a:cubicBezTo>
                      <a:pt x="674370" y="43497"/>
                      <a:pt x="675640" y="38417"/>
                      <a:pt x="677863" y="35242"/>
                    </a:cubicBezTo>
                    <a:cubicBezTo>
                      <a:pt x="680085" y="31750"/>
                      <a:pt x="683260" y="30163"/>
                      <a:pt x="687705" y="30163"/>
                    </a:cubicBezTo>
                    <a:cubicBezTo>
                      <a:pt x="693103" y="30480"/>
                      <a:pt x="696595" y="32067"/>
                      <a:pt x="699135" y="34925"/>
                    </a:cubicBezTo>
                    <a:moveTo>
                      <a:pt x="669290" y="29210"/>
                    </a:moveTo>
                    <a:cubicBezTo>
                      <a:pt x="665480" y="34290"/>
                      <a:pt x="663575" y="41275"/>
                      <a:pt x="663575" y="50165"/>
                    </a:cubicBezTo>
                    <a:cubicBezTo>
                      <a:pt x="663575" y="59055"/>
                      <a:pt x="665480" y="66040"/>
                      <a:pt x="669290" y="70802"/>
                    </a:cubicBezTo>
                    <a:cubicBezTo>
                      <a:pt x="673100" y="75883"/>
                      <a:pt x="678498" y="78422"/>
                      <a:pt x="685483" y="78422"/>
                    </a:cubicBezTo>
                    <a:cubicBezTo>
                      <a:pt x="688975" y="78422"/>
                      <a:pt x="692150" y="77788"/>
                      <a:pt x="695008" y="76517"/>
                    </a:cubicBezTo>
                    <a:cubicBezTo>
                      <a:pt x="697865" y="75247"/>
                      <a:pt x="700088" y="73025"/>
                      <a:pt x="701993" y="70167"/>
                    </a:cubicBezTo>
                    <a:lnTo>
                      <a:pt x="702310" y="70167"/>
                    </a:lnTo>
                    <a:cubicBezTo>
                      <a:pt x="702310" y="70802"/>
                      <a:pt x="702310" y="72072"/>
                      <a:pt x="701993" y="73342"/>
                    </a:cubicBezTo>
                    <a:cubicBezTo>
                      <a:pt x="701993" y="74613"/>
                      <a:pt x="701993" y="75883"/>
                      <a:pt x="701993" y="76835"/>
                    </a:cubicBezTo>
                    <a:lnTo>
                      <a:pt x="701993" y="78740"/>
                    </a:lnTo>
                    <a:cubicBezTo>
                      <a:pt x="701993" y="83502"/>
                      <a:pt x="700723" y="86995"/>
                      <a:pt x="698183" y="89535"/>
                    </a:cubicBezTo>
                    <a:cubicBezTo>
                      <a:pt x="695643" y="92075"/>
                      <a:pt x="692150" y="93345"/>
                      <a:pt x="688023" y="93345"/>
                    </a:cubicBezTo>
                    <a:cubicBezTo>
                      <a:pt x="684213" y="93345"/>
                      <a:pt x="680403" y="93027"/>
                      <a:pt x="676910" y="92392"/>
                    </a:cubicBezTo>
                    <a:cubicBezTo>
                      <a:pt x="673418" y="91758"/>
                      <a:pt x="670243" y="90488"/>
                      <a:pt x="667385" y="89217"/>
                    </a:cubicBezTo>
                    <a:lnTo>
                      <a:pt x="667385" y="98742"/>
                    </a:lnTo>
                    <a:cubicBezTo>
                      <a:pt x="670243" y="100013"/>
                      <a:pt x="673100" y="100647"/>
                      <a:pt x="676593" y="101283"/>
                    </a:cubicBezTo>
                    <a:cubicBezTo>
                      <a:pt x="679768" y="101917"/>
                      <a:pt x="683578" y="102235"/>
                      <a:pt x="687388" y="102235"/>
                    </a:cubicBezTo>
                    <a:cubicBezTo>
                      <a:pt x="704215" y="102235"/>
                      <a:pt x="712788" y="94297"/>
                      <a:pt x="712788" y="78422"/>
                    </a:cubicBezTo>
                    <a:lnTo>
                      <a:pt x="712788" y="22860"/>
                    </a:lnTo>
                    <a:lnTo>
                      <a:pt x="703898" y="22860"/>
                    </a:lnTo>
                    <a:lnTo>
                      <a:pt x="702628" y="30163"/>
                    </a:lnTo>
                    <a:lnTo>
                      <a:pt x="701993" y="30163"/>
                    </a:lnTo>
                    <a:cubicBezTo>
                      <a:pt x="700088" y="27305"/>
                      <a:pt x="697548" y="25400"/>
                      <a:pt x="694690" y="23813"/>
                    </a:cubicBezTo>
                    <a:cubicBezTo>
                      <a:pt x="691833" y="22542"/>
                      <a:pt x="688658" y="21908"/>
                      <a:pt x="685165" y="21908"/>
                    </a:cubicBezTo>
                    <a:cubicBezTo>
                      <a:pt x="678815" y="21590"/>
                      <a:pt x="673418" y="24130"/>
                      <a:pt x="669290" y="29210"/>
                    </a:cubicBezTo>
                    <a:moveTo>
                      <a:pt x="620713" y="23495"/>
                    </a:moveTo>
                    <a:cubicBezTo>
                      <a:pt x="617538" y="24765"/>
                      <a:pt x="615315" y="26988"/>
                      <a:pt x="613410" y="29845"/>
                    </a:cubicBezTo>
                    <a:lnTo>
                      <a:pt x="612775" y="29845"/>
                    </a:lnTo>
                    <a:lnTo>
                      <a:pt x="611188" y="22542"/>
                    </a:lnTo>
                    <a:lnTo>
                      <a:pt x="602615" y="22542"/>
                    </a:lnTo>
                    <a:lnTo>
                      <a:pt x="602615" y="77152"/>
                    </a:lnTo>
                    <a:lnTo>
                      <a:pt x="613410" y="77152"/>
                    </a:lnTo>
                    <a:lnTo>
                      <a:pt x="613410" y="49530"/>
                    </a:lnTo>
                    <a:cubicBezTo>
                      <a:pt x="613410" y="43180"/>
                      <a:pt x="614363" y="38417"/>
                      <a:pt x="616585" y="35242"/>
                    </a:cubicBezTo>
                    <a:cubicBezTo>
                      <a:pt x="618808" y="32067"/>
                      <a:pt x="622618" y="30163"/>
                      <a:pt x="628015" y="30163"/>
                    </a:cubicBezTo>
                    <a:cubicBezTo>
                      <a:pt x="635635" y="30163"/>
                      <a:pt x="639445" y="34290"/>
                      <a:pt x="639445" y="42863"/>
                    </a:cubicBezTo>
                    <a:lnTo>
                      <a:pt x="639445" y="77152"/>
                    </a:lnTo>
                    <a:lnTo>
                      <a:pt x="650240" y="77152"/>
                    </a:lnTo>
                    <a:lnTo>
                      <a:pt x="650240" y="41592"/>
                    </a:lnTo>
                    <a:cubicBezTo>
                      <a:pt x="650240" y="34608"/>
                      <a:pt x="648653" y="29527"/>
                      <a:pt x="645160" y="26352"/>
                    </a:cubicBezTo>
                    <a:cubicBezTo>
                      <a:pt x="641668" y="23177"/>
                      <a:pt x="636905" y="21590"/>
                      <a:pt x="630555" y="21590"/>
                    </a:cubicBezTo>
                    <a:cubicBezTo>
                      <a:pt x="627063" y="21590"/>
                      <a:pt x="623888" y="22225"/>
                      <a:pt x="620713" y="23495"/>
                    </a:cubicBezTo>
                    <a:moveTo>
                      <a:pt x="574993" y="77470"/>
                    </a:moveTo>
                    <a:lnTo>
                      <a:pt x="585788" y="77470"/>
                    </a:lnTo>
                    <a:lnTo>
                      <a:pt x="585788" y="22860"/>
                    </a:lnTo>
                    <a:lnTo>
                      <a:pt x="574993" y="22860"/>
                    </a:lnTo>
                    <a:lnTo>
                      <a:pt x="574993" y="77470"/>
                    </a:lnTo>
                    <a:close/>
                    <a:moveTo>
                      <a:pt x="576263" y="3175"/>
                    </a:moveTo>
                    <a:cubicBezTo>
                      <a:pt x="574993" y="4127"/>
                      <a:pt x="574358" y="5715"/>
                      <a:pt x="574358" y="7938"/>
                    </a:cubicBezTo>
                    <a:cubicBezTo>
                      <a:pt x="574358" y="10160"/>
                      <a:pt x="574993" y="11747"/>
                      <a:pt x="576263" y="12700"/>
                    </a:cubicBezTo>
                    <a:cubicBezTo>
                      <a:pt x="577533" y="13652"/>
                      <a:pt x="578803" y="14288"/>
                      <a:pt x="580708" y="14288"/>
                    </a:cubicBezTo>
                    <a:cubicBezTo>
                      <a:pt x="582295" y="14288"/>
                      <a:pt x="583883" y="13652"/>
                      <a:pt x="584835" y="12700"/>
                    </a:cubicBezTo>
                    <a:cubicBezTo>
                      <a:pt x="586105" y="11747"/>
                      <a:pt x="586740" y="10160"/>
                      <a:pt x="586740" y="7938"/>
                    </a:cubicBezTo>
                    <a:cubicBezTo>
                      <a:pt x="586740" y="5715"/>
                      <a:pt x="586105" y="4127"/>
                      <a:pt x="584835" y="3175"/>
                    </a:cubicBezTo>
                    <a:cubicBezTo>
                      <a:pt x="583565" y="2222"/>
                      <a:pt x="582295" y="1905"/>
                      <a:pt x="580708" y="1905"/>
                    </a:cubicBezTo>
                    <a:cubicBezTo>
                      <a:pt x="578803" y="1905"/>
                      <a:pt x="577533" y="2222"/>
                      <a:pt x="576263" y="3175"/>
                    </a:cubicBezTo>
                    <a:moveTo>
                      <a:pt x="523240" y="64452"/>
                    </a:moveTo>
                    <a:cubicBezTo>
                      <a:pt x="521018" y="61277"/>
                      <a:pt x="519748" y="56515"/>
                      <a:pt x="519748" y="50165"/>
                    </a:cubicBezTo>
                    <a:cubicBezTo>
                      <a:pt x="519748" y="43815"/>
                      <a:pt x="521018" y="39052"/>
                      <a:pt x="523240" y="35560"/>
                    </a:cubicBezTo>
                    <a:cubicBezTo>
                      <a:pt x="525463" y="32067"/>
                      <a:pt x="528638" y="30163"/>
                      <a:pt x="533083" y="30163"/>
                    </a:cubicBezTo>
                    <a:cubicBezTo>
                      <a:pt x="538480" y="30163"/>
                      <a:pt x="542290" y="31750"/>
                      <a:pt x="544513" y="35242"/>
                    </a:cubicBezTo>
                    <a:cubicBezTo>
                      <a:pt x="546418" y="38735"/>
                      <a:pt x="547688" y="43497"/>
                      <a:pt x="547688" y="49847"/>
                    </a:cubicBezTo>
                    <a:lnTo>
                      <a:pt x="547688" y="51435"/>
                    </a:lnTo>
                    <a:cubicBezTo>
                      <a:pt x="547688" y="57467"/>
                      <a:pt x="546418" y="61913"/>
                      <a:pt x="544513" y="64770"/>
                    </a:cubicBezTo>
                    <a:cubicBezTo>
                      <a:pt x="542608" y="67627"/>
                      <a:pt x="538798" y="69215"/>
                      <a:pt x="533400" y="69215"/>
                    </a:cubicBezTo>
                    <a:cubicBezTo>
                      <a:pt x="528955" y="69533"/>
                      <a:pt x="525780" y="67945"/>
                      <a:pt x="523240" y="64452"/>
                    </a:cubicBezTo>
                    <a:moveTo>
                      <a:pt x="541020" y="75883"/>
                    </a:moveTo>
                    <a:cubicBezTo>
                      <a:pt x="543560" y="74295"/>
                      <a:pt x="545783" y="72390"/>
                      <a:pt x="547370" y="69850"/>
                    </a:cubicBezTo>
                    <a:lnTo>
                      <a:pt x="548005" y="69850"/>
                    </a:lnTo>
                    <a:lnTo>
                      <a:pt x="549910" y="77152"/>
                    </a:lnTo>
                    <a:lnTo>
                      <a:pt x="558483" y="77152"/>
                    </a:lnTo>
                    <a:lnTo>
                      <a:pt x="558483" y="0"/>
                    </a:lnTo>
                    <a:lnTo>
                      <a:pt x="547370" y="0"/>
                    </a:lnTo>
                    <a:lnTo>
                      <a:pt x="547370" y="20638"/>
                    </a:lnTo>
                    <a:cubicBezTo>
                      <a:pt x="547370" y="21908"/>
                      <a:pt x="547370" y="23495"/>
                      <a:pt x="547688" y="25400"/>
                    </a:cubicBezTo>
                    <a:cubicBezTo>
                      <a:pt x="548005" y="27305"/>
                      <a:pt x="548005" y="28575"/>
                      <a:pt x="548323" y="29527"/>
                    </a:cubicBezTo>
                    <a:lnTo>
                      <a:pt x="547688" y="29527"/>
                    </a:lnTo>
                    <a:cubicBezTo>
                      <a:pt x="546100" y="27305"/>
                      <a:pt x="543878" y="25400"/>
                      <a:pt x="541338" y="23813"/>
                    </a:cubicBezTo>
                    <a:cubicBezTo>
                      <a:pt x="538798" y="22225"/>
                      <a:pt x="535305" y="21590"/>
                      <a:pt x="531178" y="21590"/>
                    </a:cubicBezTo>
                    <a:cubicBezTo>
                      <a:pt x="524510" y="21590"/>
                      <a:pt x="519113" y="24130"/>
                      <a:pt x="514985" y="28892"/>
                    </a:cubicBezTo>
                    <a:cubicBezTo>
                      <a:pt x="510858" y="33655"/>
                      <a:pt x="508953" y="40958"/>
                      <a:pt x="508953" y="50165"/>
                    </a:cubicBezTo>
                    <a:cubicBezTo>
                      <a:pt x="508953" y="59372"/>
                      <a:pt x="510858" y="66675"/>
                      <a:pt x="514985" y="71438"/>
                    </a:cubicBezTo>
                    <a:cubicBezTo>
                      <a:pt x="519113" y="76200"/>
                      <a:pt x="524193" y="78422"/>
                      <a:pt x="530860" y="78422"/>
                    </a:cubicBezTo>
                    <a:cubicBezTo>
                      <a:pt x="534988" y="78422"/>
                      <a:pt x="538480" y="77470"/>
                      <a:pt x="541020" y="75883"/>
                    </a:cubicBezTo>
                    <a:moveTo>
                      <a:pt x="466090" y="23495"/>
                    </a:moveTo>
                    <a:cubicBezTo>
                      <a:pt x="462915" y="24765"/>
                      <a:pt x="460693" y="26988"/>
                      <a:pt x="458788" y="29845"/>
                    </a:cubicBezTo>
                    <a:lnTo>
                      <a:pt x="458153" y="29845"/>
                    </a:lnTo>
                    <a:lnTo>
                      <a:pt x="456565" y="22542"/>
                    </a:lnTo>
                    <a:lnTo>
                      <a:pt x="447993" y="22542"/>
                    </a:lnTo>
                    <a:lnTo>
                      <a:pt x="447993" y="77152"/>
                    </a:lnTo>
                    <a:lnTo>
                      <a:pt x="458788" y="77152"/>
                    </a:lnTo>
                    <a:lnTo>
                      <a:pt x="458788" y="49530"/>
                    </a:lnTo>
                    <a:cubicBezTo>
                      <a:pt x="458788" y="43180"/>
                      <a:pt x="459740" y="38417"/>
                      <a:pt x="461963" y="35242"/>
                    </a:cubicBezTo>
                    <a:cubicBezTo>
                      <a:pt x="464185" y="32067"/>
                      <a:pt x="467995" y="30163"/>
                      <a:pt x="473393" y="30163"/>
                    </a:cubicBezTo>
                    <a:cubicBezTo>
                      <a:pt x="481013" y="30163"/>
                      <a:pt x="484823" y="34290"/>
                      <a:pt x="484823" y="42863"/>
                    </a:cubicBezTo>
                    <a:lnTo>
                      <a:pt x="484823" y="77152"/>
                    </a:lnTo>
                    <a:lnTo>
                      <a:pt x="495618" y="77152"/>
                    </a:lnTo>
                    <a:lnTo>
                      <a:pt x="495618" y="41592"/>
                    </a:lnTo>
                    <a:cubicBezTo>
                      <a:pt x="495618" y="34608"/>
                      <a:pt x="494030" y="29527"/>
                      <a:pt x="490538" y="26352"/>
                    </a:cubicBezTo>
                    <a:cubicBezTo>
                      <a:pt x="487045" y="23177"/>
                      <a:pt x="482283" y="21590"/>
                      <a:pt x="475933" y="21590"/>
                    </a:cubicBezTo>
                    <a:cubicBezTo>
                      <a:pt x="472440" y="21590"/>
                      <a:pt x="469265" y="22225"/>
                      <a:pt x="466090" y="23495"/>
                    </a:cubicBezTo>
                    <a:moveTo>
                      <a:pt x="421005" y="55880"/>
                    </a:moveTo>
                    <a:cubicBezTo>
                      <a:pt x="421005" y="60642"/>
                      <a:pt x="419735" y="64135"/>
                      <a:pt x="416878" y="66675"/>
                    </a:cubicBezTo>
                    <a:cubicBezTo>
                      <a:pt x="414020" y="68897"/>
                      <a:pt x="410528" y="70167"/>
                      <a:pt x="406400" y="70167"/>
                    </a:cubicBezTo>
                    <a:cubicBezTo>
                      <a:pt x="403543" y="70167"/>
                      <a:pt x="401638" y="69533"/>
                      <a:pt x="399733" y="68263"/>
                    </a:cubicBezTo>
                    <a:cubicBezTo>
                      <a:pt x="398145" y="66992"/>
                      <a:pt x="397193" y="64770"/>
                      <a:pt x="397193" y="61913"/>
                    </a:cubicBezTo>
                    <a:cubicBezTo>
                      <a:pt x="397193" y="58738"/>
                      <a:pt x="398463" y="56197"/>
                      <a:pt x="400685" y="54292"/>
                    </a:cubicBezTo>
                    <a:cubicBezTo>
                      <a:pt x="403225" y="52388"/>
                      <a:pt x="407353" y="51435"/>
                      <a:pt x="413703" y="51117"/>
                    </a:cubicBezTo>
                    <a:lnTo>
                      <a:pt x="421005" y="50800"/>
                    </a:lnTo>
                    <a:lnTo>
                      <a:pt x="421005" y="55880"/>
                    </a:lnTo>
                    <a:close/>
                    <a:moveTo>
                      <a:pt x="400368" y="22860"/>
                    </a:moveTo>
                    <a:cubicBezTo>
                      <a:pt x="396875" y="23813"/>
                      <a:pt x="394018" y="24765"/>
                      <a:pt x="391478" y="26352"/>
                    </a:cubicBezTo>
                    <a:lnTo>
                      <a:pt x="394970" y="34290"/>
                    </a:lnTo>
                    <a:cubicBezTo>
                      <a:pt x="397193" y="33020"/>
                      <a:pt x="399733" y="32067"/>
                      <a:pt x="402273" y="31433"/>
                    </a:cubicBezTo>
                    <a:cubicBezTo>
                      <a:pt x="404813" y="30480"/>
                      <a:pt x="407670" y="30163"/>
                      <a:pt x="410210" y="30163"/>
                    </a:cubicBezTo>
                    <a:cubicBezTo>
                      <a:pt x="413385" y="30163"/>
                      <a:pt x="416243" y="31115"/>
                      <a:pt x="417830" y="32702"/>
                    </a:cubicBezTo>
                    <a:cubicBezTo>
                      <a:pt x="419735" y="34290"/>
                      <a:pt x="420688" y="37147"/>
                      <a:pt x="420688" y="41275"/>
                    </a:cubicBezTo>
                    <a:lnTo>
                      <a:pt x="420688" y="44450"/>
                    </a:lnTo>
                    <a:lnTo>
                      <a:pt x="411480" y="44767"/>
                    </a:lnTo>
                    <a:cubicBezTo>
                      <a:pt x="402908" y="45085"/>
                      <a:pt x="396240" y="46672"/>
                      <a:pt x="392113" y="49530"/>
                    </a:cubicBezTo>
                    <a:cubicBezTo>
                      <a:pt x="387985" y="52388"/>
                      <a:pt x="385763" y="56515"/>
                      <a:pt x="385763" y="62230"/>
                    </a:cubicBezTo>
                    <a:cubicBezTo>
                      <a:pt x="385763" y="67945"/>
                      <a:pt x="387350" y="72072"/>
                      <a:pt x="390525" y="74930"/>
                    </a:cubicBezTo>
                    <a:cubicBezTo>
                      <a:pt x="393700" y="77788"/>
                      <a:pt x="397828" y="79058"/>
                      <a:pt x="402908" y="79058"/>
                    </a:cubicBezTo>
                    <a:cubicBezTo>
                      <a:pt x="407353" y="79058"/>
                      <a:pt x="411163" y="78422"/>
                      <a:pt x="413703" y="76835"/>
                    </a:cubicBezTo>
                    <a:cubicBezTo>
                      <a:pt x="416243" y="75565"/>
                      <a:pt x="418783" y="73342"/>
                      <a:pt x="421323" y="70167"/>
                    </a:cubicBezTo>
                    <a:lnTo>
                      <a:pt x="421640" y="70167"/>
                    </a:lnTo>
                    <a:lnTo>
                      <a:pt x="423863" y="77788"/>
                    </a:lnTo>
                    <a:lnTo>
                      <a:pt x="431483" y="77788"/>
                    </a:lnTo>
                    <a:lnTo>
                      <a:pt x="431483" y="40640"/>
                    </a:lnTo>
                    <a:cubicBezTo>
                      <a:pt x="431483" y="34290"/>
                      <a:pt x="429895" y="29527"/>
                      <a:pt x="426403" y="26352"/>
                    </a:cubicBezTo>
                    <a:cubicBezTo>
                      <a:pt x="422910" y="23495"/>
                      <a:pt x="417830" y="21908"/>
                      <a:pt x="411163" y="21908"/>
                    </a:cubicBezTo>
                    <a:cubicBezTo>
                      <a:pt x="407353" y="21590"/>
                      <a:pt x="403860" y="21908"/>
                      <a:pt x="400368" y="22860"/>
                    </a:cubicBezTo>
                    <a:moveTo>
                      <a:pt x="361633" y="35560"/>
                    </a:moveTo>
                    <a:cubicBezTo>
                      <a:pt x="363855" y="39052"/>
                      <a:pt x="364808" y="43815"/>
                      <a:pt x="364808" y="49530"/>
                    </a:cubicBezTo>
                    <a:cubicBezTo>
                      <a:pt x="364808" y="55563"/>
                      <a:pt x="363855" y="60325"/>
                      <a:pt x="361633" y="63817"/>
                    </a:cubicBezTo>
                    <a:cubicBezTo>
                      <a:pt x="359410" y="67627"/>
                      <a:pt x="356235" y="69215"/>
                      <a:pt x="351790" y="69215"/>
                    </a:cubicBezTo>
                    <a:cubicBezTo>
                      <a:pt x="346393" y="69215"/>
                      <a:pt x="342583" y="67627"/>
                      <a:pt x="340678" y="64135"/>
                    </a:cubicBezTo>
                    <a:cubicBezTo>
                      <a:pt x="338773" y="60642"/>
                      <a:pt x="337503" y="55880"/>
                      <a:pt x="337503" y="49530"/>
                    </a:cubicBezTo>
                    <a:lnTo>
                      <a:pt x="337503" y="47942"/>
                    </a:lnTo>
                    <a:cubicBezTo>
                      <a:pt x="337503" y="41910"/>
                      <a:pt x="338773" y="37465"/>
                      <a:pt x="340678" y="34608"/>
                    </a:cubicBezTo>
                    <a:cubicBezTo>
                      <a:pt x="342900" y="31750"/>
                      <a:pt x="346393" y="30163"/>
                      <a:pt x="351473" y="30163"/>
                    </a:cubicBezTo>
                    <a:cubicBezTo>
                      <a:pt x="356235" y="30480"/>
                      <a:pt x="359410" y="32067"/>
                      <a:pt x="361633" y="35560"/>
                    </a:cubicBezTo>
                    <a:moveTo>
                      <a:pt x="343853" y="24130"/>
                    </a:moveTo>
                    <a:cubicBezTo>
                      <a:pt x="341313" y="25717"/>
                      <a:pt x="339090" y="27622"/>
                      <a:pt x="337503" y="30163"/>
                    </a:cubicBezTo>
                    <a:lnTo>
                      <a:pt x="336868" y="30163"/>
                    </a:lnTo>
                    <a:lnTo>
                      <a:pt x="335280" y="22860"/>
                    </a:lnTo>
                    <a:lnTo>
                      <a:pt x="326390" y="22860"/>
                    </a:lnTo>
                    <a:lnTo>
                      <a:pt x="326390" y="101917"/>
                    </a:lnTo>
                    <a:lnTo>
                      <a:pt x="337185" y="101917"/>
                    </a:lnTo>
                    <a:lnTo>
                      <a:pt x="337185" y="79692"/>
                    </a:lnTo>
                    <a:cubicBezTo>
                      <a:pt x="337185" y="78422"/>
                      <a:pt x="337185" y="76835"/>
                      <a:pt x="336868" y="75247"/>
                    </a:cubicBezTo>
                    <a:cubicBezTo>
                      <a:pt x="336550" y="73660"/>
                      <a:pt x="336550" y="72072"/>
                      <a:pt x="336550" y="70802"/>
                    </a:cubicBezTo>
                    <a:lnTo>
                      <a:pt x="337185" y="70802"/>
                    </a:lnTo>
                    <a:cubicBezTo>
                      <a:pt x="338773" y="73025"/>
                      <a:pt x="340995" y="74613"/>
                      <a:pt x="343535" y="76200"/>
                    </a:cubicBezTo>
                    <a:cubicBezTo>
                      <a:pt x="346075" y="77788"/>
                      <a:pt x="349568" y="78422"/>
                      <a:pt x="353695" y="78422"/>
                    </a:cubicBezTo>
                    <a:cubicBezTo>
                      <a:pt x="360363" y="78422"/>
                      <a:pt x="365443" y="75883"/>
                      <a:pt x="369570" y="71120"/>
                    </a:cubicBezTo>
                    <a:cubicBezTo>
                      <a:pt x="373698" y="66358"/>
                      <a:pt x="375603" y="59372"/>
                      <a:pt x="375603" y="49847"/>
                    </a:cubicBezTo>
                    <a:cubicBezTo>
                      <a:pt x="375603" y="40322"/>
                      <a:pt x="373698" y="33338"/>
                      <a:pt x="369570" y="28575"/>
                    </a:cubicBezTo>
                    <a:cubicBezTo>
                      <a:pt x="365443" y="23813"/>
                      <a:pt x="360363" y="21590"/>
                      <a:pt x="353695" y="21590"/>
                    </a:cubicBezTo>
                    <a:cubicBezTo>
                      <a:pt x="349885" y="21590"/>
                      <a:pt x="346393" y="22542"/>
                      <a:pt x="343853" y="24130"/>
                    </a:cubicBezTo>
                    <a:moveTo>
                      <a:pt x="264478" y="77470"/>
                    </a:moveTo>
                    <a:lnTo>
                      <a:pt x="276543" y="77470"/>
                    </a:lnTo>
                    <a:lnTo>
                      <a:pt x="290513" y="56515"/>
                    </a:lnTo>
                    <a:lnTo>
                      <a:pt x="304483" y="77470"/>
                    </a:lnTo>
                    <a:lnTo>
                      <a:pt x="316548" y="77470"/>
                    </a:lnTo>
                    <a:lnTo>
                      <a:pt x="297180" y="49530"/>
                    </a:lnTo>
                    <a:lnTo>
                      <a:pt x="315913" y="22860"/>
                    </a:lnTo>
                    <a:lnTo>
                      <a:pt x="303848" y="22860"/>
                    </a:lnTo>
                    <a:lnTo>
                      <a:pt x="290830" y="42545"/>
                    </a:lnTo>
                    <a:lnTo>
                      <a:pt x="277813" y="22860"/>
                    </a:lnTo>
                    <a:lnTo>
                      <a:pt x="265430" y="22860"/>
                    </a:lnTo>
                    <a:lnTo>
                      <a:pt x="284163" y="49530"/>
                    </a:lnTo>
                    <a:lnTo>
                      <a:pt x="264478" y="77470"/>
                    </a:lnTo>
                    <a:close/>
                    <a:moveTo>
                      <a:pt x="246380" y="33972"/>
                    </a:moveTo>
                    <a:cubicBezTo>
                      <a:pt x="248285" y="36513"/>
                      <a:pt x="249555" y="40005"/>
                      <a:pt x="249555" y="44450"/>
                    </a:cubicBezTo>
                    <a:lnTo>
                      <a:pt x="223520" y="44450"/>
                    </a:lnTo>
                    <a:cubicBezTo>
                      <a:pt x="223838" y="39688"/>
                      <a:pt x="225425" y="36195"/>
                      <a:pt x="227648" y="33655"/>
                    </a:cubicBezTo>
                    <a:cubicBezTo>
                      <a:pt x="229870" y="31115"/>
                      <a:pt x="233045" y="29845"/>
                      <a:pt x="236855" y="29845"/>
                    </a:cubicBezTo>
                    <a:cubicBezTo>
                      <a:pt x="241300" y="29845"/>
                      <a:pt x="244475" y="31115"/>
                      <a:pt x="246380" y="33972"/>
                    </a:cubicBezTo>
                    <a:moveTo>
                      <a:pt x="224155" y="25083"/>
                    </a:moveTo>
                    <a:cubicBezTo>
                      <a:pt x="220345" y="27305"/>
                      <a:pt x="217488" y="30480"/>
                      <a:pt x="215583" y="34925"/>
                    </a:cubicBezTo>
                    <a:cubicBezTo>
                      <a:pt x="213360" y="39052"/>
                      <a:pt x="212408" y="44450"/>
                      <a:pt x="212408" y="50483"/>
                    </a:cubicBezTo>
                    <a:cubicBezTo>
                      <a:pt x="212408" y="56515"/>
                      <a:pt x="213678" y="61913"/>
                      <a:pt x="215900" y="66040"/>
                    </a:cubicBezTo>
                    <a:cubicBezTo>
                      <a:pt x="218123" y="70167"/>
                      <a:pt x="221298" y="73342"/>
                      <a:pt x="225425" y="75247"/>
                    </a:cubicBezTo>
                    <a:cubicBezTo>
                      <a:pt x="229553" y="77470"/>
                      <a:pt x="234315" y="78422"/>
                      <a:pt x="239395" y="78422"/>
                    </a:cubicBezTo>
                    <a:cubicBezTo>
                      <a:pt x="243205" y="78422"/>
                      <a:pt x="246698" y="78105"/>
                      <a:pt x="249238" y="77470"/>
                    </a:cubicBezTo>
                    <a:cubicBezTo>
                      <a:pt x="252095" y="76835"/>
                      <a:pt x="254635" y="75883"/>
                      <a:pt x="257493" y="74613"/>
                    </a:cubicBezTo>
                    <a:lnTo>
                      <a:pt x="257493" y="65722"/>
                    </a:lnTo>
                    <a:cubicBezTo>
                      <a:pt x="254635" y="66992"/>
                      <a:pt x="251778" y="67945"/>
                      <a:pt x="248920" y="68580"/>
                    </a:cubicBezTo>
                    <a:cubicBezTo>
                      <a:pt x="246063" y="69215"/>
                      <a:pt x="242888" y="69533"/>
                      <a:pt x="239395" y="69533"/>
                    </a:cubicBezTo>
                    <a:cubicBezTo>
                      <a:pt x="234315" y="69533"/>
                      <a:pt x="230505" y="67945"/>
                      <a:pt x="227648" y="65088"/>
                    </a:cubicBezTo>
                    <a:cubicBezTo>
                      <a:pt x="224790" y="62230"/>
                      <a:pt x="223203" y="57785"/>
                      <a:pt x="223203" y="52070"/>
                    </a:cubicBezTo>
                    <a:lnTo>
                      <a:pt x="260033" y="52070"/>
                    </a:lnTo>
                    <a:lnTo>
                      <a:pt x="260033" y="46038"/>
                    </a:lnTo>
                    <a:cubicBezTo>
                      <a:pt x="260033" y="38417"/>
                      <a:pt x="257810" y="32385"/>
                      <a:pt x="253683" y="27940"/>
                    </a:cubicBezTo>
                    <a:cubicBezTo>
                      <a:pt x="249555" y="23495"/>
                      <a:pt x="243840" y="21272"/>
                      <a:pt x="236855" y="21272"/>
                    </a:cubicBezTo>
                    <a:cubicBezTo>
                      <a:pt x="232093" y="21590"/>
                      <a:pt x="227965" y="22860"/>
                      <a:pt x="224155" y="25083"/>
                    </a:cubicBezTo>
                    <a:moveTo>
                      <a:pt x="137478" y="64452"/>
                    </a:moveTo>
                    <a:cubicBezTo>
                      <a:pt x="135255" y="61277"/>
                      <a:pt x="133985" y="56515"/>
                      <a:pt x="133985" y="50165"/>
                    </a:cubicBezTo>
                    <a:cubicBezTo>
                      <a:pt x="133985" y="43815"/>
                      <a:pt x="135255" y="39052"/>
                      <a:pt x="137478" y="35560"/>
                    </a:cubicBezTo>
                    <a:cubicBezTo>
                      <a:pt x="139700" y="32067"/>
                      <a:pt x="142875" y="30163"/>
                      <a:pt x="147320" y="30163"/>
                    </a:cubicBezTo>
                    <a:cubicBezTo>
                      <a:pt x="152718" y="30163"/>
                      <a:pt x="156528" y="31750"/>
                      <a:pt x="158750" y="35242"/>
                    </a:cubicBezTo>
                    <a:cubicBezTo>
                      <a:pt x="160655" y="38735"/>
                      <a:pt x="161925" y="43497"/>
                      <a:pt x="161925" y="49847"/>
                    </a:cubicBezTo>
                    <a:lnTo>
                      <a:pt x="161925" y="51435"/>
                    </a:lnTo>
                    <a:cubicBezTo>
                      <a:pt x="161925" y="57467"/>
                      <a:pt x="160655" y="61913"/>
                      <a:pt x="158750" y="64770"/>
                    </a:cubicBezTo>
                    <a:cubicBezTo>
                      <a:pt x="156845" y="67627"/>
                      <a:pt x="153035" y="69215"/>
                      <a:pt x="147638" y="69215"/>
                    </a:cubicBezTo>
                    <a:cubicBezTo>
                      <a:pt x="142875" y="69533"/>
                      <a:pt x="139700" y="67945"/>
                      <a:pt x="137478" y="64452"/>
                    </a:cubicBezTo>
                    <a:moveTo>
                      <a:pt x="155258" y="75883"/>
                    </a:moveTo>
                    <a:cubicBezTo>
                      <a:pt x="157798" y="74295"/>
                      <a:pt x="160020" y="72390"/>
                      <a:pt x="161608" y="69850"/>
                    </a:cubicBezTo>
                    <a:lnTo>
                      <a:pt x="162243" y="69850"/>
                    </a:lnTo>
                    <a:lnTo>
                      <a:pt x="164148" y="77152"/>
                    </a:lnTo>
                    <a:lnTo>
                      <a:pt x="172720" y="77152"/>
                    </a:lnTo>
                    <a:lnTo>
                      <a:pt x="172720" y="0"/>
                    </a:lnTo>
                    <a:lnTo>
                      <a:pt x="161925" y="0"/>
                    </a:lnTo>
                    <a:lnTo>
                      <a:pt x="161925" y="20638"/>
                    </a:lnTo>
                    <a:cubicBezTo>
                      <a:pt x="161925" y="21908"/>
                      <a:pt x="161925" y="23495"/>
                      <a:pt x="162243" y="25400"/>
                    </a:cubicBezTo>
                    <a:cubicBezTo>
                      <a:pt x="162560" y="27305"/>
                      <a:pt x="162560" y="28575"/>
                      <a:pt x="162878" y="29527"/>
                    </a:cubicBezTo>
                    <a:lnTo>
                      <a:pt x="162243" y="29527"/>
                    </a:lnTo>
                    <a:cubicBezTo>
                      <a:pt x="160655" y="27305"/>
                      <a:pt x="158433" y="25400"/>
                      <a:pt x="155893" y="23813"/>
                    </a:cubicBezTo>
                    <a:cubicBezTo>
                      <a:pt x="153353" y="22225"/>
                      <a:pt x="149860" y="21590"/>
                      <a:pt x="145733" y="21590"/>
                    </a:cubicBezTo>
                    <a:cubicBezTo>
                      <a:pt x="139065" y="21590"/>
                      <a:pt x="133668" y="24130"/>
                      <a:pt x="129540" y="28892"/>
                    </a:cubicBezTo>
                    <a:cubicBezTo>
                      <a:pt x="125413" y="33655"/>
                      <a:pt x="123508" y="40958"/>
                      <a:pt x="123508" y="50165"/>
                    </a:cubicBezTo>
                    <a:cubicBezTo>
                      <a:pt x="123508" y="59372"/>
                      <a:pt x="125413" y="66675"/>
                      <a:pt x="129540" y="71438"/>
                    </a:cubicBezTo>
                    <a:cubicBezTo>
                      <a:pt x="133668" y="76200"/>
                      <a:pt x="138748" y="78422"/>
                      <a:pt x="145415" y="78422"/>
                    </a:cubicBezTo>
                    <a:cubicBezTo>
                      <a:pt x="149225" y="78422"/>
                      <a:pt x="152400" y="77470"/>
                      <a:pt x="155258" y="75883"/>
                    </a:cubicBezTo>
                    <a:moveTo>
                      <a:pt x="80010" y="23495"/>
                    </a:moveTo>
                    <a:cubicBezTo>
                      <a:pt x="76835" y="24765"/>
                      <a:pt x="74613" y="26988"/>
                      <a:pt x="72708" y="29845"/>
                    </a:cubicBezTo>
                    <a:lnTo>
                      <a:pt x="72073" y="29845"/>
                    </a:lnTo>
                    <a:lnTo>
                      <a:pt x="70485" y="22542"/>
                    </a:lnTo>
                    <a:lnTo>
                      <a:pt x="61913" y="22542"/>
                    </a:lnTo>
                    <a:lnTo>
                      <a:pt x="61913" y="77152"/>
                    </a:lnTo>
                    <a:lnTo>
                      <a:pt x="72708" y="77152"/>
                    </a:lnTo>
                    <a:lnTo>
                      <a:pt x="72708" y="49530"/>
                    </a:lnTo>
                    <a:cubicBezTo>
                      <a:pt x="72708" y="43180"/>
                      <a:pt x="73660" y="38417"/>
                      <a:pt x="75883" y="35242"/>
                    </a:cubicBezTo>
                    <a:cubicBezTo>
                      <a:pt x="78105" y="32067"/>
                      <a:pt x="81915" y="30163"/>
                      <a:pt x="87313" y="30163"/>
                    </a:cubicBezTo>
                    <a:cubicBezTo>
                      <a:pt x="94933" y="30163"/>
                      <a:pt x="98743" y="34290"/>
                      <a:pt x="98743" y="42863"/>
                    </a:cubicBezTo>
                    <a:lnTo>
                      <a:pt x="98743" y="77152"/>
                    </a:lnTo>
                    <a:lnTo>
                      <a:pt x="109538" y="77152"/>
                    </a:lnTo>
                    <a:lnTo>
                      <a:pt x="109538" y="41592"/>
                    </a:lnTo>
                    <a:cubicBezTo>
                      <a:pt x="109538" y="34608"/>
                      <a:pt x="107950" y="29527"/>
                      <a:pt x="104458" y="26352"/>
                    </a:cubicBezTo>
                    <a:cubicBezTo>
                      <a:pt x="100965" y="23177"/>
                      <a:pt x="96203" y="21590"/>
                      <a:pt x="89853" y="21590"/>
                    </a:cubicBezTo>
                    <a:cubicBezTo>
                      <a:pt x="86360" y="21590"/>
                      <a:pt x="83185" y="22225"/>
                      <a:pt x="80010" y="23495"/>
                    </a:cubicBezTo>
                    <a:moveTo>
                      <a:pt x="34925" y="55880"/>
                    </a:moveTo>
                    <a:cubicBezTo>
                      <a:pt x="34925" y="60642"/>
                      <a:pt x="33655" y="64135"/>
                      <a:pt x="30798" y="66675"/>
                    </a:cubicBezTo>
                    <a:cubicBezTo>
                      <a:pt x="27940" y="68897"/>
                      <a:pt x="24448" y="70167"/>
                      <a:pt x="20320" y="70167"/>
                    </a:cubicBezTo>
                    <a:cubicBezTo>
                      <a:pt x="17463" y="70167"/>
                      <a:pt x="15558" y="69533"/>
                      <a:pt x="13653" y="68263"/>
                    </a:cubicBezTo>
                    <a:cubicBezTo>
                      <a:pt x="12065" y="66992"/>
                      <a:pt x="11113" y="64770"/>
                      <a:pt x="11113" y="61913"/>
                    </a:cubicBezTo>
                    <a:cubicBezTo>
                      <a:pt x="11113" y="58738"/>
                      <a:pt x="12383" y="56197"/>
                      <a:pt x="14605" y="54292"/>
                    </a:cubicBezTo>
                    <a:cubicBezTo>
                      <a:pt x="17145" y="52388"/>
                      <a:pt x="21273" y="51435"/>
                      <a:pt x="27623" y="51117"/>
                    </a:cubicBezTo>
                    <a:lnTo>
                      <a:pt x="34925" y="50800"/>
                    </a:lnTo>
                    <a:lnTo>
                      <a:pt x="34925" y="55880"/>
                    </a:lnTo>
                    <a:close/>
                    <a:moveTo>
                      <a:pt x="14605" y="22860"/>
                    </a:moveTo>
                    <a:cubicBezTo>
                      <a:pt x="11113" y="23813"/>
                      <a:pt x="8255" y="24765"/>
                      <a:pt x="5715" y="26352"/>
                    </a:cubicBezTo>
                    <a:lnTo>
                      <a:pt x="9208" y="34290"/>
                    </a:lnTo>
                    <a:cubicBezTo>
                      <a:pt x="11430" y="33020"/>
                      <a:pt x="13970" y="32067"/>
                      <a:pt x="16510" y="31433"/>
                    </a:cubicBezTo>
                    <a:cubicBezTo>
                      <a:pt x="19050" y="30797"/>
                      <a:pt x="21908" y="30163"/>
                      <a:pt x="24448" y="30163"/>
                    </a:cubicBezTo>
                    <a:cubicBezTo>
                      <a:pt x="27623" y="30163"/>
                      <a:pt x="30480" y="31115"/>
                      <a:pt x="32068" y="32702"/>
                    </a:cubicBezTo>
                    <a:cubicBezTo>
                      <a:pt x="33973" y="34290"/>
                      <a:pt x="34925" y="37147"/>
                      <a:pt x="34925" y="41275"/>
                    </a:cubicBezTo>
                    <a:lnTo>
                      <a:pt x="34925" y="44450"/>
                    </a:lnTo>
                    <a:lnTo>
                      <a:pt x="25718" y="44767"/>
                    </a:lnTo>
                    <a:cubicBezTo>
                      <a:pt x="17145" y="45085"/>
                      <a:pt x="10478" y="46672"/>
                      <a:pt x="6350" y="49530"/>
                    </a:cubicBezTo>
                    <a:cubicBezTo>
                      <a:pt x="2223" y="52388"/>
                      <a:pt x="0" y="56515"/>
                      <a:pt x="0" y="62230"/>
                    </a:cubicBezTo>
                    <a:cubicBezTo>
                      <a:pt x="0" y="67945"/>
                      <a:pt x="1588" y="72072"/>
                      <a:pt x="4763" y="74930"/>
                    </a:cubicBezTo>
                    <a:cubicBezTo>
                      <a:pt x="7938" y="77788"/>
                      <a:pt x="12065" y="79058"/>
                      <a:pt x="17145" y="79058"/>
                    </a:cubicBezTo>
                    <a:cubicBezTo>
                      <a:pt x="21908" y="79058"/>
                      <a:pt x="25400" y="78422"/>
                      <a:pt x="27940" y="76835"/>
                    </a:cubicBezTo>
                    <a:cubicBezTo>
                      <a:pt x="30480" y="75565"/>
                      <a:pt x="33020" y="73342"/>
                      <a:pt x="35560" y="70167"/>
                    </a:cubicBezTo>
                    <a:lnTo>
                      <a:pt x="35878" y="70167"/>
                    </a:lnTo>
                    <a:lnTo>
                      <a:pt x="38100" y="77788"/>
                    </a:lnTo>
                    <a:lnTo>
                      <a:pt x="45720" y="77788"/>
                    </a:lnTo>
                    <a:lnTo>
                      <a:pt x="45720" y="40640"/>
                    </a:lnTo>
                    <a:cubicBezTo>
                      <a:pt x="45720" y="34290"/>
                      <a:pt x="44133" y="29527"/>
                      <a:pt x="40640" y="26352"/>
                    </a:cubicBezTo>
                    <a:cubicBezTo>
                      <a:pt x="37148" y="23177"/>
                      <a:pt x="32068" y="21908"/>
                      <a:pt x="25400" y="21908"/>
                    </a:cubicBezTo>
                    <a:cubicBezTo>
                      <a:pt x="21273" y="21590"/>
                      <a:pt x="17780" y="21908"/>
                      <a:pt x="14605" y="22860"/>
                    </a:cubicBezTo>
                  </a:path>
                </a:pathLst>
              </a:custGeom>
              <a:grpFill/>
              <a:ln w="3175" cap="flat">
                <a:noFill/>
                <a:prstDash val="solid"/>
                <a:miter/>
              </a:ln>
            </p:spPr>
            <p:txBody>
              <a:bodyPr rtlCol="0" anchor="ctr"/>
              <a:lstStyle/>
              <a:p>
                <a:endParaRPr lang="en-GB">
                  <a:solidFill>
                    <a:srgbClr val="000000"/>
                  </a:solidFill>
                  <a:latin typeface="Verdana"/>
                </a:endParaRPr>
              </a:p>
            </p:txBody>
          </p:sp>
          <p:sp>
            <p:nvSpPr>
              <p:cNvPr id="46" name="Freeform: Shape 45">
                <a:extLst>
                  <a:ext uri="{FF2B5EF4-FFF2-40B4-BE49-F238E27FC236}">
                    <a16:creationId xmlns:a16="http://schemas.microsoft.com/office/drawing/2014/main" id="{AC562FC9-20DE-4639-BAA7-296701131887}"/>
                  </a:ext>
                </a:extLst>
              </p:cNvPr>
              <p:cNvSpPr/>
              <p:nvPr/>
            </p:nvSpPr>
            <p:spPr>
              <a:xfrm>
                <a:off x="1781175" y="3422015"/>
                <a:ext cx="1266825" cy="101600"/>
              </a:xfrm>
              <a:custGeom>
                <a:avLst/>
                <a:gdLst>
                  <a:gd name="connsiteX0" fmla="*/ 1233488 w 1266825"/>
                  <a:gd name="connsiteY0" fmla="*/ 36195 h 101600"/>
                  <a:gd name="connsiteX1" fmla="*/ 1244600 w 1266825"/>
                  <a:gd name="connsiteY1" fmla="*/ 31115 h 101600"/>
                  <a:gd name="connsiteX2" fmla="*/ 1255713 w 1266825"/>
                  <a:gd name="connsiteY2" fmla="*/ 36195 h 101600"/>
                  <a:gd name="connsiteX3" fmla="*/ 1259205 w 1266825"/>
                  <a:gd name="connsiteY3" fmla="*/ 50482 h 101600"/>
                  <a:gd name="connsiteX4" fmla="*/ 1255713 w 1266825"/>
                  <a:gd name="connsiteY4" fmla="*/ 64770 h 101600"/>
                  <a:gd name="connsiteX5" fmla="*/ 1244600 w 1266825"/>
                  <a:gd name="connsiteY5" fmla="*/ 69850 h 101600"/>
                  <a:gd name="connsiteX6" fmla="*/ 1233488 w 1266825"/>
                  <a:gd name="connsiteY6" fmla="*/ 64770 h 101600"/>
                  <a:gd name="connsiteX7" fmla="*/ 1229995 w 1266825"/>
                  <a:gd name="connsiteY7" fmla="*/ 50482 h 101600"/>
                  <a:gd name="connsiteX8" fmla="*/ 1233488 w 1266825"/>
                  <a:gd name="connsiteY8" fmla="*/ 36195 h 101600"/>
                  <a:gd name="connsiteX9" fmla="*/ 1266825 w 1266825"/>
                  <a:gd name="connsiteY9" fmla="*/ 35242 h 101600"/>
                  <a:gd name="connsiteX10" fmla="*/ 1257935 w 1266825"/>
                  <a:gd name="connsiteY10" fmla="*/ 25717 h 101600"/>
                  <a:gd name="connsiteX11" fmla="*/ 1244600 w 1266825"/>
                  <a:gd name="connsiteY11" fmla="*/ 22542 h 101600"/>
                  <a:gd name="connsiteX12" fmla="*/ 1225550 w 1266825"/>
                  <a:gd name="connsiteY12" fmla="*/ 29845 h 101600"/>
                  <a:gd name="connsiteX13" fmla="*/ 1218565 w 1266825"/>
                  <a:gd name="connsiteY13" fmla="*/ 50800 h 101600"/>
                  <a:gd name="connsiteX14" fmla="*/ 1221740 w 1266825"/>
                  <a:gd name="connsiteY14" fmla="*/ 66357 h 101600"/>
                  <a:gd name="connsiteX15" fmla="*/ 1230630 w 1266825"/>
                  <a:gd name="connsiteY15" fmla="*/ 75882 h 101600"/>
                  <a:gd name="connsiteX16" fmla="*/ 1243648 w 1266825"/>
                  <a:gd name="connsiteY16" fmla="*/ 79057 h 101600"/>
                  <a:gd name="connsiteX17" fmla="*/ 1262698 w 1266825"/>
                  <a:gd name="connsiteY17" fmla="*/ 71755 h 101600"/>
                  <a:gd name="connsiteX18" fmla="*/ 1269683 w 1266825"/>
                  <a:gd name="connsiteY18" fmla="*/ 50800 h 101600"/>
                  <a:gd name="connsiteX19" fmla="*/ 1266825 w 1266825"/>
                  <a:gd name="connsiteY19" fmla="*/ 35242 h 101600"/>
                  <a:gd name="connsiteX20" fmla="*/ 1194435 w 1266825"/>
                  <a:gd name="connsiteY20" fmla="*/ 78105 h 101600"/>
                  <a:gd name="connsiteX21" fmla="*/ 1205230 w 1266825"/>
                  <a:gd name="connsiteY21" fmla="*/ 78105 h 101600"/>
                  <a:gd name="connsiteX22" fmla="*/ 1205230 w 1266825"/>
                  <a:gd name="connsiteY22" fmla="*/ 23495 h 101600"/>
                  <a:gd name="connsiteX23" fmla="*/ 1194435 w 1266825"/>
                  <a:gd name="connsiteY23" fmla="*/ 23495 h 101600"/>
                  <a:gd name="connsiteX24" fmla="*/ 1194435 w 1266825"/>
                  <a:gd name="connsiteY24" fmla="*/ 78105 h 101600"/>
                  <a:gd name="connsiteX25" fmla="*/ 1195388 w 1266825"/>
                  <a:gd name="connsiteY25" fmla="*/ 3810 h 101600"/>
                  <a:gd name="connsiteX26" fmla="*/ 1193483 w 1266825"/>
                  <a:gd name="connsiteY26" fmla="*/ 8572 h 101600"/>
                  <a:gd name="connsiteX27" fmla="*/ 1195388 w 1266825"/>
                  <a:gd name="connsiteY27" fmla="*/ 13335 h 101600"/>
                  <a:gd name="connsiteX28" fmla="*/ 1199833 w 1266825"/>
                  <a:gd name="connsiteY28" fmla="*/ 14922 h 101600"/>
                  <a:gd name="connsiteX29" fmla="*/ 1203960 w 1266825"/>
                  <a:gd name="connsiteY29" fmla="*/ 13335 h 101600"/>
                  <a:gd name="connsiteX30" fmla="*/ 1205865 w 1266825"/>
                  <a:gd name="connsiteY30" fmla="*/ 8572 h 101600"/>
                  <a:gd name="connsiteX31" fmla="*/ 1203960 w 1266825"/>
                  <a:gd name="connsiteY31" fmla="*/ 3810 h 101600"/>
                  <a:gd name="connsiteX32" fmla="*/ 1199833 w 1266825"/>
                  <a:gd name="connsiteY32" fmla="*/ 2540 h 101600"/>
                  <a:gd name="connsiteX33" fmla="*/ 1195388 w 1266825"/>
                  <a:gd name="connsiteY33" fmla="*/ 3810 h 101600"/>
                  <a:gd name="connsiteX34" fmla="*/ 1177608 w 1266825"/>
                  <a:gd name="connsiteY34" fmla="*/ 952 h 101600"/>
                  <a:gd name="connsiteX35" fmla="*/ 1166813 w 1266825"/>
                  <a:gd name="connsiteY35" fmla="*/ 952 h 101600"/>
                  <a:gd name="connsiteX36" fmla="*/ 1166813 w 1266825"/>
                  <a:gd name="connsiteY36" fmla="*/ 78105 h 101600"/>
                  <a:gd name="connsiteX37" fmla="*/ 1177608 w 1266825"/>
                  <a:gd name="connsiteY37" fmla="*/ 78105 h 101600"/>
                  <a:gd name="connsiteX38" fmla="*/ 1177608 w 1266825"/>
                  <a:gd name="connsiteY38" fmla="*/ 952 h 101600"/>
                  <a:gd name="connsiteX39" fmla="*/ 1116330 w 1266825"/>
                  <a:gd name="connsiteY39" fmla="*/ 36195 h 101600"/>
                  <a:gd name="connsiteX40" fmla="*/ 1127442 w 1266825"/>
                  <a:gd name="connsiteY40" fmla="*/ 31115 h 101600"/>
                  <a:gd name="connsiteX41" fmla="*/ 1138555 w 1266825"/>
                  <a:gd name="connsiteY41" fmla="*/ 36195 h 101600"/>
                  <a:gd name="connsiteX42" fmla="*/ 1142048 w 1266825"/>
                  <a:gd name="connsiteY42" fmla="*/ 50482 h 101600"/>
                  <a:gd name="connsiteX43" fmla="*/ 1138555 w 1266825"/>
                  <a:gd name="connsiteY43" fmla="*/ 64770 h 101600"/>
                  <a:gd name="connsiteX44" fmla="*/ 1127442 w 1266825"/>
                  <a:gd name="connsiteY44" fmla="*/ 69850 h 101600"/>
                  <a:gd name="connsiteX45" fmla="*/ 1116330 w 1266825"/>
                  <a:gd name="connsiteY45" fmla="*/ 64770 h 101600"/>
                  <a:gd name="connsiteX46" fmla="*/ 1112838 w 1266825"/>
                  <a:gd name="connsiteY46" fmla="*/ 50482 h 101600"/>
                  <a:gd name="connsiteX47" fmla="*/ 1116330 w 1266825"/>
                  <a:gd name="connsiteY47" fmla="*/ 36195 h 101600"/>
                  <a:gd name="connsiteX48" fmla="*/ 1149667 w 1266825"/>
                  <a:gd name="connsiteY48" fmla="*/ 35242 h 101600"/>
                  <a:gd name="connsiteX49" fmla="*/ 1140778 w 1266825"/>
                  <a:gd name="connsiteY49" fmla="*/ 25717 h 101600"/>
                  <a:gd name="connsiteX50" fmla="*/ 1127442 w 1266825"/>
                  <a:gd name="connsiteY50" fmla="*/ 22542 h 101600"/>
                  <a:gd name="connsiteX51" fmla="*/ 1108392 w 1266825"/>
                  <a:gd name="connsiteY51" fmla="*/ 29845 h 101600"/>
                  <a:gd name="connsiteX52" fmla="*/ 1101408 w 1266825"/>
                  <a:gd name="connsiteY52" fmla="*/ 50800 h 101600"/>
                  <a:gd name="connsiteX53" fmla="*/ 1104583 w 1266825"/>
                  <a:gd name="connsiteY53" fmla="*/ 66357 h 101600"/>
                  <a:gd name="connsiteX54" fmla="*/ 1113473 w 1266825"/>
                  <a:gd name="connsiteY54" fmla="*/ 75882 h 101600"/>
                  <a:gd name="connsiteX55" fmla="*/ 1126490 w 1266825"/>
                  <a:gd name="connsiteY55" fmla="*/ 79057 h 101600"/>
                  <a:gd name="connsiteX56" fmla="*/ 1145540 w 1266825"/>
                  <a:gd name="connsiteY56" fmla="*/ 71755 h 101600"/>
                  <a:gd name="connsiteX57" fmla="*/ 1152525 w 1266825"/>
                  <a:gd name="connsiteY57" fmla="*/ 50800 h 101600"/>
                  <a:gd name="connsiteX58" fmla="*/ 1149667 w 1266825"/>
                  <a:gd name="connsiteY58" fmla="*/ 35242 h 101600"/>
                  <a:gd name="connsiteX59" fmla="*/ 1095375 w 1266825"/>
                  <a:gd name="connsiteY59" fmla="*/ 23177 h 101600"/>
                  <a:gd name="connsiteX60" fmla="*/ 1081723 w 1266825"/>
                  <a:gd name="connsiteY60" fmla="*/ 23177 h 101600"/>
                  <a:gd name="connsiteX61" fmla="*/ 1081723 w 1266825"/>
                  <a:gd name="connsiteY61" fmla="*/ 19685 h 101600"/>
                  <a:gd name="connsiteX62" fmla="*/ 1089660 w 1266825"/>
                  <a:gd name="connsiteY62" fmla="*/ 8890 h 101600"/>
                  <a:gd name="connsiteX63" fmla="*/ 1094105 w 1266825"/>
                  <a:gd name="connsiteY63" fmla="*/ 9207 h 101600"/>
                  <a:gd name="connsiteX64" fmla="*/ 1097915 w 1266825"/>
                  <a:gd name="connsiteY64" fmla="*/ 10160 h 101600"/>
                  <a:gd name="connsiteX65" fmla="*/ 1100773 w 1266825"/>
                  <a:gd name="connsiteY65" fmla="*/ 1905 h 101600"/>
                  <a:gd name="connsiteX66" fmla="*/ 1095692 w 1266825"/>
                  <a:gd name="connsiteY66" fmla="*/ 635 h 101600"/>
                  <a:gd name="connsiteX67" fmla="*/ 1089342 w 1266825"/>
                  <a:gd name="connsiteY67" fmla="*/ 0 h 101600"/>
                  <a:gd name="connsiteX68" fmla="*/ 1076008 w 1266825"/>
                  <a:gd name="connsiteY68" fmla="*/ 4445 h 101600"/>
                  <a:gd name="connsiteX69" fmla="*/ 1071245 w 1266825"/>
                  <a:gd name="connsiteY69" fmla="*/ 19367 h 101600"/>
                  <a:gd name="connsiteX70" fmla="*/ 1071245 w 1266825"/>
                  <a:gd name="connsiteY70" fmla="*/ 22860 h 101600"/>
                  <a:gd name="connsiteX71" fmla="*/ 1062038 w 1266825"/>
                  <a:gd name="connsiteY71" fmla="*/ 26352 h 101600"/>
                  <a:gd name="connsiteX72" fmla="*/ 1062038 w 1266825"/>
                  <a:gd name="connsiteY72" fmla="*/ 31432 h 101600"/>
                  <a:gd name="connsiteX73" fmla="*/ 1071245 w 1266825"/>
                  <a:gd name="connsiteY73" fmla="*/ 31432 h 101600"/>
                  <a:gd name="connsiteX74" fmla="*/ 1071245 w 1266825"/>
                  <a:gd name="connsiteY74" fmla="*/ 78105 h 101600"/>
                  <a:gd name="connsiteX75" fmla="*/ 1082040 w 1266825"/>
                  <a:gd name="connsiteY75" fmla="*/ 78105 h 101600"/>
                  <a:gd name="connsiteX76" fmla="*/ 1082040 w 1266825"/>
                  <a:gd name="connsiteY76" fmla="*/ 31432 h 101600"/>
                  <a:gd name="connsiteX77" fmla="*/ 1095692 w 1266825"/>
                  <a:gd name="connsiteY77" fmla="*/ 31432 h 101600"/>
                  <a:gd name="connsiteX78" fmla="*/ 1095692 w 1266825"/>
                  <a:gd name="connsiteY78" fmla="*/ 23177 h 101600"/>
                  <a:gd name="connsiteX79" fmla="*/ 1043623 w 1266825"/>
                  <a:gd name="connsiteY79" fmla="*/ 68263 h 101600"/>
                  <a:gd name="connsiteX80" fmla="*/ 1041400 w 1266825"/>
                  <a:gd name="connsiteY80" fmla="*/ 61595 h 101600"/>
                  <a:gd name="connsiteX81" fmla="*/ 1041400 w 1266825"/>
                  <a:gd name="connsiteY81" fmla="*/ 31432 h 101600"/>
                  <a:gd name="connsiteX82" fmla="*/ 1056958 w 1266825"/>
                  <a:gd name="connsiteY82" fmla="*/ 31432 h 101600"/>
                  <a:gd name="connsiteX83" fmla="*/ 1056958 w 1266825"/>
                  <a:gd name="connsiteY83" fmla="*/ 23177 h 101600"/>
                  <a:gd name="connsiteX84" fmla="*/ 1041400 w 1266825"/>
                  <a:gd name="connsiteY84" fmla="*/ 23177 h 101600"/>
                  <a:gd name="connsiteX85" fmla="*/ 1041400 w 1266825"/>
                  <a:gd name="connsiteY85" fmla="*/ 10795 h 101600"/>
                  <a:gd name="connsiteX86" fmla="*/ 1034733 w 1266825"/>
                  <a:gd name="connsiteY86" fmla="*/ 10795 h 101600"/>
                  <a:gd name="connsiteX87" fmla="*/ 1030923 w 1266825"/>
                  <a:gd name="connsiteY87" fmla="*/ 22225 h 101600"/>
                  <a:gd name="connsiteX88" fmla="*/ 1022985 w 1266825"/>
                  <a:gd name="connsiteY88" fmla="*/ 26352 h 101600"/>
                  <a:gd name="connsiteX89" fmla="*/ 1022985 w 1266825"/>
                  <a:gd name="connsiteY89" fmla="*/ 31115 h 101600"/>
                  <a:gd name="connsiteX90" fmla="*/ 1030605 w 1266825"/>
                  <a:gd name="connsiteY90" fmla="*/ 31115 h 101600"/>
                  <a:gd name="connsiteX91" fmla="*/ 1030605 w 1266825"/>
                  <a:gd name="connsiteY91" fmla="*/ 61277 h 101600"/>
                  <a:gd name="connsiteX92" fmla="*/ 1032827 w 1266825"/>
                  <a:gd name="connsiteY92" fmla="*/ 71755 h 101600"/>
                  <a:gd name="connsiteX93" fmla="*/ 1038860 w 1266825"/>
                  <a:gd name="connsiteY93" fmla="*/ 77152 h 101600"/>
                  <a:gd name="connsiteX94" fmla="*/ 1047115 w 1266825"/>
                  <a:gd name="connsiteY94" fmla="*/ 78740 h 101600"/>
                  <a:gd name="connsiteX95" fmla="*/ 1053148 w 1266825"/>
                  <a:gd name="connsiteY95" fmla="*/ 78105 h 101600"/>
                  <a:gd name="connsiteX96" fmla="*/ 1057910 w 1266825"/>
                  <a:gd name="connsiteY96" fmla="*/ 76835 h 101600"/>
                  <a:gd name="connsiteX97" fmla="*/ 1057910 w 1266825"/>
                  <a:gd name="connsiteY97" fmla="*/ 68580 h 101600"/>
                  <a:gd name="connsiteX98" fmla="*/ 1049655 w 1266825"/>
                  <a:gd name="connsiteY98" fmla="*/ 69850 h 101600"/>
                  <a:gd name="connsiteX99" fmla="*/ 1043623 w 1266825"/>
                  <a:gd name="connsiteY99" fmla="*/ 68263 h 101600"/>
                  <a:gd name="connsiteX100" fmla="*/ 1003617 w 1266825"/>
                  <a:gd name="connsiteY100" fmla="*/ 25400 h 101600"/>
                  <a:gd name="connsiteX101" fmla="*/ 996950 w 1266825"/>
                  <a:gd name="connsiteY101" fmla="*/ 33020 h 101600"/>
                  <a:gd name="connsiteX102" fmla="*/ 996633 w 1266825"/>
                  <a:gd name="connsiteY102" fmla="*/ 33020 h 101600"/>
                  <a:gd name="connsiteX103" fmla="*/ 995363 w 1266825"/>
                  <a:gd name="connsiteY103" fmla="*/ 23177 h 101600"/>
                  <a:gd name="connsiteX104" fmla="*/ 986790 w 1266825"/>
                  <a:gd name="connsiteY104" fmla="*/ 23177 h 101600"/>
                  <a:gd name="connsiteX105" fmla="*/ 986790 w 1266825"/>
                  <a:gd name="connsiteY105" fmla="*/ 77788 h 101600"/>
                  <a:gd name="connsiteX106" fmla="*/ 997585 w 1266825"/>
                  <a:gd name="connsiteY106" fmla="*/ 77788 h 101600"/>
                  <a:gd name="connsiteX107" fmla="*/ 997585 w 1266825"/>
                  <a:gd name="connsiteY107" fmla="*/ 48895 h 101600"/>
                  <a:gd name="connsiteX108" fmla="*/ 999808 w 1266825"/>
                  <a:gd name="connsiteY108" fmla="*/ 39688 h 101600"/>
                  <a:gd name="connsiteX109" fmla="*/ 1005523 w 1266825"/>
                  <a:gd name="connsiteY109" fmla="*/ 33972 h 101600"/>
                  <a:gd name="connsiteX110" fmla="*/ 1013142 w 1266825"/>
                  <a:gd name="connsiteY110" fmla="*/ 32067 h 101600"/>
                  <a:gd name="connsiteX111" fmla="*/ 1018540 w 1266825"/>
                  <a:gd name="connsiteY111" fmla="*/ 32702 h 101600"/>
                  <a:gd name="connsiteX112" fmla="*/ 1019810 w 1266825"/>
                  <a:gd name="connsiteY112" fmla="*/ 22542 h 101600"/>
                  <a:gd name="connsiteX113" fmla="*/ 1013777 w 1266825"/>
                  <a:gd name="connsiteY113" fmla="*/ 21907 h 101600"/>
                  <a:gd name="connsiteX114" fmla="*/ 1003617 w 1266825"/>
                  <a:gd name="connsiteY114" fmla="*/ 25400 h 101600"/>
                  <a:gd name="connsiteX115" fmla="*/ 935990 w 1266825"/>
                  <a:gd name="connsiteY115" fmla="*/ 36195 h 101600"/>
                  <a:gd name="connsiteX116" fmla="*/ 947102 w 1266825"/>
                  <a:gd name="connsiteY116" fmla="*/ 31115 h 101600"/>
                  <a:gd name="connsiteX117" fmla="*/ 958215 w 1266825"/>
                  <a:gd name="connsiteY117" fmla="*/ 36195 h 101600"/>
                  <a:gd name="connsiteX118" fmla="*/ 961708 w 1266825"/>
                  <a:gd name="connsiteY118" fmla="*/ 50482 h 101600"/>
                  <a:gd name="connsiteX119" fmla="*/ 958215 w 1266825"/>
                  <a:gd name="connsiteY119" fmla="*/ 64770 h 101600"/>
                  <a:gd name="connsiteX120" fmla="*/ 947102 w 1266825"/>
                  <a:gd name="connsiteY120" fmla="*/ 69850 h 101600"/>
                  <a:gd name="connsiteX121" fmla="*/ 935990 w 1266825"/>
                  <a:gd name="connsiteY121" fmla="*/ 64770 h 101600"/>
                  <a:gd name="connsiteX122" fmla="*/ 932498 w 1266825"/>
                  <a:gd name="connsiteY122" fmla="*/ 50482 h 101600"/>
                  <a:gd name="connsiteX123" fmla="*/ 935990 w 1266825"/>
                  <a:gd name="connsiteY123" fmla="*/ 36195 h 101600"/>
                  <a:gd name="connsiteX124" fmla="*/ 969645 w 1266825"/>
                  <a:gd name="connsiteY124" fmla="*/ 35242 h 101600"/>
                  <a:gd name="connsiteX125" fmla="*/ 960755 w 1266825"/>
                  <a:gd name="connsiteY125" fmla="*/ 25717 h 101600"/>
                  <a:gd name="connsiteX126" fmla="*/ 947420 w 1266825"/>
                  <a:gd name="connsiteY126" fmla="*/ 22542 h 101600"/>
                  <a:gd name="connsiteX127" fmla="*/ 928370 w 1266825"/>
                  <a:gd name="connsiteY127" fmla="*/ 29845 h 101600"/>
                  <a:gd name="connsiteX128" fmla="*/ 921385 w 1266825"/>
                  <a:gd name="connsiteY128" fmla="*/ 50800 h 101600"/>
                  <a:gd name="connsiteX129" fmla="*/ 924560 w 1266825"/>
                  <a:gd name="connsiteY129" fmla="*/ 66357 h 101600"/>
                  <a:gd name="connsiteX130" fmla="*/ 933450 w 1266825"/>
                  <a:gd name="connsiteY130" fmla="*/ 75882 h 101600"/>
                  <a:gd name="connsiteX131" fmla="*/ 946467 w 1266825"/>
                  <a:gd name="connsiteY131" fmla="*/ 79057 h 101600"/>
                  <a:gd name="connsiteX132" fmla="*/ 965517 w 1266825"/>
                  <a:gd name="connsiteY132" fmla="*/ 71755 h 101600"/>
                  <a:gd name="connsiteX133" fmla="*/ 972502 w 1266825"/>
                  <a:gd name="connsiteY133" fmla="*/ 50800 h 101600"/>
                  <a:gd name="connsiteX134" fmla="*/ 969645 w 1266825"/>
                  <a:gd name="connsiteY134" fmla="*/ 35242 h 101600"/>
                  <a:gd name="connsiteX135" fmla="*/ 896620 w 1266825"/>
                  <a:gd name="connsiteY135" fmla="*/ 36195 h 101600"/>
                  <a:gd name="connsiteX136" fmla="*/ 899795 w 1266825"/>
                  <a:gd name="connsiteY136" fmla="*/ 50165 h 101600"/>
                  <a:gd name="connsiteX137" fmla="*/ 896620 w 1266825"/>
                  <a:gd name="connsiteY137" fmla="*/ 64452 h 101600"/>
                  <a:gd name="connsiteX138" fmla="*/ 886777 w 1266825"/>
                  <a:gd name="connsiteY138" fmla="*/ 69850 h 101600"/>
                  <a:gd name="connsiteX139" fmla="*/ 875665 w 1266825"/>
                  <a:gd name="connsiteY139" fmla="*/ 64770 h 101600"/>
                  <a:gd name="connsiteX140" fmla="*/ 872490 w 1266825"/>
                  <a:gd name="connsiteY140" fmla="*/ 50165 h 101600"/>
                  <a:gd name="connsiteX141" fmla="*/ 872490 w 1266825"/>
                  <a:gd name="connsiteY141" fmla="*/ 48577 h 101600"/>
                  <a:gd name="connsiteX142" fmla="*/ 875665 w 1266825"/>
                  <a:gd name="connsiteY142" fmla="*/ 35242 h 101600"/>
                  <a:gd name="connsiteX143" fmla="*/ 886460 w 1266825"/>
                  <a:gd name="connsiteY143" fmla="*/ 30797 h 101600"/>
                  <a:gd name="connsiteX144" fmla="*/ 896620 w 1266825"/>
                  <a:gd name="connsiteY144" fmla="*/ 36195 h 101600"/>
                  <a:gd name="connsiteX145" fmla="*/ 878523 w 1266825"/>
                  <a:gd name="connsiteY145" fmla="*/ 24765 h 101600"/>
                  <a:gd name="connsiteX146" fmla="*/ 872173 w 1266825"/>
                  <a:gd name="connsiteY146" fmla="*/ 30797 h 101600"/>
                  <a:gd name="connsiteX147" fmla="*/ 871538 w 1266825"/>
                  <a:gd name="connsiteY147" fmla="*/ 30797 h 101600"/>
                  <a:gd name="connsiteX148" fmla="*/ 869950 w 1266825"/>
                  <a:gd name="connsiteY148" fmla="*/ 23495 h 101600"/>
                  <a:gd name="connsiteX149" fmla="*/ 861060 w 1266825"/>
                  <a:gd name="connsiteY149" fmla="*/ 23495 h 101600"/>
                  <a:gd name="connsiteX150" fmla="*/ 861060 w 1266825"/>
                  <a:gd name="connsiteY150" fmla="*/ 102552 h 101600"/>
                  <a:gd name="connsiteX151" fmla="*/ 871855 w 1266825"/>
                  <a:gd name="connsiteY151" fmla="*/ 102552 h 101600"/>
                  <a:gd name="connsiteX152" fmla="*/ 871855 w 1266825"/>
                  <a:gd name="connsiteY152" fmla="*/ 80327 h 101600"/>
                  <a:gd name="connsiteX153" fmla="*/ 871538 w 1266825"/>
                  <a:gd name="connsiteY153" fmla="*/ 75882 h 101600"/>
                  <a:gd name="connsiteX154" fmla="*/ 871220 w 1266825"/>
                  <a:gd name="connsiteY154" fmla="*/ 71438 h 101600"/>
                  <a:gd name="connsiteX155" fmla="*/ 871855 w 1266825"/>
                  <a:gd name="connsiteY155" fmla="*/ 71438 h 101600"/>
                  <a:gd name="connsiteX156" fmla="*/ 878205 w 1266825"/>
                  <a:gd name="connsiteY156" fmla="*/ 76835 h 101600"/>
                  <a:gd name="connsiteX157" fmla="*/ 888365 w 1266825"/>
                  <a:gd name="connsiteY157" fmla="*/ 79057 h 101600"/>
                  <a:gd name="connsiteX158" fmla="*/ 904240 w 1266825"/>
                  <a:gd name="connsiteY158" fmla="*/ 71755 h 101600"/>
                  <a:gd name="connsiteX159" fmla="*/ 910273 w 1266825"/>
                  <a:gd name="connsiteY159" fmla="*/ 50482 h 101600"/>
                  <a:gd name="connsiteX160" fmla="*/ 904240 w 1266825"/>
                  <a:gd name="connsiteY160" fmla="*/ 29210 h 101600"/>
                  <a:gd name="connsiteX161" fmla="*/ 888365 w 1266825"/>
                  <a:gd name="connsiteY161" fmla="*/ 22225 h 101600"/>
                  <a:gd name="connsiteX162" fmla="*/ 878523 w 1266825"/>
                  <a:gd name="connsiteY162" fmla="*/ 24765 h 101600"/>
                  <a:gd name="connsiteX163" fmla="*/ 818198 w 1266825"/>
                  <a:gd name="connsiteY163" fmla="*/ 952 h 101600"/>
                  <a:gd name="connsiteX164" fmla="*/ 807402 w 1266825"/>
                  <a:gd name="connsiteY164" fmla="*/ 952 h 101600"/>
                  <a:gd name="connsiteX165" fmla="*/ 807402 w 1266825"/>
                  <a:gd name="connsiteY165" fmla="*/ 78105 h 101600"/>
                  <a:gd name="connsiteX166" fmla="*/ 818198 w 1266825"/>
                  <a:gd name="connsiteY166" fmla="*/ 78105 h 101600"/>
                  <a:gd name="connsiteX167" fmla="*/ 818198 w 1266825"/>
                  <a:gd name="connsiteY167" fmla="*/ 952 h 101600"/>
                  <a:gd name="connsiteX168" fmla="*/ 790575 w 1266825"/>
                  <a:gd name="connsiteY168" fmla="*/ 952 h 101600"/>
                  <a:gd name="connsiteX169" fmla="*/ 779780 w 1266825"/>
                  <a:gd name="connsiteY169" fmla="*/ 952 h 101600"/>
                  <a:gd name="connsiteX170" fmla="*/ 779780 w 1266825"/>
                  <a:gd name="connsiteY170" fmla="*/ 78105 h 101600"/>
                  <a:gd name="connsiteX171" fmla="*/ 790575 w 1266825"/>
                  <a:gd name="connsiteY171" fmla="*/ 78105 h 101600"/>
                  <a:gd name="connsiteX172" fmla="*/ 790575 w 1266825"/>
                  <a:gd name="connsiteY172" fmla="*/ 952 h 101600"/>
                  <a:gd name="connsiteX173" fmla="*/ 752158 w 1266825"/>
                  <a:gd name="connsiteY173" fmla="*/ 23177 h 101600"/>
                  <a:gd name="connsiteX174" fmla="*/ 752158 w 1266825"/>
                  <a:gd name="connsiteY174" fmla="*/ 50800 h 101600"/>
                  <a:gd name="connsiteX175" fmla="*/ 748983 w 1266825"/>
                  <a:gd name="connsiteY175" fmla="*/ 65088 h 101600"/>
                  <a:gd name="connsiteX176" fmla="*/ 737235 w 1266825"/>
                  <a:gd name="connsiteY176" fmla="*/ 70167 h 101600"/>
                  <a:gd name="connsiteX177" fmla="*/ 728980 w 1266825"/>
                  <a:gd name="connsiteY177" fmla="*/ 66992 h 101600"/>
                  <a:gd name="connsiteX178" fmla="*/ 726440 w 1266825"/>
                  <a:gd name="connsiteY178" fmla="*/ 57467 h 101600"/>
                  <a:gd name="connsiteX179" fmla="*/ 726440 w 1266825"/>
                  <a:gd name="connsiteY179" fmla="*/ 23177 h 101600"/>
                  <a:gd name="connsiteX180" fmla="*/ 715645 w 1266825"/>
                  <a:gd name="connsiteY180" fmla="*/ 23177 h 101600"/>
                  <a:gd name="connsiteX181" fmla="*/ 715645 w 1266825"/>
                  <a:gd name="connsiteY181" fmla="*/ 59055 h 101600"/>
                  <a:gd name="connsiteX182" fmla="*/ 720725 w 1266825"/>
                  <a:gd name="connsiteY182" fmla="*/ 74295 h 101600"/>
                  <a:gd name="connsiteX183" fmla="*/ 735330 w 1266825"/>
                  <a:gd name="connsiteY183" fmla="*/ 79057 h 101600"/>
                  <a:gd name="connsiteX184" fmla="*/ 745173 w 1266825"/>
                  <a:gd name="connsiteY184" fmla="*/ 77152 h 101600"/>
                  <a:gd name="connsiteX185" fmla="*/ 752475 w 1266825"/>
                  <a:gd name="connsiteY185" fmla="*/ 70802 h 101600"/>
                  <a:gd name="connsiteX186" fmla="*/ 753110 w 1266825"/>
                  <a:gd name="connsiteY186" fmla="*/ 70802 h 101600"/>
                  <a:gd name="connsiteX187" fmla="*/ 754698 w 1266825"/>
                  <a:gd name="connsiteY187" fmla="*/ 78105 h 101600"/>
                  <a:gd name="connsiteX188" fmla="*/ 763270 w 1266825"/>
                  <a:gd name="connsiteY188" fmla="*/ 78105 h 101600"/>
                  <a:gd name="connsiteX189" fmla="*/ 763270 w 1266825"/>
                  <a:gd name="connsiteY189" fmla="*/ 23495 h 101600"/>
                  <a:gd name="connsiteX190" fmla="*/ 752158 w 1266825"/>
                  <a:gd name="connsiteY190" fmla="*/ 23495 h 101600"/>
                  <a:gd name="connsiteX191" fmla="*/ 706438 w 1266825"/>
                  <a:gd name="connsiteY191" fmla="*/ 23177 h 101600"/>
                  <a:gd name="connsiteX192" fmla="*/ 692785 w 1266825"/>
                  <a:gd name="connsiteY192" fmla="*/ 23177 h 101600"/>
                  <a:gd name="connsiteX193" fmla="*/ 692785 w 1266825"/>
                  <a:gd name="connsiteY193" fmla="*/ 19685 h 101600"/>
                  <a:gd name="connsiteX194" fmla="*/ 700723 w 1266825"/>
                  <a:gd name="connsiteY194" fmla="*/ 8890 h 101600"/>
                  <a:gd name="connsiteX195" fmla="*/ 705167 w 1266825"/>
                  <a:gd name="connsiteY195" fmla="*/ 9207 h 101600"/>
                  <a:gd name="connsiteX196" fmla="*/ 708977 w 1266825"/>
                  <a:gd name="connsiteY196" fmla="*/ 10160 h 101600"/>
                  <a:gd name="connsiteX197" fmla="*/ 711835 w 1266825"/>
                  <a:gd name="connsiteY197" fmla="*/ 1905 h 101600"/>
                  <a:gd name="connsiteX198" fmla="*/ 706755 w 1266825"/>
                  <a:gd name="connsiteY198" fmla="*/ 635 h 101600"/>
                  <a:gd name="connsiteX199" fmla="*/ 700405 w 1266825"/>
                  <a:gd name="connsiteY199" fmla="*/ 0 h 101600"/>
                  <a:gd name="connsiteX200" fmla="*/ 687070 w 1266825"/>
                  <a:gd name="connsiteY200" fmla="*/ 4445 h 101600"/>
                  <a:gd name="connsiteX201" fmla="*/ 682308 w 1266825"/>
                  <a:gd name="connsiteY201" fmla="*/ 19367 h 101600"/>
                  <a:gd name="connsiteX202" fmla="*/ 682308 w 1266825"/>
                  <a:gd name="connsiteY202" fmla="*/ 22860 h 101600"/>
                  <a:gd name="connsiteX203" fmla="*/ 673100 w 1266825"/>
                  <a:gd name="connsiteY203" fmla="*/ 26352 h 101600"/>
                  <a:gd name="connsiteX204" fmla="*/ 673100 w 1266825"/>
                  <a:gd name="connsiteY204" fmla="*/ 31432 h 101600"/>
                  <a:gd name="connsiteX205" fmla="*/ 682308 w 1266825"/>
                  <a:gd name="connsiteY205" fmla="*/ 31432 h 101600"/>
                  <a:gd name="connsiteX206" fmla="*/ 682308 w 1266825"/>
                  <a:gd name="connsiteY206" fmla="*/ 78105 h 101600"/>
                  <a:gd name="connsiteX207" fmla="*/ 693102 w 1266825"/>
                  <a:gd name="connsiteY207" fmla="*/ 78105 h 101600"/>
                  <a:gd name="connsiteX208" fmla="*/ 693102 w 1266825"/>
                  <a:gd name="connsiteY208" fmla="*/ 31432 h 101600"/>
                  <a:gd name="connsiteX209" fmla="*/ 706755 w 1266825"/>
                  <a:gd name="connsiteY209" fmla="*/ 31432 h 101600"/>
                  <a:gd name="connsiteX210" fmla="*/ 706755 w 1266825"/>
                  <a:gd name="connsiteY210" fmla="*/ 23177 h 101600"/>
                  <a:gd name="connsiteX211" fmla="*/ 622617 w 1266825"/>
                  <a:gd name="connsiteY211" fmla="*/ 35560 h 101600"/>
                  <a:gd name="connsiteX212" fmla="*/ 626110 w 1266825"/>
                  <a:gd name="connsiteY212" fmla="*/ 50800 h 101600"/>
                  <a:gd name="connsiteX213" fmla="*/ 626110 w 1266825"/>
                  <a:gd name="connsiteY213" fmla="*/ 52705 h 101600"/>
                  <a:gd name="connsiteX214" fmla="*/ 622617 w 1266825"/>
                  <a:gd name="connsiteY214" fmla="*/ 66040 h 101600"/>
                  <a:gd name="connsiteX215" fmla="*/ 611505 w 1266825"/>
                  <a:gd name="connsiteY215" fmla="*/ 70167 h 101600"/>
                  <a:gd name="connsiteX216" fmla="*/ 601345 w 1266825"/>
                  <a:gd name="connsiteY216" fmla="*/ 65088 h 101600"/>
                  <a:gd name="connsiteX217" fmla="*/ 597852 w 1266825"/>
                  <a:gd name="connsiteY217" fmla="*/ 50482 h 101600"/>
                  <a:gd name="connsiteX218" fmla="*/ 601345 w 1266825"/>
                  <a:gd name="connsiteY218" fmla="*/ 35877 h 101600"/>
                  <a:gd name="connsiteX219" fmla="*/ 611188 w 1266825"/>
                  <a:gd name="connsiteY219" fmla="*/ 30797 h 101600"/>
                  <a:gd name="connsiteX220" fmla="*/ 622617 w 1266825"/>
                  <a:gd name="connsiteY220" fmla="*/ 35560 h 101600"/>
                  <a:gd name="connsiteX221" fmla="*/ 593090 w 1266825"/>
                  <a:gd name="connsiteY221" fmla="*/ 29845 h 101600"/>
                  <a:gd name="connsiteX222" fmla="*/ 587375 w 1266825"/>
                  <a:gd name="connsiteY222" fmla="*/ 50800 h 101600"/>
                  <a:gd name="connsiteX223" fmla="*/ 593090 w 1266825"/>
                  <a:gd name="connsiteY223" fmla="*/ 71438 h 101600"/>
                  <a:gd name="connsiteX224" fmla="*/ 609283 w 1266825"/>
                  <a:gd name="connsiteY224" fmla="*/ 79057 h 101600"/>
                  <a:gd name="connsiteX225" fmla="*/ 618808 w 1266825"/>
                  <a:gd name="connsiteY225" fmla="*/ 77152 h 101600"/>
                  <a:gd name="connsiteX226" fmla="*/ 625792 w 1266825"/>
                  <a:gd name="connsiteY226" fmla="*/ 70802 h 101600"/>
                  <a:gd name="connsiteX227" fmla="*/ 626110 w 1266825"/>
                  <a:gd name="connsiteY227" fmla="*/ 70802 h 101600"/>
                  <a:gd name="connsiteX228" fmla="*/ 625792 w 1266825"/>
                  <a:gd name="connsiteY228" fmla="*/ 73977 h 101600"/>
                  <a:gd name="connsiteX229" fmla="*/ 625792 w 1266825"/>
                  <a:gd name="connsiteY229" fmla="*/ 77470 h 101600"/>
                  <a:gd name="connsiteX230" fmla="*/ 625792 w 1266825"/>
                  <a:gd name="connsiteY230" fmla="*/ 79375 h 101600"/>
                  <a:gd name="connsiteX231" fmla="*/ 621983 w 1266825"/>
                  <a:gd name="connsiteY231" fmla="*/ 90170 h 101600"/>
                  <a:gd name="connsiteX232" fmla="*/ 611823 w 1266825"/>
                  <a:gd name="connsiteY232" fmla="*/ 93980 h 101600"/>
                  <a:gd name="connsiteX233" fmla="*/ 600710 w 1266825"/>
                  <a:gd name="connsiteY233" fmla="*/ 93027 h 101600"/>
                  <a:gd name="connsiteX234" fmla="*/ 591185 w 1266825"/>
                  <a:gd name="connsiteY234" fmla="*/ 89852 h 101600"/>
                  <a:gd name="connsiteX235" fmla="*/ 591185 w 1266825"/>
                  <a:gd name="connsiteY235" fmla="*/ 99377 h 101600"/>
                  <a:gd name="connsiteX236" fmla="*/ 600392 w 1266825"/>
                  <a:gd name="connsiteY236" fmla="*/ 101917 h 101600"/>
                  <a:gd name="connsiteX237" fmla="*/ 611188 w 1266825"/>
                  <a:gd name="connsiteY237" fmla="*/ 102870 h 101600"/>
                  <a:gd name="connsiteX238" fmla="*/ 636588 w 1266825"/>
                  <a:gd name="connsiteY238" fmla="*/ 79057 h 101600"/>
                  <a:gd name="connsiteX239" fmla="*/ 636588 w 1266825"/>
                  <a:gd name="connsiteY239" fmla="*/ 23495 h 101600"/>
                  <a:gd name="connsiteX240" fmla="*/ 627698 w 1266825"/>
                  <a:gd name="connsiteY240" fmla="*/ 23495 h 101600"/>
                  <a:gd name="connsiteX241" fmla="*/ 626427 w 1266825"/>
                  <a:gd name="connsiteY241" fmla="*/ 30797 h 101600"/>
                  <a:gd name="connsiteX242" fmla="*/ 625792 w 1266825"/>
                  <a:gd name="connsiteY242" fmla="*/ 30797 h 101600"/>
                  <a:gd name="connsiteX243" fmla="*/ 618490 w 1266825"/>
                  <a:gd name="connsiteY243" fmla="*/ 24447 h 101600"/>
                  <a:gd name="connsiteX244" fmla="*/ 608965 w 1266825"/>
                  <a:gd name="connsiteY244" fmla="*/ 22542 h 101600"/>
                  <a:gd name="connsiteX245" fmla="*/ 593090 w 1266825"/>
                  <a:gd name="connsiteY245" fmla="*/ 29845 h 101600"/>
                  <a:gd name="connsiteX246" fmla="*/ 544195 w 1266825"/>
                  <a:gd name="connsiteY246" fmla="*/ 24130 h 101600"/>
                  <a:gd name="connsiteX247" fmla="*/ 536892 w 1266825"/>
                  <a:gd name="connsiteY247" fmla="*/ 30480 h 101600"/>
                  <a:gd name="connsiteX248" fmla="*/ 536258 w 1266825"/>
                  <a:gd name="connsiteY248" fmla="*/ 30480 h 101600"/>
                  <a:gd name="connsiteX249" fmla="*/ 534670 w 1266825"/>
                  <a:gd name="connsiteY249" fmla="*/ 23177 h 101600"/>
                  <a:gd name="connsiteX250" fmla="*/ 526098 w 1266825"/>
                  <a:gd name="connsiteY250" fmla="*/ 23177 h 101600"/>
                  <a:gd name="connsiteX251" fmla="*/ 526098 w 1266825"/>
                  <a:gd name="connsiteY251" fmla="*/ 77788 h 101600"/>
                  <a:gd name="connsiteX252" fmla="*/ 536892 w 1266825"/>
                  <a:gd name="connsiteY252" fmla="*/ 77788 h 101600"/>
                  <a:gd name="connsiteX253" fmla="*/ 536892 w 1266825"/>
                  <a:gd name="connsiteY253" fmla="*/ 50165 h 101600"/>
                  <a:gd name="connsiteX254" fmla="*/ 540067 w 1266825"/>
                  <a:gd name="connsiteY254" fmla="*/ 35877 h 101600"/>
                  <a:gd name="connsiteX255" fmla="*/ 551498 w 1266825"/>
                  <a:gd name="connsiteY255" fmla="*/ 30797 h 101600"/>
                  <a:gd name="connsiteX256" fmla="*/ 562927 w 1266825"/>
                  <a:gd name="connsiteY256" fmla="*/ 43497 h 101600"/>
                  <a:gd name="connsiteX257" fmla="*/ 562927 w 1266825"/>
                  <a:gd name="connsiteY257" fmla="*/ 77788 h 101600"/>
                  <a:gd name="connsiteX258" fmla="*/ 573723 w 1266825"/>
                  <a:gd name="connsiteY258" fmla="*/ 77788 h 101600"/>
                  <a:gd name="connsiteX259" fmla="*/ 573723 w 1266825"/>
                  <a:gd name="connsiteY259" fmla="*/ 42227 h 101600"/>
                  <a:gd name="connsiteX260" fmla="*/ 568642 w 1266825"/>
                  <a:gd name="connsiteY260" fmla="*/ 26988 h 101600"/>
                  <a:gd name="connsiteX261" fmla="*/ 554038 w 1266825"/>
                  <a:gd name="connsiteY261" fmla="*/ 22225 h 101600"/>
                  <a:gd name="connsiteX262" fmla="*/ 544195 w 1266825"/>
                  <a:gd name="connsiteY262" fmla="*/ 24130 h 101600"/>
                  <a:gd name="connsiteX263" fmla="*/ 498475 w 1266825"/>
                  <a:gd name="connsiteY263" fmla="*/ 78105 h 101600"/>
                  <a:gd name="connsiteX264" fmla="*/ 509270 w 1266825"/>
                  <a:gd name="connsiteY264" fmla="*/ 78105 h 101600"/>
                  <a:gd name="connsiteX265" fmla="*/ 509270 w 1266825"/>
                  <a:gd name="connsiteY265" fmla="*/ 23495 h 101600"/>
                  <a:gd name="connsiteX266" fmla="*/ 498475 w 1266825"/>
                  <a:gd name="connsiteY266" fmla="*/ 23495 h 101600"/>
                  <a:gd name="connsiteX267" fmla="*/ 498475 w 1266825"/>
                  <a:gd name="connsiteY267" fmla="*/ 78105 h 101600"/>
                  <a:gd name="connsiteX268" fmla="*/ 499745 w 1266825"/>
                  <a:gd name="connsiteY268" fmla="*/ 3810 h 101600"/>
                  <a:gd name="connsiteX269" fmla="*/ 497840 w 1266825"/>
                  <a:gd name="connsiteY269" fmla="*/ 8572 h 101600"/>
                  <a:gd name="connsiteX270" fmla="*/ 499745 w 1266825"/>
                  <a:gd name="connsiteY270" fmla="*/ 13335 h 101600"/>
                  <a:gd name="connsiteX271" fmla="*/ 504190 w 1266825"/>
                  <a:gd name="connsiteY271" fmla="*/ 14922 h 101600"/>
                  <a:gd name="connsiteX272" fmla="*/ 508317 w 1266825"/>
                  <a:gd name="connsiteY272" fmla="*/ 13335 h 101600"/>
                  <a:gd name="connsiteX273" fmla="*/ 510223 w 1266825"/>
                  <a:gd name="connsiteY273" fmla="*/ 8572 h 101600"/>
                  <a:gd name="connsiteX274" fmla="*/ 508317 w 1266825"/>
                  <a:gd name="connsiteY274" fmla="*/ 3810 h 101600"/>
                  <a:gd name="connsiteX275" fmla="*/ 504190 w 1266825"/>
                  <a:gd name="connsiteY275" fmla="*/ 2540 h 101600"/>
                  <a:gd name="connsiteX276" fmla="*/ 499745 w 1266825"/>
                  <a:gd name="connsiteY276" fmla="*/ 3810 h 101600"/>
                  <a:gd name="connsiteX277" fmla="*/ 467995 w 1266825"/>
                  <a:gd name="connsiteY277" fmla="*/ 35560 h 101600"/>
                  <a:gd name="connsiteX278" fmla="*/ 471488 w 1266825"/>
                  <a:gd name="connsiteY278" fmla="*/ 50800 h 101600"/>
                  <a:gd name="connsiteX279" fmla="*/ 471488 w 1266825"/>
                  <a:gd name="connsiteY279" fmla="*/ 52705 h 101600"/>
                  <a:gd name="connsiteX280" fmla="*/ 467995 w 1266825"/>
                  <a:gd name="connsiteY280" fmla="*/ 66040 h 101600"/>
                  <a:gd name="connsiteX281" fmla="*/ 456883 w 1266825"/>
                  <a:gd name="connsiteY281" fmla="*/ 70167 h 101600"/>
                  <a:gd name="connsiteX282" fmla="*/ 446723 w 1266825"/>
                  <a:gd name="connsiteY282" fmla="*/ 65088 h 101600"/>
                  <a:gd name="connsiteX283" fmla="*/ 443230 w 1266825"/>
                  <a:gd name="connsiteY283" fmla="*/ 50482 h 101600"/>
                  <a:gd name="connsiteX284" fmla="*/ 446723 w 1266825"/>
                  <a:gd name="connsiteY284" fmla="*/ 35877 h 101600"/>
                  <a:gd name="connsiteX285" fmla="*/ 456565 w 1266825"/>
                  <a:gd name="connsiteY285" fmla="*/ 30797 h 101600"/>
                  <a:gd name="connsiteX286" fmla="*/ 467995 w 1266825"/>
                  <a:gd name="connsiteY286" fmla="*/ 35560 h 101600"/>
                  <a:gd name="connsiteX287" fmla="*/ 438467 w 1266825"/>
                  <a:gd name="connsiteY287" fmla="*/ 29845 h 101600"/>
                  <a:gd name="connsiteX288" fmla="*/ 432752 w 1266825"/>
                  <a:gd name="connsiteY288" fmla="*/ 50800 h 101600"/>
                  <a:gd name="connsiteX289" fmla="*/ 438467 w 1266825"/>
                  <a:gd name="connsiteY289" fmla="*/ 71438 h 101600"/>
                  <a:gd name="connsiteX290" fmla="*/ 454660 w 1266825"/>
                  <a:gd name="connsiteY290" fmla="*/ 79057 h 101600"/>
                  <a:gd name="connsiteX291" fmla="*/ 464185 w 1266825"/>
                  <a:gd name="connsiteY291" fmla="*/ 77152 h 101600"/>
                  <a:gd name="connsiteX292" fmla="*/ 471170 w 1266825"/>
                  <a:gd name="connsiteY292" fmla="*/ 70802 h 101600"/>
                  <a:gd name="connsiteX293" fmla="*/ 471488 w 1266825"/>
                  <a:gd name="connsiteY293" fmla="*/ 70802 h 101600"/>
                  <a:gd name="connsiteX294" fmla="*/ 471170 w 1266825"/>
                  <a:gd name="connsiteY294" fmla="*/ 73977 h 101600"/>
                  <a:gd name="connsiteX295" fmla="*/ 471170 w 1266825"/>
                  <a:gd name="connsiteY295" fmla="*/ 77470 h 101600"/>
                  <a:gd name="connsiteX296" fmla="*/ 471170 w 1266825"/>
                  <a:gd name="connsiteY296" fmla="*/ 79375 h 101600"/>
                  <a:gd name="connsiteX297" fmla="*/ 467360 w 1266825"/>
                  <a:gd name="connsiteY297" fmla="*/ 90170 h 101600"/>
                  <a:gd name="connsiteX298" fmla="*/ 457200 w 1266825"/>
                  <a:gd name="connsiteY298" fmla="*/ 93980 h 101600"/>
                  <a:gd name="connsiteX299" fmla="*/ 446088 w 1266825"/>
                  <a:gd name="connsiteY299" fmla="*/ 93027 h 101600"/>
                  <a:gd name="connsiteX300" fmla="*/ 436563 w 1266825"/>
                  <a:gd name="connsiteY300" fmla="*/ 89852 h 101600"/>
                  <a:gd name="connsiteX301" fmla="*/ 436563 w 1266825"/>
                  <a:gd name="connsiteY301" fmla="*/ 99377 h 101600"/>
                  <a:gd name="connsiteX302" fmla="*/ 445770 w 1266825"/>
                  <a:gd name="connsiteY302" fmla="*/ 101917 h 101600"/>
                  <a:gd name="connsiteX303" fmla="*/ 456565 w 1266825"/>
                  <a:gd name="connsiteY303" fmla="*/ 102870 h 101600"/>
                  <a:gd name="connsiteX304" fmla="*/ 481965 w 1266825"/>
                  <a:gd name="connsiteY304" fmla="*/ 79057 h 101600"/>
                  <a:gd name="connsiteX305" fmla="*/ 481965 w 1266825"/>
                  <a:gd name="connsiteY305" fmla="*/ 23495 h 101600"/>
                  <a:gd name="connsiteX306" fmla="*/ 473075 w 1266825"/>
                  <a:gd name="connsiteY306" fmla="*/ 23495 h 101600"/>
                  <a:gd name="connsiteX307" fmla="*/ 471805 w 1266825"/>
                  <a:gd name="connsiteY307" fmla="*/ 30797 h 101600"/>
                  <a:gd name="connsiteX308" fmla="*/ 471170 w 1266825"/>
                  <a:gd name="connsiteY308" fmla="*/ 30797 h 101600"/>
                  <a:gd name="connsiteX309" fmla="*/ 463867 w 1266825"/>
                  <a:gd name="connsiteY309" fmla="*/ 24447 h 101600"/>
                  <a:gd name="connsiteX310" fmla="*/ 454342 w 1266825"/>
                  <a:gd name="connsiteY310" fmla="*/ 22542 h 101600"/>
                  <a:gd name="connsiteX311" fmla="*/ 438467 w 1266825"/>
                  <a:gd name="connsiteY311" fmla="*/ 29845 h 101600"/>
                  <a:gd name="connsiteX312" fmla="*/ 408305 w 1266825"/>
                  <a:gd name="connsiteY312" fmla="*/ 56515 h 101600"/>
                  <a:gd name="connsiteX313" fmla="*/ 404177 w 1266825"/>
                  <a:gd name="connsiteY313" fmla="*/ 67310 h 101600"/>
                  <a:gd name="connsiteX314" fmla="*/ 393700 w 1266825"/>
                  <a:gd name="connsiteY314" fmla="*/ 70802 h 101600"/>
                  <a:gd name="connsiteX315" fmla="*/ 387033 w 1266825"/>
                  <a:gd name="connsiteY315" fmla="*/ 68897 h 101600"/>
                  <a:gd name="connsiteX316" fmla="*/ 384492 w 1266825"/>
                  <a:gd name="connsiteY316" fmla="*/ 62547 h 101600"/>
                  <a:gd name="connsiteX317" fmla="*/ 387985 w 1266825"/>
                  <a:gd name="connsiteY317" fmla="*/ 54927 h 101600"/>
                  <a:gd name="connsiteX318" fmla="*/ 401002 w 1266825"/>
                  <a:gd name="connsiteY318" fmla="*/ 51752 h 101600"/>
                  <a:gd name="connsiteX319" fmla="*/ 408305 w 1266825"/>
                  <a:gd name="connsiteY319" fmla="*/ 51435 h 101600"/>
                  <a:gd name="connsiteX320" fmla="*/ 408305 w 1266825"/>
                  <a:gd name="connsiteY320" fmla="*/ 56515 h 101600"/>
                  <a:gd name="connsiteX321" fmla="*/ 387985 w 1266825"/>
                  <a:gd name="connsiteY321" fmla="*/ 23495 h 101600"/>
                  <a:gd name="connsiteX322" fmla="*/ 379095 w 1266825"/>
                  <a:gd name="connsiteY322" fmla="*/ 26988 h 101600"/>
                  <a:gd name="connsiteX323" fmla="*/ 382588 w 1266825"/>
                  <a:gd name="connsiteY323" fmla="*/ 34925 h 101600"/>
                  <a:gd name="connsiteX324" fmla="*/ 389890 w 1266825"/>
                  <a:gd name="connsiteY324" fmla="*/ 32067 h 101600"/>
                  <a:gd name="connsiteX325" fmla="*/ 397827 w 1266825"/>
                  <a:gd name="connsiteY325" fmla="*/ 30797 h 101600"/>
                  <a:gd name="connsiteX326" fmla="*/ 405448 w 1266825"/>
                  <a:gd name="connsiteY326" fmla="*/ 33338 h 101600"/>
                  <a:gd name="connsiteX327" fmla="*/ 408305 w 1266825"/>
                  <a:gd name="connsiteY327" fmla="*/ 41910 h 101600"/>
                  <a:gd name="connsiteX328" fmla="*/ 408305 w 1266825"/>
                  <a:gd name="connsiteY328" fmla="*/ 45085 h 101600"/>
                  <a:gd name="connsiteX329" fmla="*/ 399098 w 1266825"/>
                  <a:gd name="connsiteY329" fmla="*/ 45402 h 101600"/>
                  <a:gd name="connsiteX330" fmla="*/ 379730 w 1266825"/>
                  <a:gd name="connsiteY330" fmla="*/ 50165 h 101600"/>
                  <a:gd name="connsiteX331" fmla="*/ 373380 w 1266825"/>
                  <a:gd name="connsiteY331" fmla="*/ 62865 h 101600"/>
                  <a:gd name="connsiteX332" fmla="*/ 378142 w 1266825"/>
                  <a:gd name="connsiteY332" fmla="*/ 75565 h 101600"/>
                  <a:gd name="connsiteX333" fmla="*/ 390525 w 1266825"/>
                  <a:gd name="connsiteY333" fmla="*/ 79692 h 101600"/>
                  <a:gd name="connsiteX334" fmla="*/ 401320 w 1266825"/>
                  <a:gd name="connsiteY334" fmla="*/ 77470 h 101600"/>
                  <a:gd name="connsiteX335" fmla="*/ 408940 w 1266825"/>
                  <a:gd name="connsiteY335" fmla="*/ 70802 h 101600"/>
                  <a:gd name="connsiteX336" fmla="*/ 409258 w 1266825"/>
                  <a:gd name="connsiteY336" fmla="*/ 70802 h 101600"/>
                  <a:gd name="connsiteX337" fmla="*/ 411480 w 1266825"/>
                  <a:gd name="connsiteY337" fmla="*/ 78422 h 101600"/>
                  <a:gd name="connsiteX338" fmla="*/ 419100 w 1266825"/>
                  <a:gd name="connsiteY338" fmla="*/ 78422 h 101600"/>
                  <a:gd name="connsiteX339" fmla="*/ 419100 w 1266825"/>
                  <a:gd name="connsiteY339" fmla="*/ 41275 h 101600"/>
                  <a:gd name="connsiteX340" fmla="*/ 414020 w 1266825"/>
                  <a:gd name="connsiteY340" fmla="*/ 26988 h 101600"/>
                  <a:gd name="connsiteX341" fmla="*/ 398780 w 1266825"/>
                  <a:gd name="connsiteY341" fmla="*/ 22542 h 101600"/>
                  <a:gd name="connsiteX342" fmla="*/ 387985 w 1266825"/>
                  <a:gd name="connsiteY342" fmla="*/ 23495 h 101600"/>
                  <a:gd name="connsiteX343" fmla="*/ 353377 w 1266825"/>
                  <a:gd name="connsiteY343" fmla="*/ 25400 h 101600"/>
                  <a:gd name="connsiteX344" fmla="*/ 346710 w 1266825"/>
                  <a:gd name="connsiteY344" fmla="*/ 33020 h 101600"/>
                  <a:gd name="connsiteX345" fmla="*/ 346075 w 1266825"/>
                  <a:gd name="connsiteY345" fmla="*/ 33020 h 101600"/>
                  <a:gd name="connsiteX346" fmla="*/ 344805 w 1266825"/>
                  <a:gd name="connsiteY346" fmla="*/ 23177 h 101600"/>
                  <a:gd name="connsiteX347" fmla="*/ 336233 w 1266825"/>
                  <a:gd name="connsiteY347" fmla="*/ 23177 h 101600"/>
                  <a:gd name="connsiteX348" fmla="*/ 336233 w 1266825"/>
                  <a:gd name="connsiteY348" fmla="*/ 77788 h 101600"/>
                  <a:gd name="connsiteX349" fmla="*/ 347027 w 1266825"/>
                  <a:gd name="connsiteY349" fmla="*/ 77788 h 101600"/>
                  <a:gd name="connsiteX350" fmla="*/ 347027 w 1266825"/>
                  <a:gd name="connsiteY350" fmla="*/ 48895 h 101600"/>
                  <a:gd name="connsiteX351" fmla="*/ 349250 w 1266825"/>
                  <a:gd name="connsiteY351" fmla="*/ 39688 h 101600"/>
                  <a:gd name="connsiteX352" fmla="*/ 354965 w 1266825"/>
                  <a:gd name="connsiteY352" fmla="*/ 33972 h 101600"/>
                  <a:gd name="connsiteX353" fmla="*/ 362585 w 1266825"/>
                  <a:gd name="connsiteY353" fmla="*/ 32067 h 101600"/>
                  <a:gd name="connsiteX354" fmla="*/ 367983 w 1266825"/>
                  <a:gd name="connsiteY354" fmla="*/ 32702 h 101600"/>
                  <a:gd name="connsiteX355" fmla="*/ 369252 w 1266825"/>
                  <a:gd name="connsiteY355" fmla="*/ 22542 h 101600"/>
                  <a:gd name="connsiteX356" fmla="*/ 363220 w 1266825"/>
                  <a:gd name="connsiteY356" fmla="*/ 21907 h 101600"/>
                  <a:gd name="connsiteX357" fmla="*/ 353377 w 1266825"/>
                  <a:gd name="connsiteY357" fmla="*/ 25400 h 101600"/>
                  <a:gd name="connsiteX358" fmla="*/ 308927 w 1266825"/>
                  <a:gd name="connsiteY358" fmla="*/ 34607 h 101600"/>
                  <a:gd name="connsiteX359" fmla="*/ 312102 w 1266825"/>
                  <a:gd name="connsiteY359" fmla="*/ 45085 h 101600"/>
                  <a:gd name="connsiteX360" fmla="*/ 286385 w 1266825"/>
                  <a:gd name="connsiteY360" fmla="*/ 45085 h 101600"/>
                  <a:gd name="connsiteX361" fmla="*/ 290513 w 1266825"/>
                  <a:gd name="connsiteY361" fmla="*/ 34290 h 101600"/>
                  <a:gd name="connsiteX362" fmla="*/ 299720 w 1266825"/>
                  <a:gd name="connsiteY362" fmla="*/ 30480 h 101600"/>
                  <a:gd name="connsiteX363" fmla="*/ 308927 w 1266825"/>
                  <a:gd name="connsiteY363" fmla="*/ 34607 h 101600"/>
                  <a:gd name="connsiteX364" fmla="*/ 286702 w 1266825"/>
                  <a:gd name="connsiteY364" fmla="*/ 25717 h 101600"/>
                  <a:gd name="connsiteX365" fmla="*/ 278130 w 1266825"/>
                  <a:gd name="connsiteY365" fmla="*/ 35560 h 101600"/>
                  <a:gd name="connsiteX366" fmla="*/ 274955 w 1266825"/>
                  <a:gd name="connsiteY366" fmla="*/ 51117 h 101600"/>
                  <a:gd name="connsiteX367" fmla="*/ 278448 w 1266825"/>
                  <a:gd name="connsiteY367" fmla="*/ 66675 h 101600"/>
                  <a:gd name="connsiteX368" fmla="*/ 287973 w 1266825"/>
                  <a:gd name="connsiteY368" fmla="*/ 75882 h 101600"/>
                  <a:gd name="connsiteX369" fmla="*/ 301942 w 1266825"/>
                  <a:gd name="connsiteY369" fmla="*/ 79057 h 101600"/>
                  <a:gd name="connsiteX370" fmla="*/ 311785 w 1266825"/>
                  <a:gd name="connsiteY370" fmla="*/ 78105 h 101600"/>
                  <a:gd name="connsiteX371" fmla="*/ 320040 w 1266825"/>
                  <a:gd name="connsiteY371" fmla="*/ 75247 h 101600"/>
                  <a:gd name="connsiteX372" fmla="*/ 320040 w 1266825"/>
                  <a:gd name="connsiteY372" fmla="*/ 66357 h 101600"/>
                  <a:gd name="connsiteX373" fmla="*/ 311467 w 1266825"/>
                  <a:gd name="connsiteY373" fmla="*/ 69215 h 101600"/>
                  <a:gd name="connsiteX374" fmla="*/ 301942 w 1266825"/>
                  <a:gd name="connsiteY374" fmla="*/ 70167 h 101600"/>
                  <a:gd name="connsiteX375" fmla="*/ 290195 w 1266825"/>
                  <a:gd name="connsiteY375" fmla="*/ 65722 h 101600"/>
                  <a:gd name="connsiteX376" fmla="*/ 285750 w 1266825"/>
                  <a:gd name="connsiteY376" fmla="*/ 52705 h 101600"/>
                  <a:gd name="connsiteX377" fmla="*/ 322580 w 1266825"/>
                  <a:gd name="connsiteY377" fmla="*/ 52705 h 101600"/>
                  <a:gd name="connsiteX378" fmla="*/ 322580 w 1266825"/>
                  <a:gd name="connsiteY378" fmla="*/ 46672 h 101600"/>
                  <a:gd name="connsiteX379" fmla="*/ 316230 w 1266825"/>
                  <a:gd name="connsiteY379" fmla="*/ 28575 h 101600"/>
                  <a:gd name="connsiteX380" fmla="*/ 299402 w 1266825"/>
                  <a:gd name="connsiteY380" fmla="*/ 21907 h 101600"/>
                  <a:gd name="connsiteX381" fmla="*/ 286702 w 1266825"/>
                  <a:gd name="connsiteY381" fmla="*/ 25717 h 101600"/>
                  <a:gd name="connsiteX382" fmla="*/ 248920 w 1266825"/>
                  <a:gd name="connsiteY382" fmla="*/ 78105 h 101600"/>
                  <a:gd name="connsiteX383" fmla="*/ 269875 w 1266825"/>
                  <a:gd name="connsiteY383" fmla="*/ 23495 h 101600"/>
                  <a:gd name="connsiteX384" fmla="*/ 258445 w 1266825"/>
                  <a:gd name="connsiteY384" fmla="*/ 23495 h 101600"/>
                  <a:gd name="connsiteX385" fmla="*/ 247015 w 1266825"/>
                  <a:gd name="connsiteY385" fmla="*/ 55563 h 101600"/>
                  <a:gd name="connsiteX386" fmla="*/ 244792 w 1266825"/>
                  <a:gd name="connsiteY386" fmla="*/ 62547 h 101600"/>
                  <a:gd name="connsiteX387" fmla="*/ 243205 w 1266825"/>
                  <a:gd name="connsiteY387" fmla="*/ 68897 h 101600"/>
                  <a:gd name="connsiteX388" fmla="*/ 242888 w 1266825"/>
                  <a:gd name="connsiteY388" fmla="*/ 68897 h 101600"/>
                  <a:gd name="connsiteX389" fmla="*/ 241300 w 1266825"/>
                  <a:gd name="connsiteY389" fmla="*/ 62547 h 101600"/>
                  <a:gd name="connsiteX390" fmla="*/ 239077 w 1266825"/>
                  <a:gd name="connsiteY390" fmla="*/ 55563 h 101600"/>
                  <a:gd name="connsiteX391" fmla="*/ 227648 w 1266825"/>
                  <a:gd name="connsiteY391" fmla="*/ 23495 h 101600"/>
                  <a:gd name="connsiteX392" fmla="*/ 216217 w 1266825"/>
                  <a:gd name="connsiteY392" fmla="*/ 23495 h 101600"/>
                  <a:gd name="connsiteX393" fmla="*/ 236855 w 1266825"/>
                  <a:gd name="connsiteY393" fmla="*/ 78105 h 101600"/>
                  <a:gd name="connsiteX394" fmla="*/ 248920 w 1266825"/>
                  <a:gd name="connsiteY394" fmla="*/ 78105 h 101600"/>
                  <a:gd name="connsiteX395" fmla="*/ 199390 w 1266825"/>
                  <a:gd name="connsiteY395" fmla="*/ 34607 h 101600"/>
                  <a:gd name="connsiteX396" fmla="*/ 202565 w 1266825"/>
                  <a:gd name="connsiteY396" fmla="*/ 45085 h 101600"/>
                  <a:gd name="connsiteX397" fmla="*/ 176848 w 1266825"/>
                  <a:gd name="connsiteY397" fmla="*/ 45085 h 101600"/>
                  <a:gd name="connsiteX398" fmla="*/ 180975 w 1266825"/>
                  <a:gd name="connsiteY398" fmla="*/ 34290 h 101600"/>
                  <a:gd name="connsiteX399" fmla="*/ 190183 w 1266825"/>
                  <a:gd name="connsiteY399" fmla="*/ 30480 h 101600"/>
                  <a:gd name="connsiteX400" fmla="*/ 199390 w 1266825"/>
                  <a:gd name="connsiteY400" fmla="*/ 34607 h 101600"/>
                  <a:gd name="connsiteX401" fmla="*/ 177165 w 1266825"/>
                  <a:gd name="connsiteY401" fmla="*/ 25717 h 101600"/>
                  <a:gd name="connsiteX402" fmla="*/ 168592 w 1266825"/>
                  <a:gd name="connsiteY402" fmla="*/ 35560 h 101600"/>
                  <a:gd name="connsiteX403" fmla="*/ 165417 w 1266825"/>
                  <a:gd name="connsiteY403" fmla="*/ 51117 h 101600"/>
                  <a:gd name="connsiteX404" fmla="*/ 168910 w 1266825"/>
                  <a:gd name="connsiteY404" fmla="*/ 66675 h 101600"/>
                  <a:gd name="connsiteX405" fmla="*/ 178435 w 1266825"/>
                  <a:gd name="connsiteY405" fmla="*/ 75882 h 101600"/>
                  <a:gd name="connsiteX406" fmla="*/ 192405 w 1266825"/>
                  <a:gd name="connsiteY406" fmla="*/ 79057 h 101600"/>
                  <a:gd name="connsiteX407" fmla="*/ 202248 w 1266825"/>
                  <a:gd name="connsiteY407" fmla="*/ 78105 h 101600"/>
                  <a:gd name="connsiteX408" fmla="*/ 210502 w 1266825"/>
                  <a:gd name="connsiteY408" fmla="*/ 75247 h 101600"/>
                  <a:gd name="connsiteX409" fmla="*/ 210502 w 1266825"/>
                  <a:gd name="connsiteY409" fmla="*/ 66357 h 101600"/>
                  <a:gd name="connsiteX410" fmla="*/ 201930 w 1266825"/>
                  <a:gd name="connsiteY410" fmla="*/ 69215 h 101600"/>
                  <a:gd name="connsiteX411" fmla="*/ 192405 w 1266825"/>
                  <a:gd name="connsiteY411" fmla="*/ 70167 h 101600"/>
                  <a:gd name="connsiteX412" fmla="*/ 180658 w 1266825"/>
                  <a:gd name="connsiteY412" fmla="*/ 65722 h 101600"/>
                  <a:gd name="connsiteX413" fmla="*/ 176213 w 1266825"/>
                  <a:gd name="connsiteY413" fmla="*/ 52705 h 101600"/>
                  <a:gd name="connsiteX414" fmla="*/ 213042 w 1266825"/>
                  <a:gd name="connsiteY414" fmla="*/ 52705 h 101600"/>
                  <a:gd name="connsiteX415" fmla="*/ 213042 w 1266825"/>
                  <a:gd name="connsiteY415" fmla="*/ 46672 h 101600"/>
                  <a:gd name="connsiteX416" fmla="*/ 206692 w 1266825"/>
                  <a:gd name="connsiteY416" fmla="*/ 28575 h 101600"/>
                  <a:gd name="connsiteX417" fmla="*/ 189865 w 1266825"/>
                  <a:gd name="connsiteY417" fmla="*/ 21907 h 101600"/>
                  <a:gd name="connsiteX418" fmla="*/ 177165 w 1266825"/>
                  <a:gd name="connsiteY418" fmla="*/ 25717 h 101600"/>
                  <a:gd name="connsiteX419" fmla="*/ 151765 w 1266825"/>
                  <a:gd name="connsiteY419" fmla="*/ 952 h 101600"/>
                  <a:gd name="connsiteX420" fmla="*/ 140970 w 1266825"/>
                  <a:gd name="connsiteY420" fmla="*/ 952 h 101600"/>
                  <a:gd name="connsiteX421" fmla="*/ 140970 w 1266825"/>
                  <a:gd name="connsiteY421" fmla="*/ 78105 h 101600"/>
                  <a:gd name="connsiteX422" fmla="*/ 151765 w 1266825"/>
                  <a:gd name="connsiteY422" fmla="*/ 78105 h 101600"/>
                  <a:gd name="connsiteX423" fmla="*/ 151765 w 1266825"/>
                  <a:gd name="connsiteY423" fmla="*/ 952 h 101600"/>
                  <a:gd name="connsiteX424" fmla="*/ 74613 w 1266825"/>
                  <a:gd name="connsiteY424" fmla="*/ 78105 h 101600"/>
                  <a:gd name="connsiteX425" fmla="*/ 72390 w 1266825"/>
                  <a:gd name="connsiteY425" fmla="*/ 84138 h 101600"/>
                  <a:gd name="connsiteX426" fmla="*/ 67945 w 1266825"/>
                  <a:gd name="connsiteY426" fmla="*/ 91122 h 101600"/>
                  <a:gd name="connsiteX427" fmla="*/ 60325 w 1266825"/>
                  <a:gd name="connsiteY427" fmla="*/ 93663 h 101600"/>
                  <a:gd name="connsiteX428" fmla="*/ 56833 w 1266825"/>
                  <a:gd name="connsiteY428" fmla="*/ 93345 h 101600"/>
                  <a:gd name="connsiteX429" fmla="*/ 54292 w 1266825"/>
                  <a:gd name="connsiteY429" fmla="*/ 93027 h 101600"/>
                  <a:gd name="connsiteX430" fmla="*/ 54292 w 1266825"/>
                  <a:gd name="connsiteY430" fmla="*/ 101600 h 101600"/>
                  <a:gd name="connsiteX431" fmla="*/ 57467 w 1266825"/>
                  <a:gd name="connsiteY431" fmla="*/ 102235 h 101600"/>
                  <a:gd name="connsiteX432" fmla="*/ 61913 w 1266825"/>
                  <a:gd name="connsiteY432" fmla="*/ 102552 h 101600"/>
                  <a:gd name="connsiteX433" fmla="*/ 74613 w 1266825"/>
                  <a:gd name="connsiteY433" fmla="*/ 98107 h 101600"/>
                  <a:gd name="connsiteX434" fmla="*/ 82550 w 1266825"/>
                  <a:gd name="connsiteY434" fmla="*/ 85725 h 101600"/>
                  <a:gd name="connsiteX435" fmla="*/ 106045 w 1266825"/>
                  <a:gd name="connsiteY435" fmla="*/ 23495 h 101600"/>
                  <a:gd name="connsiteX436" fmla="*/ 94615 w 1266825"/>
                  <a:gd name="connsiteY436" fmla="*/ 23495 h 101600"/>
                  <a:gd name="connsiteX437" fmla="*/ 83820 w 1266825"/>
                  <a:gd name="connsiteY437" fmla="*/ 54610 h 101600"/>
                  <a:gd name="connsiteX438" fmla="*/ 81280 w 1266825"/>
                  <a:gd name="connsiteY438" fmla="*/ 61913 h 101600"/>
                  <a:gd name="connsiteX439" fmla="*/ 79692 w 1266825"/>
                  <a:gd name="connsiteY439" fmla="*/ 68263 h 101600"/>
                  <a:gd name="connsiteX440" fmla="*/ 79375 w 1266825"/>
                  <a:gd name="connsiteY440" fmla="*/ 68263 h 101600"/>
                  <a:gd name="connsiteX441" fmla="*/ 78105 w 1266825"/>
                  <a:gd name="connsiteY441" fmla="*/ 61913 h 101600"/>
                  <a:gd name="connsiteX442" fmla="*/ 75883 w 1266825"/>
                  <a:gd name="connsiteY442" fmla="*/ 55245 h 101600"/>
                  <a:gd name="connsiteX443" fmla="*/ 64452 w 1266825"/>
                  <a:gd name="connsiteY443" fmla="*/ 24130 h 101600"/>
                  <a:gd name="connsiteX444" fmla="*/ 53023 w 1266825"/>
                  <a:gd name="connsiteY444" fmla="*/ 24130 h 101600"/>
                  <a:gd name="connsiteX445" fmla="*/ 74613 w 1266825"/>
                  <a:gd name="connsiteY445" fmla="*/ 78105 h 101600"/>
                  <a:gd name="connsiteX446" fmla="*/ 38100 w 1266825"/>
                  <a:gd name="connsiteY446" fmla="*/ 50482 h 101600"/>
                  <a:gd name="connsiteX447" fmla="*/ 34925 w 1266825"/>
                  <a:gd name="connsiteY447" fmla="*/ 65088 h 101600"/>
                  <a:gd name="connsiteX448" fmla="*/ 25083 w 1266825"/>
                  <a:gd name="connsiteY448" fmla="*/ 70167 h 101600"/>
                  <a:gd name="connsiteX449" fmla="*/ 13970 w 1266825"/>
                  <a:gd name="connsiteY449" fmla="*/ 65088 h 101600"/>
                  <a:gd name="connsiteX450" fmla="*/ 11113 w 1266825"/>
                  <a:gd name="connsiteY450" fmla="*/ 50482 h 101600"/>
                  <a:gd name="connsiteX451" fmla="*/ 11113 w 1266825"/>
                  <a:gd name="connsiteY451" fmla="*/ 49530 h 101600"/>
                  <a:gd name="connsiteX452" fmla="*/ 14288 w 1266825"/>
                  <a:gd name="connsiteY452" fmla="*/ 35242 h 101600"/>
                  <a:gd name="connsiteX453" fmla="*/ 25083 w 1266825"/>
                  <a:gd name="connsiteY453" fmla="*/ 30480 h 101600"/>
                  <a:gd name="connsiteX454" fmla="*/ 38100 w 1266825"/>
                  <a:gd name="connsiteY454" fmla="*/ 50482 h 101600"/>
                  <a:gd name="connsiteX455" fmla="*/ 0 w 1266825"/>
                  <a:gd name="connsiteY455" fmla="*/ 952 h 101600"/>
                  <a:gd name="connsiteX456" fmla="*/ 0 w 1266825"/>
                  <a:gd name="connsiteY456" fmla="*/ 78105 h 101600"/>
                  <a:gd name="connsiteX457" fmla="*/ 7938 w 1266825"/>
                  <a:gd name="connsiteY457" fmla="*/ 78105 h 101600"/>
                  <a:gd name="connsiteX458" fmla="*/ 9842 w 1266825"/>
                  <a:gd name="connsiteY458" fmla="*/ 71438 h 101600"/>
                  <a:gd name="connsiteX459" fmla="*/ 10795 w 1266825"/>
                  <a:gd name="connsiteY459" fmla="*/ 71438 h 101600"/>
                  <a:gd name="connsiteX460" fmla="*/ 17145 w 1266825"/>
                  <a:gd name="connsiteY460" fmla="*/ 76835 h 101600"/>
                  <a:gd name="connsiteX461" fmla="*/ 27305 w 1266825"/>
                  <a:gd name="connsiteY461" fmla="*/ 79057 h 101600"/>
                  <a:gd name="connsiteX462" fmla="*/ 43180 w 1266825"/>
                  <a:gd name="connsiteY462" fmla="*/ 71755 h 101600"/>
                  <a:gd name="connsiteX463" fmla="*/ 49213 w 1266825"/>
                  <a:gd name="connsiteY463" fmla="*/ 50482 h 101600"/>
                  <a:gd name="connsiteX464" fmla="*/ 43180 w 1266825"/>
                  <a:gd name="connsiteY464" fmla="*/ 29210 h 101600"/>
                  <a:gd name="connsiteX465" fmla="*/ 27305 w 1266825"/>
                  <a:gd name="connsiteY465" fmla="*/ 22225 h 101600"/>
                  <a:gd name="connsiteX466" fmla="*/ 17145 w 1266825"/>
                  <a:gd name="connsiteY466" fmla="*/ 24447 h 101600"/>
                  <a:gd name="connsiteX467" fmla="*/ 10795 w 1266825"/>
                  <a:gd name="connsiteY467" fmla="*/ 30163 h 101600"/>
                  <a:gd name="connsiteX468" fmla="*/ 10160 w 1266825"/>
                  <a:gd name="connsiteY468" fmla="*/ 30163 h 101600"/>
                  <a:gd name="connsiteX469" fmla="*/ 10477 w 1266825"/>
                  <a:gd name="connsiteY469" fmla="*/ 25400 h 101600"/>
                  <a:gd name="connsiteX470" fmla="*/ 10477 w 1266825"/>
                  <a:gd name="connsiteY470" fmla="*/ 19050 h 101600"/>
                  <a:gd name="connsiteX471" fmla="*/ 10477 w 1266825"/>
                  <a:gd name="connsiteY471" fmla="*/ 317 h 101600"/>
                  <a:gd name="connsiteX472" fmla="*/ 0 w 1266825"/>
                  <a:gd name="connsiteY472" fmla="*/ 317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Lst>
                <a:rect l="l" t="t" r="r" b="b"/>
                <a:pathLst>
                  <a:path w="1266825" h="101600">
                    <a:moveTo>
                      <a:pt x="1233488" y="36195"/>
                    </a:moveTo>
                    <a:cubicBezTo>
                      <a:pt x="1235710" y="32702"/>
                      <a:pt x="1239520" y="31115"/>
                      <a:pt x="1244600" y="31115"/>
                    </a:cubicBezTo>
                    <a:cubicBezTo>
                      <a:pt x="1249680" y="31115"/>
                      <a:pt x="1253490" y="32702"/>
                      <a:pt x="1255713" y="36195"/>
                    </a:cubicBezTo>
                    <a:cubicBezTo>
                      <a:pt x="1257935" y="39688"/>
                      <a:pt x="1259205" y="44450"/>
                      <a:pt x="1259205" y="50482"/>
                    </a:cubicBezTo>
                    <a:cubicBezTo>
                      <a:pt x="1259205" y="56515"/>
                      <a:pt x="1257935" y="61595"/>
                      <a:pt x="1255713" y="64770"/>
                    </a:cubicBezTo>
                    <a:cubicBezTo>
                      <a:pt x="1253490" y="68263"/>
                      <a:pt x="1249680" y="69850"/>
                      <a:pt x="1244600" y="69850"/>
                    </a:cubicBezTo>
                    <a:cubicBezTo>
                      <a:pt x="1239520" y="69850"/>
                      <a:pt x="1235710" y="68263"/>
                      <a:pt x="1233488" y="64770"/>
                    </a:cubicBezTo>
                    <a:cubicBezTo>
                      <a:pt x="1231265" y="61277"/>
                      <a:pt x="1229995" y="56515"/>
                      <a:pt x="1229995" y="50482"/>
                    </a:cubicBezTo>
                    <a:cubicBezTo>
                      <a:pt x="1229995" y="44450"/>
                      <a:pt x="1230948" y="39688"/>
                      <a:pt x="1233488" y="36195"/>
                    </a:cubicBezTo>
                    <a:moveTo>
                      <a:pt x="1266825" y="35242"/>
                    </a:moveTo>
                    <a:cubicBezTo>
                      <a:pt x="1264603" y="31115"/>
                      <a:pt x="1261745" y="27940"/>
                      <a:pt x="1257935" y="25717"/>
                    </a:cubicBezTo>
                    <a:cubicBezTo>
                      <a:pt x="1254125" y="23495"/>
                      <a:pt x="1249680" y="22542"/>
                      <a:pt x="1244600" y="22542"/>
                    </a:cubicBezTo>
                    <a:cubicBezTo>
                      <a:pt x="1236663" y="22542"/>
                      <a:pt x="1230313" y="25082"/>
                      <a:pt x="1225550" y="29845"/>
                    </a:cubicBezTo>
                    <a:cubicBezTo>
                      <a:pt x="1221105" y="34607"/>
                      <a:pt x="1218565" y="41592"/>
                      <a:pt x="1218565" y="50800"/>
                    </a:cubicBezTo>
                    <a:cubicBezTo>
                      <a:pt x="1218565" y="56832"/>
                      <a:pt x="1219517" y="61913"/>
                      <a:pt x="1221740" y="66357"/>
                    </a:cubicBezTo>
                    <a:cubicBezTo>
                      <a:pt x="1223963" y="70485"/>
                      <a:pt x="1226820" y="73660"/>
                      <a:pt x="1230630" y="75882"/>
                    </a:cubicBezTo>
                    <a:cubicBezTo>
                      <a:pt x="1234440" y="78105"/>
                      <a:pt x="1238885" y="79057"/>
                      <a:pt x="1243648" y="79057"/>
                    </a:cubicBezTo>
                    <a:cubicBezTo>
                      <a:pt x="1251585" y="79057"/>
                      <a:pt x="1257935" y="76517"/>
                      <a:pt x="1262698" y="71755"/>
                    </a:cubicBezTo>
                    <a:cubicBezTo>
                      <a:pt x="1267460" y="66675"/>
                      <a:pt x="1269683" y="59690"/>
                      <a:pt x="1269683" y="50800"/>
                    </a:cubicBezTo>
                    <a:cubicBezTo>
                      <a:pt x="1270317" y="44450"/>
                      <a:pt x="1269048" y="39370"/>
                      <a:pt x="1266825" y="35242"/>
                    </a:cubicBezTo>
                    <a:moveTo>
                      <a:pt x="1194435" y="78105"/>
                    </a:moveTo>
                    <a:lnTo>
                      <a:pt x="1205230" y="78105"/>
                    </a:lnTo>
                    <a:lnTo>
                      <a:pt x="1205230" y="23495"/>
                    </a:lnTo>
                    <a:lnTo>
                      <a:pt x="1194435" y="23495"/>
                    </a:lnTo>
                    <a:lnTo>
                      <a:pt x="1194435" y="78105"/>
                    </a:lnTo>
                    <a:close/>
                    <a:moveTo>
                      <a:pt x="1195388" y="3810"/>
                    </a:moveTo>
                    <a:cubicBezTo>
                      <a:pt x="1194117" y="4763"/>
                      <a:pt x="1193483" y="6350"/>
                      <a:pt x="1193483" y="8572"/>
                    </a:cubicBezTo>
                    <a:cubicBezTo>
                      <a:pt x="1193483" y="10795"/>
                      <a:pt x="1194117" y="12382"/>
                      <a:pt x="1195388" y="13335"/>
                    </a:cubicBezTo>
                    <a:cubicBezTo>
                      <a:pt x="1196658" y="14288"/>
                      <a:pt x="1197928" y="14922"/>
                      <a:pt x="1199833" y="14922"/>
                    </a:cubicBezTo>
                    <a:cubicBezTo>
                      <a:pt x="1201420" y="14922"/>
                      <a:pt x="1203008" y="14288"/>
                      <a:pt x="1203960" y="13335"/>
                    </a:cubicBezTo>
                    <a:cubicBezTo>
                      <a:pt x="1205230" y="12382"/>
                      <a:pt x="1205865" y="10795"/>
                      <a:pt x="1205865" y="8572"/>
                    </a:cubicBezTo>
                    <a:cubicBezTo>
                      <a:pt x="1205865" y="6350"/>
                      <a:pt x="1205230" y="4763"/>
                      <a:pt x="1203960" y="3810"/>
                    </a:cubicBezTo>
                    <a:cubicBezTo>
                      <a:pt x="1202690" y="2857"/>
                      <a:pt x="1201420" y="2540"/>
                      <a:pt x="1199833" y="2540"/>
                    </a:cubicBezTo>
                    <a:cubicBezTo>
                      <a:pt x="1198245" y="2540"/>
                      <a:pt x="1196658" y="2857"/>
                      <a:pt x="1195388" y="3810"/>
                    </a:cubicBezTo>
                    <a:moveTo>
                      <a:pt x="1177608" y="952"/>
                    </a:moveTo>
                    <a:lnTo>
                      <a:pt x="1166813" y="952"/>
                    </a:lnTo>
                    <a:lnTo>
                      <a:pt x="1166813" y="78105"/>
                    </a:lnTo>
                    <a:lnTo>
                      <a:pt x="1177608" y="78105"/>
                    </a:lnTo>
                    <a:lnTo>
                      <a:pt x="1177608" y="952"/>
                    </a:lnTo>
                    <a:close/>
                    <a:moveTo>
                      <a:pt x="1116330" y="36195"/>
                    </a:moveTo>
                    <a:cubicBezTo>
                      <a:pt x="1118553" y="32702"/>
                      <a:pt x="1122363" y="31115"/>
                      <a:pt x="1127442" y="31115"/>
                    </a:cubicBezTo>
                    <a:cubicBezTo>
                      <a:pt x="1132523" y="31115"/>
                      <a:pt x="1136333" y="32702"/>
                      <a:pt x="1138555" y="36195"/>
                    </a:cubicBezTo>
                    <a:cubicBezTo>
                      <a:pt x="1140778" y="39688"/>
                      <a:pt x="1142048" y="44450"/>
                      <a:pt x="1142048" y="50482"/>
                    </a:cubicBezTo>
                    <a:cubicBezTo>
                      <a:pt x="1142048" y="56515"/>
                      <a:pt x="1140778" y="61595"/>
                      <a:pt x="1138555" y="64770"/>
                    </a:cubicBezTo>
                    <a:cubicBezTo>
                      <a:pt x="1136333" y="68263"/>
                      <a:pt x="1132523" y="69850"/>
                      <a:pt x="1127442" y="69850"/>
                    </a:cubicBezTo>
                    <a:cubicBezTo>
                      <a:pt x="1122363" y="69850"/>
                      <a:pt x="1118553" y="68263"/>
                      <a:pt x="1116330" y="64770"/>
                    </a:cubicBezTo>
                    <a:cubicBezTo>
                      <a:pt x="1114108" y="61277"/>
                      <a:pt x="1112838" y="56515"/>
                      <a:pt x="1112838" y="50482"/>
                    </a:cubicBezTo>
                    <a:cubicBezTo>
                      <a:pt x="1112838" y="44450"/>
                      <a:pt x="1113790" y="39688"/>
                      <a:pt x="1116330" y="36195"/>
                    </a:cubicBezTo>
                    <a:moveTo>
                      <a:pt x="1149667" y="35242"/>
                    </a:moveTo>
                    <a:cubicBezTo>
                      <a:pt x="1147445" y="31115"/>
                      <a:pt x="1144588" y="27940"/>
                      <a:pt x="1140778" y="25717"/>
                    </a:cubicBezTo>
                    <a:cubicBezTo>
                      <a:pt x="1136967" y="23495"/>
                      <a:pt x="1132523" y="22542"/>
                      <a:pt x="1127442" y="22542"/>
                    </a:cubicBezTo>
                    <a:cubicBezTo>
                      <a:pt x="1119505" y="22542"/>
                      <a:pt x="1113155" y="25082"/>
                      <a:pt x="1108392" y="29845"/>
                    </a:cubicBezTo>
                    <a:cubicBezTo>
                      <a:pt x="1103630" y="34607"/>
                      <a:pt x="1101408" y="41592"/>
                      <a:pt x="1101408" y="50800"/>
                    </a:cubicBezTo>
                    <a:cubicBezTo>
                      <a:pt x="1101408" y="56832"/>
                      <a:pt x="1102360" y="61913"/>
                      <a:pt x="1104583" y="66357"/>
                    </a:cubicBezTo>
                    <a:cubicBezTo>
                      <a:pt x="1106805" y="70485"/>
                      <a:pt x="1109663" y="73660"/>
                      <a:pt x="1113473" y="75882"/>
                    </a:cubicBezTo>
                    <a:cubicBezTo>
                      <a:pt x="1117283" y="78105"/>
                      <a:pt x="1121728" y="79057"/>
                      <a:pt x="1126490" y="79057"/>
                    </a:cubicBezTo>
                    <a:cubicBezTo>
                      <a:pt x="1134428" y="79057"/>
                      <a:pt x="1140778" y="76517"/>
                      <a:pt x="1145540" y="71755"/>
                    </a:cubicBezTo>
                    <a:cubicBezTo>
                      <a:pt x="1150303" y="66675"/>
                      <a:pt x="1152525" y="59690"/>
                      <a:pt x="1152525" y="50800"/>
                    </a:cubicBezTo>
                    <a:cubicBezTo>
                      <a:pt x="1153160" y="44450"/>
                      <a:pt x="1151890" y="39370"/>
                      <a:pt x="1149667" y="35242"/>
                    </a:cubicBezTo>
                    <a:moveTo>
                      <a:pt x="1095375" y="23177"/>
                    </a:moveTo>
                    <a:lnTo>
                      <a:pt x="1081723" y="23177"/>
                    </a:lnTo>
                    <a:lnTo>
                      <a:pt x="1081723" y="19685"/>
                    </a:lnTo>
                    <a:cubicBezTo>
                      <a:pt x="1081723" y="12700"/>
                      <a:pt x="1084263" y="8890"/>
                      <a:pt x="1089660" y="8890"/>
                    </a:cubicBezTo>
                    <a:cubicBezTo>
                      <a:pt x="1091248" y="8890"/>
                      <a:pt x="1092517" y="8890"/>
                      <a:pt x="1094105" y="9207"/>
                    </a:cubicBezTo>
                    <a:cubicBezTo>
                      <a:pt x="1095375" y="9525"/>
                      <a:pt x="1096963" y="9842"/>
                      <a:pt x="1097915" y="10160"/>
                    </a:cubicBezTo>
                    <a:lnTo>
                      <a:pt x="1100773" y="1905"/>
                    </a:lnTo>
                    <a:cubicBezTo>
                      <a:pt x="1099503" y="1588"/>
                      <a:pt x="1097598" y="952"/>
                      <a:pt x="1095692" y="635"/>
                    </a:cubicBezTo>
                    <a:cubicBezTo>
                      <a:pt x="1093788" y="317"/>
                      <a:pt x="1091565" y="0"/>
                      <a:pt x="1089342" y="0"/>
                    </a:cubicBezTo>
                    <a:cubicBezTo>
                      <a:pt x="1083628" y="0"/>
                      <a:pt x="1079183" y="1588"/>
                      <a:pt x="1076008" y="4445"/>
                    </a:cubicBezTo>
                    <a:cubicBezTo>
                      <a:pt x="1072833" y="7302"/>
                      <a:pt x="1071245" y="12382"/>
                      <a:pt x="1071245" y="19367"/>
                    </a:cubicBezTo>
                    <a:lnTo>
                      <a:pt x="1071245" y="22860"/>
                    </a:lnTo>
                    <a:lnTo>
                      <a:pt x="1062038" y="26352"/>
                    </a:lnTo>
                    <a:lnTo>
                      <a:pt x="1062038" y="31432"/>
                    </a:lnTo>
                    <a:lnTo>
                      <a:pt x="1071245" y="31432"/>
                    </a:lnTo>
                    <a:lnTo>
                      <a:pt x="1071245" y="78105"/>
                    </a:lnTo>
                    <a:lnTo>
                      <a:pt x="1082040" y="78105"/>
                    </a:lnTo>
                    <a:lnTo>
                      <a:pt x="1082040" y="31432"/>
                    </a:lnTo>
                    <a:lnTo>
                      <a:pt x="1095692" y="31432"/>
                    </a:lnTo>
                    <a:lnTo>
                      <a:pt x="1095692" y="23177"/>
                    </a:lnTo>
                    <a:close/>
                    <a:moveTo>
                      <a:pt x="1043623" y="68263"/>
                    </a:moveTo>
                    <a:cubicBezTo>
                      <a:pt x="1042035" y="66992"/>
                      <a:pt x="1041400" y="64770"/>
                      <a:pt x="1041400" y="61595"/>
                    </a:cubicBezTo>
                    <a:lnTo>
                      <a:pt x="1041400" y="31432"/>
                    </a:lnTo>
                    <a:lnTo>
                      <a:pt x="1056958" y="31432"/>
                    </a:lnTo>
                    <a:lnTo>
                      <a:pt x="1056958" y="23177"/>
                    </a:lnTo>
                    <a:lnTo>
                      <a:pt x="1041400" y="23177"/>
                    </a:lnTo>
                    <a:lnTo>
                      <a:pt x="1041400" y="10795"/>
                    </a:lnTo>
                    <a:lnTo>
                      <a:pt x="1034733" y="10795"/>
                    </a:lnTo>
                    <a:lnTo>
                      <a:pt x="1030923" y="22225"/>
                    </a:lnTo>
                    <a:lnTo>
                      <a:pt x="1022985" y="26352"/>
                    </a:lnTo>
                    <a:lnTo>
                      <a:pt x="1022985" y="31115"/>
                    </a:lnTo>
                    <a:lnTo>
                      <a:pt x="1030605" y="31115"/>
                    </a:lnTo>
                    <a:lnTo>
                      <a:pt x="1030605" y="61277"/>
                    </a:lnTo>
                    <a:cubicBezTo>
                      <a:pt x="1030605" y="65722"/>
                      <a:pt x="1031240" y="69215"/>
                      <a:pt x="1032827" y="71755"/>
                    </a:cubicBezTo>
                    <a:cubicBezTo>
                      <a:pt x="1034415" y="74295"/>
                      <a:pt x="1036320" y="75882"/>
                      <a:pt x="1038860" y="77152"/>
                    </a:cubicBezTo>
                    <a:cubicBezTo>
                      <a:pt x="1041400" y="78105"/>
                      <a:pt x="1043940" y="78740"/>
                      <a:pt x="1047115" y="78740"/>
                    </a:cubicBezTo>
                    <a:cubicBezTo>
                      <a:pt x="1049020" y="78740"/>
                      <a:pt x="1050925" y="78422"/>
                      <a:pt x="1053148" y="78105"/>
                    </a:cubicBezTo>
                    <a:cubicBezTo>
                      <a:pt x="1055053" y="77788"/>
                      <a:pt x="1056640" y="77152"/>
                      <a:pt x="1057910" y="76835"/>
                    </a:cubicBezTo>
                    <a:lnTo>
                      <a:pt x="1057910" y="68580"/>
                    </a:lnTo>
                    <a:cubicBezTo>
                      <a:pt x="1055370" y="69532"/>
                      <a:pt x="1052830" y="69850"/>
                      <a:pt x="1049655" y="69850"/>
                    </a:cubicBezTo>
                    <a:cubicBezTo>
                      <a:pt x="1047115" y="70167"/>
                      <a:pt x="1045210" y="69532"/>
                      <a:pt x="1043623" y="68263"/>
                    </a:cubicBezTo>
                    <a:moveTo>
                      <a:pt x="1003617" y="25400"/>
                    </a:moveTo>
                    <a:cubicBezTo>
                      <a:pt x="1000760" y="27622"/>
                      <a:pt x="998538" y="30163"/>
                      <a:pt x="996950" y="33020"/>
                    </a:cubicBezTo>
                    <a:lnTo>
                      <a:pt x="996633" y="33020"/>
                    </a:lnTo>
                    <a:lnTo>
                      <a:pt x="995363" y="23177"/>
                    </a:lnTo>
                    <a:lnTo>
                      <a:pt x="986790" y="23177"/>
                    </a:lnTo>
                    <a:lnTo>
                      <a:pt x="986790" y="77788"/>
                    </a:lnTo>
                    <a:lnTo>
                      <a:pt x="997585" y="77788"/>
                    </a:lnTo>
                    <a:lnTo>
                      <a:pt x="997585" y="48895"/>
                    </a:lnTo>
                    <a:cubicBezTo>
                      <a:pt x="997585" y="45402"/>
                      <a:pt x="998220" y="42227"/>
                      <a:pt x="999808" y="39688"/>
                    </a:cubicBezTo>
                    <a:cubicBezTo>
                      <a:pt x="1001395" y="37147"/>
                      <a:pt x="1003300" y="35242"/>
                      <a:pt x="1005523" y="33972"/>
                    </a:cubicBezTo>
                    <a:cubicBezTo>
                      <a:pt x="1007745" y="32702"/>
                      <a:pt x="1010602" y="32067"/>
                      <a:pt x="1013142" y="32067"/>
                    </a:cubicBezTo>
                    <a:cubicBezTo>
                      <a:pt x="1015048" y="32067"/>
                      <a:pt x="1016952" y="32385"/>
                      <a:pt x="1018540" y="32702"/>
                    </a:cubicBezTo>
                    <a:lnTo>
                      <a:pt x="1019810" y="22542"/>
                    </a:lnTo>
                    <a:cubicBezTo>
                      <a:pt x="1017905" y="22225"/>
                      <a:pt x="1016000" y="21907"/>
                      <a:pt x="1013777" y="21907"/>
                    </a:cubicBezTo>
                    <a:cubicBezTo>
                      <a:pt x="1009650" y="22225"/>
                      <a:pt x="1006475" y="23177"/>
                      <a:pt x="1003617" y="25400"/>
                    </a:cubicBezTo>
                    <a:moveTo>
                      <a:pt x="935990" y="36195"/>
                    </a:moveTo>
                    <a:cubicBezTo>
                      <a:pt x="938213" y="32702"/>
                      <a:pt x="942023" y="31115"/>
                      <a:pt x="947102" y="31115"/>
                    </a:cubicBezTo>
                    <a:cubicBezTo>
                      <a:pt x="952183" y="31115"/>
                      <a:pt x="955992" y="32702"/>
                      <a:pt x="958215" y="36195"/>
                    </a:cubicBezTo>
                    <a:cubicBezTo>
                      <a:pt x="960438" y="39688"/>
                      <a:pt x="961708" y="44450"/>
                      <a:pt x="961708" y="50482"/>
                    </a:cubicBezTo>
                    <a:cubicBezTo>
                      <a:pt x="961708" y="56515"/>
                      <a:pt x="960438" y="61595"/>
                      <a:pt x="958215" y="64770"/>
                    </a:cubicBezTo>
                    <a:cubicBezTo>
                      <a:pt x="955992" y="68263"/>
                      <a:pt x="952183" y="69850"/>
                      <a:pt x="947102" y="69850"/>
                    </a:cubicBezTo>
                    <a:cubicBezTo>
                      <a:pt x="942023" y="69850"/>
                      <a:pt x="938213" y="68263"/>
                      <a:pt x="935990" y="64770"/>
                    </a:cubicBezTo>
                    <a:cubicBezTo>
                      <a:pt x="933767" y="61277"/>
                      <a:pt x="932498" y="56515"/>
                      <a:pt x="932498" y="50482"/>
                    </a:cubicBezTo>
                    <a:cubicBezTo>
                      <a:pt x="932498" y="44450"/>
                      <a:pt x="933767" y="39688"/>
                      <a:pt x="935990" y="36195"/>
                    </a:cubicBezTo>
                    <a:moveTo>
                      <a:pt x="969645" y="35242"/>
                    </a:moveTo>
                    <a:cubicBezTo>
                      <a:pt x="967423" y="31115"/>
                      <a:pt x="964565" y="27940"/>
                      <a:pt x="960755" y="25717"/>
                    </a:cubicBezTo>
                    <a:cubicBezTo>
                      <a:pt x="956945" y="23495"/>
                      <a:pt x="952500" y="22542"/>
                      <a:pt x="947420" y="22542"/>
                    </a:cubicBezTo>
                    <a:cubicBezTo>
                      <a:pt x="939483" y="22542"/>
                      <a:pt x="933133" y="25082"/>
                      <a:pt x="928370" y="29845"/>
                    </a:cubicBezTo>
                    <a:cubicBezTo>
                      <a:pt x="923608" y="34607"/>
                      <a:pt x="921385" y="41592"/>
                      <a:pt x="921385" y="50800"/>
                    </a:cubicBezTo>
                    <a:cubicBezTo>
                      <a:pt x="921385" y="56832"/>
                      <a:pt x="922338" y="61913"/>
                      <a:pt x="924560" y="66357"/>
                    </a:cubicBezTo>
                    <a:cubicBezTo>
                      <a:pt x="926783" y="70485"/>
                      <a:pt x="929640" y="73660"/>
                      <a:pt x="933450" y="75882"/>
                    </a:cubicBezTo>
                    <a:cubicBezTo>
                      <a:pt x="937260" y="78105"/>
                      <a:pt x="941705" y="79057"/>
                      <a:pt x="946467" y="79057"/>
                    </a:cubicBezTo>
                    <a:cubicBezTo>
                      <a:pt x="954405" y="79057"/>
                      <a:pt x="960755" y="76517"/>
                      <a:pt x="965517" y="71755"/>
                    </a:cubicBezTo>
                    <a:cubicBezTo>
                      <a:pt x="970280" y="66675"/>
                      <a:pt x="972502" y="59690"/>
                      <a:pt x="972502" y="50800"/>
                    </a:cubicBezTo>
                    <a:cubicBezTo>
                      <a:pt x="972820" y="44450"/>
                      <a:pt x="971867" y="39370"/>
                      <a:pt x="969645" y="35242"/>
                    </a:cubicBezTo>
                    <a:moveTo>
                      <a:pt x="896620" y="36195"/>
                    </a:moveTo>
                    <a:cubicBezTo>
                      <a:pt x="898842" y="39688"/>
                      <a:pt x="899795" y="44450"/>
                      <a:pt x="899795" y="50165"/>
                    </a:cubicBezTo>
                    <a:cubicBezTo>
                      <a:pt x="899795" y="56197"/>
                      <a:pt x="898842" y="60960"/>
                      <a:pt x="896620" y="64452"/>
                    </a:cubicBezTo>
                    <a:cubicBezTo>
                      <a:pt x="894398" y="68263"/>
                      <a:pt x="891223" y="69850"/>
                      <a:pt x="886777" y="69850"/>
                    </a:cubicBezTo>
                    <a:cubicBezTo>
                      <a:pt x="881380" y="69850"/>
                      <a:pt x="877570" y="68263"/>
                      <a:pt x="875665" y="64770"/>
                    </a:cubicBezTo>
                    <a:cubicBezTo>
                      <a:pt x="873760" y="61277"/>
                      <a:pt x="872490" y="56515"/>
                      <a:pt x="872490" y="50165"/>
                    </a:cubicBezTo>
                    <a:lnTo>
                      <a:pt x="872490" y="48577"/>
                    </a:lnTo>
                    <a:cubicBezTo>
                      <a:pt x="872490" y="42545"/>
                      <a:pt x="873760" y="38100"/>
                      <a:pt x="875665" y="35242"/>
                    </a:cubicBezTo>
                    <a:cubicBezTo>
                      <a:pt x="877888" y="32385"/>
                      <a:pt x="881380" y="30797"/>
                      <a:pt x="886460" y="30797"/>
                    </a:cubicBezTo>
                    <a:cubicBezTo>
                      <a:pt x="890905" y="31115"/>
                      <a:pt x="894398" y="32702"/>
                      <a:pt x="896620" y="36195"/>
                    </a:cubicBezTo>
                    <a:moveTo>
                      <a:pt x="878523" y="24765"/>
                    </a:moveTo>
                    <a:cubicBezTo>
                      <a:pt x="875983" y="26352"/>
                      <a:pt x="873760" y="28257"/>
                      <a:pt x="872173" y="30797"/>
                    </a:cubicBezTo>
                    <a:lnTo>
                      <a:pt x="871538" y="30797"/>
                    </a:lnTo>
                    <a:lnTo>
                      <a:pt x="869950" y="23495"/>
                    </a:lnTo>
                    <a:lnTo>
                      <a:pt x="861060" y="23495"/>
                    </a:lnTo>
                    <a:lnTo>
                      <a:pt x="861060" y="102552"/>
                    </a:lnTo>
                    <a:lnTo>
                      <a:pt x="871855" y="102552"/>
                    </a:lnTo>
                    <a:lnTo>
                      <a:pt x="871855" y="80327"/>
                    </a:lnTo>
                    <a:cubicBezTo>
                      <a:pt x="871855" y="79057"/>
                      <a:pt x="871855" y="77470"/>
                      <a:pt x="871538" y="75882"/>
                    </a:cubicBezTo>
                    <a:cubicBezTo>
                      <a:pt x="871220" y="74295"/>
                      <a:pt x="871220" y="72707"/>
                      <a:pt x="871220" y="71438"/>
                    </a:cubicBezTo>
                    <a:lnTo>
                      <a:pt x="871855" y="71438"/>
                    </a:lnTo>
                    <a:cubicBezTo>
                      <a:pt x="873442" y="73660"/>
                      <a:pt x="875665" y="75247"/>
                      <a:pt x="878205" y="76835"/>
                    </a:cubicBezTo>
                    <a:cubicBezTo>
                      <a:pt x="880745" y="78422"/>
                      <a:pt x="884238" y="79057"/>
                      <a:pt x="888365" y="79057"/>
                    </a:cubicBezTo>
                    <a:cubicBezTo>
                      <a:pt x="895033" y="79057"/>
                      <a:pt x="900113" y="76517"/>
                      <a:pt x="904240" y="71755"/>
                    </a:cubicBezTo>
                    <a:cubicBezTo>
                      <a:pt x="908367" y="66992"/>
                      <a:pt x="910273" y="60007"/>
                      <a:pt x="910273" y="50482"/>
                    </a:cubicBezTo>
                    <a:cubicBezTo>
                      <a:pt x="910273" y="40957"/>
                      <a:pt x="908367" y="33972"/>
                      <a:pt x="904240" y="29210"/>
                    </a:cubicBezTo>
                    <a:cubicBezTo>
                      <a:pt x="900113" y="24447"/>
                      <a:pt x="895033" y="22225"/>
                      <a:pt x="888365" y="22225"/>
                    </a:cubicBezTo>
                    <a:cubicBezTo>
                      <a:pt x="884555" y="22225"/>
                      <a:pt x="881380" y="23177"/>
                      <a:pt x="878523" y="24765"/>
                    </a:cubicBezTo>
                    <a:moveTo>
                      <a:pt x="818198" y="952"/>
                    </a:moveTo>
                    <a:lnTo>
                      <a:pt x="807402" y="952"/>
                    </a:lnTo>
                    <a:lnTo>
                      <a:pt x="807402" y="78105"/>
                    </a:lnTo>
                    <a:lnTo>
                      <a:pt x="818198" y="78105"/>
                    </a:lnTo>
                    <a:lnTo>
                      <a:pt x="818198" y="952"/>
                    </a:lnTo>
                    <a:close/>
                    <a:moveTo>
                      <a:pt x="790575" y="952"/>
                    </a:moveTo>
                    <a:lnTo>
                      <a:pt x="779780" y="952"/>
                    </a:lnTo>
                    <a:lnTo>
                      <a:pt x="779780" y="78105"/>
                    </a:lnTo>
                    <a:lnTo>
                      <a:pt x="790575" y="78105"/>
                    </a:lnTo>
                    <a:lnTo>
                      <a:pt x="790575" y="952"/>
                    </a:lnTo>
                    <a:close/>
                    <a:moveTo>
                      <a:pt x="752158" y="23177"/>
                    </a:moveTo>
                    <a:lnTo>
                      <a:pt x="752158" y="50800"/>
                    </a:lnTo>
                    <a:cubicBezTo>
                      <a:pt x="752158" y="57150"/>
                      <a:pt x="751205" y="61913"/>
                      <a:pt x="748983" y="65088"/>
                    </a:cubicBezTo>
                    <a:cubicBezTo>
                      <a:pt x="746760" y="68263"/>
                      <a:pt x="742950" y="70167"/>
                      <a:pt x="737235" y="70167"/>
                    </a:cubicBezTo>
                    <a:cubicBezTo>
                      <a:pt x="733425" y="70167"/>
                      <a:pt x="730567" y="69215"/>
                      <a:pt x="728980" y="66992"/>
                    </a:cubicBezTo>
                    <a:cubicBezTo>
                      <a:pt x="727075" y="64770"/>
                      <a:pt x="726440" y="61595"/>
                      <a:pt x="726440" y="57467"/>
                    </a:cubicBezTo>
                    <a:lnTo>
                      <a:pt x="726440" y="23177"/>
                    </a:lnTo>
                    <a:lnTo>
                      <a:pt x="715645" y="23177"/>
                    </a:lnTo>
                    <a:lnTo>
                      <a:pt x="715645" y="59055"/>
                    </a:lnTo>
                    <a:cubicBezTo>
                      <a:pt x="715645" y="66040"/>
                      <a:pt x="717233" y="71120"/>
                      <a:pt x="720725" y="74295"/>
                    </a:cubicBezTo>
                    <a:cubicBezTo>
                      <a:pt x="724217" y="77470"/>
                      <a:pt x="728980" y="79057"/>
                      <a:pt x="735330" y="79057"/>
                    </a:cubicBezTo>
                    <a:cubicBezTo>
                      <a:pt x="738823" y="79057"/>
                      <a:pt x="741998" y="78422"/>
                      <a:pt x="745173" y="77152"/>
                    </a:cubicBezTo>
                    <a:cubicBezTo>
                      <a:pt x="748348" y="75882"/>
                      <a:pt x="750570" y="73660"/>
                      <a:pt x="752475" y="70802"/>
                    </a:cubicBezTo>
                    <a:lnTo>
                      <a:pt x="753110" y="70802"/>
                    </a:lnTo>
                    <a:lnTo>
                      <a:pt x="754698" y="78105"/>
                    </a:lnTo>
                    <a:lnTo>
                      <a:pt x="763270" y="78105"/>
                    </a:lnTo>
                    <a:lnTo>
                      <a:pt x="763270" y="23495"/>
                    </a:lnTo>
                    <a:lnTo>
                      <a:pt x="752158" y="23495"/>
                    </a:lnTo>
                    <a:close/>
                    <a:moveTo>
                      <a:pt x="706438" y="23177"/>
                    </a:moveTo>
                    <a:lnTo>
                      <a:pt x="692785" y="23177"/>
                    </a:lnTo>
                    <a:lnTo>
                      <a:pt x="692785" y="19685"/>
                    </a:lnTo>
                    <a:cubicBezTo>
                      <a:pt x="692785" y="12700"/>
                      <a:pt x="695325" y="8890"/>
                      <a:pt x="700723" y="8890"/>
                    </a:cubicBezTo>
                    <a:cubicBezTo>
                      <a:pt x="702310" y="8890"/>
                      <a:pt x="703580" y="8890"/>
                      <a:pt x="705167" y="9207"/>
                    </a:cubicBezTo>
                    <a:cubicBezTo>
                      <a:pt x="706438" y="9525"/>
                      <a:pt x="708025" y="9842"/>
                      <a:pt x="708977" y="10160"/>
                    </a:cubicBezTo>
                    <a:lnTo>
                      <a:pt x="711835" y="1905"/>
                    </a:lnTo>
                    <a:cubicBezTo>
                      <a:pt x="710565" y="1588"/>
                      <a:pt x="708977" y="952"/>
                      <a:pt x="706755" y="635"/>
                    </a:cubicBezTo>
                    <a:cubicBezTo>
                      <a:pt x="704850" y="317"/>
                      <a:pt x="702627" y="0"/>
                      <a:pt x="700405" y="0"/>
                    </a:cubicBezTo>
                    <a:cubicBezTo>
                      <a:pt x="694690" y="0"/>
                      <a:pt x="690245" y="1588"/>
                      <a:pt x="687070" y="4445"/>
                    </a:cubicBezTo>
                    <a:cubicBezTo>
                      <a:pt x="683895" y="7302"/>
                      <a:pt x="682308" y="12382"/>
                      <a:pt x="682308" y="19367"/>
                    </a:cubicBezTo>
                    <a:lnTo>
                      <a:pt x="682308" y="22860"/>
                    </a:lnTo>
                    <a:lnTo>
                      <a:pt x="673100" y="26352"/>
                    </a:lnTo>
                    <a:lnTo>
                      <a:pt x="673100" y="31432"/>
                    </a:lnTo>
                    <a:lnTo>
                      <a:pt x="682308" y="31432"/>
                    </a:lnTo>
                    <a:lnTo>
                      <a:pt x="682308" y="78105"/>
                    </a:lnTo>
                    <a:lnTo>
                      <a:pt x="693102" y="78105"/>
                    </a:lnTo>
                    <a:lnTo>
                      <a:pt x="693102" y="31432"/>
                    </a:lnTo>
                    <a:lnTo>
                      <a:pt x="706755" y="31432"/>
                    </a:lnTo>
                    <a:lnTo>
                      <a:pt x="706755" y="23177"/>
                    </a:lnTo>
                    <a:close/>
                    <a:moveTo>
                      <a:pt x="622617" y="35560"/>
                    </a:moveTo>
                    <a:cubicBezTo>
                      <a:pt x="624840" y="38417"/>
                      <a:pt x="626110" y="43497"/>
                      <a:pt x="626110" y="50800"/>
                    </a:cubicBezTo>
                    <a:lnTo>
                      <a:pt x="626110" y="52705"/>
                    </a:lnTo>
                    <a:cubicBezTo>
                      <a:pt x="626110" y="59055"/>
                      <a:pt x="624840" y="63500"/>
                      <a:pt x="622617" y="66040"/>
                    </a:cubicBezTo>
                    <a:cubicBezTo>
                      <a:pt x="620395" y="68580"/>
                      <a:pt x="616585" y="70167"/>
                      <a:pt x="611505" y="70167"/>
                    </a:cubicBezTo>
                    <a:cubicBezTo>
                      <a:pt x="607060" y="70167"/>
                      <a:pt x="603885" y="68580"/>
                      <a:pt x="601345" y="65088"/>
                    </a:cubicBezTo>
                    <a:cubicBezTo>
                      <a:pt x="599123" y="61913"/>
                      <a:pt x="597852" y="56832"/>
                      <a:pt x="597852" y="50482"/>
                    </a:cubicBezTo>
                    <a:cubicBezTo>
                      <a:pt x="597852" y="44132"/>
                      <a:pt x="599123" y="39052"/>
                      <a:pt x="601345" y="35877"/>
                    </a:cubicBezTo>
                    <a:cubicBezTo>
                      <a:pt x="603567" y="32385"/>
                      <a:pt x="606742" y="30797"/>
                      <a:pt x="611188" y="30797"/>
                    </a:cubicBezTo>
                    <a:cubicBezTo>
                      <a:pt x="616585" y="31115"/>
                      <a:pt x="620077" y="32702"/>
                      <a:pt x="622617" y="35560"/>
                    </a:cubicBezTo>
                    <a:moveTo>
                      <a:pt x="593090" y="29845"/>
                    </a:moveTo>
                    <a:cubicBezTo>
                      <a:pt x="589280" y="34925"/>
                      <a:pt x="587375" y="41910"/>
                      <a:pt x="587375" y="50800"/>
                    </a:cubicBezTo>
                    <a:cubicBezTo>
                      <a:pt x="587375" y="59690"/>
                      <a:pt x="589280" y="66675"/>
                      <a:pt x="593090" y="71438"/>
                    </a:cubicBezTo>
                    <a:cubicBezTo>
                      <a:pt x="596900" y="76517"/>
                      <a:pt x="602298" y="79057"/>
                      <a:pt x="609283" y="79057"/>
                    </a:cubicBezTo>
                    <a:cubicBezTo>
                      <a:pt x="612775" y="79057"/>
                      <a:pt x="615950" y="78422"/>
                      <a:pt x="618808" y="77152"/>
                    </a:cubicBezTo>
                    <a:cubicBezTo>
                      <a:pt x="621665" y="75882"/>
                      <a:pt x="623888" y="73660"/>
                      <a:pt x="625792" y="70802"/>
                    </a:cubicBezTo>
                    <a:lnTo>
                      <a:pt x="626110" y="70802"/>
                    </a:lnTo>
                    <a:cubicBezTo>
                      <a:pt x="626110" y="71438"/>
                      <a:pt x="626110" y="72707"/>
                      <a:pt x="625792" y="73977"/>
                    </a:cubicBezTo>
                    <a:cubicBezTo>
                      <a:pt x="625792" y="75247"/>
                      <a:pt x="625792" y="76517"/>
                      <a:pt x="625792" y="77470"/>
                    </a:cubicBezTo>
                    <a:lnTo>
                      <a:pt x="625792" y="79375"/>
                    </a:lnTo>
                    <a:cubicBezTo>
                      <a:pt x="625792" y="84138"/>
                      <a:pt x="624523" y="87630"/>
                      <a:pt x="621983" y="90170"/>
                    </a:cubicBezTo>
                    <a:cubicBezTo>
                      <a:pt x="619442" y="92710"/>
                      <a:pt x="615950" y="93980"/>
                      <a:pt x="611823" y="93980"/>
                    </a:cubicBezTo>
                    <a:cubicBezTo>
                      <a:pt x="608013" y="93980"/>
                      <a:pt x="604202" y="93663"/>
                      <a:pt x="600710" y="93027"/>
                    </a:cubicBezTo>
                    <a:cubicBezTo>
                      <a:pt x="597217" y="92392"/>
                      <a:pt x="594042" y="91122"/>
                      <a:pt x="591185" y="89852"/>
                    </a:cubicBezTo>
                    <a:lnTo>
                      <a:pt x="591185" y="99377"/>
                    </a:lnTo>
                    <a:cubicBezTo>
                      <a:pt x="594042" y="100647"/>
                      <a:pt x="596900" y="101282"/>
                      <a:pt x="600392" y="101917"/>
                    </a:cubicBezTo>
                    <a:cubicBezTo>
                      <a:pt x="603567" y="102552"/>
                      <a:pt x="607377" y="102870"/>
                      <a:pt x="611188" y="102870"/>
                    </a:cubicBezTo>
                    <a:cubicBezTo>
                      <a:pt x="628015" y="102870"/>
                      <a:pt x="636588" y="94932"/>
                      <a:pt x="636588" y="79057"/>
                    </a:cubicBezTo>
                    <a:lnTo>
                      <a:pt x="636588" y="23495"/>
                    </a:lnTo>
                    <a:lnTo>
                      <a:pt x="627698" y="23495"/>
                    </a:lnTo>
                    <a:lnTo>
                      <a:pt x="626427" y="30797"/>
                    </a:lnTo>
                    <a:lnTo>
                      <a:pt x="625792" y="30797"/>
                    </a:lnTo>
                    <a:cubicBezTo>
                      <a:pt x="623888" y="27940"/>
                      <a:pt x="621348" y="26035"/>
                      <a:pt x="618490" y="24447"/>
                    </a:cubicBezTo>
                    <a:cubicBezTo>
                      <a:pt x="615633" y="22860"/>
                      <a:pt x="612458" y="22542"/>
                      <a:pt x="608965" y="22542"/>
                    </a:cubicBezTo>
                    <a:cubicBezTo>
                      <a:pt x="602298" y="22225"/>
                      <a:pt x="596900" y="24765"/>
                      <a:pt x="593090" y="29845"/>
                    </a:cubicBezTo>
                    <a:moveTo>
                      <a:pt x="544195" y="24130"/>
                    </a:moveTo>
                    <a:cubicBezTo>
                      <a:pt x="541020" y="25400"/>
                      <a:pt x="538798" y="27622"/>
                      <a:pt x="536892" y="30480"/>
                    </a:cubicBezTo>
                    <a:lnTo>
                      <a:pt x="536258" y="30480"/>
                    </a:lnTo>
                    <a:lnTo>
                      <a:pt x="534670" y="23177"/>
                    </a:lnTo>
                    <a:lnTo>
                      <a:pt x="526098" y="23177"/>
                    </a:lnTo>
                    <a:lnTo>
                      <a:pt x="526098" y="77788"/>
                    </a:lnTo>
                    <a:lnTo>
                      <a:pt x="536892" y="77788"/>
                    </a:lnTo>
                    <a:lnTo>
                      <a:pt x="536892" y="50165"/>
                    </a:lnTo>
                    <a:cubicBezTo>
                      <a:pt x="536892" y="43815"/>
                      <a:pt x="537845" y="39052"/>
                      <a:pt x="540067" y="35877"/>
                    </a:cubicBezTo>
                    <a:cubicBezTo>
                      <a:pt x="542290" y="32702"/>
                      <a:pt x="546100" y="30797"/>
                      <a:pt x="551498" y="30797"/>
                    </a:cubicBezTo>
                    <a:cubicBezTo>
                      <a:pt x="559117" y="30797"/>
                      <a:pt x="562927" y="34925"/>
                      <a:pt x="562927" y="43497"/>
                    </a:cubicBezTo>
                    <a:lnTo>
                      <a:pt x="562927" y="77788"/>
                    </a:lnTo>
                    <a:lnTo>
                      <a:pt x="573723" y="77788"/>
                    </a:lnTo>
                    <a:lnTo>
                      <a:pt x="573723" y="42227"/>
                    </a:lnTo>
                    <a:cubicBezTo>
                      <a:pt x="573723" y="35242"/>
                      <a:pt x="572135" y="30163"/>
                      <a:pt x="568642" y="26988"/>
                    </a:cubicBezTo>
                    <a:cubicBezTo>
                      <a:pt x="565150" y="23813"/>
                      <a:pt x="560388" y="22225"/>
                      <a:pt x="554038" y="22225"/>
                    </a:cubicBezTo>
                    <a:cubicBezTo>
                      <a:pt x="550545" y="22225"/>
                      <a:pt x="547370" y="22860"/>
                      <a:pt x="544195" y="24130"/>
                    </a:cubicBezTo>
                    <a:moveTo>
                      <a:pt x="498475" y="78105"/>
                    </a:moveTo>
                    <a:lnTo>
                      <a:pt x="509270" y="78105"/>
                    </a:lnTo>
                    <a:lnTo>
                      <a:pt x="509270" y="23495"/>
                    </a:lnTo>
                    <a:lnTo>
                      <a:pt x="498475" y="23495"/>
                    </a:lnTo>
                    <a:lnTo>
                      <a:pt x="498475" y="78105"/>
                    </a:lnTo>
                    <a:close/>
                    <a:moveTo>
                      <a:pt x="499745" y="3810"/>
                    </a:moveTo>
                    <a:cubicBezTo>
                      <a:pt x="498475" y="4763"/>
                      <a:pt x="497840" y="6350"/>
                      <a:pt x="497840" y="8572"/>
                    </a:cubicBezTo>
                    <a:cubicBezTo>
                      <a:pt x="497840" y="10795"/>
                      <a:pt x="498475" y="12382"/>
                      <a:pt x="499745" y="13335"/>
                    </a:cubicBezTo>
                    <a:cubicBezTo>
                      <a:pt x="501015" y="14288"/>
                      <a:pt x="502285" y="14922"/>
                      <a:pt x="504190" y="14922"/>
                    </a:cubicBezTo>
                    <a:cubicBezTo>
                      <a:pt x="505777" y="14922"/>
                      <a:pt x="507365" y="14288"/>
                      <a:pt x="508317" y="13335"/>
                    </a:cubicBezTo>
                    <a:cubicBezTo>
                      <a:pt x="509588" y="12382"/>
                      <a:pt x="510223" y="10795"/>
                      <a:pt x="510223" y="8572"/>
                    </a:cubicBezTo>
                    <a:cubicBezTo>
                      <a:pt x="510223" y="6350"/>
                      <a:pt x="509588" y="4763"/>
                      <a:pt x="508317" y="3810"/>
                    </a:cubicBezTo>
                    <a:cubicBezTo>
                      <a:pt x="507048" y="2857"/>
                      <a:pt x="505777" y="2540"/>
                      <a:pt x="504190" y="2540"/>
                    </a:cubicBezTo>
                    <a:cubicBezTo>
                      <a:pt x="502285" y="2540"/>
                      <a:pt x="501015" y="2857"/>
                      <a:pt x="499745" y="3810"/>
                    </a:cubicBezTo>
                    <a:moveTo>
                      <a:pt x="467995" y="35560"/>
                    </a:moveTo>
                    <a:cubicBezTo>
                      <a:pt x="470217" y="38417"/>
                      <a:pt x="471488" y="43497"/>
                      <a:pt x="471488" y="50800"/>
                    </a:cubicBezTo>
                    <a:lnTo>
                      <a:pt x="471488" y="52705"/>
                    </a:lnTo>
                    <a:cubicBezTo>
                      <a:pt x="471488" y="59055"/>
                      <a:pt x="470217" y="63500"/>
                      <a:pt x="467995" y="66040"/>
                    </a:cubicBezTo>
                    <a:cubicBezTo>
                      <a:pt x="465773" y="68897"/>
                      <a:pt x="461963" y="70167"/>
                      <a:pt x="456883" y="70167"/>
                    </a:cubicBezTo>
                    <a:cubicBezTo>
                      <a:pt x="452438" y="70167"/>
                      <a:pt x="449263" y="68580"/>
                      <a:pt x="446723" y="65088"/>
                    </a:cubicBezTo>
                    <a:cubicBezTo>
                      <a:pt x="444500" y="61913"/>
                      <a:pt x="443230" y="56832"/>
                      <a:pt x="443230" y="50482"/>
                    </a:cubicBezTo>
                    <a:cubicBezTo>
                      <a:pt x="443230" y="44132"/>
                      <a:pt x="444500" y="39052"/>
                      <a:pt x="446723" y="35877"/>
                    </a:cubicBezTo>
                    <a:cubicBezTo>
                      <a:pt x="448945" y="32385"/>
                      <a:pt x="452120" y="30797"/>
                      <a:pt x="456565" y="30797"/>
                    </a:cubicBezTo>
                    <a:cubicBezTo>
                      <a:pt x="461963" y="31115"/>
                      <a:pt x="465455" y="32702"/>
                      <a:pt x="467995" y="35560"/>
                    </a:cubicBezTo>
                    <a:moveTo>
                      <a:pt x="438467" y="29845"/>
                    </a:moveTo>
                    <a:cubicBezTo>
                      <a:pt x="434658" y="34925"/>
                      <a:pt x="432752" y="41910"/>
                      <a:pt x="432752" y="50800"/>
                    </a:cubicBezTo>
                    <a:cubicBezTo>
                      <a:pt x="432752" y="59690"/>
                      <a:pt x="434658" y="66675"/>
                      <a:pt x="438467" y="71438"/>
                    </a:cubicBezTo>
                    <a:cubicBezTo>
                      <a:pt x="442277" y="76517"/>
                      <a:pt x="447675" y="79057"/>
                      <a:pt x="454660" y="79057"/>
                    </a:cubicBezTo>
                    <a:cubicBezTo>
                      <a:pt x="458152" y="79057"/>
                      <a:pt x="461327" y="78422"/>
                      <a:pt x="464185" y="77152"/>
                    </a:cubicBezTo>
                    <a:cubicBezTo>
                      <a:pt x="467042" y="75882"/>
                      <a:pt x="469265" y="73660"/>
                      <a:pt x="471170" y="70802"/>
                    </a:cubicBezTo>
                    <a:lnTo>
                      <a:pt x="471488" y="70802"/>
                    </a:lnTo>
                    <a:cubicBezTo>
                      <a:pt x="471488" y="71438"/>
                      <a:pt x="471488" y="72707"/>
                      <a:pt x="471170" y="73977"/>
                    </a:cubicBezTo>
                    <a:cubicBezTo>
                      <a:pt x="471170" y="75247"/>
                      <a:pt x="471170" y="76517"/>
                      <a:pt x="471170" y="77470"/>
                    </a:cubicBezTo>
                    <a:lnTo>
                      <a:pt x="471170" y="79375"/>
                    </a:lnTo>
                    <a:cubicBezTo>
                      <a:pt x="471170" y="84138"/>
                      <a:pt x="469900" y="87630"/>
                      <a:pt x="467360" y="90170"/>
                    </a:cubicBezTo>
                    <a:cubicBezTo>
                      <a:pt x="464820" y="92710"/>
                      <a:pt x="461327" y="93980"/>
                      <a:pt x="457200" y="93980"/>
                    </a:cubicBezTo>
                    <a:cubicBezTo>
                      <a:pt x="453390" y="93980"/>
                      <a:pt x="449580" y="93663"/>
                      <a:pt x="446088" y="93027"/>
                    </a:cubicBezTo>
                    <a:cubicBezTo>
                      <a:pt x="442595" y="92392"/>
                      <a:pt x="439420" y="91122"/>
                      <a:pt x="436563" y="89852"/>
                    </a:cubicBezTo>
                    <a:lnTo>
                      <a:pt x="436563" y="99377"/>
                    </a:lnTo>
                    <a:cubicBezTo>
                      <a:pt x="439420" y="100647"/>
                      <a:pt x="442277" y="101282"/>
                      <a:pt x="445770" y="101917"/>
                    </a:cubicBezTo>
                    <a:cubicBezTo>
                      <a:pt x="448945" y="102552"/>
                      <a:pt x="452755" y="102870"/>
                      <a:pt x="456565" y="102870"/>
                    </a:cubicBezTo>
                    <a:cubicBezTo>
                      <a:pt x="473392" y="102870"/>
                      <a:pt x="481965" y="94932"/>
                      <a:pt x="481965" y="79057"/>
                    </a:cubicBezTo>
                    <a:lnTo>
                      <a:pt x="481965" y="23495"/>
                    </a:lnTo>
                    <a:lnTo>
                      <a:pt x="473075" y="23495"/>
                    </a:lnTo>
                    <a:lnTo>
                      <a:pt x="471805" y="30797"/>
                    </a:lnTo>
                    <a:lnTo>
                      <a:pt x="471170" y="30797"/>
                    </a:lnTo>
                    <a:cubicBezTo>
                      <a:pt x="469265" y="27940"/>
                      <a:pt x="466725" y="26035"/>
                      <a:pt x="463867" y="24447"/>
                    </a:cubicBezTo>
                    <a:cubicBezTo>
                      <a:pt x="461010" y="22860"/>
                      <a:pt x="457835" y="22542"/>
                      <a:pt x="454342" y="22542"/>
                    </a:cubicBezTo>
                    <a:cubicBezTo>
                      <a:pt x="447675" y="22225"/>
                      <a:pt x="442277" y="24765"/>
                      <a:pt x="438467" y="29845"/>
                    </a:cubicBezTo>
                    <a:moveTo>
                      <a:pt x="408305" y="56515"/>
                    </a:moveTo>
                    <a:cubicBezTo>
                      <a:pt x="408305" y="61277"/>
                      <a:pt x="407035" y="64770"/>
                      <a:pt x="404177" y="67310"/>
                    </a:cubicBezTo>
                    <a:cubicBezTo>
                      <a:pt x="401320" y="69532"/>
                      <a:pt x="397827" y="70802"/>
                      <a:pt x="393700" y="70802"/>
                    </a:cubicBezTo>
                    <a:cubicBezTo>
                      <a:pt x="390842" y="70802"/>
                      <a:pt x="388938" y="70167"/>
                      <a:pt x="387033" y="68897"/>
                    </a:cubicBezTo>
                    <a:cubicBezTo>
                      <a:pt x="385445" y="67627"/>
                      <a:pt x="384492" y="65405"/>
                      <a:pt x="384492" y="62547"/>
                    </a:cubicBezTo>
                    <a:cubicBezTo>
                      <a:pt x="384492" y="59372"/>
                      <a:pt x="385763" y="56832"/>
                      <a:pt x="387985" y="54927"/>
                    </a:cubicBezTo>
                    <a:cubicBezTo>
                      <a:pt x="390525" y="53022"/>
                      <a:pt x="394652" y="52070"/>
                      <a:pt x="401002" y="51752"/>
                    </a:cubicBezTo>
                    <a:lnTo>
                      <a:pt x="408305" y="51435"/>
                    </a:lnTo>
                    <a:lnTo>
                      <a:pt x="408305" y="56515"/>
                    </a:lnTo>
                    <a:close/>
                    <a:moveTo>
                      <a:pt x="387985" y="23495"/>
                    </a:moveTo>
                    <a:cubicBezTo>
                      <a:pt x="384492" y="24447"/>
                      <a:pt x="381635" y="25400"/>
                      <a:pt x="379095" y="26988"/>
                    </a:cubicBezTo>
                    <a:lnTo>
                      <a:pt x="382588" y="34925"/>
                    </a:lnTo>
                    <a:cubicBezTo>
                      <a:pt x="384810" y="33655"/>
                      <a:pt x="387350" y="32702"/>
                      <a:pt x="389890" y="32067"/>
                    </a:cubicBezTo>
                    <a:cubicBezTo>
                      <a:pt x="392430" y="31115"/>
                      <a:pt x="395288" y="30797"/>
                      <a:pt x="397827" y="30797"/>
                    </a:cubicBezTo>
                    <a:cubicBezTo>
                      <a:pt x="401002" y="30797"/>
                      <a:pt x="403860" y="31750"/>
                      <a:pt x="405448" y="33338"/>
                    </a:cubicBezTo>
                    <a:cubicBezTo>
                      <a:pt x="407035" y="34925"/>
                      <a:pt x="408305" y="37782"/>
                      <a:pt x="408305" y="41910"/>
                    </a:cubicBezTo>
                    <a:lnTo>
                      <a:pt x="408305" y="45085"/>
                    </a:lnTo>
                    <a:lnTo>
                      <a:pt x="399098" y="45402"/>
                    </a:lnTo>
                    <a:cubicBezTo>
                      <a:pt x="390525" y="45720"/>
                      <a:pt x="383858" y="47307"/>
                      <a:pt x="379730" y="50165"/>
                    </a:cubicBezTo>
                    <a:cubicBezTo>
                      <a:pt x="375602" y="53022"/>
                      <a:pt x="373380" y="57150"/>
                      <a:pt x="373380" y="62865"/>
                    </a:cubicBezTo>
                    <a:cubicBezTo>
                      <a:pt x="373380" y="68580"/>
                      <a:pt x="374967" y="72707"/>
                      <a:pt x="378142" y="75565"/>
                    </a:cubicBezTo>
                    <a:cubicBezTo>
                      <a:pt x="381317" y="78422"/>
                      <a:pt x="385445" y="79692"/>
                      <a:pt x="390525" y="79692"/>
                    </a:cubicBezTo>
                    <a:cubicBezTo>
                      <a:pt x="394970" y="79692"/>
                      <a:pt x="398780" y="79057"/>
                      <a:pt x="401320" y="77470"/>
                    </a:cubicBezTo>
                    <a:cubicBezTo>
                      <a:pt x="403860" y="76200"/>
                      <a:pt x="406400" y="73977"/>
                      <a:pt x="408940" y="70802"/>
                    </a:cubicBezTo>
                    <a:lnTo>
                      <a:pt x="409258" y="70802"/>
                    </a:lnTo>
                    <a:lnTo>
                      <a:pt x="411480" y="78422"/>
                    </a:lnTo>
                    <a:lnTo>
                      <a:pt x="419100" y="78422"/>
                    </a:lnTo>
                    <a:lnTo>
                      <a:pt x="419100" y="41275"/>
                    </a:lnTo>
                    <a:cubicBezTo>
                      <a:pt x="419100" y="34925"/>
                      <a:pt x="417513" y="30163"/>
                      <a:pt x="414020" y="26988"/>
                    </a:cubicBezTo>
                    <a:cubicBezTo>
                      <a:pt x="410527" y="24130"/>
                      <a:pt x="405448" y="22542"/>
                      <a:pt x="398780" y="22542"/>
                    </a:cubicBezTo>
                    <a:cubicBezTo>
                      <a:pt x="394970" y="22225"/>
                      <a:pt x="391477" y="22542"/>
                      <a:pt x="387985" y="23495"/>
                    </a:cubicBezTo>
                    <a:moveTo>
                      <a:pt x="353377" y="25400"/>
                    </a:moveTo>
                    <a:cubicBezTo>
                      <a:pt x="350520" y="27622"/>
                      <a:pt x="348298" y="30163"/>
                      <a:pt x="346710" y="33020"/>
                    </a:cubicBezTo>
                    <a:lnTo>
                      <a:pt x="346075" y="33020"/>
                    </a:lnTo>
                    <a:lnTo>
                      <a:pt x="344805" y="23177"/>
                    </a:lnTo>
                    <a:lnTo>
                      <a:pt x="336233" y="23177"/>
                    </a:lnTo>
                    <a:lnTo>
                      <a:pt x="336233" y="77788"/>
                    </a:lnTo>
                    <a:lnTo>
                      <a:pt x="347027" y="77788"/>
                    </a:lnTo>
                    <a:lnTo>
                      <a:pt x="347027" y="48895"/>
                    </a:lnTo>
                    <a:cubicBezTo>
                      <a:pt x="347027" y="45402"/>
                      <a:pt x="347663" y="42227"/>
                      <a:pt x="349250" y="39688"/>
                    </a:cubicBezTo>
                    <a:cubicBezTo>
                      <a:pt x="350838" y="37147"/>
                      <a:pt x="352742" y="35242"/>
                      <a:pt x="354965" y="33972"/>
                    </a:cubicBezTo>
                    <a:cubicBezTo>
                      <a:pt x="357188" y="32702"/>
                      <a:pt x="360045" y="32067"/>
                      <a:pt x="362585" y="32067"/>
                    </a:cubicBezTo>
                    <a:cubicBezTo>
                      <a:pt x="364490" y="32067"/>
                      <a:pt x="366395" y="32385"/>
                      <a:pt x="367983" y="32702"/>
                    </a:cubicBezTo>
                    <a:lnTo>
                      <a:pt x="369252" y="22542"/>
                    </a:lnTo>
                    <a:cubicBezTo>
                      <a:pt x="367348" y="22225"/>
                      <a:pt x="365442" y="21907"/>
                      <a:pt x="363220" y="21907"/>
                    </a:cubicBezTo>
                    <a:cubicBezTo>
                      <a:pt x="359410" y="22225"/>
                      <a:pt x="356235" y="23177"/>
                      <a:pt x="353377" y="25400"/>
                    </a:cubicBezTo>
                    <a:moveTo>
                      <a:pt x="308927" y="34607"/>
                    </a:moveTo>
                    <a:cubicBezTo>
                      <a:pt x="310833" y="37147"/>
                      <a:pt x="312102" y="40640"/>
                      <a:pt x="312102" y="45085"/>
                    </a:cubicBezTo>
                    <a:lnTo>
                      <a:pt x="286385" y="45085"/>
                    </a:lnTo>
                    <a:cubicBezTo>
                      <a:pt x="286702" y="40322"/>
                      <a:pt x="288290" y="36830"/>
                      <a:pt x="290513" y="34290"/>
                    </a:cubicBezTo>
                    <a:cubicBezTo>
                      <a:pt x="292735" y="31750"/>
                      <a:pt x="295910" y="30480"/>
                      <a:pt x="299720" y="30480"/>
                    </a:cubicBezTo>
                    <a:cubicBezTo>
                      <a:pt x="303848" y="30480"/>
                      <a:pt x="307023" y="31750"/>
                      <a:pt x="308927" y="34607"/>
                    </a:cubicBezTo>
                    <a:moveTo>
                      <a:pt x="286702" y="25717"/>
                    </a:moveTo>
                    <a:cubicBezTo>
                      <a:pt x="282892" y="27940"/>
                      <a:pt x="280035" y="31115"/>
                      <a:pt x="278130" y="35560"/>
                    </a:cubicBezTo>
                    <a:cubicBezTo>
                      <a:pt x="275908" y="39688"/>
                      <a:pt x="274955" y="45085"/>
                      <a:pt x="274955" y="51117"/>
                    </a:cubicBezTo>
                    <a:cubicBezTo>
                      <a:pt x="274955" y="57150"/>
                      <a:pt x="276225" y="62547"/>
                      <a:pt x="278448" y="66675"/>
                    </a:cubicBezTo>
                    <a:cubicBezTo>
                      <a:pt x="280670" y="70802"/>
                      <a:pt x="283845" y="73977"/>
                      <a:pt x="287973" y="75882"/>
                    </a:cubicBezTo>
                    <a:cubicBezTo>
                      <a:pt x="292100" y="78105"/>
                      <a:pt x="296863" y="79057"/>
                      <a:pt x="301942" y="79057"/>
                    </a:cubicBezTo>
                    <a:cubicBezTo>
                      <a:pt x="305752" y="79057"/>
                      <a:pt x="309245" y="78740"/>
                      <a:pt x="311785" y="78105"/>
                    </a:cubicBezTo>
                    <a:cubicBezTo>
                      <a:pt x="314642" y="77470"/>
                      <a:pt x="317183" y="76517"/>
                      <a:pt x="320040" y="75247"/>
                    </a:cubicBezTo>
                    <a:lnTo>
                      <a:pt x="320040" y="66357"/>
                    </a:lnTo>
                    <a:cubicBezTo>
                      <a:pt x="317183" y="67627"/>
                      <a:pt x="314325" y="68580"/>
                      <a:pt x="311467" y="69215"/>
                    </a:cubicBezTo>
                    <a:cubicBezTo>
                      <a:pt x="308610" y="69850"/>
                      <a:pt x="305435" y="70167"/>
                      <a:pt x="301942" y="70167"/>
                    </a:cubicBezTo>
                    <a:cubicBezTo>
                      <a:pt x="296863" y="70167"/>
                      <a:pt x="293052" y="68580"/>
                      <a:pt x="290195" y="65722"/>
                    </a:cubicBezTo>
                    <a:cubicBezTo>
                      <a:pt x="287338" y="62865"/>
                      <a:pt x="285750" y="58420"/>
                      <a:pt x="285750" y="52705"/>
                    </a:cubicBezTo>
                    <a:lnTo>
                      <a:pt x="322580" y="52705"/>
                    </a:lnTo>
                    <a:lnTo>
                      <a:pt x="322580" y="46672"/>
                    </a:lnTo>
                    <a:cubicBezTo>
                      <a:pt x="322580" y="39052"/>
                      <a:pt x="320358" y="33020"/>
                      <a:pt x="316230" y="28575"/>
                    </a:cubicBezTo>
                    <a:cubicBezTo>
                      <a:pt x="312102" y="24130"/>
                      <a:pt x="306388" y="21907"/>
                      <a:pt x="299402" y="21907"/>
                    </a:cubicBezTo>
                    <a:cubicBezTo>
                      <a:pt x="294640" y="22225"/>
                      <a:pt x="290195" y="23495"/>
                      <a:pt x="286702" y="25717"/>
                    </a:cubicBezTo>
                    <a:moveTo>
                      <a:pt x="248920" y="78105"/>
                    </a:moveTo>
                    <a:lnTo>
                      <a:pt x="269875" y="23495"/>
                    </a:lnTo>
                    <a:lnTo>
                      <a:pt x="258445" y="23495"/>
                    </a:lnTo>
                    <a:lnTo>
                      <a:pt x="247015" y="55563"/>
                    </a:lnTo>
                    <a:cubicBezTo>
                      <a:pt x="246380" y="57785"/>
                      <a:pt x="245745" y="60007"/>
                      <a:pt x="244792" y="62547"/>
                    </a:cubicBezTo>
                    <a:cubicBezTo>
                      <a:pt x="243840" y="65088"/>
                      <a:pt x="243523" y="67310"/>
                      <a:pt x="243205" y="68897"/>
                    </a:cubicBezTo>
                    <a:lnTo>
                      <a:pt x="242888" y="68897"/>
                    </a:lnTo>
                    <a:cubicBezTo>
                      <a:pt x="242570" y="67310"/>
                      <a:pt x="242252" y="65088"/>
                      <a:pt x="241300" y="62547"/>
                    </a:cubicBezTo>
                    <a:cubicBezTo>
                      <a:pt x="240665" y="60007"/>
                      <a:pt x="239713" y="57467"/>
                      <a:pt x="239077" y="55563"/>
                    </a:cubicBezTo>
                    <a:lnTo>
                      <a:pt x="227648" y="23495"/>
                    </a:lnTo>
                    <a:lnTo>
                      <a:pt x="216217" y="23495"/>
                    </a:lnTo>
                    <a:lnTo>
                      <a:pt x="236855" y="78105"/>
                    </a:lnTo>
                    <a:lnTo>
                      <a:pt x="248920" y="78105"/>
                    </a:lnTo>
                    <a:close/>
                    <a:moveTo>
                      <a:pt x="199390" y="34607"/>
                    </a:moveTo>
                    <a:cubicBezTo>
                      <a:pt x="201295" y="37147"/>
                      <a:pt x="202565" y="40640"/>
                      <a:pt x="202565" y="45085"/>
                    </a:cubicBezTo>
                    <a:lnTo>
                      <a:pt x="176848" y="45085"/>
                    </a:lnTo>
                    <a:cubicBezTo>
                      <a:pt x="177165" y="40322"/>
                      <a:pt x="178752" y="36830"/>
                      <a:pt x="180975" y="34290"/>
                    </a:cubicBezTo>
                    <a:cubicBezTo>
                      <a:pt x="183198" y="31750"/>
                      <a:pt x="186373" y="30480"/>
                      <a:pt x="190183" y="30480"/>
                    </a:cubicBezTo>
                    <a:cubicBezTo>
                      <a:pt x="194310" y="30480"/>
                      <a:pt x="197485" y="31750"/>
                      <a:pt x="199390" y="34607"/>
                    </a:cubicBezTo>
                    <a:moveTo>
                      <a:pt x="177165" y="25717"/>
                    </a:moveTo>
                    <a:cubicBezTo>
                      <a:pt x="173355" y="27940"/>
                      <a:pt x="170498" y="31115"/>
                      <a:pt x="168592" y="35560"/>
                    </a:cubicBezTo>
                    <a:cubicBezTo>
                      <a:pt x="166370" y="39688"/>
                      <a:pt x="165417" y="45085"/>
                      <a:pt x="165417" y="51117"/>
                    </a:cubicBezTo>
                    <a:cubicBezTo>
                      <a:pt x="165417" y="57150"/>
                      <a:pt x="166688" y="62547"/>
                      <a:pt x="168910" y="66675"/>
                    </a:cubicBezTo>
                    <a:cubicBezTo>
                      <a:pt x="171133" y="70802"/>
                      <a:pt x="174308" y="73977"/>
                      <a:pt x="178435" y="75882"/>
                    </a:cubicBezTo>
                    <a:cubicBezTo>
                      <a:pt x="182563" y="78105"/>
                      <a:pt x="187325" y="79057"/>
                      <a:pt x="192405" y="79057"/>
                    </a:cubicBezTo>
                    <a:cubicBezTo>
                      <a:pt x="196215" y="79057"/>
                      <a:pt x="199708" y="78740"/>
                      <a:pt x="202248" y="78105"/>
                    </a:cubicBezTo>
                    <a:cubicBezTo>
                      <a:pt x="205105" y="77470"/>
                      <a:pt x="207645" y="76517"/>
                      <a:pt x="210502" y="75247"/>
                    </a:cubicBezTo>
                    <a:lnTo>
                      <a:pt x="210502" y="66357"/>
                    </a:lnTo>
                    <a:cubicBezTo>
                      <a:pt x="207645" y="67627"/>
                      <a:pt x="204788" y="68580"/>
                      <a:pt x="201930" y="69215"/>
                    </a:cubicBezTo>
                    <a:cubicBezTo>
                      <a:pt x="199073" y="69850"/>
                      <a:pt x="195898" y="70167"/>
                      <a:pt x="192405" y="70167"/>
                    </a:cubicBezTo>
                    <a:cubicBezTo>
                      <a:pt x="187325" y="70167"/>
                      <a:pt x="183515" y="68580"/>
                      <a:pt x="180658" y="65722"/>
                    </a:cubicBezTo>
                    <a:cubicBezTo>
                      <a:pt x="177800" y="62865"/>
                      <a:pt x="176213" y="58420"/>
                      <a:pt x="176213" y="52705"/>
                    </a:cubicBezTo>
                    <a:lnTo>
                      <a:pt x="213042" y="52705"/>
                    </a:lnTo>
                    <a:lnTo>
                      <a:pt x="213042" y="46672"/>
                    </a:lnTo>
                    <a:cubicBezTo>
                      <a:pt x="213042" y="39052"/>
                      <a:pt x="210820" y="33020"/>
                      <a:pt x="206692" y="28575"/>
                    </a:cubicBezTo>
                    <a:cubicBezTo>
                      <a:pt x="202565" y="24130"/>
                      <a:pt x="196850" y="21907"/>
                      <a:pt x="189865" y="21907"/>
                    </a:cubicBezTo>
                    <a:cubicBezTo>
                      <a:pt x="185102" y="22225"/>
                      <a:pt x="180658" y="23495"/>
                      <a:pt x="177165" y="25717"/>
                    </a:cubicBezTo>
                    <a:moveTo>
                      <a:pt x="151765" y="952"/>
                    </a:moveTo>
                    <a:lnTo>
                      <a:pt x="140970" y="952"/>
                    </a:lnTo>
                    <a:lnTo>
                      <a:pt x="140970" y="78105"/>
                    </a:lnTo>
                    <a:lnTo>
                      <a:pt x="151765" y="78105"/>
                    </a:lnTo>
                    <a:lnTo>
                      <a:pt x="151765" y="952"/>
                    </a:lnTo>
                    <a:close/>
                    <a:moveTo>
                      <a:pt x="74613" y="78105"/>
                    </a:moveTo>
                    <a:lnTo>
                      <a:pt x="72390" y="84138"/>
                    </a:lnTo>
                    <a:cubicBezTo>
                      <a:pt x="71438" y="86995"/>
                      <a:pt x="69850" y="89535"/>
                      <a:pt x="67945" y="91122"/>
                    </a:cubicBezTo>
                    <a:cubicBezTo>
                      <a:pt x="66040" y="93027"/>
                      <a:pt x="63500" y="93663"/>
                      <a:pt x="60325" y="93663"/>
                    </a:cubicBezTo>
                    <a:cubicBezTo>
                      <a:pt x="59055" y="93663"/>
                      <a:pt x="58102" y="93663"/>
                      <a:pt x="56833" y="93345"/>
                    </a:cubicBezTo>
                    <a:cubicBezTo>
                      <a:pt x="55880" y="93345"/>
                      <a:pt x="54927" y="93027"/>
                      <a:pt x="54292" y="93027"/>
                    </a:cubicBezTo>
                    <a:lnTo>
                      <a:pt x="54292" y="101600"/>
                    </a:lnTo>
                    <a:cubicBezTo>
                      <a:pt x="55245" y="101917"/>
                      <a:pt x="56198" y="101917"/>
                      <a:pt x="57467" y="102235"/>
                    </a:cubicBezTo>
                    <a:cubicBezTo>
                      <a:pt x="58738" y="102552"/>
                      <a:pt x="60008" y="102552"/>
                      <a:pt x="61913" y="102552"/>
                    </a:cubicBezTo>
                    <a:cubicBezTo>
                      <a:pt x="67310" y="102552"/>
                      <a:pt x="71438" y="100965"/>
                      <a:pt x="74613" y="98107"/>
                    </a:cubicBezTo>
                    <a:cubicBezTo>
                      <a:pt x="77788" y="95250"/>
                      <a:pt x="80645" y="90805"/>
                      <a:pt x="82550" y="85725"/>
                    </a:cubicBezTo>
                    <a:lnTo>
                      <a:pt x="106045" y="23495"/>
                    </a:lnTo>
                    <a:lnTo>
                      <a:pt x="94615" y="23495"/>
                    </a:lnTo>
                    <a:lnTo>
                      <a:pt x="83820" y="54610"/>
                    </a:lnTo>
                    <a:cubicBezTo>
                      <a:pt x="82867" y="57150"/>
                      <a:pt x="82233" y="59372"/>
                      <a:pt x="81280" y="61913"/>
                    </a:cubicBezTo>
                    <a:cubicBezTo>
                      <a:pt x="80327" y="64452"/>
                      <a:pt x="80010" y="66357"/>
                      <a:pt x="79692" y="68263"/>
                    </a:cubicBezTo>
                    <a:lnTo>
                      <a:pt x="79375" y="68263"/>
                    </a:lnTo>
                    <a:cubicBezTo>
                      <a:pt x="79058" y="66040"/>
                      <a:pt x="78740" y="63817"/>
                      <a:pt x="78105" y="61913"/>
                    </a:cubicBezTo>
                    <a:cubicBezTo>
                      <a:pt x="77470" y="59690"/>
                      <a:pt x="76517" y="57467"/>
                      <a:pt x="75883" y="55245"/>
                    </a:cubicBezTo>
                    <a:lnTo>
                      <a:pt x="64452" y="24130"/>
                    </a:lnTo>
                    <a:lnTo>
                      <a:pt x="53023" y="24130"/>
                    </a:lnTo>
                    <a:lnTo>
                      <a:pt x="74613" y="78105"/>
                    </a:lnTo>
                    <a:close/>
                    <a:moveTo>
                      <a:pt x="38100" y="50482"/>
                    </a:moveTo>
                    <a:cubicBezTo>
                      <a:pt x="38100" y="56832"/>
                      <a:pt x="37148" y="61595"/>
                      <a:pt x="34925" y="65088"/>
                    </a:cubicBezTo>
                    <a:cubicBezTo>
                      <a:pt x="32702" y="68580"/>
                      <a:pt x="29527" y="70167"/>
                      <a:pt x="25083" y="70167"/>
                    </a:cubicBezTo>
                    <a:cubicBezTo>
                      <a:pt x="19685" y="70167"/>
                      <a:pt x="15875" y="68580"/>
                      <a:pt x="13970" y="65088"/>
                    </a:cubicBezTo>
                    <a:cubicBezTo>
                      <a:pt x="12065" y="61595"/>
                      <a:pt x="11113" y="56832"/>
                      <a:pt x="11113" y="50482"/>
                    </a:cubicBezTo>
                    <a:lnTo>
                      <a:pt x="11113" y="49530"/>
                    </a:lnTo>
                    <a:cubicBezTo>
                      <a:pt x="11113" y="43180"/>
                      <a:pt x="12383" y="38417"/>
                      <a:pt x="14288" y="35242"/>
                    </a:cubicBezTo>
                    <a:cubicBezTo>
                      <a:pt x="16192" y="32067"/>
                      <a:pt x="20002" y="30480"/>
                      <a:pt x="25083" y="30480"/>
                    </a:cubicBezTo>
                    <a:cubicBezTo>
                      <a:pt x="33655" y="31115"/>
                      <a:pt x="38100" y="37465"/>
                      <a:pt x="38100" y="50482"/>
                    </a:cubicBezTo>
                    <a:moveTo>
                      <a:pt x="0" y="952"/>
                    </a:moveTo>
                    <a:lnTo>
                      <a:pt x="0" y="78105"/>
                    </a:lnTo>
                    <a:lnTo>
                      <a:pt x="7938" y="78105"/>
                    </a:lnTo>
                    <a:lnTo>
                      <a:pt x="9842" y="71438"/>
                    </a:lnTo>
                    <a:lnTo>
                      <a:pt x="10795" y="71438"/>
                    </a:lnTo>
                    <a:cubicBezTo>
                      <a:pt x="12383" y="73660"/>
                      <a:pt x="14288" y="75247"/>
                      <a:pt x="17145" y="76835"/>
                    </a:cubicBezTo>
                    <a:cubicBezTo>
                      <a:pt x="19685" y="78422"/>
                      <a:pt x="23177" y="79057"/>
                      <a:pt x="27305" y="79057"/>
                    </a:cubicBezTo>
                    <a:cubicBezTo>
                      <a:pt x="33973" y="79057"/>
                      <a:pt x="39052" y="76517"/>
                      <a:pt x="43180" y="71755"/>
                    </a:cubicBezTo>
                    <a:cubicBezTo>
                      <a:pt x="47308" y="66992"/>
                      <a:pt x="49213" y="60007"/>
                      <a:pt x="49213" y="50482"/>
                    </a:cubicBezTo>
                    <a:cubicBezTo>
                      <a:pt x="49213" y="41275"/>
                      <a:pt x="47308" y="33972"/>
                      <a:pt x="43180" y="29210"/>
                    </a:cubicBezTo>
                    <a:cubicBezTo>
                      <a:pt x="39052" y="24447"/>
                      <a:pt x="33973" y="22225"/>
                      <a:pt x="27305" y="22225"/>
                    </a:cubicBezTo>
                    <a:cubicBezTo>
                      <a:pt x="23177" y="22225"/>
                      <a:pt x="19685" y="22860"/>
                      <a:pt x="17145" y="24447"/>
                    </a:cubicBezTo>
                    <a:cubicBezTo>
                      <a:pt x="14605" y="26035"/>
                      <a:pt x="12383" y="27940"/>
                      <a:pt x="10795" y="30163"/>
                    </a:cubicBezTo>
                    <a:lnTo>
                      <a:pt x="10160" y="30163"/>
                    </a:lnTo>
                    <a:cubicBezTo>
                      <a:pt x="10160" y="29210"/>
                      <a:pt x="10477" y="27622"/>
                      <a:pt x="10477" y="25400"/>
                    </a:cubicBezTo>
                    <a:cubicBezTo>
                      <a:pt x="10477" y="23177"/>
                      <a:pt x="10477" y="21272"/>
                      <a:pt x="10477" y="19050"/>
                    </a:cubicBezTo>
                    <a:lnTo>
                      <a:pt x="10477" y="317"/>
                    </a:lnTo>
                    <a:lnTo>
                      <a:pt x="0" y="317"/>
                    </a:lnTo>
                    <a:close/>
                  </a:path>
                </a:pathLst>
              </a:custGeom>
              <a:grpFill/>
              <a:ln w="3175" cap="flat">
                <a:noFill/>
                <a:prstDash val="solid"/>
                <a:miter/>
              </a:ln>
            </p:spPr>
            <p:txBody>
              <a:bodyPr rtlCol="0" anchor="ctr"/>
              <a:lstStyle/>
              <a:p>
                <a:endParaRPr lang="en-GB">
                  <a:solidFill>
                    <a:srgbClr val="000000"/>
                  </a:solidFill>
                  <a:latin typeface="Verdana"/>
                </a:endParaRPr>
              </a:p>
            </p:txBody>
          </p:sp>
          <p:sp>
            <p:nvSpPr>
              <p:cNvPr id="47" name="Freeform: Shape 46">
                <a:extLst>
                  <a:ext uri="{FF2B5EF4-FFF2-40B4-BE49-F238E27FC236}">
                    <a16:creationId xmlns:a16="http://schemas.microsoft.com/office/drawing/2014/main" id="{B1FFAD8B-A96B-4A99-8B04-FD222C7205AD}"/>
                  </a:ext>
                </a:extLst>
              </p:cNvPr>
              <p:cNvSpPr/>
              <p:nvPr/>
            </p:nvSpPr>
            <p:spPr>
              <a:xfrm>
                <a:off x="1789113" y="3300730"/>
                <a:ext cx="1257300" cy="101600"/>
              </a:xfrm>
              <a:custGeom>
                <a:avLst/>
                <a:gdLst>
                  <a:gd name="connsiteX0" fmla="*/ 1230313 w 1257300"/>
                  <a:gd name="connsiteY0" fmla="*/ 22860 h 101600"/>
                  <a:gd name="connsiteX1" fmla="*/ 1223010 w 1257300"/>
                  <a:gd name="connsiteY1" fmla="*/ 29210 h 101600"/>
                  <a:gd name="connsiteX2" fmla="*/ 1222058 w 1257300"/>
                  <a:gd name="connsiteY2" fmla="*/ 29210 h 101600"/>
                  <a:gd name="connsiteX3" fmla="*/ 1220153 w 1257300"/>
                  <a:gd name="connsiteY3" fmla="*/ 22225 h 101600"/>
                  <a:gd name="connsiteX4" fmla="*/ 1208723 w 1257300"/>
                  <a:gd name="connsiteY4" fmla="*/ 22225 h 101600"/>
                  <a:gd name="connsiteX5" fmla="*/ 1208723 w 1257300"/>
                  <a:gd name="connsiteY5" fmla="*/ 77788 h 101600"/>
                  <a:gd name="connsiteX6" fmla="*/ 1223963 w 1257300"/>
                  <a:gd name="connsiteY6" fmla="*/ 77788 h 101600"/>
                  <a:gd name="connsiteX7" fmla="*/ 1223963 w 1257300"/>
                  <a:gd name="connsiteY7" fmla="*/ 51753 h 101600"/>
                  <a:gd name="connsiteX8" fmla="*/ 1226503 w 1257300"/>
                  <a:gd name="connsiteY8" fmla="*/ 38100 h 101600"/>
                  <a:gd name="connsiteX9" fmla="*/ 1236028 w 1257300"/>
                  <a:gd name="connsiteY9" fmla="*/ 33338 h 101600"/>
                  <a:gd name="connsiteX10" fmla="*/ 1242695 w 1257300"/>
                  <a:gd name="connsiteY10" fmla="*/ 36195 h 101600"/>
                  <a:gd name="connsiteX11" fmla="*/ 1244917 w 1257300"/>
                  <a:gd name="connsiteY11" fmla="*/ 45085 h 101600"/>
                  <a:gd name="connsiteX12" fmla="*/ 1244917 w 1257300"/>
                  <a:gd name="connsiteY12" fmla="*/ 77470 h 101600"/>
                  <a:gd name="connsiteX13" fmla="*/ 1260158 w 1257300"/>
                  <a:gd name="connsiteY13" fmla="*/ 77470 h 101600"/>
                  <a:gd name="connsiteX14" fmla="*/ 1260158 w 1257300"/>
                  <a:gd name="connsiteY14" fmla="*/ 41275 h 101600"/>
                  <a:gd name="connsiteX15" fmla="*/ 1254760 w 1257300"/>
                  <a:gd name="connsiteY15" fmla="*/ 25717 h 101600"/>
                  <a:gd name="connsiteX16" fmla="*/ 1240473 w 1257300"/>
                  <a:gd name="connsiteY16" fmla="*/ 20955 h 101600"/>
                  <a:gd name="connsiteX17" fmla="*/ 1230313 w 1257300"/>
                  <a:gd name="connsiteY17" fmla="*/ 22860 h 101600"/>
                  <a:gd name="connsiteX18" fmla="*/ 1160463 w 1257300"/>
                  <a:gd name="connsiteY18" fmla="*/ 37148 h 101600"/>
                  <a:gd name="connsiteX19" fmla="*/ 1169035 w 1257300"/>
                  <a:gd name="connsiteY19" fmla="*/ 33020 h 101600"/>
                  <a:gd name="connsiteX20" fmla="*/ 1177925 w 1257300"/>
                  <a:gd name="connsiteY20" fmla="*/ 37148 h 101600"/>
                  <a:gd name="connsiteX21" fmla="*/ 1180465 w 1257300"/>
                  <a:gd name="connsiteY21" fmla="*/ 49530 h 101600"/>
                  <a:gd name="connsiteX22" fmla="*/ 1177925 w 1257300"/>
                  <a:gd name="connsiteY22" fmla="*/ 61913 h 101600"/>
                  <a:gd name="connsiteX23" fmla="*/ 1169353 w 1257300"/>
                  <a:gd name="connsiteY23" fmla="*/ 66040 h 101600"/>
                  <a:gd name="connsiteX24" fmla="*/ 1160463 w 1257300"/>
                  <a:gd name="connsiteY24" fmla="*/ 61913 h 101600"/>
                  <a:gd name="connsiteX25" fmla="*/ 1157923 w 1257300"/>
                  <a:gd name="connsiteY25" fmla="*/ 49530 h 101600"/>
                  <a:gd name="connsiteX26" fmla="*/ 1160463 w 1257300"/>
                  <a:gd name="connsiteY26" fmla="*/ 37148 h 101600"/>
                  <a:gd name="connsiteX27" fmla="*/ 1192848 w 1257300"/>
                  <a:gd name="connsiteY27" fmla="*/ 33973 h 101600"/>
                  <a:gd name="connsiteX28" fmla="*/ 1183323 w 1257300"/>
                  <a:gd name="connsiteY28" fmla="*/ 24130 h 101600"/>
                  <a:gd name="connsiteX29" fmla="*/ 1169353 w 1257300"/>
                  <a:gd name="connsiteY29" fmla="*/ 20638 h 101600"/>
                  <a:gd name="connsiteX30" fmla="*/ 1149667 w 1257300"/>
                  <a:gd name="connsiteY30" fmla="*/ 27940 h 101600"/>
                  <a:gd name="connsiteX31" fmla="*/ 1142365 w 1257300"/>
                  <a:gd name="connsiteY31" fmla="*/ 49213 h 101600"/>
                  <a:gd name="connsiteX32" fmla="*/ 1145858 w 1257300"/>
                  <a:gd name="connsiteY32" fmla="*/ 64770 h 101600"/>
                  <a:gd name="connsiteX33" fmla="*/ 1155383 w 1257300"/>
                  <a:gd name="connsiteY33" fmla="*/ 74613 h 101600"/>
                  <a:gd name="connsiteX34" fmla="*/ 1169035 w 1257300"/>
                  <a:gd name="connsiteY34" fmla="*/ 78105 h 101600"/>
                  <a:gd name="connsiteX35" fmla="*/ 1188720 w 1257300"/>
                  <a:gd name="connsiteY35" fmla="*/ 70485 h 101600"/>
                  <a:gd name="connsiteX36" fmla="*/ 1196023 w 1257300"/>
                  <a:gd name="connsiteY36" fmla="*/ 49213 h 101600"/>
                  <a:gd name="connsiteX37" fmla="*/ 1192848 w 1257300"/>
                  <a:gd name="connsiteY37" fmla="*/ 33973 h 101600"/>
                  <a:gd name="connsiteX38" fmla="*/ 1114742 w 1257300"/>
                  <a:gd name="connsiteY38" fmla="*/ 77470 h 101600"/>
                  <a:gd name="connsiteX39" fmla="*/ 1129983 w 1257300"/>
                  <a:gd name="connsiteY39" fmla="*/ 77470 h 101600"/>
                  <a:gd name="connsiteX40" fmla="*/ 1129983 w 1257300"/>
                  <a:gd name="connsiteY40" fmla="*/ 21908 h 101600"/>
                  <a:gd name="connsiteX41" fmla="*/ 1114742 w 1257300"/>
                  <a:gd name="connsiteY41" fmla="*/ 21908 h 101600"/>
                  <a:gd name="connsiteX42" fmla="*/ 1114742 w 1257300"/>
                  <a:gd name="connsiteY42" fmla="*/ 77470 h 101600"/>
                  <a:gd name="connsiteX43" fmla="*/ 1116648 w 1257300"/>
                  <a:gd name="connsiteY43" fmla="*/ 1588 h 101600"/>
                  <a:gd name="connsiteX44" fmla="*/ 1114108 w 1257300"/>
                  <a:gd name="connsiteY44" fmla="*/ 7303 h 101600"/>
                  <a:gd name="connsiteX45" fmla="*/ 1116648 w 1257300"/>
                  <a:gd name="connsiteY45" fmla="*/ 13017 h 101600"/>
                  <a:gd name="connsiteX46" fmla="*/ 1122363 w 1257300"/>
                  <a:gd name="connsiteY46" fmla="*/ 14605 h 101600"/>
                  <a:gd name="connsiteX47" fmla="*/ 1128078 w 1257300"/>
                  <a:gd name="connsiteY47" fmla="*/ 13017 h 101600"/>
                  <a:gd name="connsiteX48" fmla="*/ 1130617 w 1257300"/>
                  <a:gd name="connsiteY48" fmla="*/ 7303 h 101600"/>
                  <a:gd name="connsiteX49" fmla="*/ 1128078 w 1257300"/>
                  <a:gd name="connsiteY49" fmla="*/ 1588 h 101600"/>
                  <a:gd name="connsiteX50" fmla="*/ 1122363 w 1257300"/>
                  <a:gd name="connsiteY50" fmla="*/ 0 h 101600"/>
                  <a:gd name="connsiteX51" fmla="*/ 1116648 w 1257300"/>
                  <a:gd name="connsiteY51" fmla="*/ 1588 h 101600"/>
                  <a:gd name="connsiteX52" fmla="*/ 1089342 w 1257300"/>
                  <a:gd name="connsiteY52" fmla="*/ 64770 h 101600"/>
                  <a:gd name="connsiteX53" fmla="*/ 1087438 w 1257300"/>
                  <a:gd name="connsiteY53" fmla="*/ 60008 h 101600"/>
                  <a:gd name="connsiteX54" fmla="*/ 1087438 w 1257300"/>
                  <a:gd name="connsiteY54" fmla="*/ 33338 h 101600"/>
                  <a:gd name="connsiteX55" fmla="*/ 1102995 w 1257300"/>
                  <a:gd name="connsiteY55" fmla="*/ 33338 h 101600"/>
                  <a:gd name="connsiteX56" fmla="*/ 1102995 w 1257300"/>
                  <a:gd name="connsiteY56" fmla="*/ 21908 h 101600"/>
                  <a:gd name="connsiteX57" fmla="*/ 1087438 w 1257300"/>
                  <a:gd name="connsiteY57" fmla="*/ 21908 h 101600"/>
                  <a:gd name="connsiteX58" fmla="*/ 1087438 w 1257300"/>
                  <a:gd name="connsiteY58" fmla="*/ 10160 h 101600"/>
                  <a:gd name="connsiteX59" fmla="*/ 1077913 w 1257300"/>
                  <a:gd name="connsiteY59" fmla="*/ 10160 h 101600"/>
                  <a:gd name="connsiteX60" fmla="*/ 1073467 w 1257300"/>
                  <a:gd name="connsiteY60" fmla="*/ 21908 h 101600"/>
                  <a:gd name="connsiteX61" fmla="*/ 1065213 w 1257300"/>
                  <a:gd name="connsiteY61" fmla="*/ 26988 h 101600"/>
                  <a:gd name="connsiteX62" fmla="*/ 1065213 w 1257300"/>
                  <a:gd name="connsiteY62" fmla="*/ 33338 h 101600"/>
                  <a:gd name="connsiteX63" fmla="*/ 1072515 w 1257300"/>
                  <a:gd name="connsiteY63" fmla="*/ 33338 h 101600"/>
                  <a:gd name="connsiteX64" fmla="*/ 1072515 w 1257300"/>
                  <a:gd name="connsiteY64" fmla="*/ 60008 h 101600"/>
                  <a:gd name="connsiteX65" fmla="*/ 1074738 w 1257300"/>
                  <a:gd name="connsiteY65" fmla="*/ 71120 h 101600"/>
                  <a:gd name="connsiteX66" fmla="*/ 1081088 w 1257300"/>
                  <a:gd name="connsiteY66" fmla="*/ 76835 h 101600"/>
                  <a:gd name="connsiteX67" fmla="*/ 1089978 w 1257300"/>
                  <a:gd name="connsiteY67" fmla="*/ 78423 h 101600"/>
                  <a:gd name="connsiteX68" fmla="*/ 1097915 w 1257300"/>
                  <a:gd name="connsiteY68" fmla="*/ 77788 h 101600"/>
                  <a:gd name="connsiteX69" fmla="*/ 1103948 w 1257300"/>
                  <a:gd name="connsiteY69" fmla="*/ 75883 h 101600"/>
                  <a:gd name="connsiteX70" fmla="*/ 1103948 w 1257300"/>
                  <a:gd name="connsiteY70" fmla="*/ 64453 h 101600"/>
                  <a:gd name="connsiteX71" fmla="*/ 1099185 w 1257300"/>
                  <a:gd name="connsiteY71" fmla="*/ 65723 h 101600"/>
                  <a:gd name="connsiteX72" fmla="*/ 1094423 w 1257300"/>
                  <a:gd name="connsiteY72" fmla="*/ 66040 h 101600"/>
                  <a:gd name="connsiteX73" fmla="*/ 1089342 w 1257300"/>
                  <a:gd name="connsiteY73" fmla="*/ 64770 h 101600"/>
                  <a:gd name="connsiteX74" fmla="*/ 1039813 w 1257300"/>
                  <a:gd name="connsiteY74" fmla="*/ 77470 h 101600"/>
                  <a:gd name="connsiteX75" fmla="*/ 1055053 w 1257300"/>
                  <a:gd name="connsiteY75" fmla="*/ 77470 h 101600"/>
                  <a:gd name="connsiteX76" fmla="*/ 1055053 w 1257300"/>
                  <a:gd name="connsiteY76" fmla="*/ 21908 h 101600"/>
                  <a:gd name="connsiteX77" fmla="*/ 1039813 w 1257300"/>
                  <a:gd name="connsiteY77" fmla="*/ 21908 h 101600"/>
                  <a:gd name="connsiteX78" fmla="*/ 1039813 w 1257300"/>
                  <a:gd name="connsiteY78" fmla="*/ 77470 h 101600"/>
                  <a:gd name="connsiteX79" fmla="*/ 1041400 w 1257300"/>
                  <a:gd name="connsiteY79" fmla="*/ 1588 h 101600"/>
                  <a:gd name="connsiteX80" fmla="*/ 1038860 w 1257300"/>
                  <a:gd name="connsiteY80" fmla="*/ 7303 h 101600"/>
                  <a:gd name="connsiteX81" fmla="*/ 1041400 w 1257300"/>
                  <a:gd name="connsiteY81" fmla="*/ 13017 h 101600"/>
                  <a:gd name="connsiteX82" fmla="*/ 1047115 w 1257300"/>
                  <a:gd name="connsiteY82" fmla="*/ 14605 h 101600"/>
                  <a:gd name="connsiteX83" fmla="*/ 1052830 w 1257300"/>
                  <a:gd name="connsiteY83" fmla="*/ 13017 h 101600"/>
                  <a:gd name="connsiteX84" fmla="*/ 1055370 w 1257300"/>
                  <a:gd name="connsiteY84" fmla="*/ 7303 h 101600"/>
                  <a:gd name="connsiteX85" fmla="*/ 1052830 w 1257300"/>
                  <a:gd name="connsiteY85" fmla="*/ 1588 h 101600"/>
                  <a:gd name="connsiteX86" fmla="*/ 1047115 w 1257300"/>
                  <a:gd name="connsiteY86" fmla="*/ 0 h 101600"/>
                  <a:gd name="connsiteX87" fmla="*/ 1041400 w 1257300"/>
                  <a:gd name="connsiteY87" fmla="*/ 1588 h 101600"/>
                  <a:gd name="connsiteX88" fmla="*/ 1026160 w 1257300"/>
                  <a:gd name="connsiteY88" fmla="*/ 53023 h 101600"/>
                  <a:gd name="connsiteX89" fmla="*/ 1020763 w 1257300"/>
                  <a:gd name="connsiteY89" fmla="*/ 47942 h 101600"/>
                  <a:gd name="connsiteX90" fmla="*/ 1012508 w 1257300"/>
                  <a:gd name="connsiteY90" fmla="*/ 43815 h 101600"/>
                  <a:gd name="connsiteX91" fmla="*/ 1005205 w 1257300"/>
                  <a:gd name="connsiteY91" fmla="*/ 40640 h 101600"/>
                  <a:gd name="connsiteX92" fmla="*/ 1001713 w 1257300"/>
                  <a:gd name="connsiteY92" fmla="*/ 38417 h 101600"/>
                  <a:gd name="connsiteX93" fmla="*/ 1000760 w 1257300"/>
                  <a:gd name="connsiteY93" fmla="*/ 35878 h 101600"/>
                  <a:gd name="connsiteX94" fmla="*/ 1007427 w 1257300"/>
                  <a:gd name="connsiteY94" fmla="*/ 32067 h 101600"/>
                  <a:gd name="connsiteX95" fmla="*/ 1014730 w 1257300"/>
                  <a:gd name="connsiteY95" fmla="*/ 33338 h 101600"/>
                  <a:gd name="connsiteX96" fmla="*/ 1022350 w 1257300"/>
                  <a:gd name="connsiteY96" fmla="*/ 36195 h 101600"/>
                  <a:gd name="connsiteX97" fmla="*/ 1026795 w 1257300"/>
                  <a:gd name="connsiteY97" fmla="*/ 25400 h 101600"/>
                  <a:gd name="connsiteX98" fmla="*/ 1017270 w 1257300"/>
                  <a:gd name="connsiteY98" fmla="*/ 21908 h 101600"/>
                  <a:gd name="connsiteX99" fmla="*/ 1007427 w 1257300"/>
                  <a:gd name="connsiteY99" fmla="*/ 20955 h 101600"/>
                  <a:gd name="connsiteX100" fmla="*/ 991552 w 1257300"/>
                  <a:gd name="connsiteY100" fmla="*/ 24765 h 101600"/>
                  <a:gd name="connsiteX101" fmla="*/ 985520 w 1257300"/>
                  <a:gd name="connsiteY101" fmla="*/ 36195 h 101600"/>
                  <a:gd name="connsiteX102" fmla="*/ 987108 w 1257300"/>
                  <a:gd name="connsiteY102" fmla="*/ 43815 h 101600"/>
                  <a:gd name="connsiteX103" fmla="*/ 992188 w 1257300"/>
                  <a:gd name="connsiteY103" fmla="*/ 49213 h 101600"/>
                  <a:gd name="connsiteX104" fmla="*/ 1000760 w 1257300"/>
                  <a:gd name="connsiteY104" fmla="*/ 53658 h 101600"/>
                  <a:gd name="connsiteX105" fmla="*/ 1008698 w 1257300"/>
                  <a:gd name="connsiteY105" fmla="*/ 57467 h 101600"/>
                  <a:gd name="connsiteX106" fmla="*/ 1011873 w 1257300"/>
                  <a:gd name="connsiteY106" fmla="*/ 60008 h 101600"/>
                  <a:gd name="connsiteX107" fmla="*/ 1012508 w 1257300"/>
                  <a:gd name="connsiteY107" fmla="*/ 62548 h 101600"/>
                  <a:gd name="connsiteX108" fmla="*/ 1010602 w 1257300"/>
                  <a:gd name="connsiteY108" fmla="*/ 66040 h 101600"/>
                  <a:gd name="connsiteX109" fmla="*/ 1004252 w 1257300"/>
                  <a:gd name="connsiteY109" fmla="*/ 67310 h 101600"/>
                  <a:gd name="connsiteX110" fmla="*/ 995045 w 1257300"/>
                  <a:gd name="connsiteY110" fmla="*/ 66040 h 101600"/>
                  <a:gd name="connsiteX111" fmla="*/ 985520 w 1257300"/>
                  <a:gd name="connsiteY111" fmla="*/ 62548 h 101600"/>
                  <a:gd name="connsiteX112" fmla="*/ 985520 w 1257300"/>
                  <a:gd name="connsiteY112" fmla="*/ 74930 h 101600"/>
                  <a:gd name="connsiteX113" fmla="*/ 993775 w 1257300"/>
                  <a:gd name="connsiteY113" fmla="*/ 77470 h 101600"/>
                  <a:gd name="connsiteX114" fmla="*/ 1003617 w 1257300"/>
                  <a:gd name="connsiteY114" fmla="*/ 78105 h 101600"/>
                  <a:gd name="connsiteX115" fmla="*/ 1021398 w 1257300"/>
                  <a:gd name="connsiteY115" fmla="*/ 73660 h 101600"/>
                  <a:gd name="connsiteX116" fmla="*/ 1027430 w 1257300"/>
                  <a:gd name="connsiteY116" fmla="*/ 60642 h 101600"/>
                  <a:gd name="connsiteX117" fmla="*/ 1026160 w 1257300"/>
                  <a:gd name="connsiteY117" fmla="*/ 53023 h 101600"/>
                  <a:gd name="connsiteX118" fmla="*/ 941070 w 1257300"/>
                  <a:gd name="connsiteY118" fmla="*/ 37148 h 101600"/>
                  <a:gd name="connsiteX119" fmla="*/ 949642 w 1257300"/>
                  <a:gd name="connsiteY119" fmla="*/ 33020 h 101600"/>
                  <a:gd name="connsiteX120" fmla="*/ 958533 w 1257300"/>
                  <a:gd name="connsiteY120" fmla="*/ 37148 h 101600"/>
                  <a:gd name="connsiteX121" fmla="*/ 961073 w 1257300"/>
                  <a:gd name="connsiteY121" fmla="*/ 49530 h 101600"/>
                  <a:gd name="connsiteX122" fmla="*/ 958533 w 1257300"/>
                  <a:gd name="connsiteY122" fmla="*/ 61913 h 101600"/>
                  <a:gd name="connsiteX123" fmla="*/ 949960 w 1257300"/>
                  <a:gd name="connsiteY123" fmla="*/ 66040 h 101600"/>
                  <a:gd name="connsiteX124" fmla="*/ 941070 w 1257300"/>
                  <a:gd name="connsiteY124" fmla="*/ 61913 h 101600"/>
                  <a:gd name="connsiteX125" fmla="*/ 938530 w 1257300"/>
                  <a:gd name="connsiteY125" fmla="*/ 49530 h 101600"/>
                  <a:gd name="connsiteX126" fmla="*/ 941070 w 1257300"/>
                  <a:gd name="connsiteY126" fmla="*/ 37148 h 101600"/>
                  <a:gd name="connsiteX127" fmla="*/ 973138 w 1257300"/>
                  <a:gd name="connsiteY127" fmla="*/ 33973 h 101600"/>
                  <a:gd name="connsiteX128" fmla="*/ 963613 w 1257300"/>
                  <a:gd name="connsiteY128" fmla="*/ 24130 h 101600"/>
                  <a:gd name="connsiteX129" fmla="*/ 949642 w 1257300"/>
                  <a:gd name="connsiteY129" fmla="*/ 20638 h 101600"/>
                  <a:gd name="connsiteX130" fmla="*/ 929958 w 1257300"/>
                  <a:gd name="connsiteY130" fmla="*/ 27940 h 101600"/>
                  <a:gd name="connsiteX131" fmla="*/ 922655 w 1257300"/>
                  <a:gd name="connsiteY131" fmla="*/ 49213 h 101600"/>
                  <a:gd name="connsiteX132" fmla="*/ 926148 w 1257300"/>
                  <a:gd name="connsiteY132" fmla="*/ 64770 h 101600"/>
                  <a:gd name="connsiteX133" fmla="*/ 935673 w 1257300"/>
                  <a:gd name="connsiteY133" fmla="*/ 74613 h 101600"/>
                  <a:gd name="connsiteX134" fmla="*/ 949325 w 1257300"/>
                  <a:gd name="connsiteY134" fmla="*/ 78105 h 101600"/>
                  <a:gd name="connsiteX135" fmla="*/ 969010 w 1257300"/>
                  <a:gd name="connsiteY135" fmla="*/ 70485 h 101600"/>
                  <a:gd name="connsiteX136" fmla="*/ 976313 w 1257300"/>
                  <a:gd name="connsiteY136" fmla="*/ 49213 h 101600"/>
                  <a:gd name="connsiteX137" fmla="*/ 973138 w 1257300"/>
                  <a:gd name="connsiteY137" fmla="*/ 33973 h 101600"/>
                  <a:gd name="connsiteX138" fmla="*/ 898525 w 1257300"/>
                  <a:gd name="connsiteY138" fmla="*/ 49213 h 101600"/>
                  <a:gd name="connsiteX139" fmla="*/ 895985 w 1257300"/>
                  <a:gd name="connsiteY139" fmla="*/ 61595 h 101600"/>
                  <a:gd name="connsiteX140" fmla="*/ 888365 w 1257300"/>
                  <a:gd name="connsiteY140" fmla="*/ 66040 h 101600"/>
                  <a:gd name="connsiteX141" fmla="*/ 879792 w 1257300"/>
                  <a:gd name="connsiteY141" fmla="*/ 61595 h 101600"/>
                  <a:gd name="connsiteX142" fmla="*/ 877252 w 1257300"/>
                  <a:gd name="connsiteY142" fmla="*/ 49213 h 101600"/>
                  <a:gd name="connsiteX143" fmla="*/ 877252 w 1257300"/>
                  <a:gd name="connsiteY143" fmla="*/ 47625 h 101600"/>
                  <a:gd name="connsiteX144" fmla="*/ 879792 w 1257300"/>
                  <a:gd name="connsiteY144" fmla="*/ 36513 h 101600"/>
                  <a:gd name="connsiteX145" fmla="*/ 888048 w 1257300"/>
                  <a:gd name="connsiteY145" fmla="*/ 32703 h 101600"/>
                  <a:gd name="connsiteX146" fmla="*/ 898525 w 1257300"/>
                  <a:gd name="connsiteY146" fmla="*/ 49213 h 101600"/>
                  <a:gd name="connsiteX147" fmla="*/ 883285 w 1257300"/>
                  <a:gd name="connsiteY147" fmla="*/ 23178 h 101600"/>
                  <a:gd name="connsiteX148" fmla="*/ 877252 w 1257300"/>
                  <a:gd name="connsiteY148" fmla="*/ 28892 h 101600"/>
                  <a:gd name="connsiteX149" fmla="*/ 876617 w 1257300"/>
                  <a:gd name="connsiteY149" fmla="*/ 28892 h 101600"/>
                  <a:gd name="connsiteX150" fmla="*/ 874395 w 1257300"/>
                  <a:gd name="connsiteY150" fmla="*/ 21590 h 101600"/>
                  <a:gd name="connsiteX151" fmla="*/ 862013 w 1257300"/>
                  <a:gd name="connsiteY151" fmla="*/ 21590 h 101600"/>
                  <a:gd name="connsiteX152" fmla="*/ 862013 w 1257300"/>
                  <a:gd name="connsiteY152" fmla="*/ 101600 h 101600"/>
                  <a:gd name="connsiteX153" fmla="*/ 877252 w 1257300"/>
                  <a:gd name="connsiteY153" fmla="*/ 101600 h 101600"/>
                  <a:gd name="connsiteX154" fmla="*/ 877252 w 1257300"/>
                  <a:gd name="connsiteY154" fmla="*/ 79375 h 101600"/>
                  <a:gd name="connsiteX155" fmla="*/ 876300 w 1257300"/>
                  <a:gd name="connsiteY155" fmla="*/ 71120 h 101600"/>
                  <a:gd name="connsiteX156" fmla="*/ 877252 w 1257300"/>
                  <a:gd name="connsiteY156" fmla="*/ 71120 h 101600"/>
                  <a:gd name="connsiteX157" fmla="*/ 882967 w 1257300"/>
                  <a:gd name="connsiteY157" fmla="*/ 76200 h 101600"/>
                  <a:gd name="connsiteX158" fmla="*/ 892492 w 1257300"/>
                  <a:gd name="connsiteY158" fmla="*/ 78423 h 101600"/>
                  <a:gd name="connsiteX159" fmla="*/ 907733 w 1257300"/>
                  <a:gd name="connsiteY159" fmla="*/ 71120 h 101600"/>
                  <a:gd name="connsiteX160" fmla="*/ 913765 w 1257300"/>
                  <a:gd name="connsiteY160" fmla="*/ 49530 h 101600"/>
                  <a:gd name="connsiteX161" fmla="*/ 908050 w 1257300"/>
                  <a:gd name="connsiteY161" fmla="*/ 28258 h 101600"/>
                  <a:gd name="connsiteX162" fmla="*/ 892810 w 1257300"/>
                  <a:gd name="connsiteY162" fmla="*/ 20955 h 101600"/>
                  <a:gd name="connsiteX163" fmla="*/ 883285 w 1257300"/>
                  <a:gd name="connsiteY163" fmla="*/ 23178 h 101600"/>
                  <a:gd name="connsiteX164" fmla="*/ 802958 w 1257300"/>
                  <a:gd name="connsiteY164" fmla="*/ 37148 h 101600"/>
                  <a:gd name="connsiteX165" fmla="*/ 805815 w 1257300"/>
                  <a:gd name="connsiteY165" fmla="*/ 49848 h 101600"/>
                  <a:gd name="connsiteX166" fmla="*/ 805815 w 1257300"/>
                  <a:gd name="connsiteY166" fmla="*/ 51753 h 101600"/>
                  <a:gd name="connsiteX167" fmla="*/ 802958 w 1257300"/>
                  <a:gd name="connsiteY167" fmla="*/ 63183 h 101600"/>
                  <a:gd name="connsiteX168" fmla="*/ 794385 w 1257300"/>
                  <a:gd name="connsiteY168" fmla="*/ 66358 h 101600"/>
                  <a:gd name="connsiteX169" fmla="*/ 783590 w 1257300"/>
                  <a:gd name="connsiteY169" fmla="*/ 49848 h 101600"/>
                  <a:gd name="connsiteX170" fmla="*/ 794385 w 1257300"/>
                  <a:gd name="connsiteY170" fmla="*/ 33020 h 101600"/>
                  <a:gd name="connsiteX171" fmla="*/ 802958 w 1257300"/>
                  <a:gd name="connsiteY171" fmla="*/ 37148 h 101600"/>
                  <a:gd name="connsiteX172" fmla="*/ 773748 w 1257300"/>
                  <a:gd name="connsiteY172" fmla="*/ 28575 h 101600"/>
                  <a:gd name="connsiteX173" fmla="*/ 768033 w 1257300"/>
                  <a:gd name="connsiteY173" fmla="*/ 49848 h 101600"/>
                  <a:gd name="connsiteX174" fmla="*/ 773430 w 1257300"/>
                  <a:gd name="connsiteY174" fmla="*/ 70803 h 101600"/>
                  <a:gd name="connsiteX175" fmla="*/ 788670 w 1257300"/>
                  <a:gd name="connsiteY175" fmla="*/ 78423 h 101600"/>
                  <a:gd name="connsiteX176" fmla="*/ 797560 w 1257300"/>
                  <a:gd name="connsiteY176" fmla="*/ 76517 h 101600"/>
                  <a:gd name="connsiteX177" fmla="*/ 804227 w 1257300"/>
                  <a:gd name="connsiteY177" fmla="*/ 70167 h 101600"/>
                  <a:gd name="connsiteX178" fmla="*/ 804545 w 1257300"/>
                  <a:gd name="connsiteY178" fmla="*/ 70167 h 101600"/>
                  <a:gd name="connsiteX179" fmla="*/ 804227 w 1257300"/>
                  <a:gd name="connsiteY179" fmla="*/ 73342 h 101600"/>
                  <a:gd name="connsiteX180" fmla="*/ 804227 w 1257300"/>
                  <a:gd name="connsiteY180" fmla="*/ 76835 h 101600"/>
                  <a:gd name="connsiteX181" fmla="*/ 804227 w 1257300"/>
                  <a:gd name="connsiteY181" fmla="*/ 78105 h 101600"/>
                  <a:gd name="connsiteX182" fmla="*/ 792480 w 1257300"/>
                  <a:gd name="connsiteY182" fmla="*/ 90805 h 101600"/>
                  <a:gd name="connsiteX183" fmla="*/ 770890 w 1257300"/>
                  <a:gd name="connsiteY183" fmla="*/ 86678 h 101600"/>
                  <a:gd name="connsiteX184" fmla="*/ 770890 w 1257300"/>
                  <a:gd name="connsiteY184" fmla="*/ 98742 h 101600"/>
                  <a:gd name="connsiteX185" fmla="*/ 780733 w 1257300"/>
                  <a:gd name="connsiteY185" fmla="*/ 101283 h 101600"/>
                  <a:gd name="connsiteX186" fmla="*/ 791527 w 1257300"/>
                  <a:gd name="connsiteY186" fmla="*/ 101917 h 101600"/>
                  <a:gd name="connsiteX187" fmla="*/ 812165 w 1257300"/>
                  <a:gd name="connsiteY187" fmla="*/ 95567 h 101600"/>
                  <a:gd name="connsiteX188" fmla="*/ 819150 w 1257300"/>
                  <a:gd name="connsiteY188" fmla="*/ 77470 h 101600"/>
                  <a:gd name="connsiteX189" fmla="*/ 819150 w 1257300"/>
                  <a:gd name="connsiteY189" fmla="*/ 21908 h 101600"/>
                  <a:gd name="connsiteX190" fmla="*/ 806450 w 1257300"/>
                  <a:gd name="connsiteY190" fmla="*/ 21908 h 101600"/>
                  <a:gd name="connsiteX191" fmla="*/ 805180 w 1257300"/>
                  <a:gd name="connsiteY191" fmla="*/ 28892 h 101600"/>
                  <a:gd name="connsiteX192" fmla="*/ 804863 w 1257300"/>
                  <a:gd name="connsiteY192" fmla="*/ 28892 h 101600"/>
                  <a:gd name="connsiteX193" fmla="*/ 788670 w 1257300"/>
                  <a:gd name="connsiteY193" fmla="*/ 20638 h 101600"/>
                  <a:gd name="connsiteX194" fmla="*/ 773748 w 1257300"/>
                  <a:gd name="connsiteY194" fmla="*/ 28575 h 101600"/>
                  <a:gd name="connsiteX195" fmla="*/ 726123 w 1257300"/>
                  <a:gd name="connsiteY195" fmla="*/ 22860 h 101600"/>
                  <a:gd name="connsiteX196" fmla="*/ 718820 w 1257300"/>
                  <a:gd name="connsiteY196" fmla="*/ 29210 h 101600"/>
                  <a:gd name="connsiteX197" fmla="*/ 717867 w 1257300"/>
                  <a:gd name="connsiteY197" fmla="*/ 29210 h 101600"/>
                  <a:gd name="connsiteX198" fmla="*/ 715963 w 1257300"/>
                  <a:gd name="connsiteY198" fmla="*/ 22225 h 101600"/>
                  <a:gd name="connsiteX199" fmla="*/ 704533 w 1257300"/>
                  <a:gd name="connsiteY199" fmla="*/ 22225 h 101600"/>
                  <a:gd name="connsiteX200" fmla="*/ 704533 w 1257300"/>
                  <a:gd name="connsiteY200" fmla="*/ 77788 h 101600"/>
                  <a:gd name="connsiteX201" fmla="*/ 719773 w 1257300"/>
                  <a:gd name="connsiteY201" fmla="*/ 77788 h 101600"/>
                  <a:gd name="connsiteX202" fmla="*/ 719773 w 1257300"/>
                  <a:gd name="connsiteY202" fmla="*/ 51753 h 101600"/>
                  <a:gd name="connsiteX203" fmla="*/ 722313 w 1257300"/>
                  <a:gd name="connsiteY203" fmla="*/ 38100 h 101600"/>
                  <a:gd name="connsiteX204" fmla="*/ 731838 w 1257300"/>
                  <a:gd name="connsiteY204" fmla="*/ 33338 h 101600"/>
                  <a:gd name="connsiteX205" fmla="*/ 738505 w 1257300"/>
                  <a:gd name="connsiteY205" fmla="*/ 36195 h 101600"/>
                  <a:gd name="connsiteX206" fmla="*/ 740727 w 1257300"/>
                  <a:gd name="connsiteY206" fmla="*/ 45085 h 101600"/>
                  <a:gd name="connsiteX207" fmla="*/ 740727 w 1257300"/>
                  <a:gd name="connsiteY207" fmla="*/ 77470 h 101600"/>
                  <a:gd name="connsiteX208" fmla="*/ 755967 w 1257300"/>
                  <a:gd name="connsiteY208" fmla="*/ 77470 h 101600"/>
                  <a:gd name="connsiteX209" fmla="*/ 755967 w 1257300"/>
                  <a:gd name="connsiteY209" fmla="*/ 41275 h 101600"/>
                  <a:gd name="connsiteX210" fmla="*/ 750570 w 1257300"/>
                  <a:gd name="connsiteY210" fmla="*/ 25717 h 101600"/>
                  <a:gd name="connsiteX211" fmla="*/ 736283 w 1257300"/>
                  <a:gd name="connsiteY211" fmla="*/ 20955 h 101600"/>
                  <a:gd name="connsiteX212" fmla="*/ 726123 w 1257300"/>
                  <a:gd name="connsiteY212" fmla="*/ 22860 h 101600"/>
                  <a:gd name="connsiteX213" fmla="*/ 673417 w 1257300"/>
                  <a:gd name="connsiteY213" fmla="*/ 77470 h 101600"/>
                  <a:gd name="connsiteX214" fmla="*/ 688658 w 1257300"/>
                  <a:gd name="connsiteY214" fmla="*/ 77470 h 101600"/>
                  <a:gd name="connsiteX215" fmla="*/ 688658 w 1257300"/>
                  <a:gd name="connsiteY215" fmla="*/ 21908 h 101600"/>
                  <a:gd name="connsiteX216" fmla="*/ 673417 w 1257300"/>
                  <a:gd name="connsiteY216" fmla="*/ 21908 h 101600"/>
                  <a:gd name="connsiteX217" fmla="*/ 673417 w 1257300"/>
                  <a:gd name="connsiteY217" fmla="*/ 77470 h 101600"/>
                  <a:gd name="connsiteX218" fmla="*/ 675323 w 1257300"/>
                  <a:gd name="connsiteY218" fmla="*/ 1588 h 101600"/>
                  <a:gd name="connsiteX219" fmla="*/ 672783 w 1257300"/>
                  <a:gd name="connsiteY219" fmla="*/ 7303 h 101600"/>
                  <a:gd name="connsiteX220" fmla="*/ 675323 w 1257300"/>
                  <a:gd name="connsiteY220" fmla="*/ 13017 h 101600"/>
                  <a:gd name="connsiteX221" fmla="*/ 681038 w 1257300"/>
                  <a:gd name="connsiteY221" fmla="*/ 14605 h 101600"/>
                  <a:gd name="connsiteX222" fmla="*/ 686752 w 1257300"/>
                  <a:gd name="connsiteY222" fmla="*/ 13017 h 101600"/>
                  <a:gd name="connsiteX223" fmla="*/ 689292 w 1257300"/>
                  <a:gd name="connsiteY223" fmla="*/ 7303 h 101600"/>
                  <a:gd name="connsiteX224" fmla="*/ 686752 w 1257300"/>
                  <a:gd name="connsiteY224" fmla="*/ 1588 h 101600"/>
                  <a:gd name="connsiteX225" fmla="*/ 681038 w 1257300"/>
                  <a:gd name="connsiteY225" fmla="*/ 0 h 101600"/>
                  <a:gd name="connsiteX226" fmla="*/ 675323 w 1257300"/>
                  <a:gd name="connsiteY226" fmla="*/ 1588 h 101600"/>
                  <a:gd name="connsiteX227" fmla="*/ 624205 w 1257300"/>
                  <a:gd name="connsiteY227" fmla="*/ 62230 h 101600"/>
                  <a:gd name="connsiteX228" fmla="*/ 621348 w 1257300"/>
                  <a:gd name="connsiteY228" fmla="*/ 49848 h 101600"/>
                  <a:gd name="connsiteX229" fmla="*/ 624205 w 1257300"/>
                  <a:gd name="connsiteY229" fmla="*/ 37465 h 101600"/>
                  <a:gd name="connsiteX230" fmla="*/ 632142 w 1257300"/>
                  <a:gd name="connsiteY230" fmla="*/ 33020 h 101600"/>
                  <a:gd name="connsiteX231" fmla="*/ 641350 w 1257300"/>
                  <a:gd name="connsiteY231" fmla="*/ 37465 h 101600"/>
                  <a:gd name="connsiteX232" fmla="*/ 643890 w 1257300"/>
                  <a:gd name="connsiteY232" fmla="*/ 49848 h 101600"/>
                  <a:gd name="connsiteX233" fmla="*/ 643890 w 1257300"/>
                  <a:gd name="connsiteY233" fmla="*/ 51435 h 101600"/>
                  <a:gd name="connsiteX234" fmla="*/ 641033 w 1257300"/>
                  <a:gd name="connsiteY234" fmla="*/ 62548 h 101600"/>
                  <a:gd name="connsiteX235" fmla="*/ 632142 w 1257300"/>
                  <a:gd name="connsiteY235" fmla="*/ 66358 h 101600"/>
                  <a:gd name="connsiteX236" fmla="*/ 624205 w 1257300"/>
                  <a:gd name="connsiteY236" fmla="*/ 62230 h 101600"/>
                  <a:gd name="connsiteX237" fmla="*/ 636588 w 1257300"/>
                  <a:gd name="connsiteY237" fmla="*/ 75883 h 101600"/>
                  <a:gd name="connsiteX238" fmla="*/ 642620 w 1257300"/>
                  <a:gd name="connsiteY238" fmla="*/ 70167 h 101600"/>
                  <a:gd name="connsiteX239" fmla="*/ 643255 w 1257300"/>
                  <a:gd name="connsiteY239" fmla="*/ 70167 h 101600"/>
                  <a:gd name="connsiteX240" fmla="*/ 646113 w 1257300"/>
                  <a:gd name="connsiteY240" fmla="*/ 77470 h 101600"/>
                  <a:gd name="connsiteX241" fmla="*/ 657542 w 1257300"/>
                  <a:gd name="connsiteY241" fmla="*/ 77470 h 101600"/>
                  <a:gd name="connsiteX242" fmla="*/ 657542 w 1257300"/>
                  <a:gd name="connsiteY242" fmla="*/ 317 h 101600"/>
                  <a:gd name="connsiteX243" fmla="*/ 642302 w 1257300"/>
                  <a:gd name="connsiteY243" fmla="*/ 317 h 101600"/>
                  <a:gd name="connsiteX244" fmla="*/ 642302 w 1257300"/>
                  <a:gd name="connsiteY244" fmla="*/ 18098 h 101600"/>
                  <a:gd name="connsiteX245" fmla="*/ 642620 w 1257300"/>
                  <a:gd name="connsiteY245" fmla="*/ 24448 h 101600"/>
                  <a:gd name="connsiteX246" fmla="*/ 643255 w 1257300"/>
                  <a:gd name="connsiteY246" fmla="*/ 29210 h 101600"/>
                  <a:gd name="connsiteX247" fmla="*/ 642620 w 1257300"/>
                  <a:gd name="connsiteY247" fmla="*/ 29210 h 101600"/>
                  <a:gd name="connsiteX248" fmla="*/ 636588 w 1257300"/>
                  <a:gd name="connsiteY248" fmla="*/ 23495 h 101600"/>
                  <a:gd name="connsiteX249" fmla="*/ 626745 w 1257300"/>
                  <a:gd name="connsiteY249" fmla="*/ 21273 h 101600"/>
                  <a:gd name="connsiteX250" fmla="*/ 611188 w 1257300"/>
                  <a:gd name="connsiteY250" fmla="*/ 28575 h 101600"/>
                  <a:gd name="connsiteX251" fmla="*/ 605155 w 1257300"/>
                  <a:gd name="connsiteY251" fmla="*/ 50165 h 101600"/>
                  <a:gd name="connsiteX252" fmla="*/ 610870 w 1257300"/>
                  <a:gd name="connsiteY252" fmla="*/ 71438 h 101600"/>
                  <a:gd name="connsiteX253" fmla="*/ 626110 w 1257300"/>
                  <a:gd name="connsiteY253" fmla="*/ 78740 h 101600"/>
                  <a:gd name="connsiteX254" fmla="*/ 636588 w 1257300"/>
                  <a:gd name="connsiteY254" fmla="*/ 75883 h 101600"/>
                  <a:gd name="connsiteX255" fmla="*/ 578485 w 1257300"/>
                  <a:gd name="connsiteY255" fmla="*/ 56198 h 101600"/>
                  <a:gd name="connsiteX256" fmla="*/ 574992 w 1257300"/>
                  <a:gd name="connsiteY256" fmla="*/ 64453 h 101600"/>
                  <a:gd name="connsiteX257" fmla="*/ 566738 w 1257300"/>
                  <a:gd name="connsiteY257" fmla="*/ 67310 h 101600"/>
                  <a:gd name="connsiteX258" fmla="*/ 561340 w 1257300"/>
                  <a:gd name="connsiteY258" fmla="*/ 65723 h 101600"/>
                  <a:gd name="connsiteX259" fmla="*/ 559435 w 1257300"/>
                  <a:gd name="connsiteY259" fmla="*/ 60642 h 101600"/>
                  <a:gd name="connsiteX260" fmla="*/ 562292 w 1257300"/>
                  <a:gd name="connsiteY260" fmla="*/ 54292 h 101600"/>
                  <a:gd name="connsiteX261" fmla="*/ 572452 w 1257300"/>
                  <a:gd name="connsiteY261" fmla="*/ 51753 h 101600"/>
                  <a:gd name="connsiteX262" fmla="*/ 578485 w 1257300"/>
                  <a:gd name="connsiteY262" fmla="*/ 51435 h 101600"/>
                  <a:gd name="connsiteX263" fmla="*/ 578485 w 1257300"/>
                  <a:gd name="connsiteY263" fmla="*/ 56198 h 101600"/>
                  <a:gd name="connsiteX264" fmla="*/ 559117 w 1257300"/>
                  <a:gd name="connsiteY264" fmla="*/ 22225 h 101600"/>
                  <a:gd name="connsiteX265" fmla="*/ 549275 w 1257300"/>
                  <a:gd name="connsiteY265" fmla="*/ 25717 h 101600"/>
                  <a:gd name="connsiteX266" fmla="*/ 554355 w 1257300"/>
                  <a:gd name="connsiteY266" fmla="*/ 35878 h 101600"/>
                  <a:gd name="connsiteX267" fmla="*/ 561975 w 1257300"/>
                  <a:gd name="connsiteY267" fmla="*/ 33020 h 101600"/>
                  <a:gd name="connsiteX268" fmla="*/ 569913 w 1257300"/>
                  <a:gd name="connsiteY268" fmla="*/ 31750 h 101600"/>
                  <a:gd name="connsiteX269" fmla="*/ 576263 w 1257300"/>
                  <a:gd name="connsiteY269" fmla="*/ 33655 h 101600"/>
                  <a:gd name="connsiteX270" fmla="*/ 578485 w 1257300"/>
                  <a:gd name="connsiteY270" fmla="*/ 40005 h 101600"/>
                  <a:gd name="connsiteX271" fmla="*/ 578485 w 1257300"/>
                  <a:gd name="connsiteY271" fmla="*/ 42545 h 101600"/>
                  <a:gd name="connsiteX272" fmla="*/ 568960 w 1257300"/>
                  <a:gd name="connsiteY272" fmla="*/ 42863 h 101600"/>
                  <a:gd name="connsiteX273" fmla="*/ 550227 w 1257300"/>
                  <a:gd name="connsiteY273" fmla="*/ 47625 h 101600"/>
                  <a:gd name="connsiteX274" fmla="*/ 543877 w 1257300"/>
                  <a:gd name="connsiteY274" fmla="*/ 60642 h 101600"/>
                  <a:gd name="connsiteX275" fmla="*/ 548640 w 1257300"/>
                  <a:gd name="connsiteY275" fmla="*/ 73978 h 101600"/>
                  <a:gd name="connsiteX276" fmla="*/ 561023 w 1257300"/>
                  <a:gd name="connsiteY276" fmla="*/ 78105 h 101600"/>
                  <a:gd name="connsiteX277" fmla="*/ 571817 w 1257300"/>
                  <a:gd name="connsiteY277" fmla="*/ 76200 h 101600"/>
                  <a:gd name="connsiteX278" fmla="*/ 579438 w 1257300"/>
                  <a:gd name="connsiteY278" fmla="*/ 69850 h 101600"/>
                  <a:gd name="connsiteX279" fmla="*/ 579755 w 1257300"/>
                  <a:gd name="connsiteY279" fmla="*/ 69850 h 101600"/>
                  <a:gd name="connsiteX280" fmla="*/ 582613 w 1257300"/>
                  <a:gd name="connsiteY280" fmla="*/ 77470 h 101600"/>
                  <a:gd name="connsiteX281" fmla="*/ 593090 w 1257300"/>
                  <a:gd name="connsiteY281" fmla="*/ 77470 h 101600"/>
                  <a:gd name="connsiteX282" fmla="*/ 593090 w 1257300"/>
                  <a:gd name="connsiteY282" fmla="*/ 40640 h 101600"/>
                  <a:gd name="connsiteX283" fmla="*/ 587058 w 1257300"/>
                  <a:gd name="connsiteY283" fmla="*/ 25717 h 101600"/>
                  <a:gd name="connsiteX284" fmla="*/ 569913 w 1257300"/>
                  <a:gd name="connsiteY284" fmla="*/ 20955 h 101600"/>
                  <a:gd name="connsiteX285" fmla="*/ 559117 w 1257300"/>
                  <a:gd name="connsiteY285" fmla="*/ 22225 h 101600"/>
                  <a:gd name="connsiteX286" fmla="*/ 518795 w 1257300"/>
                  <a:gd name="connsiteY286" fmla="*/ 34925 h 101600"/>
                  <a:gd name="connsiteX287" fmla="*/ 521335 w 1257300"/>
                  <a:gd name="connsiteY287" fmla="*/ 43180 h 101600"/>
                  <a:gd name="connsiteX288" fmla="*/ 500063 w 1257300"/>
                  <a:gd name="connsiteY288" fmla="*/ 43180 h 101600"/>
                  <a:gd name="connsiteX289" fmla="*/ 503555 w 1257300"/>
                  <a:gd name="connsiteY289" fmla="*/ 34290 h 101600"/>
                  <a:gd name="connsiteX290" fmla="*/ 510858 w 1257300"/>
                  <a:gd name="connsiteY290" fmla="*/ 31433 h 101600"/>
                  <a:gd name="connsiteX291" fmla="*/ 518795 w 1257300"/>
                  <a:gd name="connsiteY291" fmla="*/ 34925 h 101600"/>
                  <a:gd name="connsiteX292" fmla="*/ 496888 w 1257300"/>
                  <a:gd name="connsiteY292" fmla="*/ 24130 h 101600"/>
                  <a:gd name="connsiteX293" fmla="*/ 487680 w 1257300"/>
                  <a:gd name="connsiteY293" fmla="*/ 33973 h 101600"/>
                  <a:gd name="connsiteX294" fmla="*/ 484505 w 1257300"/>
                  <a:gd name="connsiteY294" fmla="*/ 50165 h 101600"/>
                  <a:gd name="connsiteX295" fmla="*/ 487998 w 1257300"/>
                  <a:gd name="connsiteY295" fmla="*/ 66040 h 101600"/>
                  <a:gd name="connsiteX296" fmla="*/ 498158 w 1257300"/>
                  <a:gd name="connsiteY296" fmla="*/ 75248 h 101600"/>
                  <a:gd name="connsiteX297" fmla="*/ 512763 w 1257300"/>
                  <a:gd name="connsiteY297" fmla="*/ 78423 h 101600"/>
                  <a:gd name="connsiteX298" fmla="*/ 523558 w 1257300"/>
                  <a:gd name="connsiteY298" fmla="*/ 77470 h 101600"/>
                  <a:gd name="connsiteX299" fmla="*/ 532130 w 1257300"/>
                  <a:gd name="connsiteY299" fmla="*/ 74613 h 101600"/>
                  <a:gd name="connsiteX300" fmla="*/ 532130 w 1257300"/>
                  <a:gd name="connsiteY300" fmla="*/ 62865 h 101600"/>
                  <a:gd name="connsiteX301" fmla="*/ 522923 w 1257300"/>
                  <a:gd name="connsiteY301" fmla="*/ 66040 h 101600"/>
                  <a:gd name="connsiteX302" fmla="*/ 513080 w 1257300"/>
                  <a:gd name="connsiteY302" fmla="*/ 66992 h 101600"/>
                  <a:gd name="connsiteX303" fmla="*/ 502920 w 1257300"/>
                  <a:gd name="connsiteY303" fmla="*/ 63183 h 101600"/>
                  <a:gd name="connsiteX304" fmla="*/ 499110 w 1257300"/>
                  <a:gd name="connsiteY304" fmla="*/ 53023 h 101600"/>
                  <a:gd name="connsiteX305" fmla="*/ 534988 w 1257300"/>
                  <a:gd name="connsiteY305" fmla="*/ 53023 h 101600"/>
                  <a:gd name="connsiteX306" fmla="*/ 534988 w 1257300"/>
                  <a:gd name="connsiteY306" fmla="*/ 45720 h 101600"/>
                  <a:gd name="connsiteX307" fmla="*/ 528320 w 1257300"/>
                  <a:gd name="connsiteY307" fmla="*/ 26988 h 101600"/>
                  <a:gd name="connsiteX308" fmla="*/ 510223 w 1257300"/>
                  <a:gd name="connsiteY308" fmla="*/ 20320 h 101600"/>
                  <a:gd name="connsiteX309" fmla="*/ 496888 w 1257300"/>
                  <a:gd name="connsiteY309" fmla="*/ 24130 h 101600"/>
                  <a:gd name="connsiteX310" fmla="*/ 472123 w 1257300"/>
                  <a:gd name="connsiteY310" fmla="*/ 317 h 101600"/>
                  <a:gd name="connsiteX311" fmla="*/ 456883 w 1257300"/>
                  <a:gd name="connsiteY311" fmla="*/ 317 h 101600"/>
                  <a:gd name="connsiteX312" fmla="*/ 456883 w 1257300"/>
                  <a:gd name="connsiteY312" fmla="*/ 77470 h 101600"/>
                  <a:gd name="connsiteX313" fmla="*/ 472123 w 1257300"/>
                  <a:gd name="connsiteY313" fmla="*/ 77470 h 101600"/>
                  <a:gd name="connsiteX314" fmla="*/ 472123 w 1257300"/>
                  <a:gd name="connsiteY314" fmla="*/ 317 h 101600"/>
                  <a:gd name="connsiteX315" fmla="*/ 399733 w 1257300"/>
                  <a:gd name="connsiteY315" fmla="*/ 56198 h 101600"/>
                  <a:gd name="connsiteX316" fmla="*/ 396240 w 1257300"/>
                  <a:gd name="connsiteY316" fmla="*/ 64453 h 101600"/>
                  <a:gd name="connsiteX317" fmla="*/ 387985 w 1257300"/>
                  <a:gd name="connsiteY317" fmla="*/ 67310 h 101600"/>
                  <a:gd name="connsiteX318" fmla="*/ 382588 w 1257300"/>
                  <a:gd name="connsiteY318" fmla="*/ 65723 h 101600"/>
                  <a:gd name="connsiteX319" fmla="*/ 380683 w 1257300"/>
                  <a:gd name="connsiteY319" fmla="*/ 60642 h 101600"/>
                  <a:gd name="connsiteX320" fmla="*/ 383540 w 1257300"/>
                  <a:gd name="connsiteY320" fmla="*/ 54292 h 101600"/>
                  <a:gd name="connsiteX321" fmla="*/ 393700 w 1257300"/>
                  <a:gd name="connsiteY321" fmla="*/ 51753 h 101600"/>
                  <a:gd name="connsiteX322" fmla="*/ 399733 w 1257300"/>
                  <a:gd name="connsiteY322" fmla="*/ 51435 h 101600"/>
                  <a:gd name="connsiteX323" fmla="*/ 399733 w 1257300"/>
                  <a:gd name="connsiteY323" fmla="*/ 56198 h 101600"/>
                  <a:gd name="connsiteX324" fmla="*/ 380365 w 1257300"/>
                  <a:gd name="connsiteY324" fmla="*/ 22225 h 101600"/>
                  <a:gd name="connsiteX325" fmla="*/ 370523 w 1257300"/>
                  <a:gd name="connsiteY325" fmla="*/ 25717 h 101600"/>
                  <a:gd name="connsiteX326" fmla="*/ 375602 w 1257300"/>
                  <a:gd name="connsiteY326" fmla="*/ 35878 h 101600"/>
                  <a:gd name="connsiteX327" fmla="*/ 383223 w 1257300"/>
                  <a:gd name="connsiteY327" fmla="*/ 33020 h 101600"/>
                  <a:gd name="connsiteX328" fmla="*/ 391160 w 1257300"/>
                  <a:gd name="connsiteY328" fmla="*/ 31750 h 101600"/>
                  <a:gd name="connsiteX329" fmla="*/ 397510 w 1257300"/>
                  <a:gd name="connsiteY329" fmla="*/ 33655 h 101600"/>
                  <a:gd name="connsiteX330" fmla="*/ 399733 w 1257300"/>
                  <a:gd name="connsiteY330" fmla="*/ 40005 h 101600"/>
                  <a:gd name="connsiteX331" fmla="*/ 399733 w 1257300"/>
                  <a:gd name="connsiteY331" fmla="*/ 42545 h 101600"/>
                  <a:gd name="connsiteX332" fmla="*/ 390208 w 1257300"/>
                  <a:gd name="connsiteY332" fmla="*/ 42863 h 101600"/>
                  <a:gd name="connsiteX333" fmla="*/ 371475 w 1257300"/>
                  <a:gd name="connsiteY333" fmla="*/ 47625 h 101600"/>
                  <a:gd name="connsiteX334" fmla="*/ 365125 w 1257300"/>
                  <a:gd name="connsiteY334" fmla="*/ 60642 h 101600"/>
                  <a:gd name="connsiteX335" fmla="*/ 369888 w 1257300"/>
                  <a:gd name="connsiteY335" fmla="*/ 73978 h 101600"/>
                  <a:gd name="connsiteX336" fmla="*/ 382270 w 1257300"/>
                  <a:gd name="connsiteY336" fmla="*/ 78105 h 101600"/>
                  <a:gd name="connsiteX337" fmla="*/ 393065 w 1257300"/>
                  <a:gd name="connsiteY337" fmla="*/ 76200 h 101600"/>
                  <a:gd name="connsiteX338" fmla="*/ 400685 w 1257300"/>
                  <a:gd name="connsiteY338" fmla="*/ 69850 h 101600"/>
                  <a:gd name="connsiteX339" fmla="*/ 401002 w 1257300"/>
                  <a:gd name="connsiteY339" fmla="*/ 69850 h 101600"/>
                  <a:gd name="connsiteX340" fmla="*/ 403860 w 1257300"/>
                  <a:gd name="connsiteY340" fmla="*/ 77470 h 101600"/>
                  <a:gd name="connsiteX341" fmla="*/ 414338 w 1257300"/>
                  <a:gd name="connsiteY341" fmla="*/ 77470 h 101600"/>
                  <a:gd name="connsiteX342" fmla="*/ 414338 w 1257300"/>
                  <a:gd name="connsiteY342" fmla="*/ 40640 h 101600"/>
                  <a:gd name="connsiteX343" fmla="*/ 408305 w 1257300"/>
                  <a:gd name="connsiteY343" fmla="*/ 25717 h 101600"/>
                  <a:gd name="connsiteX344" fmla="*/ 391160 w 1257300"/>
                  <a:gd name="connsiteY344" fmla="*/ 20955 h 101600"/>
                  <a:gd name="connsiteX345" fmla="*/ 380365 w 1257300"/>
                  <a:gd name="connsiteY345" fmla="*/ 22225 h 101600"/>
                  <a:gd name="connsiteX346" fmla="*/ 313373 w 1257300"/>
                  <a:gd name="connsiteY346" fmla="*/ 34925 h 101600"/>
                  <a:gd name="connsiteX347" fmla="*/ 315913 w 1257300"/>
                  <a:gd name="connsiteY347" fmla="*/ 43180 h 101600"/>
                  <a:gd name="connsiteX348" fmla="*/ 294640 w 1257300"/>
                  <a:gd name="connsiteY348" fmla="*/ 43180 h 101600"/>
                  <a:gd name="connsiteX349" fmla="*/ 298133 w 1257300"/>
                  <a:gd name="connsiteY349" fmla="*/ 34290 h 101600"/>
                  <a:gd name="connsiteX350" fmla="*/ 305435 w 1257300"/>
                  <a:gd name="connsiteY350" fmla="*/ 31433 h 101600"/>
                  <a:gd name="connsiteX351" fmla="*/ 313373 w 1257300"/>
                  <a:gd name="connsiteY351" fmla="*/ 34925 h 101600"/>
                  <a:gd name="connsiteX352" fmla="*/ 291783 w 1257300"/>
                  <a:gd name="connsiteY352" fmla="*/ 24130 h 101600"/>
                  <a:gd name="connsiteX353" fmla="*/ 282575 w 1257300"/>
                  <a:gd name="connsiteY353" fmla="*/ 33973 h 101600"/>
                  <a:gd name="connsiteX354" fmla="*/ 279400 w 1257300"/>
                  <a:gd name="connsiteY354" fmla="*/ 50165 h 101600"/>
                  <a:gd name="connsiteX355" fmla="*/ 283210 w 1257300"/>
                  <a:gd name="connsiteY355" fmla="*/ 66040 h 101600"/>
                  <a:gd name="connsiteX356" fmla="*/ 293370 w 1257300"/>
                  <a:gd name="connsiteY356" fmla="*/ 75248 h 101600"/>
                  <a:gd name="connsiteX357" fmla="*/ 307975 w 1257300"/>
                  <a:gd name="connsiteY357" fmla="*/ 78423 h 101600"/>
                  <a:gd name="connsiteX358" fmla="*/ 318770 w 1257300"/>
                  <a:gd name="connsiteY358" fmla="*/ 77470 h 101600"/>
                  <a:gd name="connsiteX359" fmla="*/ 327342 w 1257300"/>
                  <a:gd name="connsiteY359" fmla="*/ 74613 h 101600"/>
                  <a:gd name="connsiteX360" fmla="*/ 327342 w 1257300"/>
                  <a:gd name="connsiteY360" fmla="*/ 62865 h 101600"/>
                  <a:gd name="connsiteX361" fmla="*/ 318135 w 1257300"/>
                  <a:gd name="connsiteY361" fmla="*/ 66040 h 101600"/>
                  <a:gd name="connsiteX362" fmla="*/ 308292 w 1257300"/>
                  <a:gd name="connsiteY362" fmla="*/ 66992 h 101600"/>
                  <a:gd name="connsiteX363" fmla="*/ 298133 w 1257300"/>
                  <a:gd name="connsiteY363" fmla="*/ 63183 h 101600"/>
                  <a:gd name="connsiteX364" fmla="*/ 294323 w 1257300"/>
                  <a:gd name="connsiteY364" fmla="*/ 53023 h 101600"/>
                  <a:gd name="connsiteX365" fmla="*/ 330200 w 1257300"/>
                  <a:gd name="connsiteY365" fmla="*/ 53023 h 101600"/>
                  <a:gd name="connsiteX366" fmla="*/ 330200 w 1257300"/>
                  <a:gd name="connsiteY366" fmla="*/ 45720 h 101600"/>
                  <a:gd name="connsiteX367" fmla="*/ 323533 w 1257300"/>
                  <a:gd name="connsiteY367" fmla="*/ 26988 h 101600"/>
                  <a:gd name="connsiteX368" fmla="*/ 305435 w 1257300"/>
                  <a:gd name="connsiteY368" fmla="*/ 20320 h 101600"/>
                  <a:gd name="connsiteX369" fmla="*/ 291783 w 1257300"/>
                  <a:gd name="connsiteY369" fmla="*/ 24130 h 101600"/>
                  <a:gd name="connsiteX370" fmla="*/ 259715 w 1257300"/>
                  <a:gd name="connsiteY370" fmla="*/ 23813 h 101600"/>
                  <a:gd name="connsiteX371" fmla="*/ 253048 w 1257300"/>
                  <a:gd name="connsiteY371" fmla="*/ 31115 h 101600"/>
                  <a:gd name="connsiteX372" fmla="*/ 252413 w 1257300"/>
                  <a:gd name="connsiteY372" fmla="*/ 31115 h 101600"/>
                  <a:gd name="connsiteX373" fmla="*/ 250190 w 1257300"/>
                  <a:gd name="connsiteY373" fmla="*/ 21908 h 101600"/>
                  <a:gd name="connsiteX374" fmla="*/ 238760 w 1257300"/>
                  <a:gd name="connsiteY374" fmla="*/ 21908 h 101600"/>
                  <a:gd name="connsiteX375" fmla="*/ 238760 w 1257300"/>
                  <a:gd name="connsiteY375" fmla="*/ 77470 h 101600"/>
                  <a:gd name="connsiteX376" fmla="*/ 254000 w 1257300"/>
                  <a:gd name="connsiteY376" fmla="*/ 77470 h 101600"/>
                  <a:gd name="connsiteX377" fmla="*/ 254000 w 1257300"/>
                  <a:gd name="connsiteY377" fmla="*/ 49213 h 101600"/>
                  <a:gd name="connsiteX378" fmla="*/ 256223 w 1257300"/>
                  <a:gd name="connsiteY378" fmla="*/ 40958 h 101600"/>
                  <a:gd name="connsiteX379" fmla="*/ 261938 w 1257300"/>
                  <a:gd name="connsiteY379" fmla="*/ 36513 h 101600"/>
                  <a:gd name="connsiteX380" fmla="*/ 269240 w 1257300"/>
                  <a:gd name="connsiteY380" fmla="*/ 35242 h 101600"/>
                  <a:gd name="connsiteX381" fmla="*/ 271463 w 1257300"/>
                  <a:gd name="connsiteY381" fmla="*/ 35242 h 101600"/>
                  <a:gd name="connsiteX382" fmla="*/ 273685 w 1257300"/>
                  <a:gd name="connsiteY382" fmla="*/ 35560 h 101600"/>
                  <a:gd name="connsiteX383" fmla="*/ 274955 w 1257300"/>
                  <a:gd name="connsiteY383" fmla="*/ 21273 h 101600"/>
                  <a:gd name="connsiteX384" fmla="*/ 272415 w 1257300"/>
                  <a:gd name="connsiteY384" fmla="*/ 20955 h 101600"/>
                  <a:gd name="connsiteX385" fmla="*/ 269875 w 1257300"/>
                  <a:gd name="connsiteY385" fmla="*/ 20955 h 101600"/>
                  <a:gd name="connsiteX386" fmla="*/ 259715 w 1257300"/>
                  <a:gd name="connsiteY386" fmla="*/ 23813 h 101600"/>
                  <a:gd name="connsiteX387" fmla="*/ 207645 w 1257300"/>
                  <a:gd name="connsiteY387" fmla="*/ 21908 h 101600"/>
                  <a:gd name="connsiteX388" fmla="*/ 207645 w 1257300"/>
                  <a:gd name="connsiteY388" fmla="*/ 47942 h 101600"/>
                  <a:gd name="connsiteX389" fmla="*/ 205105 w 1257300"/>
                  <a:gd name="connsiteY389" fmla="*/ 61595 h 101600"/>
                  <a:gd name="connsiteX390" fmla="*/ 195580 w 1257300"/>
                  <a:gd name="connsiteY390" fmla="*/ 66358 h 101600"/>
                  <a:gd name="connsiteX391" fmla="*/ 188913 w 1257300"/>
                  <a:gd name="connsiteY391" fmla="*/ 63500 h 101600"/>
                  <a:gd name="connsiteX392" fmla="*/ 186690 w 1257300"/>
                  <a:gd name="connsiteY392" fmla="*/ 54610 h 101600"/>
                  <a:gd name="connsiteX393" fmla="*/ 186690 w 1257300"/>
                  <a:gd name="connsiteY393" fmla="*/ 22225 h 101600"/>
                  <a:gd name="connsiteX394" fmla="*/ 171450 w 1257300"/>
                  <a:gd name="connsiteY394" fmla="*/ 22225 h 101600"/>
                  <a:gd name="connsiteX395" fmla="*/ 171450 w 1257300"/>
                  <a:gd name="connsiteY395" fmla="*/ 58420 h 101600"/>
                  <a:gd name="connsiteX396" fmla="*/ 176848 w 1257300"/>
                  <a:gd name="connsiteY396" fmla="*/ 73978 h 101600"/>
                  <a:gd name="connsiteX397" fmla="*/ 191135 w 1257300"/>
                  <a:gd name="connsiteY397" fmla="*/ 78740 h 101600"/>
                  <a:gd name="connsiteX398" fmla="*/ 200977 w 1257300"/>
                  <a:gd name="connsiteY398" fmla="*/ 76835 h 101600"/>
                  <a:gd name="connsiteX399" fmla="*/ 208280 w 1257300"/>
                  <a:gd name="connsiteY399" fmla="*/ 70485 h 101600"/>
                  <a:gd name="connsiteX400" fmla="*/ 209233 w 1257300"/>
                  <a:gd name="connsiteY400" fmla="*/ 70485 h 101600"/>
                  <a:gd name="connsiteX401" fmla="*/ 211138 w 1257300"/>
                  <a:gd name="connsiteY401" fmla="*/ 77470 h 101600"/>
                  <a:gd name="connsiteX402" fmla="*/ 222567 w 1257300"/>
                  <a:gd name="connsiteY402" fmla="*/ 77470 h 101600"/>
                  <a:gd name="connsiteX403" fmla="*/ 222567 w 1257300"/>
                  <a:gd name="connsiteY403" fmla="*/ 21908 h 101600"/>
                  <a:gd name="connsiteX404" fmla="*/ 207645 w 1257300"/>
                  <a:gd name="connsiteY404" fmla="*/ 21908 h 101600"/>
                  <a:gd name="connsiteX405" fmla="*/ 151765 w 1257300"/>
                  <a:gd name="connsiteY405" fmla="*/ 77470 h 101600"/>
                  <a:gd name="connsiteX406" fmla="*/ 159067 w 1257300"/>
                  <a:gd name="connsiteY406" fmla="*/ 74295 h 101600"/>
                  <a:gd name="connsiteX407" fmla="*/ 159067 w 1257300"/>
                  <a:gd name="connsiteY407" fmla="*/ 61278 h 101600"/>
                  <a:gd name="connsiteX408" fmla="*/ 152083 w 1257300"/>
                  <a:gd name="connsiteY408" fmla="*/ 64770 h 101600"/>
                  <a:gd name="connsiteX409" fmla="*/ 143510 w 1257300"/>
                  <a:gd name="connsiteY409" fmla="*/ 66040 h 101600"/>
                  <a:gd name="connsiteX410" fmla="*/ 134938 w 1257300"/>
                  <a:gd name="connsiteY410" fmla="*/ 62230 h 101600"/>
                  <a:gd name="connsiteX411" fmla="*/ 131763 w 1257300"/>
                  <a:gd name="connsiteY411" fmla="*/ 49848 h 101600"/>
                  <a:gd name="connsiteX412" fmla="*/ 143510 w 1257300"/>
                  <a:gd name="connsiteY412" fmla="*/ 33020 h 101600"/>
                  <a:gd name="connsiteX413" fmla="*/ 149542 w 1257300"/>
                  <a:gd name="connsiteY413" fmla="*/ 33973 h 101600"/>
                  <a:gd name="connsiteX414" fmla="*/ 156210 w 1257300"/>
                  <a:gd name="connsiteY414" fmla="*/ 36195 h 101600"/>
                  <a:gd name="connsiteX415" fmla="*/ 160655 w 1257300"/>
                  <a:gd name="connsiteY415" fmla="*/ 24448 h 101600"/>
                  <a:gd name="connsiteX416" fmla="*/ 153352 w 1257300"/>
                  <a:gd name="connsiteY416" fmla="*/ 21908 h 101600"/>
                  <a:gd name="connsiteX417" fmla="*/ 143510 w 1257300"/>
                  <a:gd name="connsiteY417" fmla="*/ 20638 h 101600"/>
                  <a:gd name="connsiteX418" fmla="*/ 129223 w 1257300"/>
                  <a:gd name="connsiteY418" fmla="*/ 23813 h 101600"/>
                  <a:gd name="connsiteX419" fmla="*/ 119698 w 1257300"/>
                  <a:gd name="connsiteY419" fmla="*/ 33338 h 101600"/>
                  <a:gd name="connsiteX420" fmla="*/ 116205 w 1257300"/>
                  <a:gd name="connsiteY420" fmla="*/ 49848 h 101600"/>
                  <a:gd name="connsiteX421" fmla="*/ 122873 w 1257300"/>
                  <a:gd name="connsiteY421" fmla="*/ 71438 h 101600"/>
                  <a:gd name="connsiteX422" fmla="*/ 141923 w 1257300"/>
                  <a:gd name="connsiteY422" fmla="*/ 78105 h 101600"/>
                  <a:gd name="connsiteX423" fmla="*/ 151765 w 1257300"/>
                  <a:gd name="connsiteY423" fmla="*/ 77470 h 101600"/>
                  <a:gd name="connsiteX424" fmla="*/ 90170 w 1257300"/>
                  <a:gd name="connsiteY424" fmla="*/ 34925 h 101600"/>
                  <a:gd name="connsiteX425" fmla="*/ 92710 w 1257300"/>
                  <a:gd name="connsiteY425" fmla="*/ 43180 h 101600"/>
                  <a:gd name="connsiteX426" fmla="*/ 71438 w 1257300"/>
                  <a:gd name="connsiteY426" fmla="*/ 43180 h 101600"/>
                  <a:gd name="connsiteX427" fmla="*/ 74930 w 1257300"/>
                  <a:gd name="connsiteY427" fmla="*/ 34290 h 101600"/>
                  <a:gd name="connsiteX428" fmla="*/ 82233 w 1257300"/>
                  <a:gd name="connsiteY428" fmla="*/ 31433 h 101600"/>
                  <a:gd name="connsiteX429" fmla="*/ 90170 w 1257300"/>
                  <a:gd name="connsiteY429" fmla="*/ 34925 h 101600"/>
                  <a:gd name="connsiteX430" fmla="*/ 68580 w 1257300"/>
                  <a:gd name="connsiteY430" fmla="*/ 24130 h 101600"/>
                  <a:gd name="connsiteX431" fmla="*/ 59373 w 1257300"/>
                  <a:gd name="connsiteY431" fmla="*/ 33973 h 101600"/>
                  <a:gd name="connsiteX432" fmla="*/ 56198 w 1257300"/>
                  <a:gd name="connsiteY432" fmla="*/ 50165 h 101600"/>
                  <a:gd name="connsiteX433" fmla="*/ 60008 w 1257300"/>
                  <a:gd name="connsiteY433" fmla="*/ 66040 h 101600"/>
                  <a:gd name="connsiteX434" fmla="*/ 70167 w 1257300"/>
                  <a:gd name="connsiteY434" fmla="*/ 75248 h 101600"/>
                  <a:gd name="connsiteX435" fmla="*/ 84773 w 1257300"/>
                  <a:gd name="connsiteY435" fmla="*/ 78423 h 101600"/>
                  <a:gd name="connsiteX436" fmla="*/ 95567 w 1257300"/>
                  <a:gd name="connsiteY436" fmla="*/ 77470 h 101600"/>
                  <a:gd name="connsiteX437" fmla="*/ 104140 w 1257300"/>
                  <a:gd name="connsiteY437" fmla="*/ 74613 h 101600"/>
                  <a:gd name="connsiteX438" fmla="*/ 104140 w 1257300"/>
                  <a:gd name="connsiteY438" fmla="*/ 62865 h 101600"/>
                  <a:gd name="connsiteX439" fmla="*/ 94933 w 1257300"/>
                  <a:gd name="connsiteY439" fmla="*/ 66040 h 101600"/>
                  <a:gd name="connsiteX440" fmla="*/ 85090 w 1257300"/>
                  <a:gd name="connsiteY440" fmla="*/ 66992 h 101600"/>
                  <a:gd name="connsiteX441" fmla="*/ 74930 w 1257300"/>
                  <a:gd name="connsiteY441" fmla="*/ 63183 h 101600"/>
                  <a:gd name="connsiteX442" fmla="*/ 71120 w 1257300"/>
                  <a:gd name="connsiteY442" fmla="*/ 53023 h 101600"/>
                  <a:gd name="connsiteX443" fmla="*/ 106998 w 1257300"/>
                  <a:gd name="connsiteY443" fmla="*/ 53023 h 101600"/>
                  <a:gd name="connsiteX444" fmla="*/ 106998 w 1257300"/>
                  <a:gd name="connsiteY444" fmla="*/ 45720 h 101600"/>
                  <a:gd name="connsiteX445" fmla="*/ 100330 w 1257300"/>
                  <a:gd name="connsiteY445" fmla="*/ 26988 h 101600"/>
                  <a:gd name="connsiteX446" fmla="*/ 82233 w 1257300"/>
                  <a:gd name="connsiteY446" fmla="*/ 20320 h 101600"/>
                  <a:gd name="connsiteX447" fmla="*/ 68580 w 1257300"/>
                  <a:gd name="connsiteY447" fmla="*/ 24130 h 101600"/>
                  <a:gd name="connsiteX448" fmla="*/ 45402 w 1257300"/>
                  <a:gd name="connsiteY448" fmla="*/ 47625 h 101600"/>
                  <a:gd name="connsiteX449" fmla="*/ 39370 w 1257300"/>
                  <a:gd name="connsiteY449" fmla="*/ 40958 h 101600"/>
                  <a:gd name="connsiteX450" fmla="*/ 29845 w 1257300"/>
                  <a:gd name="connsiteY450" fmla="*/ 35560 h 101600"/>
                  <a:gd name="connsiteX451" fmla="*/ 19685 w 1257300"/>
                  <a:gd name="connsiteY451" fmla="*/ 30163 h 101600"/>
                  <a:gd name="connsiteX452" fmla="*/ 16192 w 1257300"/>
                  <a:gd name="connsiteY452" fmla="*/ 24130 h 101600"/>
                  <a:gd name="connsiteX453" fmla="*/ 18415 w 1257300"/>
                  <a:gd name="connsiteY453" fmla="*/ 18733 h 101600"/>
                  <a:gd name="connsiteX454" fmla="*/ 25083 w 1257300"/>
                  <a:gd name="connsiteY454" fmla="*/ 16828 h 101600"/>
                  <a:gd name="connsiteX455" fmla="*/ 33338 w 1257300"/>
                  <a:gd name="connsiteY455" fmla="*/ 18098 h 101600"/>
                  <a:gd name="connsiteX456" fmla="*/ 42227 w 1257300"/>
                  <a:gd name="connsiteY456" fmla="*/ 21273 h 101600"/>
                  <a:gd name="connsiteX457" fmla="*/ 47308 w 1257300"/>
                  <a:gd name="connsiteY457" fmla="*/ 9208 h 101600"/>
                  <a:gd name="connsiteX458" fmla="*/ 36513 w 1257300"/>
                  <a:gd name="connsiteY458" fmla="*/ 5398 h 101600"/>
                  <a:gd name="connsiteX459" fmla="*/ 25717 w 1257300"/>
                  <a:gd name="connsiteY459" fmla="*/ 4128 h 101600"/>
                  <a:gd name="connsiteX460" fmla="*/ 7620 w 1257300"/>
                  <a:gd name="connsiteY460" fmla="*/ 9525 h 101600"/>
                  <a:gd name="connsiteX461" fmla="*/ 952 w 1257300"/>
                  <a:gd name="connsiteY461" fmla="*/ 24765 h 101600"/>
                  <a:gd name="connsiteX462" fmla="*/ 2540 w 1257300"/>
                  <a:gd name="connsiteY462" fmla="*/ 33338 h 101600"/>
                  <a:gd name="connsiteX463" fmla="*/ 6985 w 1257300"/>
                  <a:gd name="connsiteY463" fmla="*/ 39370 h 101600"/>
                  <a:gd name="connsiteX464" fmla="*/ 12700 w 1257300"/>
                  <a:gd name="connsiteY464" fmla="*/ 43498 h 101600"/>
                  <a:gd name="connsiteX465" fmla="*/ 18098 w 1257300"/>
                  <a:gd name="connsiteY465" fmla="*/ 46355 h 101600"/>
                  <a:gd name="connsiteX466" fmla="*/ 25400 w 1257300"/>
                  <a:gd name="connsiteY466" fmla="*/ 49848 h 101600"/>
                  <a:gd name="connsiteX467" fmla="*/ 30480 w 1257300"/>
                  <a:gd name="connsiteY467" fmla="*/ 53340 h 101600"/>
                  <a:gd name="connsiteX468" fmla="*/ 32385 w 1257300"/>
                  <a:gd name="connsiteY468" fmla="*/ 58103 h 101600"/>
                  <a:gd name="connsiteX469" fmla="*/ 29845 w 1257300"/>
                  <a:gd name="connsiteY469" fmla="*/ 63500 h 101600"/>
                  <a:gd name="connsiteX470" fmla="*/ 21908 w 1257300"/>
                  <a:gd name="connsiteY470" fmla="*/ 65723 h 101600"/>
                  <a:gd name="connsiteX471" fmla="*/ 10795 w 1257300"/>
                  <a:gd name="connsiteY471" fmla="*/ 63817 h 101600"/>
                  <a:gd name="connsiteX472" fmla="*/ 0 w 1257300"/>
                  <a:gd name="connsiteY472" fmla="*/ 59690 h 101600"/>
                  <a:gd name="connsiteX473" fmla="*/ 0 w 1257300"/>
                  <a:gd name="connsiteY473" fmla="*/ 73978 h 101600"/>
                  <a:gd name="connsiteX474" fmla="*/ 20638 w 1257300"/>
                  <a:gd name="connsiteY474" fmla="*/ 78423 h 101600"/>
                  <a:gd name="connsiteX475" fmla="*/ 40323 w 1257300"/>
                  <a:gd name="connsiteY475" fmla="*/ 72708 h 101600"/>
                  <a:gd name="connsiteX476" fmla="*/ 47308 w 1257300"/>
                  <a:gd name="connsiteY476" fmla="*/ 57467 h 101600"/>
                  <a:gd name="connsiteX477" fmla="*/ 45402 w 1257300"/>
                  <a:gd name="connsiteY477" fmla="*/ 47625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Lst>
                <a:rect l="l" t="t" r="r" b="b"/>
                <a:pathLst>
                  <a:path w="1257300" h="101600">
                    <a:moveTo>
                      <a:pt x="1230313" y="22860"/>
                    </a:moveTo>
                    <a:cubicBezTo>
                      <a:pt x="1227138" y="24130"/>
                      <a:pt x="1224915" y="26353"/>
                      <a:pt x="1223010" y="29210"/>
                    </a:cubicBezTo>
                    <a:lnTo>
                      <a:pt x="1222058" y="29210"/>
                    </a:lnTo>
                    <a:lnTo>
                      <a:pt x="1220153" y="22225"/>
                    </a:lnTo>
                    <a:lnTo>
                      <a:pt x="1208723" y="22225"/>
                    </a:lnTo>
                    <a:lnTo>
                      <a:pt x="1208723" y="77788"/>
                    </a:lnTo>
                    <a:lnTo>
                      <a:pt x="1223963" y="77788"/>
                    </a:lnTo>
                    <a:lnTo>
                      <a:pt x="1223963" y="51753"/>
                    </a:lnTo>
                    <a:cubicBezTo>
                      <a:pt x="1223963" y="45720"/>
                      <a:pt x="1224915" y="41275"/>
                      <a:pt x="1226503" y="38100"/>
                    </a:cubicBezTo>
                    <a:cubicBezTo>
                      <a:pt x="1228090" y="34925"/>
                      <a:pt x="1231265" y="33338"/>
                      <a:pt x="1236028" y="33338"/>
                    </a:cubicBezTo>
                    <a:cubicBezTo>
                      <a:pt x="1239203" y="33338"/>
                      <a:pt x="1241425" y="34290"/>
                      <a:pt x="1242695" y="36195"/>
                    </a:cubicBezTo>
                    <a:cubicBezTo>
                      <a:pt x="1243965" y="38100"/>
                      <a:pt x="1244917" y="41275"/>
                      <a:pt x="1244917" y="45085"/>
                    </a:cubicBezTo>
                    <a:lnTo>
                      <a:pt x="1244917" y="77470"/>
                    </a:lnTo>
                    <a:lnTo>
                      <a:pt x="1260158" y="77470"/>
                    </a:lnTo>
                    <a:lnTo>
                      <a:pt x="1260158" y="41275"/>
                    </a:lnTo>
                    <a:cubicBezTo>
                      <a:pt x="1260158" y="34290"/>
                      <a:pt x="1258253" y="28892"/>
                      <a:pt x="1254760" y="25717"/>
                    </a:cubicBezTo>
                    <a:cubicBezTo>
                      <a:pt x="1251267" y="22542"/>
                      <a:pt x="1246505" y="20955"/>
                      <a:pt x="1240473" y="20955"/>
                    </a:cubicBezTo>
                    <a:cubicBezTo>
                      <a:pt x="1236663" y="20955"/>
                      <a:pt x="1233488" y="21590"/>
                      <a:pt x="1230313" y="22860"/>
                    </a:cubicBezTo>
                    <a:moveTo>
                      <a:pt x="1160463" y="37148"/>
                    </a:moveTo>
                    <a:cubicBezTo>
                      <a:pt x="1162367" y="34290"/>
                      <a:pt x="1165225" y="33020"/>
                      <a:pt x="1169035" y="33020"/>
                    </a:cubicBezTo>
                    <a:cubicBezTo>
                      <a:pt x="1173163" y="33020"/>
                      <a:pt x="1176020" y="34290"/>
                      <a:pt x="1177925" y="37148"/>
                    </a:cubicBezTo>
                    <a:cubicBezTo>
                      <a:pt x="1179830" y="40005"/>
                      <a:pt x="1180465" y="44133"/>
                      <a:pt x="1180465" y="49530"/>
                    </a:cubicBezTo>
                    <a:cubicBezTo>
                      <a:pt x="1180465" y="54928"/>
                      <a:pt x="1179513" y="59055"/>
                      <a:pt x="1177925" y="61913"/>
                    </a:cubicBezTo>
                    <a:cubicBezTo>
                      <a:pt x="1176020" y="64770"/>
                      <a:pt x="1173163" y="66040"/>
                      <a:pt x="1169353" y="66040"/>
                    </a:cubicBezTo>
                    <a:cubicBezTo>
                      <a:pt x="1165225" y="66040"/>
                      <a:pt x="1162367" y="64770"/>
                      <a:pt x="1160463" y="61913"/>
                    </a:cubicBezTo>
                    <a:cubicBezTo>
                      <a:pt x="1158558" y="59055"/>
                      <a:pt x="1157923" y="54928"/>
                      <a:pt x="1157923" y="49530"/>
                    </a:cubicBezTo>
                    <a:cubicBezTo>
                      <a:pt x="1157923" y="44133"/>
                      <a:pt x="1158875" y="40005"/>
                      <a:pt x="1160463" y="37148"/>
                    </a:cubicBezTo>
                    <a:moveTo>
                      <a:pt x="1192848" y="33973"/>
                    </a:moveTo>
                    <a:cubicBezTo>
                      <a:pt x="1190625" y="29845"/>
                      <a:pt x="1187450" y="26353"/>
                      <a:pt x="1183323" y="24130"/>
                    </a:cubicBezTo>
                    <a:cubicBezTo>
                      <a:pt x="1179195" y="21908"/>
                      <a:pt x="1174750" y="20638"/>
                      <a:pt x="1169353" y="20638"/>
                    </a:cubicBezTo>
                    <a:cubicBezTo>
                      <a:pt x="1161098" y="20638"/>
                      <a:pt x="1154430" y="23178"/>
                      <a:pt x="1149667" y="27940"/>
                    </a:cubicBezTo>
                    <a:cubicBezTo>
                      <a:pt x="1144905" y="33020"/>
                      <a:pt x="1142365" y="40005"/>
                      <a:pt x="1142365" y="49213"/>
                    </a:cubicBezTo>
                    <a:cubicBezTo>
                      <a:pt x="1142365" y="55245"/>
                      <a:pt x="1143635" y="60642"/>
                      <a:pt x="1145858" y="64770"/>
                    </a:cubicBezTo>
                    <a:cubicBezTo>
                      <a:pt x="1148080" y="69215"/>
                      <a:pt x="1151255" y="72390"/>
                      <a:pt x="1155383" y="74613"/>
                    </a:cubicBezTo>
                    <a:cubicBezTo>
                      <a:pt x="1159510" y="76835"/>
                      <a:pt x="1163955" y="78105"/>
                      <a:pt x="1169035" y="78105"/>
                    </a:cubicBezTo>
                    <a:cubicBezTo>
                      <a:pt x="1177290" y="78105"/>
                      <a:pt x="1183958" y="75565"/>
                      <a:pt x="1188720" y="70485"/>
                    </a:cubicBezTo>
                    <a:cubicBezTo>
                      <a:pt x="1193483" y="65405"/>
                      <a:pt x="1196023" y="58420"/>
                      <a:pt x="1196023" y="49213"/>
                    </a:cubicBezTo>
                    <a:cubicBezTo>
                      <a:pt x="1196023" y="43498"/>
                      <a:pt x="1195070" y="38417"/>
                      <a:pt x="1192848" y="33973"/>
                    </a:cubicBezTo>
                    <a:moveTo>
                      <a:pt x="1114742" y="77470"/>
                    </a:moveTo>
                    <a:lnTo>
                      <a:pt x="1129983" y="77470"/>
                    </a:lnTo>
                    <a:lnTo>
                      <a:pt x="1129983" y="21908"/>
                    </a:lnTo>
                    <a:lnTo>
                      <a:pt x="1114742" y="21908"/>
                    </a:lnTo>
                    <a:lnTo>
                      <a:pt x="1114742" y="77470"/>
                    </a:lnTo>
                    <a:close/>
                    <a:moveTo>
                      <a:pt x="1116648" y="1588"/>
                    </a:moveTo>
                    <a:cubicBezTo>
                      <a:pt x="1115060" y="2540"/>
                      <a:pt x="1114108" y="4445"/>
                      <a:pt x="1114108" y="7303"/>
                    </a:cubicBezTo>
                    <a:cubicBezTo>
                      <a:pt x="1114108" y="10160"/>
                      <a:pt x="1114742" y="12065"/>
                      <a:pt x="1116648" y="13017"/>
                    </a:cubicBezTo>
                    <a:cubicBezTo>
                      <a:pt x="1118235" y="13970"/>
                      <a:pt x="1120140" y="14605"/>
                      <a:pt x="1122363" y="14605"/>
                    </a:cubicBezTo>
                    <a:cubicBezTo>
                      <a:pt x="1124585" y="14605"/>
                      <a:pt x="1126490" y="13970"/>
                      <a:pt x="1128078" y="13017"/>
                    </a:cubicBezTo>
                    <a:cubicBezTo>
                      <a:pt x="1129665" y="12065"/>
                      <a:pt x="1130617" y="10160"/>
                      <a:pt x="1130617" y="7303"/>
                    </a:cubicBezTo>
                    <a:cubicBezTo>
                      <a:pt x="1130617" y="4445"/>
                      <a:pt x="1129665" y="2540"/>
                      <a:pt x="1128078" y="1588"/>
                    </a:cubicBezTo>
                    <a:cubicBezTo>
                      <a:pt x="1126490" y="635"/>
                      <a:pt x="1124585" y="0"/>
                      <a:pt x="1122363" y="0"/>
                    </a:cubicBezTo>
                    <a:cubicBezTo>
                      <a:pt x="1120140" y="317"/>
                      <a:pt x="1118235" y="635"/>
                      <a:pt x="1116648" y="1588"/>
                    </a:cubicBezTo>
                    <a:moveTo>
                      <a:pt x="1089342" y="64770"/>
                    </a:moveTo>
                    <a:cubicBezTo>
                      <a:pt x="1088073" y="63817"/>
                      <a:pt x="1087438" y="62230"/>
                      <a:pt x="1087438" y="60008"/>
                    </a:cubicBezTo>
                    <a:lnTo>
                      <a:pt x="1087438" y="33338"/>
                    </a:lnTo>
                    <a:lnTo>
                      <a:pt x="1102995" y="33338"/>
                    </a:lnTo>
                    <a:lnTo>
                      <a:pt x="1102995" y="21908"/>
                    </a:lnTo>
                    <a:lnTo>
                      <a:pt x="1087438" y="21908"/>
                    </a:lnTo>
                    <a:lnTo>
                      <a:pt x="1087438" y="10160"/>
                    </a:lnTo>
                    <a:lnTo>
                      <a:pt x="1077913" y="10160"/>
                    </a:lnTo>
                    <a:lnTo>
                      <a:pt x="1073467" y="21908"/>
                    </a:lnTo>
                    <a:lnTo>
                      <a:pt x="1065213" y="26988"/>
                    </a:lnTo>
                    <a:lnTo>
                      <a:pt x="1065213" y="33338"/>
                    </a:lnTo>
                    <a:lnTo>
                      <a:pt x="1072515" y="33338"/>
                    </a:lnTo>
                    <a:lnTo>
                      <a:pt x="1072515" y="60008"/>
                    </a:lnTo>
                    <a:cubicBezTo>
                      <a:pt x="1072515" y="64770"/>
                      <a:pt x="1073150" y="68580"/>
                      <a:pt x="1074738" y="71120"/>
                    </a:cubicBezTo>
                    <a:cubicBezTo>
                      <a:pt x="1076325" y="73660"/>
                      <a:pt x="1078230" y="75565"/>
                      <a:pt x="1081088" y="76835"/>
                    </a:cubicBezTo>
                    <a:cubicBezTo>
                      <a:pt x="1083628" y="77788"/>
                      <a:pt x="1086803" y="78423"/>
                      <a:pt x="1089978" y="78423"/>
                    </a:cubicBezTo>
                    <a:cubicBezTo>
                      <a:pt x="1092835" y="78423"/>
                      <a:pt x="1095375" y="78105"/>
                      <a:pt x="1097915" y="77788"/>
                    </a:cubicBezTo>
                    <a:cubicBezTo>
                      <a:pt x="1100455" y="77470"/>
                      <a:pt x="1102360" y="76835"/>
                      <a:pt x="1103948" y="75883"/>
                    </a:cubicBezTo>
                    <a:lnTo>
                      <a:pt x="1103948" y="64453"/>
                    </a:lnTo>
                    <a:cubicBezTo>
                      <a:pt x="1102360" y="65088"/>
                      <a:pt x="1100773" y="65405"/>
                      <a:pt x="1099185" y="65723"/>
                    </a:cubicBezTo>
                    <a:cubicBezTo>
                      <a:pt x="1097598" y="66040"/>
                      <a:pt x="1096010" y="66040"/>
                      <a:pt x="1094423" y="66040"/>
                    </a:cubicBezTo>
                    <a:cubicBezTo>
                      <a:pt x="1092200" y="66358"/>
                      <a:pt x="1090613" y="65723"/>
                      <a:pt x="1089342" y="64770"/>
                    </a:cubicBezTo>
                    <a:moveTo>
                      <a:pt x="1039813" y="77470"/>
                    </a:moveTo>
                    <a:lnTo>
                      <a:pt x="1055053" y="77470"/>
                    </a:lnTo>
                    <a:lnTo>
                      <a:pt x="1055053" y="21908"/>
                    </a:lnTo>
                    <a:lnTo>
                      <a:pt x="1039813" y="21908"/>
                    </a:lnTo>
                    <a:lnTo>
                      <a:pt x="1039813" y="77470"/>
                    </a:lnTo>
                    <a:close/>
                    <a:moveTo>
                      <a:pt x="1041400" y="1588"/>
                    </a:moveTo>
                    <a:cubicBezTo>
                      <a:pt x="1039813" y="2540"/>
                      <a:pt x="1038860" y="4445"/>
                      <a:pt x="1038860" y="7303"/>
                    </a:cubicBezTo>
                    <a:cubicBezTo>
                      <a:pt x="1038860" y="10160"/>
                      <a:pt x="1039813" y="12065"/>
                      <a:pt x="1041400" y="13017"/>
                    </a:cubicBezTo>
                    <a:cubicBezTo>
                      <a:pt x="1042988" y="13970"/>
                      <a:pt x="1044892" y="14605"/>
                      <a:pt x="1047115" y="14605"/>
                    </a:cubicBezTo>
                    <a:cubicBezTo>
                      <a:pt x="1049338" y="14605"/>
                      <a:pt x="1051242" y="13970"/>
                      <a:pt x="1052830" y="13017"/>
                    </a:cubicBezTo>
                    <a:cubicBezTo>
                      <a:pt x="1054417" y="12065"/>
                      <a:pt x="1055370" y="10160"/>
                      <a:pt x="1055370" y="7303"/>
                    </a:cubicBezTo>
                    <a:cubicBezTo>
                      <a:pt x="1055370" y="4445"/>
                      <a:pt x="1054417" y="2540"/>
                      <a:pt x="1052830" y="1588"/>
                    </a:cubicBezTo>
                    <a:cubicBezTo>
                      <a:pt x="1051242" y="635"/>
                      <a:pt x="1049338" y="0"/>
                      <a:pt x="1047115" y="0"/>
                    </a:cubicBezTo>
                    <a:cubicBezTo>
                      <a:pt x="1044892" y="317"/>
                      <a:pt x="1042988" y="635"/>
                      <a:pt x="1041400" y="1588"/>
                    </a:cubicBezTo>
                    <a:moveTo>
                      <a:pt x="1026160" y="53023"/>
                    </a:moveTo>
                    <a:cubicBezTo>
                      <a:pt x="1024890" y="50800"/>
                      <a:pt x="1022985" y="49213"/>
                      <a:pt x="1020763" y="47942"/>
                    </a:cubicBezTo>
                    <a:cubicBezTo>
                      <a:pt x="1018540" y="46673"/>
                      <a:pt x="1015683" y="45085"/>
                      <a:pt x="1012508" y="43815"/>
                    </a:cubicBezTo>
                    <a:cubicBezTo>
                      <a:pt x="1009333" y="42545"/>
                      <a:pt x="1006792" y="41275"/>
                      <a:pt x="1005205" y="40640"/>
                    </a:cubicBezTo>
                    <a:cubicBezTo>
                      <a:pt x="1003617" y="39688"/>
                      <a:pt x="1002348" y="39053"/>
                      <a:pt x="1001713" y="38417"/>
                    </a:cubicBezTo>
                    <a:cubicBezTo>
                      <a:pt x="1001077" y="37783"/>
                      <a:pt x="1000760" y="36830"/>
                      <a:pt x="1000760" y="35878"/>
                    </a:cubicBezTo>
                    <a:cubicBezTo>
                      <a:pt x="1000760" y="33338"/>
                      <a:pt x="1002983" y="32067"/>
                      <a:pt x="1007427" y="32067"/>
                    </a:cubicBezTo>
                    <a:cubicBezTo>
                      <a:pt x="1009967" y="32067"/>
                      <a:pt x="1012508" y="32385"/>
                      <a:pt x="1014730" y="33338"/>
                    </a:cubicBezTo>
                    <a:cubicBezTo>
                      <a:pt x="1016952" y="34290"/>
                      <a:pt x="1019810" y="34925"/>
                      <a:pt x="1022350" y="36195"/>
                    </a:cubicBezTo>
                    <a:lnTo>
                      <a:pt x="1026795" y="25400"/>
                    </a:lnTo>
                    <a:cubicBezTo>
                      <a:pt x="1023620" y="23813"/>
                      <a:pt x="1020127" y="22860"/>
                      <a:pt x="1017270" y="21908"/>
                    </a:cubicBezTo>
                    <a:cubicBezTo>
                      <a:pt x="1014095" y="21273"/>
                      <a:pt x="1010920" y="20955"/>
                      <a:pt x="1007427" y="20955"/>
                    </a:cubicBezTo>
                    <a:cubicBezTo>
                      <a:pt x="1000760" y="20955"/>
                      <a:pt x="995363" y="22225"/>
                      <a:pt x="991552" y="24765"/>
                    </a:cubicBezTo>
                    <a:cubicBezTo>
                      <a:pt x="987742" y="27305"/>
                      <a:pt x="985520" y="31115"/>
                      <a:pt x="985520" y="36195"/>
                    </a:cubicBezTo>
                    <a:cubicBezTo>
                      <a:pt x="985520" y="39370"/>
                      <a:pt x="986155" y="41910"/>
                      <a:pt x="987108" y="43815"/>
                    </a:cubicBezTo>
                    <a:cubicBezTo>
                      <a:pt x="988060" y="46038"/>
                      <a:pt x="989965" y="47625"/>
                      <a:pt x="992188" y="49213"/>
                    </a:cubicBezTo>
                    <a:cubicBezTo>
                      <a:pt x="994410" y="50800"/>
                      <a:pt x="997267" y="52070"/>
                      <a:pt x="1000760" y="53658"/>
                    </a:cubicBezTo>
                    <a:cubicBezTo>
                      <a:pt x="1004252" y="55245"/>
                      <a:pt x="1007110" y="56515"/>
                      <a:pt x="1008698" y="57467"/>
                    </a:cubicBezTo>
                    <a:cubicBezTo>
                      <a:pt x="1010285" y="58420"/>
                      <a:pt x="1011555" y="59373"/>
                      <a:pt x="1011873" y="60008"/>
                    </a:cubicBezTo>
                    <a:cubicBezTo>
                      <a:pt x="1012508" y="60642"/>
                      <a:pt x="1012508" y="61595"/>
                      <a:pt x="1012508" y="62548"/>
                    </a:cubicBezTo>
                    <a:cubicBezTo>
                      <a:pt x="1012508" y="63817"/>
                      <a:pt x="1011873" y="65088"/>
                      <a:pt x="1010602" y="66040"/>
                    </a:cubicBezTo>
                    <a:cubicBezTo>
                      <a:pt x="1009333" y="66992"/>
                      <a:pt x="1007110" y="67310"/>
                      <a:pt x="1004252" y="67310"/>
                    </a:cubicBezTo>
                    <a:cubicBezTo>
                      <a:pt x="1001713" y="67310"/>
                      <a:pt x="998538" y="66992"/>
                      <a:pt x="995045" y="66040"/>
                    </a:cubicBezTo>
                    <a:cubicBezTo>
                      <a:pt x="991552" y="65088"/>
                      <a:pt x="988377" y="64135"/>
                      <a:pt x="985520" y="62548"/>
                    </a:cubicBezTo>
                    <a:lnTo>
                      <a:pt x="985520" y="74930"/>
                    </a:lnTo>
                    <a:cubicBezTo>
                      <a:pt x="988377" y="76200"/>
                      <a:pt x="990917" y="76835"/>
                      <a:pt x="993775" y="77470"/>
                    </a:cubicBezTo>
                    <a:cubicBezTo>
                      <a:pt x="996633" y="78105"/>
                      <a:pt x="999808" y="78105"/>
                      <a:pt x="1003617" y="78105"/>
                    </a:cubicBezTo>
                    <a:cubicBezTo>
                      <a:pt x="1011555" y="78105"/>
                      <a:pt x="1017270" y="76517"/>
                      <a:pt x="1021398" y="73660"/>
                    </a:cubicBezTo>
                    <a:cubicBezTo>
                      <a:pt x="1025208" y="70803"/>
                      <a:pt x="1027430" y="66358"/>
                      <a:pt x="1027430" y="60642"/>
                    </a:cubicBezTo>
                    <a:cubicBezTo>
                      <a:pt x="1028065" y="57785"/>
                      <a:pt x="1027430" y="54928"/>
                      <a:pt x="1026160" y="53023"/>
                    </a:cubicBezTo>
                    <a:moveTo>
                      <a:pt x="941070" y="37148"/>
                    </a:moveTo>
                    <a:cubicBezTo>
                      <a:pt x="942975" y="34290"/>
                      <a:pt x="945833" y="33020"/>
                      <a:pt x="949642" y="33020"/>
                    </a:cubicBezTo>
                    <a:cubicBezTo>
                      <a:pt x="953770" y="33020"/>
                      <a:pt x="956627" y="34290"/>
                      <a:pt x="958533" y="37148"/>
                    </a:cubicBezTo>
                    <a:cubicBezTo>
                      <a:pt x="960438" y="40005"/>
                      <a:pt x="961073" y="44133"/>
                      <a:pt x="961073" y="49530"/>
                    </a:cubicBezTo>
                    <a:cubicBezTo>
                      <a:pt x="961073" y="54928"/>
                      <a:pt x="960120" y="59055"/>
                      <a:pt x="958533" y="61913"/>
                    </a:cubicBezTo>
                    <a:cubicBezTo>
                      <a:pt x="956627" y="64770"/>
                      <a:pt x="953770" y="66040"/>
                      <a:pt x="949960" y="66040"/>
                    </a:cubicBezTo>
                    <a:cubicBezTo>
                      <a:pt x="945833" y="66040"/>
                      <a:pt x="942975" y="64770"/>
                      <a:pt x="941070" y="61913"/>
                    </a:cubicBezTo>
                    <a:cubicBezTo>
                      <a:pt x="939165" y="59055"/>
                      <a:pt x="938530" y="54928"/>
                      <a:pt x="938530" y="49530"/>
                    </a:cubicBezTo>
                    <a:cubicBezTo>
                      <a:pt x="938530" y="44133"/>
                      <a:pt x="939165" y="40005"/>
                      <a:pt x="941070" y="37148"/>
                    </a:cubicBezTo>
                    <a:moveTo>
                      <a:pt x="973138" y="33973"/>
                    </a:moveTo>
                    <a:cubicBezTo>
                      <a:pt x="970915" y="29845"/>
                      <a:pt x="967740" y="26353"/>
                      <a:pt x="963613" y="24130"/>
                    </a:cubicBezTo>
                    <a:cubicBezTo>
                      <a:pt x="959485" y="21908"/>
                      <a:pt x="955040" y="20638"/>
                      <a:pt x="949642" y="20638"/>
                    </a:cubicBezTo>
                    <a:cubicBezTo>
                      <a:pt x="941388" y="20638"/>
                      <a:pt x="934720" y="23178"/>
                      <a:pt x="929958" y="27940"/>
                    </a:cubicBezTo>
                    <a:cubicBezTo>
                      <a:pt x="925195" y="33020"/>
                      <a:pt x="922655" y="40005"/>
                      <a:pt x="922655" y="49213"/>
                    </a:cubicBezTo>
                    <a:cubicBezTo>
                      <a:pt x="922655" y="55245"/>
                      <a:pt x="923925" y="60642"/>
                      <a:pt x="926148" y="64770"/>
                    </a:cubicBezTo>
                    <a:cubicBezTo>
                      <a:pt x="928370" y="69215"/>
                      <a:pt x="931545" y="72390"/>
                      <a:pt x="935673" y="74613"/>
                    </a:cubicBezTo>
                    <a:cubicBezTo>
                      <a:pt x="939800" y="76835"/>
                      <a:pt x="944245" y="78105"/>
                      <a:pt x="949325" y="78105"/>
                    </a:cubicBezTo>
                    <a:cubicBezTo>
                      <a:pt x="957580" y="78105"/>
                      <a:pt x="964248" y="75565"/>
                      <a:pt x="969010" y="70485"/>
                    </a:cubicBezTo>
                    <a:cubicBezTo>
                      <a:pt x="973773" y="65405"/>
                      <a:pt x="976313" y="58420"/>
                      <a:pt x="976313" y="49213"/>
                    </a:cubicBezTo>
                    <a:cubicBezTo>
                      <a:pt x="976630" y="43498"/>
                      <a:pt x="975677" y="38417"/>
                      <a:pt x="973138" y="33973"/>
                    </a:cubicBezTo>
                    <a:moveTo>
                      <a:pt x="898525" y="49213"/>
                    </a:moveTo>
                    <a:cubicBezTo>
                      <a:pt x="898525" y="54610"/>
                      <a:pt x="897573" y="58738"/>
                      <a:pt x="895985" y="61595"/>
                    </a:cubicBezTo>
                    <a:cubicBezTo>
                      <a:pt x="894398" y="64453"/>
                      <a:pt x="891858" y="66040"/>
                      <a:pt x="888365" y="66040"/>
                    </a:cubicBezTo>
                    <a:cubicBezTo>
                      <a:pt x="884238" y="66040"/>
                      <a:pt x="881380" y="64453"/>
                      <a:pt x="879792" y="61595"/>
                    </a:cubicBezTo>
                    <a:cubicBezTo>
                      <a:pt x="878205" y="58738"/>
                      <a:pt x="877252" y="54610"/>
                      <a:pt x="877252" y="49213"/>
                    </a:cubicBezTo>
                    <a:lnTo>
                      <a:pt x="877252" y="47625"/>
                    </a:lnTo>
                    <a:cubicBezTo>
                      <a:pt x="877252" y="42545"/>
                      <a:pt x="878205" y="39053"/>
                      <a:pt x="879792" y="36513"/>
                    </a:cubicBezTo>
                    <a:cubicBezTo>
                      <a:pt x="881380" y="33973"/>
                      <a:pt x="884238" y="32703"/>
                      <a:pt x="888048" y="32703"/>
                    </a:cubicBezTo>
                    <a:cubicBezTo>
                      <a:pt x="895033" y="33020"/>
                      <a:pt x="898525" y="38417"/>
                      <a:pt x="898525" y="49213"/>
                    </a:cubicBezTo>
                    <a:moveTo>
                      <a:pt x="883285" y="23178"/>
                    </a:moveTo>
                    <a:cubicBezTo>
                      <a:pt x="880745" y="24765"/>
                      <a:pt x="878840" y="26670"/>
                      <a:pt x="877252" y="28892"/>
                    </a:cubicBezTo>
                    <a:lnTo>
                      <a:pt x="876617" y="28892"/>
                    </a:lnTo>
                    <a:lnTo>
                      <a:pt x="874395" y="21590"/>
                    </a:lnTo>
                    <a:lnTo>
                      <a:pt x="862013" y="21590"/>
                    </a:lnTo>
                    <a:lnTo>
                      <a:pt x="862013" y="101600"/>
                    </a:lnTo>
                    <a:lnTo>
                      <a:pt x="877252" y="101600"/>
                    </a:lnTo>
                    <a:lnTo>
                      <a:pt x="877252" y="79375"/>
                    </a:lnTo>
                    <a:cubicBezTo>
                      <a:pt x="877252" y="76835"/>
                      <a:pt x="876935" y="73978"/>
                      <a:pt x="876300" y="71120"/>
                    </a:cubicBezTo>
                    <a:lnTo>
                      <a:pt x="877252" y="71120"/>
                    </a:lnTo>
                    <a:cubicBezTo>
                      <a:pt x="878840" y="73025"/>
                      <a:pt x="880745" y="74613"/>
                      <a:pt x="882967" y="76200"/>
                    </a:cubicBezTo>
                    <a:cubicBezTo>
                      <a:pt x="885190" y="77788"/>
                      <a:pt x="888365" y="78423"/>
                      <a:pt x="892492" y="78423"/>
                    </a:cubicBezTo>
                    <a:cubicBezTo>
                      <a:pt x="898842" y="78423"/>
                      <a:pt x="903923" y="75883"/>
                      <a:pt x="907733" y="71120"/>
                    </a:cubicBezTo>
                    <a:cubicBezTo>
                      <a:pt x="911542" y="66358"/>
                      <a:pt x="913765" y="59055"/>
                      <a:pt x="913765" y="49530"/>
                    </a:cubicBezTo>
                    <a:cubicBezTo>
                      <a:pt x="913765" y="40005"/>
                      <a:pt x="911860" y="33020"/>
                      <a:pt x="908050" y="28258"/>
                    </a:cubicBezTo>
                    <a:cubicBezTo>
                      <a:pt x="904240" y="23495"/>
                      <a:pt x="899160" y="20955"/>
                      <a:pt x="892810" y="20955"/>
                    </a:cubicBezTo>
                    <a:cubicBezTo>
                      <a:pt x="889000" y="20955"/>
                      <a:pt x="885508" y="21590"/>
                      <a:pt x="883285" y="23178"/>
                    </a:cubicBezTo>
                    <a:moveTo>
                      <a:pt x="802958" y="37148"/>
                    </a:moveTo>
                    <a:cubicBezTo>
                      <a:pt x="804863" y="39688"/>
                      <a:pt x="805815" y="44133"/>
                      <a:pt x="805815" y="49848"/>
                    </a:cubicBezTo>
                    <a:lnTo>
                      <a:pt x="805815" y="51753"/>
                    </a:lnTo>
                    <a:cubicBezTo>
                      <a:pt x="805815" y="57150"/>
                      <a:pt x="804863" y="60960"/>
                      <a:pt x="802958" y="63183"/>
                    </a:cubicBezTo>
                    <a:cubicBezTo>
                      <a:pt x="801052" y="65405"/>
                      <a:pt x="798195" y="66358"/>
                      <a:pt x="794385" y="66358"/>
                    </a:cubicBezTo>
                    <a:cubicBezTo>
                      <a:pt x="787083" y="66358"/>
                      <a:pt x="783590" y="60960"/>
                      <a:pt x="783590" y="49848"/>
                    </a:cubicBezTo>
                    <a:cubicBezTo>
                      <a:pt x="783590" y="38735"/>
                      <a:pt x="787083" y="33020"/>
                      <a:pt x="794385" y="33020"/>
                    </a:cubicBezTo>
                    <a:cubicBezTo>
                      <a:pt x="798195" y="33338"/>
                      <a:pt x="801052" y="34608"/>
                      <a:pt x="802958" y="37148"/>
                    </a:cubicBezTo>
                    <a:moveTo>
                      <a:pt x="773748" y="28575"/>
                    </a:moveTo>
                    <a:cubicBezTo>
                      <a:pt x="769938" y="33655"/>
                      <a:pt x="768033" y="40640"/>
                      <a:pt x="768033" y="49848"/>
                    </a:cubicBezTo>
                    <a:cubicBezTo>
                      <a:pt x="768033" y="58738"/>
                      <a:pt x="769938" y="66040"/>
                      <a:pt x="773430" y="70803"/>
                    </a:cubicBezTo>
                    <a:cubicBezTo>
                      <a:pt x="777240" y="75883"/>
                      <a:pt x="782320" y="78423"/>
                      <a:pt x="788670" y="78423"/>
                    </a:cubicBezTo>
                    <a:cubicBezTo>
                      <a:pt x="791845" y="78423"/>
                      <a:pt x="795020" y="77788"/>
                      <a:pt x="797560" y="76517"/>
                    </a:cubicBezTo>
                    <a:cubicBezTo>
                      <a:pt x="800100" y="75248"/>
                      <a:pt x="802323" y="73025"/>
                      <a:pt x="804227" y="70167"/>
                    </a:cubicBezTo>
                    <a:lnTo>
                      <a:pt x="804545" y="70167"/>
                    </a:lnTo>
                    <a:cubicBezTo>
                      <a:pt x="804545" y="71120"/>
                      <a:pt x="804227" y="72073"/>
                      <a:pt x="804227" y="73342"/>
                    </a:cubicBezTo>
                    <a:cubicBezTo>
                      <a:pt x="804227" y="74613"/>
                      <a:pt x="804227" y="75883"/>
                      <a:pt x="804227" y="76835"/>
                    </a:cubicBezTo>
                    <a:lnTo>
                      <a:pt x="804227" y="78105"/>
                    </a:lnTo>
                    <a:cubicBezTo>
                      <a:pt x="804227" y="86360"/>
                      <a:pt x="800417" y="90805"/>
                      <a:pt x="792480" y="90805"/>
                    </a:cubicBezTo>
                    <a:cubicBezTo>
                      <a:pt x="784860" y="90805"/>
                      <a:pt x="777558" y="89535"/>
                      <a:pt x="770890" y="86678"/>
                    </a:cubicBezTo>
                    <a:lnTo>
                      <a:pt x="770890" y="98742"/>
                    </a:lnTo>
                    <a:cubicBezTo>
                      <a:pt x="774065" y="100013"/>
                      <a:pt x="777240" y="100965"/>
                      <a:pt x="780733" y="101283"/>
                    </a:cubicBezTo>
                    <a:cubicBezTo>
                      <a:pt x="784225" y="101600"/>
                      <a:pt x="787717" y="101917"/>
                      <a:pt x="791527" y="101917"/>
                    </a:cubicBezTo>
                    <a:cubicBezTo>
                      <a:pt x="800735" y="101917"/>
                      <a:pt x="807720" y="99695"/>
                      <a:pt x="812165" y="95567"/>
                    </a:cubicBezTo>
                    <a:cubicBezTo>
                      <a:pt x="816927" y="91440"/>
                      <a:pt x="819150" y="85408"/>
                      <a:pt x="819150" y="77470"/>
                    </a:cubicBezTo>
                    <a:lnTo>
                      <a:pt x="819150" y="21908"/>
                    </a:lnTo>
                    <a:lnTo>
                      <a:pt x="806450" y="21908"/>
                    </a:lnTo>
                    <a:lnTo>
                      <a:pt x="805180" y="28892"/>
                    </a:lnTo>
                    <a:lnTo>
                      <a:pt x="804863" y="28892"/>
                    </a:lnTo>
                    <a:cubicBezTo>
                      <a:pt x="801052" y="23495"/>
                      <a:pt x="795655" y="20638"/>
                      <a:pt x="788670" y="20638"/>
                    </a:cubicBezTo>
                    <a:cubicBezTo>
                      <a:pt x="782638" y="20955"/>
                      <a:pt x="777558" y="23495"/>
                      <a:pt x="773748" y="28575"/>
                    </a:cubicBezTo>
                    <a:moveTo>
                      <a:pt x="726123" y="22860"/>
                    </a:moveTo>
                    <a:cubicBezTo>
                      <a:pt x="722948" y="24130"/>
                      <a:pt x="720725" y="26353"/>
                      <a:pt x="718820" y="29210"/>
                    </a:cubicBezTo>
                    <a:lnTo>
                      <a:pt x="717867" y="29210"/>
                    </a:lnTo>
                    <a:lnTo>
                      <a:pt x="715963" y="22225"/>
                    </a:lnTo>
                    <a:lnTo>
                      <a:pt x="704533" y="22225"/>
                    </a:lnTo>
                    <a:lnTo>
                      <a:pt x="704533" y="77788"/>
                    </a:lnTo>
                    <a:lnTo>
                      <a:pt x="719773" y="77788"/>
                    </a:lnTo>
                    <a:lnTo>
                      <a:pt x="719773" y="51753"/>
                    </a:lnTo>
                    <a:cubicBezTo>
                      <a:pt x="719773" y="45720"/>
                      <a:pt x="720725" y="41275"/>
                      <a:pt x="722313" y="38100"/>
                    </a:cubicBezTo>
                    <a:cubicBezTo>
                      <a:pt x="723900" y="34925"/>
                      <a:pt x="727075" y="33338"/>
                      <a:pt x="731838" y="33338"/>
                    </a:cubicBezTo>
                    <a:cubicBezTo>
                      <a:pt x="735013" y="33338"/>
                      <a:pt x="737235" y="34290"/>
                      <a:pt x="738505" y="36195"/>
                    </a:cubicBezTo>
                    <a:cubicBezTo>
                      <a:pt x="739775" y="38100"/>
                      <a:pt x="740727" y="41275"/>
                      <a:pt x="740727" y="45085"/>
                    </a:cubicBezTo>
                    <a:lnTo>
                      <a:pt x="740727" y="77470"/>
                    </a:lnTo>
                    <a:lnTo>
                      <a:pt x="755967" y="77470"/>
                    </a:lnTo>
                    <a:lnTo>
                      <a:pt x="755967" y="41275"/>
                    </a:lnTo>
                    <a:cubicBezTo>
                      <a:pt x="755967" y="34290"/>
                      <a:pt x="754063" y="28892"/>
                      <a:pt x="750570" y="25717"/>
                    </a:cubicBezTo>
                    <a:cubicBezTo>
                      <a:pt x="747077" y="22542"/>
                      <a:pt x="742315" y="20955"/>
                      <a:pt x="736283" y="20955"/>
                    </a:cubicBezTo>
                    <a:cubicBezTo>
                      <a:pt x="732473" y="20955"/>
                      <a:pt x="729298" y="21590"/>
                      <a:pt x="726123" y="22860"/>
                    </a:cubicBezTo>
                    <a:moveTo>
                      <a:pt x="673417" y="77470"/>
                    </a:moveTo>
                    <a:lnTo>
                      <a:pt x="688658" y="77470"/>
                    </a:lnTo>
                    <a:lnTo>
                      <a:pt x="688658" y="21908"/>
                    </a:lnTo>
                    <a:lnTo>
                      <a:pt x="673417" y="21908"/>
                    </a:lnTo>
                    <a:lnTo>
                      <a:pt x="673417" y="77470"/>
                    </a:lnTo>
                    <a:close/>
                    <a:moveTo>
                      <a:pt x="675323" y="1588"/>
                    </a:moveTo>
                    <a:cubicBezTo>
                      <a:pt x="673735" y="2540"/>
                      <a:pt x="672783" y="4445"/>
                      <a:pt x="672783" y="7303"/>
                    </a:cubicBezTo>
                    <a:cubicBezTo>
                      <a:pt x="672783" y="10160"/>
                      <a:pt x="673735" y="12065"/>
                      <a:pt x="675323" y="13017"/>
                    </a:cubicBezTo>
                    <a:cubicBezTo>
                      <a:pt x="676910" y="13970"/>
                      <a:pt x="678815" y="14605"/>
                      <a:pt x="681038" y="14605"/>
                    </a:cubicBezTo>
                    <a:cubicBezTo>
                      <a:pt x="683260" y="14605"/>
                      <a:pt x="685165" y="13970"/>
                      <a:pt x="686752" y="13017"/>
                    </a:cubicBezTo>
                    <a:cubicBezTo>
                      <a:pt x="688340" y="12065"/>
                      <a:pt x="689292" y="10160"/>
                      <a:pt x="689292" y="7303"/>
                    </a:cubicBezTo>
                    <a:cubicBezTo>
                      <a:pt x="689292" y="4445"/>
                      <a:pt x="688340" y="2540"/>
                      <a:pt x="686752" y="1588"/>
                    </a:cubicBezTo>
                    <a:cubicBezTo>
                      <a:pt x="685165" y="635"/>
                      <a:pt x="683260" y="0"/>
                      <a:pt x="681038" y="0"/>
                    </a:cubicBezTo>
                    <a:cubicBezTo>
                      <a:pt x="678815" y="317"/>
                      <a:pt x="676910" y="635"/>
                      <a:pt x="675323" y="1588"/>
                    </a:cubicBezTo>
                    <a:moveTo>
                      <a:pt x="624205" y="62230"/>
                    </a:moveTo>
                    <a:cubicBezTo>
                      <a:pt x="622300" y="59373"/>
                      <a:pt x="621348" y="55563"/>
                      <a:pt x="621348" y="49848"/>
                    </a:cubicBezTo>
                    <a:cubicBezTo>
                      <a:pt x="621348" y="44133"/>
                      <a:pt x="622300" y="40323"/>
                      <a:pt x="624205" y="37465"/>
                    </a:cubicBezTo>
                    <a:cubicBezTo>
                      <a:pt x="626110" y="34608"/>
                      <a:pt x="628650" y="33020"/>
                      <a:pt x="632142" y="33020"/>
                    </a:cubicBezTo>
                    <a:cubicBezTo>
                      <a:pt x="636588" y="33020"/>
                      <a:pt x="639763" y="34608"/>
                      <a:pt x="641350" y="37465"/>
                    </a:cubicBezTo>
                    <a:cubicBezTo>
                      <a:pt x="642938" y="40323"/>
                      <a:pt x="643890" y="44450"/>
                      <a:pt x="643890" y="49848"/>
                    </a:cubicBezTo>
                    <a:lnTo>
                      <a:pt x="643890" y="51435"/>
                    </a:lnTo>
                    <a:cubicBezTo>
                      <a:pt x="643890" y="56515"/>
                      <a:pt x="642938" y="60008"/>
                      <a:pt x="641033" y="62548"/>
                    </a:cubicBezTo>
                    <a:cubicBezTo>
                      <a:pt x="639445" y="65088"/>
                      <a:pt x="636588" y="66358"/>
                      <a:pt x="632142" y="66358"/>
                    </a:cubicBezTo>
                    <a:cubicBezTo>
                      <a:pt x="628650" y="66358"/>
                      <a:pt x="626110" y="65088"/>
                      <a:pt x="624205" y="62230"/>
                    </a:cubicBezTo>
                    <a:moveTo>
                      <a:pt x="636588" y="75883"/>
                    </a:moveTo>
                    <a:cubicBezTo>
                      <a:pt x="639127" y="74295"/>
                      <a:pt x="641033" y="72390"/>
                      <a:pt x="642620" y="70167"/>
                    </a:cubicBezTo>
                    <a:lnTo>
                      <a:pt x="643255" y="70167"/>
                    </a:lnTo>
                    <a:lnTo>
                      <a:pt x="646113" y="77470"/>
                    </a:lnTo>
                    <a:lnTo>
                      <a:pt x="657542" y="77470"/>
                    </a:lnTo>
                    <a:lnTo>
                      <a:pt x="657542" y="317"/>
                    </a:lnTo>
                    <a:lnTo>
                      <a:pt x="642302" y="317"/>
                    </a:lnTo>
                    <a:lnTo>
                      <a:pt x="642302" y="18098"/>
                    </a:lnTo>
                    <a:cubicBezTo>
                      <a:pt x="642302" y="20320"/>
                      <a:pt x="642302" y="22225"/>
                      <a:pt x="642620" y="24448"/>
                    </a:cubicBezTo>
                    <a:cubicBezTo>
                      <a:pt x="642938" y="26670"/>
                      <a:pt x="643255" y="27940"/>
                      <a:pt x="643255" y="29210"/>
                    </a:cubicBezTo>
                    <a:lnTo>
                      <a:pt x="642620" y="29210"/>
                    </a:lnTo>
                    <a:cubicBezTo>
                      <a:pt x="641033" y="26988"/>
                      <a:pt x="639127" y="25083"/>
                      <a:pt x="636588" y="23495"/>
                    </a:cubicBezTo>
                    <a:cubicBezTo>
                      <a:pt x="634048" y="21908"/>
                      <a:pt x="630873" y="21273"/>
                      <a:pt x="626745" y="21273"/>
                    </a:cubicBezTo>
                    <a:cubicBezTo>
                      <a:pt x="620395" y="21273"/>
                      <a:pt x="615315" y="23813"/>
                      <a:pt x="611188" y="28575"/>
                    </a:cubicBezTo>
                    <a:cubicBezTo>
                      <a:pt x="607377" y="33338"/>
                      <a:pt x="605155" y="40640"/>
                      <a:pt x="605155" y="50165"/>
                    </a:cubicBezTo>
                    <a:cubicBezTo>
                      <a:pt x="605155" y="59690"/>
                      <a:pt x="607060" y="66675"/>
                      <a:pt x="610870" y="71438"/>
                    </a:cubicBezTo>
                    <a:cubicBezTo>
                      <a:pt x="614680" y="76200"/>
                      <a:pt x="619760" y="78740"/>
                      <a:pt x="626110" y="78740"/>
                    </a:cubicBezTo>
                    <a:cubicBezTo>
                      <a:pt x="630873" y="78423"/>
                      <a:pt x="634048" y="77470"/>
                      <a:pt x="636588" y="75883"/>
                    </a:cubicBezTo>
                    <a:moveTo>
                      <a:pt x="578485" y="56198"/>
                    </a:moveTo>
                    <a:cubicBezTo>
                      <a:pt x="578485" y="59690"/>
                      <a:pt x="577215" y="62548"/>
                      <a:pt x="574992" y="64453"/>
                    </a:cubicBezTo>
                    <a:cubicBezTo>
                      <a:pt x="572770" y="66358"/>
                      <a:pt x="569913" y="67310"/>
                      <a:pt x="566738" y="67310"/>
                    </a:cubicBezTo>
                    <a:cubicBezTo>
                      <a:pt x="564515" y="67310"/>
                      <a:pt x="562927" y="66675"/>
                      <a:pt x="561340" y="65723"/>
                    </a:cubicBezTo>
                    <a:cubicBezTo>
                      <a:pt x="560070" y="64770"/>
                      <a:pt x="559435" y="63183"/>
                      <a:pt x="559435" y="60642"/>
                    </a:cubicBezTo>
                    <a:cubicBezTo>
                      <a:pt x="559435" y="58103"/>
                      <a:pt x="560388" y="55880"/>
                      <a:pt x="562292" y="54292"/>
                    </a:cubicBezTo>
                    <a:cubicBezTo>
                      <a:pt x="564198" y="52705"/>
                      <a:pt x="567690" y="51753"/>
                      <a:pt x="572452" y="51753"/>
                    </a:cubicBezTo>
                    <a:lnTo>
                      <a:pt x="578485" y="51435"/>
                    </a:lnTo>
                    <a:lnTo>
                      <a:pt x="578485" y="56198"/>
                    </a:lnTo>
                    <a:close/>
                    <a:moveTo>
                      <a:pt x="559117" y="22225"/>
                    </a:moveTo>
                    <a:cubicBezTo>
                      <a:pt x="555308" y="23178"/>
                      <a:pt x="552133" y="24448"/>
                      <a:pt x="549275" y="25717"/>
                    </a:cubicBezTo>
                    <a:lnTo>
                      <a:pt x="554355" y="35878"/>
                    </a:lnTo>
                    <a:cubicBezTo>
                      <a:pt x="556895" y="34608"/>
                      <a:pt x="559435" y="33655"/>
                      <a:pt x="561975" y="33020"/>
                    </a:cubicBezTo>
                    <a:cubicBezTo>
                      <a:pt x="564515" y="32385"/>
                      <a:pt x="567055" y="31750"/>
                      <a:pt x="569913" y="31750"/>
                    </a:cubicBezTo>
                    <a:cubicBezTo>
                      <a:pt x="572770" y="31750"/>
                      <a:pt x="574675" y="32385"/>
                      <a:pt x="576263" y="33655"/>
                    </a:cubicBezTo>
                    <a:cubicBezTo>
                      <a:pt x="577850" y="34925"/>
                      <a:pt x="578485" y="37148"/>
                      <a:pt x="578485" y="40005"/>
                    </a:cubicBezTo>
                    <a:lnTo>
                      <a:pt x="578485" y="42545"/>
                    </a:lnTo>
                    <a:lnTo>
                      <a:pt x="568960" y="42863"/>
                    </a:lnTo>
                    <a:cubicBezTo>
                      <a:pt x="560705" y="43180"/>
                      <a:pt x="554355" y="44767"/>
                      <a:pt x="550227" y="47625"/>
                    </a:cubicBezTo>
                    <a:cubicBezTo>
                      <a:pt x="546100" y="50483"/>
                      <a:pt x="543877" y="54610"/>
                      <a:pt x="543877" y="60642"/>
                    </a:cubicBezTo>
                    <a:cubicBezTo>
                      <a:pt x="543877" y="66675"/>
                      <a:pt x="545465" y="71120"/>
                      <a:pt x="548640" y="73978"/>
                    </a:cubicBezTo>
                    <a:cubicBezTo>
                      <a:pt x="551815" y="76835"/>
                      <a:pt x="555942" y="78105"/>
                      <a:pt x="561023" y="78105"/>
                    </a:cubicBezTo>
                    <a:cubicBezTo>
                      <a:pt x="565785" y="78105"/>
                      <a:pt x="569277" y="77470"/>
                      <a:pt x="571817" y="76200"/>
                    </a:cubicBezTo>
                    <a:cubicBezTo>
                      <a:pt x="574358" y="74930"/>
                      <a:pt x="576898" y="72708"/>
                      <a:pt x="579438" y="69850"/>
                    </a:cubicBezTo>
                    <a:lnTo>
                      <a:pt x="579755" y="69850"/>
                    </a:lnTo>
                    <a:lnTo>
                      <a:pt x="582613" y="77470"/>
                    </a:lnTo>
                    <a:lnTo>
                      <a:pt x="593090" y="77470"/>
                    </a:lnTo>
                    <a:lnTo>
                      <a:pt x="593090" y="40640"/>
                    </a:lnTo>
                    <a:cubicBezTo>
                      <a:pt x="593090" y="33973"/>
                      <a:pt x="591185" y="29210"/>
                      <a:pt x="587058" y="25717"/>
                    </a:cubicBezTo>
                    <a:cubicBezTo>
                      <a:pt x="583248" y="22542"/>
                      <a:pt x="577533" y="20955"/>
                      <a:pt x="569913" y="20955"/>
                    </a:cubicBezTo>
                    <a:cubicBezTo>
                      <a:pt x="566738" y="20638"/>
                      <a:pt x="562927" y="21273"/>
                      <a:pt x="559117" y="22225"/>
                    </a:cubicBezTo>
                    <a:moveTo>
                      <a:pt x="518795" y="34925"/>
                    </a:moveTo>
                    <a:cubicBezTo>
                      <a:pt x="520383" y="37148"/>
                      <a:pt x="521335" y="40005"/>
                      <a:pt x="521335" y="43180"/>
                    </a:cubicBezTo>
                    <a:lnTo>
                      <a:pt x="500063" y="43180"/>
                    </a:lnTo>
                    <a:cubicBezTo>
                      <a:pt x="500380" y="39053"/>
                      <a:pt x="501650" y="36195"/>
                      <a:pt x="503555" y="34290"/>
                    </a:cubicBezTo>
                    <a:cubicBezTo>
                      <a:pt x="505460" y="32385"/>
                      <a:pt x="508000" y="31433"/>
                      <a:pt x="510858" y="31433"/>
                    </a:cubicBezTo>
                    <a:cubicBezTo>
                      <a:pt x="514350" y="31750"/>
                      <a:pt x="516890" y="32703"/>
                      <a:pt x="518795" y="34925"/>
                    </a:cubicBezTo>
                    <a:moveTo>
                      <a:pt x="496888" y="24130"/>
                    </a:moveTo>
                    <a:cubicBezTo>
                      <a:pt x="493077" y="26353"/>
                      <a:pt x="489902" y="29528"/>
                      <a:pt x="487680" y="33973"/>
                    </a:cubicBezTo>
                    <a:cubicBezTo>
                      <a:pt x="485458" y="38417"/>
                      <a:pt x="484505" y="43815"/>
                      <a:pt x="484505" y="50165"/>
                    </a:cubicBezTo>
                    <a:cubicBezTo>
                      <a:pt x="484505" y="56515"/>
                      <a:pt x="485775" y="61913"/>
                      <a:pt x="487998" y="66040"/>
                    </a:cubicBezTo>
                    <a:cubicBezTo>
                      <a:pt x="490220" y="70167"/>
                      <a:pt x="493713" y="73342"/>
                      <a:pt x="498158" y="75248"/>
                    </a:cubicBezTo>
                    <a:cubicBezTo>
                      <a:pt x="502285" y="77470"/>
                      <a:pt x="507365" y="78423"/>
                      <a:pt x="512763" y="78423"/>
                    </a:cubicBezTo>
                    <a:cubicBezTo>
                      <a:pt x="516890" y="78423"/>
                      <a:pt x="520700" y="78105"/>
                      <a:pt x="523558" y="77470"/>
                    </a:cubicBezTo>
                    <a:cubicBezTo>
                      <a:pt x="526415" y="76835"/>
                      <a:pt x="529273" y="75883"/>
                      <a:pt x="532130" y="74613"/>
                    </a:cubicBezTo>
                    <a:lnTo>
                      <a:pt x="532130" y="62865"/>
                    </a:lnTo>
                    <a:cubicBezTo>
                      <a:pt x="528955" y="64453"/>
                      <a:pt x="526098" y="65405"/>
                      <a:pt x="522923" y="66040"/>
                    </a:cubicBezTo>
                    <a:cubicBezTo>
                      <a:pt x="520065" y="66675"/>
                      <a:pt x="516890" y="66992"/>
                      <a:pt x="513080" y="66992"/>
                    </a:cubicBezTo>
                    <a:cubicBezTo>
                      <a:pt x="508952" y="66992"/>
                      <a:pt x="505460" y="65723"/>
                      <a:pt x="502920" y="63183"/>
                    </a:cubicBezTo>
                    <a:cubicBezTo>
                      <a:pt x="500380" y="60642"/>
                      <a:pt x="499110" y="57467"/>
                      <a:pt x="499110" y="53023"/>
                    </a:cubicBezTo>
                    <a:lnTo>
                      <a:pt x="534988" y="53023"/>
                    </a:lnTo>
                    <a:lnTo>
                      <a:pt x="534988" y="45720"/>
                    </a:lnTo>
                    <a:cubicBezTo>
                      <a:pt x="534988" y="37783"/>
                      <a:pt x="532765" y="31433"/>
                      <a:pt x="528320" y="26988"/>
                    </a:cubicBezTo>
                    <a:cubicBezTo>
                      <a:pt x="523875" y="22542"/>
                      <a:pt x="517842" y="20320"/>
                      <a:pt x="510223" y="20320"/>
                    </a:cubicBezTo>
                    <a:cubicBezTo>
                      <a:pt x="505460" y="20955"/>
                      <a:pt x="501015" y="21908"/>
                      <a:pt x="496888" y="24130"/>
                    </a:cubicBezTo>
                    <a:moveTo>
                      <a:pt x="472123" y="317"/>
                    </a:moveTo>
                    <a:lnTo>
                      <a:pt x="456883" y="317"/>
                    </a:lnTo>
                    <a:lnTo>
                      <a:pt x="456883" y="77470"/>
                    </a:lnTo>
                    <a:lnTo>
                      <a:pt x="472123" y="77470"/>
                    </a:lnTo>
                    <a:lnTo>
                      <a:pt x="472123" y="317"/>
                    </a:lnTo>
                    <a:close/>
                    <a:moveTo>
                      <a:pt x="399733" y="56198"/>
                    </a:moveTo>
                    <a:cubicBezTo>
                      <a:pt x="399733" y="59690"/>
                      <a:pt x="398463" y="62548"/>
                      <a:pt x="396240" y="64453"/>
                    </a:cubicBezTo>
                    <a:cubicBezTo>
                      <a:pt x="394017" y="66358"/>
                      <a:pt x="391160" y="67310"/>
                      <a:pt x="387985" y="67310"/>
                    </a:cubicBezTo>
                    <a:cubicBezTo>
                      <a:pt x="385763" y="67310"/>
                      <a:pt x="384175" y="66675"/>
                      <a:pt x="382588" y="65723"/>
                    </a:cubicBezTo>
                    <a:cubicBezTo>
                      <a:pt x="381317" y="64770"/>
                      <a:pt x="380683" y="63183"/>
                      <a:pt x="380683" y="60642"/>
                    </a:cubicBezTo>
                    <a:cubicBezTo>
                      <a:pt x="380683" y="58103"/>
                      <a:pt x="381635" y="55880"/>
                      <a:pt x="383540" y="54292"/>
                    </a:cubicBezTo>
                    <a:cubicBezTo>
                      <a:pt x="385445" y="52705"/>
                      <a:pt x="388938" y="51753"/>
                      <a:pt x="393700" y="51753"/>
                    </a:cubicBezTo>
                    <a:lnTo>
                      <a:pt x="399733" y="51435"/>
                    </a:lnTo>
                    <a:lnTo>
                      <a:pt x="399733" y="56198"/>
                    </a:lnTo>
                    <a:close/>
                    <a:moveTo>
                      <a:pt x="380365" y="22225"/>
                    </a:moveTo>
                    <a:cubicBezTo>
                      <a:pt x="376555" y="23178"/>
                      <a:pt x="373380" y="24448"/>
                      <a:pt x="370523" y="25717"/>
                    </a:cubicBezTo>
                    <a:lnTo>
                      <a:pt x="375602" y="35878"/>
                    </a:lnTo>
                    <a:cubicBezTo>
                      <a:pt x="378142" y="34608"/>
                      <a:pt x="380683" y="33655"/>
                      <a:pt x="383223" y="33020"/>
                    </a:cubicBezTo>
                    <a:cubicBezTo>
                      <a:pt x="385763" y="32385"/>
                      <a:pt x="388302" y="31750"/>
                      <a:pt x="391160" y="31750"/>
                    </a:cubicBezTo>
                    <a:cubicBezTo>
                      <a:pt x="394017" y="31750"/>
                      <a:pt x="395923" y="32385"/>
                      <a:pt x="397510" y="33655"/>
                    </a:cubicBezTo>
                    <a:cubicBezTo>
                      <a:pt x="399098" y="34925"/>
                      <a:pt x="399733" y="37148"/>
                      <a:pt x="399733" y="40005"/>
                    </a:cubicBezTo>
                    <a:lnTo>
                      <a:pt x="399733" y="42545"/>
                    </a:lnTo>
                    <a:lnTo>
                      <a:pt x="390208" y="42863"/>
                    </a:lnTo>
                    <a:cubicBezTo>
                      <a:pt x="381952" y="43180"/>
                      <a:pt x="375602" y="44767"/>
                      <a:pt x="371475" y="47625"/>
                    </a:cubicBezTo>
                    <a:cubicBezTo>
                      <a:pt x="367348" y="50483"/>
                      <a:pt x="365125" y="54610"/>
                      <a:pt x="365125" y="60642"/>
                    </a:cubicBezTo>
                    <a:cubicBezTo>
                      <a:pt x="365125" y="66675"/>
                      <a:pt x="366713" y="71120"/>
                      <a:pt x="369888" y="73978"/>
                    </a:cubicBezTo>
                    <a:cubicBezTo>
                      <a:pt x="373063" y="76835"/>
                      <a:pt x="377190" y="78105"/>
                      <a:pt x="382270" y="78105"/>
                    </a:cubicBezTo>
                    <a:cubicBezTo>
                      <a:pt x="386715" y="78105"/>
                      <a:pt x="390525" y="77470"/>
                      <a:pt x="393065" y="76200"/>
                    </a:cubicBezTo>
                    <a:cubicBezTo>
                      <a:pt x="395605" y="74930"/>
                      <a:pt x="398145" y="72708"/>
                      <a:pt x="400685" y="69850"/>
                    </a:cubicBezTo>
                    <a:lnTo>
                      <a:pt x="401002" y="69850"/>
                    </a:lnTo>
                    <a:lnTo>
                      <a:pt x="403860" y="77470"/>
                    </a:lnTo>
                    <a:lnTo>
                      <a:pt x="414338" y="77470"/>
                    </a:lnTo>
                    <a:lnTo>
                      <a:pt x="414338" y="40640"/>
                    </a:lnTo>
                    <a:cubicBezTo>
                      <a:pt x="414338" y="33973"/>
                      <a:pt x="412433" y="29210"/>
                      <a:pt x="408305" y="25717"/>
                    </a:cubicBezTo>
                    <a:cubicBezTo>
                      <a:pt x="404177" y="22225"/>
                      <a:pt x="398780" y="20955"/>
                      <a:pt x="391160" y="20955"/>
                    </a:cubicBezTo>
                    <a:cubicBezTo>
                      <a:pt x="387985" y="20638"/>
                      <a:pt x="384175" y="21273"/>
                      <a:pt x="380365" y="22225"/>
                    </a:cubicBezTo>
                    <a:moveTo>
                      <a:pt x="313373" y="34925"/>
                    </a:moveTo>
                    <a:cubicBezTo>
                      <a:pt x="314960" y="37148"/>
                      <a:pt x="315913" y="40005"/>
                      <a:pt x="315913" y="43180"/>
                    </a:cubicBezTo>
                    <a:lnTo>
                      <a:pt x="294640" y="43180"/>
                    </a:lnTo>
                    <a:cubicBezTo>
                      <a:pt x="294958" y="39053"/>
                      <a:pt x="296227" y="36195"/>
                      <a:pt x="298133" y="34290"/>
                    </a:cubicBezTo>
                    <a:cubicBezTo>
                      <a:pt x="300038" y="32385"/>
                      <a:pt x="302577" y="31433"/>
                      <a:pt x="305435" y="31433"/>
                    </a:cubicBezTo>
                    <a:cubicBezTo>
                      <a:pt x="308927" y="31750"/>
                      <a:pt x="311785" y="32703"/>
                      <a:pt x="313373" y="34925"/>
                    </a:cubicBezTo>
                    <a:moveTo>
                      <a:pt x="291783" y="24130"/>
                    </a:moveTo>
                    <a:cubicBezTo>
                      <a:pt x="287973" y="26353"/>
                      <a:pt x="284798" y="29528"/>
                      <a:pt x="282575" y="33973"/>
                    </a:cubicBezTo>
                    <a:cubicBezTo>
                      <a:pt x="280352" y="38417"/>
                      <a:pt x="279400" y="43815"/>
                      <a:pt x="279400" y="50165"/>
                    </a:cubicBezTo>
                    <a:cubicBezTo>
                      <a:pt x="279400" y="56515"/>
                      <a:pt x="280670" y="61913"/>
                      <a:pt x="283210" y="66040"/>
                    </a:cubicBezTo>
                    <a:cubicBezTo>
                      <a:pt x="285750" y="70167"/>
                      <a:pt x="288925" y="73342"/>
                      <a:pt x="293370" y="75248"/>
                    </a:cubicBezTo>
                    <a:cubicBezTo>
                      <a:pt x="297498" y="77470"/>
                      <a:pt x="302577" y="78423"/>
                      <a:pt x="307975" y="78423"/>
                    </a:cubicBezTo>
                    <a:cubicBezTo>
                      <a:pt x="312102" y="78423"/>
                      <a:pt x="315913" y="78105"/>
                      <a:pt x="318770" y="77470"/>
                    </a:cubicBezTo>
                    <a:cubicBezTo>
                      <a:pt x="321627" y="76835"/>
                      <a:pt x="324485" y="75883"/>
                      <a:pt x="327342" y="74613"/>
                    </a:cubicBezTo>
                    <a:lnTo>
                      <a:pt x="327342" y="62865"/>
                    </a:lnTo>
                    <a:cubicBezTo>
                      <a:pt x="324167" y="64453"/>
                      <a:pt x="321310" y="65405"/>
                      <a:pt x="318135" y="66040"/>
                    </a:cubicBezTo>
                    <a:cubicBezTo>
                      <a:pt x="315277" y="66675"/>
                      <a:pt x="312102" y="66992"/>
                      <a:pt x="308292" y="66992"/>
                    </a:cubicBezTo>
                    <a:cubicBezTo>
                      <a:pt x="304165" y="66992"/>
                      <a:pt x="300673" y="65723"/>
                      <a:pt x="298133" y="63183"/>
                    </a:cubicBezTo>
                    <a:cubicBezTo>
                      <a:pt x="295592" y="60642"/>
                      <a:pt x="294323" y="57467"/>
                      <a:pt x="294323" y="53023"/>
                    </a:cubicBezTo>
                    <a:lnTo>
                      <a:pt x="330200" y="53023"/>
                    </a:lnTo>
                    <a:lnTo>
                      <a:pt x="330200" y="45720"/>
                    </a:lnTo>
                    <a:cubicBezTo>
                      <a:pt x="330200" y="37783"/>
                      <a:pt x="327977" y="31433"/>
                      <a:pt x="323533" y="26988"/>
                    </a:cubicBezTo>
                    <a:cubicBezTo>
                      <a:pt x="319088" y="22542"/>
                      <a:pt x="313055" y="20320"/>
                      <a:pt x="305435" y="20320"/>
                    </a:cubicBezTo>
                    <a:cubicBezTo>
                      <a:pt x="300355" y="20955"/>
                      <a:pt x="295592" y="21908"/>
                      <a:pt x="291783" y="24130"/>
                    </a:cubicBezTo>
                    <a:moveTo>
                      <a:pt x="259715" y="23813"/>
                    </a:moveTo>
                    <a:cubicBezTo>
                      <a:pt x="256858" y="25717"/>
                      <a:pt x="254635" y="28258"/>
                      <a:pt x="253048" y="31115"/>
                    </a:cubicBezTo>
                    <a:lnTo>
                      <a:pt x="252413" y="31115"/>
                    </a:lnTo>
                    <a:lnTo>
                      <a:pt x="250190" y="21908"/>
                    </a:lnTo>
                    <a:lnTo>
                      <a:pt x="238760" y="21908"/>
                    </a:lnTo>
                    <a:lnTo>
                      <a:pt x="238760" y="77470"/>
                    </a:lnTo>
                    <a:lnTo>
                      <a:pt x="254000" y="77470"/>
                    </a:lnTo>
                    <a:lnTo>
                      <a:pt x="254000" y="49213"/>
                    </a:lnTo>
                    <a:cubicBezTo>
                      <a:pt x="254000" y="45720"/>
                      <a:pt x="254635" y="42863"/>
                      <a:pt x="256223" y="40958"/>
                    </a:cubicBezTo>
                    <a:cubicBezTo>
                      <a:pt x="257810" y="39053"/>
                      <a:pt x="259715" y="37465"/>
                      <a:pt x="261938" y="36513"/>
                    </a:cubicBezTo>
                    <a:cubicBezTo>
                      <a:pt x="264160" y="35560"/>
                      <a:pt x="266700" y="35242"/>
                      <a:pt x="269240" y="35242"/>
                    </a:cubicBezTo>
                    <a:cubicBezTo>
                      <a:pt x="269875" y="35242"/>
                      <a:pt x="270827" y="35242"/>
                      <a:pt x="271463" y="35242"/>
                    </a:cubicBezTo>
                    <a:cubicBezTo>
                      <a:pt x="272415" y="35242"/>
                      <a:pt x="273050" y="35560"/>
                      <a:pt x="273685" y="35560"/>
                    </a:cubicBezTo>
                    <a:lnTo>
                      <a:pt x="274955" y="21273"/>
                    </a:lnTo>
                    <a:cubicBezTo>
                      <a:pt x="274320" y="21273"/>
                      <a:pt x="273685" y="20955"/>
                      <a:pt x="272415" y="20955"/>
                    </a:cubicBezTo>
                    <a:cubicBezTo>
                      <a:pt x="271463" y="20955"/>
                      <a:pt x="270510" y="20955"/>
                      <a:pt x="269875" y="20955"/>
                    </a:cubicBezTo>
                    <a:cubicBezTo>
                      <a:pt x="265748" y="20955"/>
                      <a:pt x="262573" y="21908"/>
                      <a:pt x="259715" y="23813"/>
                    </a:cubicBezTo>
                    <a:moveTo>
                      <a:pt x="207645" y="21908"/>
                    </a:moveTo>
                    <a:lnTo>
                      <a:pt x="207645" y="47942"/>
                    </a:lnTo>
                    <a:cubicBezTo>
                      <a:pt x="207645" y="53975"/>
                      <a:pt x="206692" y="58420"/>
                      <a:pt x="205105" y="61595"/>
                    </a:cubicBezTo>
                    <a:cubicBezTo>
                      <a:pt x="203517" y="64770"/>
                      <a:pt x="200342" y="66358"/>
                      <a:pt x="195580" y="66358"/>
                    </a:cubicBezTo>
                    <a:cubicBezTo>
                      <a:pt x="192405" y="66358"/>
                      <a:pt x="190183" y="65405"/>
                      <a:pt x="188913" y="63500"/>
                    </a:cubicBezTo>
                    <a:cubicBezTo>
                      <a:pt x="187642" y="61595"/>
                      <a:pt x="186690" y="58420"/>
                      <a:pt x="186690" y="54610"/>
                    </a:cubicBezTo>
                    <a:lnTo>
                      <a:pt x="186690" y="22225"/>
                    </a:lnTo>
                    <a:lnTo>
                      <a:pt x="171450" y="22225"/>
                    </a:lnTo>
                    <a:lnTo>
                      <a:pt x="171450" y="58420"/>
                    </a:lnTo>
                    <a:cubicBezTo>
                      <a:pt x="171450" y="65405"/>
                      <a:pt x="173355" y="70803"/>
                      <a:pt x="176848" y="73978"/>
                    </a:cubicBezTo>
                    <a:cubicBezTo>
                      <a:pt x="180340" y="77153"/>
                      <a:pt x="185102" y="78740"/>
                      <a:pt x="191135" y="78740"/>
                    </a:cubicBezTo>
                    <a:cubicBezTo>
                      <a:pt x="194627" y="78740"/>
                      <a:pt x="197802" y="78105"/>
                      <a:pt x="200977" y="76835"/>
                    </a:cubicBezTo>
                    <a:cubicBezTo>
                      <a:pt x="204152" y="75565"/>
                      <a:pt x="206375" y="73342"/>
                      <a:pt x="208280" y="70485"/>
                    </a:cubicBezTo>
                    <a:lnTo>
                      <a:pt x="209233" y="70485"/>
                    </a:lnTo>
                    <a:lnTo>
                      <a:pt x="211138" y="77470"/>
                    </a:lnTo>
                    <a:lnTo>
                      <a:pt x="222567" y="77470"/>
                    </a:lnTo>
                    <a:lnTo>
                      <a:pt x="222567" y="21908"/>
                    </a:lnTo>
                    <a:lnTo>
                      <a:pt x="207645" y="21908"/>
                    </a:lnTo>
                    <a:close/>
                    <a:moveTo>
                      <a:pt x="151765" y="77470"/>
                    </a:moveTo>
                    <a:cubicBezTo>
                      <a:pt x="154305" y="76835"/>
                      <a:pt x="156845" y="75883"/>
                      <a:pt x="159067" y="74295"/>
                    </a:cubicBezTo>
                    <a:lnTo>
                      <a:pt x="159067" y="61278"/>
                    </a:lnTo>
                    <a:cubicBezTo>
                      <a:pt x="156845" y="62865"/>
                      <a:pt x="154305" y="63817"/>
                      <a:pt x="152083" y="64770"/>
                    </a:cubicBezTo>
                    <a:cubicBezTo>
                      <a:pt x="149860" y="65723"/>
                      <a:pt x="146685" y="66040"/>
                      <a:pt x="143510" y="66040"/>
                    </a:cubicBezTo>
                    <a:cubicBezTo>
                      <a:pt x="139700" y="66040"/>
                      <a:pt x="136842" y="64770"/>
                      <a:pt x="134938" y="62230"/>
                    </a:cubicBezTo>
                    <a:cubicBezTo>
                      <a:pt x="132715" y="59690"/>
                      <a:pt x="131763" y="55563"/>
                      <a:pt x="131763" y="49848"/>
                    </a:cubicBezTo>
                    <a:cubicBezTo>
                      <a:pt x="131763" y="38735"/>
                      <a:pt x="135573" y="33020"/>
                      <a:pt x="143510" y="33020"/>
                    </a:cubicBezTo>
                    <a:cubicBezTo>
                      <a:pt x="145415" y="33020"/>
                      <a:pt x="147638" y="33338"/>
                      <a:pt x="149542" y="33973"/>
                    </a:cubicBezTo>
                    <a:cubicBezTo>
                      <a:pt x="151448" y="34608"/>
                      <a:pt x="153670" y="35242"/>
                      <a:pt x="156210" y="36195"/>
                    </a:cubicBezTo>
                    <a:lnTo>
                      <a:pt x="160655" y="24448"/>
                    </a:lnTo>
                    <a:cubicBezTo>
                      <a:pt x="158433" y="23495"/>
                      <a:pt x="156210" y="22542"/>
                      <a:pt x="153352" y="21908"/>
                    </a:cubicBezTo>
                    <a:cubicBezTo>
                      <a:pt x="150495" y="21273"/>
                      <a:pt x="147320" y="20638"/>
                      <a:pt x="143510" y="20638"/>
                    </a:cubicBezTo>
                    <a:cubicBezTo>
                      <a:pt x="138113" y="20638"/>
                      <a:pt x="133350" y="21590"/>
                      <a:pt x="129223" y="23813"/>
                    </a:cubicBezTo>
                    <a:cubicBezTo>
                      <a:pt x="125095" y="25717"/>
                      <a:pt x="121920" y="28892"/>
                      <a:pt x="119698" y="33338"/>
                    </a:cubicBezTo>
                    <a:cubicBezTo>
                      <a:pt x="117475" y="37465"/>
                      <a:pt x="116205" y="43180"/>
                      <a:pt x="116205" y="49848"/>
                    </a:cubicBezTo>
                    <a:cubicBezTo>
                      <a:pt x="116205" y="59690"/>
                      <a:pt x="118427" y="66992"/>
                      <a:pt x="122873" y="71438"/>
                    </a:cubicBezTo>
                    <a:cubicBezTo>
                      <a:pt x="127317" y="75883"/>
                      <a:pt x="133667" y="78105"/>
                      <a:pt x="141923" y="78105"/>
                    </a:cubicBezTo>
                    <a:cubicBezTo>
                      <a:pt x="146050" y="78423"/>
                      <a:pt x="149225" y="78105"/>
                      <a:pt x="151765" y="77470"/>
                    </a:cubicBezTo>
                    <a:moveTo>
                      <a:pt x="90170" y="34925"/>
                    </a:moveTo>
                    <a:cubicBezTo>
                      <a:pt x="91758" y="37148"/>
                      <a:pt x="92710" y="40005"/>
                      <a:pt x="92710" y="43180"/>
                    </a:cubicBezTo>
                    <a:lnTo>
                      <a:pt x="71438" y="43180"/>
                    </a:lnTo>
                    <a:cubicBezTo>
                      <a:pt x="71755" y="39053"/>
                      <a:pt x="73025" y="36195"/>
                      <a:pt x="74930" y="34290"/>
                    </a:cubicBezTo>
                    <a:cubicBezTo>
                      <a:pt x="76835" y="32385"/>
                      <a:pt x="79375" y="31433"/>
                      <a:pt x="82233" y="31433"/>
                    </a:cubicBezTo>
                    <a:cubicBezTo>
                      <a:pt x="86042" y="31750"/>
                      <a:pt x="88583" y="32703"/>
                      <a:pt x="90170" y="34925"/>
                    </a:cubicBezTo>
                    <a:moveTo>
                      <a:pt x="68580" y="24130"/>
                    </a:moveTo>
                    <a:cubicBezTo>
                      <a:pt x="64770" y="26353"/>
                      <a:pt x="61595" y="29528"/>
                      <a:pt x="59373" y="33973"/>
                    </a:cubicBezTo>
                    <a:cubicBezTo>
                      <a:pt x="57150" y="38417"/>
                      <a:pt x="56198" y="43815"/>
                      <a:pt x="56198" y="50165"/>
                    </a:cubicBezTo>
                    <a:cubicBezTo>
                      <a:pt x="56198" y="56515"/>
                      <a:pt x="57467" y="61913"/>
                      <a:pt x="60008" y="66040"/>
                    </a:cubicBezTo>
                    <a:cubicBezTo>
                      <a:pt x="62548" y="70167"/>
                      <a:pt x="65723" y="73342"/>
                      <a:pt x="70167" y="75248"/>
                    </a:cubicBezTo>
                    <a:cubicBezTo>
                      <a:pt x="74613" y="77153"/>
                      <a:pt x="79375" y="78423"/>
                      <a:pt x="84773" y="78423"/>
                    </a:cubicBezTo>
                    <a:cubicBezTo>
                      <a:pt x="88900" y="78423"/>
                      <a:pt x="92710" y="78105"/>
                      <a:pt x="95567" y="77470"/>
                    </a:cubicBezTo>
                    <a:cubicBezTo>
                      <a:pt x="98425" y="76835"/>
                      <a:pt x="101283" y="75883"/>
                      <a:pt x="104140" y="74613"/>
                    </a:cubicBezTo>
                    <a:lnTo>
                      <a:pt x="104140" y="62865"/>
                    </a:lnTo>
                    <a:cubicBezTo>
                      <a:pt x="100965" y="64453"/>
                      <a:pt x="98108" y="65405"/>
                      <a:pt x="94933" y="66040"/>
                    </a:cubicBezTo>
                    <a:cubicBezTo>
                      <a:pt x="92075" y="66675"/>
                      <a:pt x="88900" y="66992"/>
                      <a:pt x="85090" y="66992"/>
                    </a:cubicBezTo>
                    <a:cubicBezTo>
                      <a:pt x="80963" y="66992"/>
                      <a:pt x="77470" y="65723"/>
                      <a:pt x="74930" y="63183"/>
                    </a:cubicBezTo>
                    <a:cubicBezTo>
                      <a:pt x="72390" y="60642"/>
                      <a:pt x="71120" y="57467"/>
                      <a:pt x="71120" y="53023"/>
                    </a:cubicBezTo>
                    <a:lnTo>
                      <a:pt x="106998" y="53023"/>
                    </a:lnTo>
                    <a:lnTo>
                      <a:pt x="106998" y="45720"/>
                    </a:lnTo>
                    <a:cubicBezTo>
                      <a:pt x="106998" y="37783"/>
                      <a:pt x="104775" y="31433"/>
                      <a:pt x="100330" y="26988"/>
                    </a:cubicBezTo>
                    <a:cubicBezTo>
                      <a:pt x="95885" y="22542"/>
                      <a:pt x="89852" y="20320"/>
                      <a:pt x="82233" y="20320"/>
                    </a:cubicBezTo>
                    <a:cubicBezTo>
                      <a:pt x="77152" y="20955"/>
                      <a:pt x="72390" y="21908"/>
                      <a:pt x="68580" y="24130"/>
                    </a:cubicBezTo>
                    <a:moveTo>
                      <a:pt x="45402" y="47625"/>
                    </a:moveTo>
                    <a:cubicBezTo>
                      <a:pt x="44133" y="45085"/>
                      <a:pt x="41910" y="42863"/>
                      <a:pt x="39370" y="40958"/>
                    </a:cubicBezTo>
                    <a:cubicBezTo>
                      <a:pt x="36830" y="39053"/>
                      <a:pt x="33655" y="37148"/>
                      <a:pt x="29845" y="35560"/>
                    </a:cubicBezTo>
                    <a:cubicBezTo>
                      <a:pt x="25400" y="33338"/>
                      <a:pt x="21908" y="31433"/>
                      <a:pt x="19685" y="30163"/>
                    </a:cubicBezTo>
                    <a:cubicBezTo>
                      <a:pt x="17463" y="28892"/>
                      <a:pt x="16192" y="26670"/>
                      <a:pt x="16192" y="24130"/>
                    </a:cubicBezTo>
                    <a:cubicBezTo>
                      <a:pt x="16192" y="21908"/>
                      <a:pt x="16827" y="20320"/>
                      <a:pt x="18415" y="18733"/>
                    </a:cubicBezTo>
                    <a:cubicBezTo>
                      <a:pt x="20002" y="17145"/>
                      <a:pt x="22225" y="16828"/>
                      <a:pt x="25083" y="16828"/>
                    </a:cubicBezTo>
                    <a:cubicBezTo>
                      <a:pt x="27940" y="16828"/>
                      <a:pt x="30480" y="17145"/>
                      <a:pt x="33338" y="18098"/>
                    </a:cubicBezTo>
                    <a:cubicBezTo>
                      <a:pt x="35877" y="18733"/>
                      <a:pt x="39052" y="20003"/>
                      <a:pt x="42227" y="21273"/>
                    </a:cubicBezTo>
                    <a:lnTo>
                      <a:pt x="47308" y="9208"/>
                    </a:lnTo>
                    <a:cubicBezTo>
                      <a:pt x="43498" y="7620"/>
                      <a:pt x="40005" y="6350"/>
                      <a:pt x="36513" y="5398"/>
                    </a:cubicBezTo>
                    <a:cubicBezTo>
                      <a:pt x="33020" y="4445"/>
                      <a:pt x="29527" y="4128"/>
                      <a:pt x="25717" y="4128"/>
                    </a:cubicBezTo>
                    <a:cubicBezTo>
                      <a:pt x="18098" y="4128"/>
                      <a:pt x="12065" y="6033"/>
                      <a:pt x="7620" y="9525"/>
                    </a:cubicBezTo>
                    <a:cubicBezTo>
                      <a:pt x="3175" y="13017"/>
                      <a:pt x="952" y="18098"/>
                      <a:pt x="952" y="24765"/>
                    </a:cubicBezTo>
                    <a:cubicBezTo>
                      <a:pt x="952" y="27940"/>
                      <a:pt x="1588" y="30798"/>
                      <a:pt x="2540" y="33338"/>
                    </a:cubicBezTo>
                    <a:cubicBezTo>
                      <a:pt x="3492" y="35878"/>
                      <a:pt x="5080" y="37783"/>
                      <a:pt x="6985" y="39370"/>
                    </a:cubicBezTo>
                    <a:cubicBezTo>
                      <a:pt x="8890" y="40958"/>
                      <a:pt x="10795" y="42545"/>
                      <a:pt x="12700" y="43498"/>
                    </a:cubicBezTo>
                    <a:cubicBezTo>
                      <a:pt x="14605" y="44767"/>
                      <a:pt x="16510" y="45720"/>
                      <a:pt x="18098" y="46355"/>
                    </a:cubicBezTo>
                    <a:cubicBezTo>
                      <a:pt x="20955" y="47625"/>
                      <a:pt x="23177" y="48895"/>
                      <a:pt x="25400" y="49848"/>
                    </a:cubicBezTo>
                    <a:cubicBezTo>
                      <a:pt x="27623" y="51117"/>
                      <a:pt x="29210" y="52070"/>
                      <a:pt x="30480" y="53340"/>
                    </a:cubicBezTo>
                    <a:cubicBezTo>
                      <a:pt x="31750" y="54610"/>
                      <a:pt x="32385" y="56198"/>
                      <a:pt x="32385" y="58103"/>
                    </a:cubicBezTo>
                    <a:cubicBezTo>
                      <a:pt x="32385" y="60325"/>
                      <a:pt x="31433" y="62230"/>
                      <a:pt x="29845" y="63500"/>
                    </a:cubicBezTo>
                    <a:cubicBezTo>
                      <a:pt x="28258" y="64770"/>
                      <a:pt x="25717" y="65723"/>
                      <a:pt x="21908" y="65723"/>
                    </a:cubicBezTo>
                    <a:cubicBezTo>
                      <a:pt x="18098" y="65723"/>
                      <a:pt x="14605" y="65088"/>
                      <a:pt x="10795" y="63817"/>
                    </a:cubicBezTo>
                    <a:cubicBezTo>
                      <a:pt x="6985" y="62548"/>
                      <a:pt x="3492" y="61278"/>
                      <a:pt x="0" y="59690"/>
                    </a:cubicBezTo>
                    <a:lnTo>
                      <a:pt x="0" y="73978"/>
                    </a:lnTo>
                    <a:cubicBezTo>
                      <a:pt x="6033" y="76835"/>
                      <a:pt x="13017" y="78423"/>
                      <a:pt x="20638" y="78423"/>
                    </a:cubicBezTo>
                    <a:cubicBezTo>
                      <a:pt x="29210" y="78423"/>
                      <a:pt x="35877" y="76517"/>
                      <a:pt x="40323" y="72708"/>
                    </a:cubicBezTo>
                    <a:cubicBezTo>
                      <a:pt x="45085" y="68898"/>
                      <a:pt x="47308" y="63817"/>
                      <a:pt x="47308" y="57467"/>
                    </a:cubicBezTo>
                    <a:cubicBezTo>
                      <a:pt x="47625" y="53340"/>
                      <a:pt x="46673" y="50165"/>
                      <a:pt x="45402" y="47625"/>
                    </a:cubicBezTo>
                  </a:path>
                </a:pathLst>
              </a:custGeom>
              <a:grpFill/>
              <a:ln w="3175" cap="flat">
                <a:noFill/>
                <a:prstDash val="solid"/>
                <a:miter/>
              </a:ln>
            </p:spPr>
            <p:txBody>
              <a:bodyPr rtlCol="0" anchor="ctr"/>
              <a:lstStyle/>
              <a:p>
                <a:endParaRPr lang="en-GB">
                  <a:solidFill>
                    <a:srgbClr val="000000"/>
                  </a:solidFill>
                  <a:latin typeface="Verdana"/>
                </a:endParaRPr>
              </a:p>
            </p:txBody>
          </p:sp>
          <p:sp>
            <p:nvSpPr>
              <p:cNvPr id="48" name="Freeform: Shape 47">
                <a:extLst>
                  <a:ext uri="{FF2B5EF4-FFF2-40B4-BE49-F238E27FC236}">
                    <a16:creationId xmlns:a16="http://schemas.microsoft.com/office/drawing/2014/main" id="{E300639C-765C-4761-9103-95D18959B48E}"/>
                  </a:ext>
                </a:extLst>
              </p:cNvPr>
              <p:cNvSpPr/>
              <p:nvPr/>
            </p:nvSpPr>
            <p:spPr>
              <a:xfrm>
                <a:off x="2231390" y="2987675"/>
                <a:ext cx="809625" cy="177800"/>
              </a:xfrm>
              <a:custGeom>
                <a:avLst/>
                <a:gdLst>
                  <a:gd name="connsiteX0" fmla="*/ 761365 w 809625"/>
                  <a:gd name="connsiteY0" fmla="*/ 41275 h 177800"/>
                  <a:gd name="connsiteX1" fmla="*/ 748665 w 809625"/>
                  <a:gd name="connsiteY1" fmla="*/ 53023 h 177800"/>
                  <a:gd name="connsiteX2" fmla="*/ 747395 w 809625"/>
                  <a:gd name="connsiteY2" fmla="*/ 53023 h 177800"/>
                  <a:gd name="connsiteX3" fmla="*/ 718185 w 809625"/>
                  <a:gd name="connsiteY3" fmla="*/ 37465 h 177800"/>
                  <a:gd name="connsiteX4" fmla="*/ 701993 w 809625"/>
                  <a:gd name="connsiteY4" fmla="*/ 40958 h 177800"/>
                  <a:gd name="connsiteX5" fmla="*/ 689927 w 809625"/>
                  <a:gd name="connsiteY5" fmla="*/ 52070 h 177800"/>
                  <a:gd name="connsiteX6" fmla="*/ 688975 w 809625"/>
                  <a:gd name="connsiteY6" fmla="*/ 52070 h 177800"/>
                  <a:gd name="connsiteX7" fmla="*/ 686435 w 809625"/>
                  <a:gd name="connsiteY7" fmla="*/ 39370 h 177800"/>
                  <a:gd name="connsiteX8" fmla="*/ 671513 w 809625"/>
                  <a:gd name="connsiteY8" fmla="*/ 39370 h 177800"/>
                  <a:gd name="connsiteX9" fmla="*/ 671513 w 809625"/>
                  <a:gd name="connsiteY9" fmla="*/ 135255 h 177800"/>
                  <a:gd name="connsiteX10" fmla="*/ 690245 w 809625"/>
                  <a:gd name="connsiteY10" fmla="*/ 135255 h 177800"/>
                  <a:gd name="connsiteX11" fmla="*/ 690245 w 809625"/>
                  <a:gd name="connsiteY11" fmla="*/ 86995 h 177800"/>
                  <a:gd name="connsiteX12" fmla="*/ 695325 w 809625"/>
                  <a:gd name="connsiteY12" fmla="*/ 61913 h 177800"/>
                  <a:gd name="connsiteX13" fmla="*/ 714058 w 809625"/>
                  <a:gd name="connsiteY13" fmla="*/ 53340 h 177800"/>
                  <a:gd name="connsiteX14" fmla="*/ 732155 w 809625"/>
                  <a:gd name="connsiteY14" fmla="*/ 75565 h 177800"/>
                  <a:gd name="connsiteX15" fmla="*/ 732155 w 809625"/>
                  <a:gd name="connsiteY15" fmla="*/ 135573 h 177800"/>
                  <a:gd name="connsiteX16" fmla="*/ 750888 w 809625"/>
                  <a:gd name="connsiteY16" fmla="*/ 135573 h 177800"/>
                  <a:gd name="connsiteX17" fmla="*/ 750888 w 809625"/>
                  <a:gd name="connsiteY17" fmla="*/ 84138 h 177800"/>
                  <a:gd name="connsiteX18" fmla="*/ 756285 w 809625"/>
                  <a:gd name="connsiteY18" fmla="*/ 61595 h 177800"/>
                  <a:gd name="connsiteX19" fmla="*/ 774700 w 809625"/>
                  <a:gd name="connsiteY19" fmla="*/ 53658 h 177800"/>
                  <a:gd name="connsiteX20" fmla="*/ 792798 w 809625"/>
                  <a:gd name="connsiteY20" fmla="*/ 75883 h 177800"/>
                  <a:gd name="connsiteX21" fmla="*/ 792798 w 809625"/>
                  <a:gd name="connsiteY21" fmla="*/ 135890 h 177800"/>
                  <a:gd name="connsiteX22" fmla="*/ 811530 w 809625"/>
                  <a:gd name="connsiteY22" fmla="*/ 135890 h 177800"/>
                  <a:gd name="connsiteX23" fmla="*/ 811530 w 809625"/>
                  <a:gd name="connsiteY23" fmla="*/ 73342 h 177800"/>
                  <a:gd name="connsiteX24" fmla="*/ 803275 w 809625"/>
                  <a:gd name="connsiteY24" fmla="*/ 46355 h 177800"/>
                  <a:gd name="connsiteX25" fmla="*/ 778827 w 809625"/>
                  <a:gd name="connsiteY25" fmla="*/ 38100 h 177800"/>
                  <a:gd name="connsiteX26" fmla="*/ 761365 w 809625"/>
                  <a:gd name="connsiteY26" fmla="*/ 41275 h 177800"/>
                  <a:gd name="connsiteX27" fmla="*/ 625793 w 809625"/>
                  <a:gd name="connsiteY27" fmla="*/ 43180 h 177800"/>
                  <a:gd name="connsiteX28" fmla="*/ 613727 w 809625"/>
                  <a:gd name="connsiteY28" fmla="*/ 56515 h 177800"/>
                  <a:gd name="connsiteX29" fmla="*/ 613093 w 809625"/>
                  <a:gd name="connsiteY29" fmla="*/ 56515 h 177800"/>
                  <a:gd name="connsiteX30" fmla="*/ 610552 w 809625"/>
                  <a:gd name="connsiteY30" fmla="*/ 39370 h 177800"/>
                  <a:gd name="connsiteX31" fmla="*/ 595630 w 809625"/>
                  <a:gd name="connsiteY31" fmla="*/ 39370 h 177800"/>
                  <a:gd name="connsiteX32" fmla="*/ 595630 w 809625"/>
                  <a:gd name="connsiteY32" fmla="*/ 135255 h 177800"/>
                  <a:gd name="connsiteX33" fmla="*/ 614363 w 809625"/>
                  <a:gd name="connsiteY33" fmla="*/ 135255 h 177800"/>
                  <a:gd name="connsiteX34" fmla="*/ 614363 w 809625"/>
                  <a:gd name="connsiteY34" fmla="*/ 84773 h 177800"/>
                  <a:gd name="connsiteX35" fmla="*/ 618173 w 809625"/>
                  <a:gd name="connsiteY35" fmla="*/ 68580 h 177800"/>
                  <a:gd name="connsiteX36" fmla="*/ 628333 w 809625"/>
                  <a:gd name="connsiteY36" fmla="*/ 58420 h 177800"/>
                  <a:gd name="connsiteX37" fmla="*/ 641985 w 809625"/>
                  <a:gd name="connsiteY37" fmla="*/ 54927 h 177800"/>
                  <a:gd name="connsiteX38" fmla="*/ 651510 w 809625"/>
                  <a:gd name="connsiteY38" fmla="*/ 56198 h 177800"/>
                  <a:gd name="connsiteX39" fmla="*/ 653415 w 809625"/>
                  <a:gd name="connsiteY39" fmla="*/ 38735 h 177800"/>
                  <a:gd name="connsiteX40" fmla="*/ 642938 w 809625"/>
                  <a:gd name="connsiteY40" fmla="*/ 37783 h 177800"/>
                  <a:gd name="connsiteX41" fmla="*/ 625793 w 809625"/>
                  <a:gd name="connsiteY41" fmla="*/ 43180 h 177800"/>
                  <a:gd name="connsiteX42" fmla="*/ 548005 w 809625"/>
                  <a:gd name="connsiteY42" fmla="*/ 97473 h 177800"/>
                  <a:gd name="connsiteX43" fmla="*/ 540702 w 809625"/>
                  <a:gd name="connsiteY43" fmla="*/ 116205 h 177800"/>
                  <a:gd name="connsiteX44" fmla="*/ 522288 w 809625"/>
                  <a:gd name="connsiteY44" fmla="*/ 122555 h 177800"/>
                  <a:gd name="connsiteX45" fmla="*/ 510858 w 809625"/>
                  <a:gd name="connsiteY45" fmla="*/ 119063 h 177800"/>
                  <a:gd name="connsiteX46" fmla="*/ 506413 w 809625"/>
                  <a:gd name="connsiteY46" fmla="*/ 108267 h 177800"/>
                  <a:gd name="connsiteX47" fmla="*/ 512763 w 809625"/>
                  <a:gd name="connsiteY47" fmla="*/ 95250 h 177800"/>
                  <a:gd name="connsiteX48" fmla="*/ 535305 w 809625"/>
                  <a:gd name="connsiteY48" fmla="*/ 89852 h 177800"/>
                  <a:gd name="connsiteX49" fmla="*/ 548005 w 809625"/>
                  <a:gd name="connsiteY49" fmla="*/ 89535 h 177800"/>
                  <a:gd name="connsiteX50" fmla="*/ 548005 w 809625"/>
                  <a:gd name="connsiteY50" fmla="*/ 97473 h 177800"/>
                  <a:gd name="connsiteX51" fmla="*/ 512445 w 809625"/>
                  <a:gd name="connsiteY51" fmla="*/ 40005 h 177800"/>
                  <a:gd name="connsiteX52" fmla="*/ 496888 w 809625"/>
                  <a:gd name="connsiteY52" fmla="*/ 46038 h 177800"/>
                  <a:gd name="connsiteX53" fmla="*/ 502920 w 809625"/>
                  <a:gd name="connsiteY53" fmla="*/ 59690 h 177800"/>
                  <a:gd name="connsiteX54" fmla="*/ 515938 w 809625"/>
                  <a:gd name="connsiteY54" fmla="*/ 54610 h 177800"/>
                  <a:gd name="connsiteX55" fmla="*/ 529908 w 809625"/>
                  <a:gd name="connsiteY55" fmla="*/ 52388 h 177800"/>
                  <a:gd name="connsiteX56" fmla="*/ 543560 w 809625"/>
                  <a:gd name="connsiteY56" fmla="*/ 56833 h 177800"/>
                  <a:gd name="connsiteX57" fmla="*/ 548323 w 809625"/>
                  <a:gd name="connsiteY57" fmla="*/ 71755 h 177800"/>
                  <a:gd name="connsiteX58" fmla="*/ 548323 w 809625"/>
                  <a:gd name="connsiteY58" fmla="*/ 77152 h 177800"/>
                  <a:gd name="connsiteX59" fmla="*/ 531813 w 809625"/>
                  <a:gd name="connsiteY59" fmla="*/ 77788 h 177800"/>
                  <a:gd name="connsiteX60" fmla="*/ 497840 w 809625"/>
                  <a:gd name="connsiteY60" fmla="*/ 86042 h 177800"/>
                  <a:gd name="connsiteX61" fmla="*/ 486727 w 809625"/>
                  <a:gd name="connsiteY61" fmla="*/ 108267 h 177800"/>
                  <a:gd name="connsiteX62" fmla="*/ 495300 w 809625"/>
                  <a:gd name="connsiteY62" fmla="*/ 130175 h 177800"/>
                  <a:gd name="connsiteX63" fmla="*/ 516890 w 809625"/>
                  <a:gd name="connsiteY63" fmla="*/ 137160 h 177800"/>
                  <a:gd name="connsiteX64" fmla="*/ 535940 w 809625"/>
                  <a:gd name="connsiteY64" fmla="*/ 133667 h 177800"/>
                  <a:gd name="connsiteX65" fmla="*/ 548958 w 809625"/>
                  <a:gd name="connsiteY65" fmla="*/ 122238 h 177800"/>
                  <a:gd name="connsiteX66" fmla="*/ 549593 w 809625"/>
                  <a:gd name="connsiteY66" fmla="*/ 122238 h 177800"/>
                  <a:gd name="connsiteX67" fmla="*/ 553402 w 809625"/>
                  <a:gd name="connsiteY67" fmla="*/ 135573 h 177800"/>
                  <a:gd name="connsiteX68" fmla="*/ 566738 w 809625"/>
                  <a:gd name="connsiteY68" fmla="*/ 135573 h 177800"/>
                  <a:gd name="connsiteX69" fmla="*/ 566738 w 809625"/>
                  <a:gd name="connsiteY69" fmla="*/ 70802 h 177800"/>
                  <a:gd name="connsiteX70" fmla="*/ 557848 w 809625"/>
                  <a:gd name="connsiteY70" fmla="*/ 46038 h 177800"/>
                  <a:gd name="connsiteX71" fmla="*/ 530860 w 809625"/>
                  <a:gd name="connsiteY71" fmla="*/ 38100 h 177800"/>
                  <a:gd name="connsiteX72" fmla="*/ 512445 w 809625"/>
                  <a:gd name="connsiteY72" fmla="*/ 40005 h 177800"/>
                  <a:gd name="connsiteX73" fmla="*/ 381635 w 809625"/>
                  <a:gd name="connsiteY73" fmla="*/ 0 h 177800"/>
                  <a:gd name="connsiteX74" fmla="*/ 381635 w 809625"/>
                  <a:gd name="connsiteY74" fmla="*/ 135255 h 177800"/>
                  <a:gd name="connsiteX75" fmla="*/ 400368 w 809625"/>
                  <a:gd name="connsiteY75" fmla="*/ 135255 h 177800"/>
                  <a:gd name="connsiteX76" fmla="*/ 400368 w 809625"/>
                  <a:gd name="connsiteY76" fmla="*/ 86995 h 177800"/>
                  <a:gd name="connsiteX77" fmla="*/ 405765 w 809625"/>
                  <a:gd name="connsiteY77" fmla="*/ 61913 h 177800"/>
                  <a:gd name="connsiteX78" fmla="*/ 426085 w 809625"/>
                  <a:gd name="connsiteY78" fmla="*/ 53023 h 177800"/>
                  <a:gd name="connsiteX79" fmla="*/ 445770 w 809625"/>
                  <a:gd name="connsiteY79" fmla="*/ 75565 h 177800"/>
                  <a:gd name="connsiteX80" fmla="*/ 445770 w 809625"/>
                  <a:gd name="connsiteY80" fmla="*/ 135255 h 177800"/>
                  <a:gd name="connsiteX81" fmla="*/ 464502 w 809625"/>
                  <a:gd name="connsiteY81" fmla="*/ 135255 h 177800"/>
                  <a:gd name="connsiteX82" fmla="*/ 464502 w 809625"/>
                  <a:gd name="connsiteY82" fmla="*/ 72708 h 177800"/>
                  <a:gd name="connsiteX83" fmla="*/ 455613 w 809625"/>
                  <a:gd name="connsiteY83" fmla="*/ 46038 h 177800"/>
                  <a:gd name="connsiteX84" fmla="*/ 429895 w 809625"/>
                  <a:gd name="connsiteY84" fmla="*/ 37783 h 177800"/>
                  <a:gd name="connsiteX85" fmla="*/ 413068 w 809625"/>
                  <a:gd name="connsiteY85" fmla="*/ 41275 h 177800"/>
                  <a:gd name="connsiteX86" fmla="*/ 400685 w 809625"/>
                  <a:gd name="connsiteY86" fmla="*/ 52070 h 177800"/>
                  <a:gd name="connsiteX87" fmla="*/ 399415 w 809625"/>
                  <a:gd name="connsiteY87" fmla="*/ 52070 h 177800"/>
                  <a:gd name="connsiteX88" fmla="*/ 400050 w 809625"/>
                  <a:gd name="connsiteY88" fmla="*/ 44767 h 177800"/>
                  <a:gd name="connsiteX89" fmla="*/ 400368 w 809625"/>
                  <a:gd name="connsiteY89" fmla="*/ 35877 h 177800"/>
                  <a:gd name="connsiteX90" fmla="*/ 400368 w 809625"/>
                  <a:gd name="connsiteY90" fmla="*/ 0 h 177800"/>
                  <a:gd name="connsiteX91" fmla="*/ 381635 w 809625"/>
                  <a:gd name="connsiteY91" fmla="*/ 0 h 177800"/>
                  <a:gd name="connsiteX92" fmla="*/ 332423 w 809625"/>
                  <a:gd name="connsiteY92" fmla="*/ 61913 h 177800"/>
                  <a:gd name="connsiteX93" fmla="*/ 338138 w 809625"/>
                  <a:gd name="connsiteY93" fmla="*/ 86677 h 177800"/>
                  <a:gd name="connsiteX94" fmla="*/ 332423 w 809625"/>
                  <a:gd name="connsiteY94" fmla="*/ 111760 h 177800"/>
                  <a:gd name="connsiteX95" fmla="*/ 314960 w 809625"/>
                  <a:gd name="connsiteY95" fmla="*/ 121285 h 177800"/>
                  <a:gd name="connsiteX96" fmla="*/ 295275 w 809625"/>
                  <a:gd name="connsiteY96" fmla="*/ 112395 h 177800"/>
                  <a:gd name="connsiteX97" fmla="*/ 289877 w 809625"/>
                  <a:gd name="connsiteY97" fmla="*/ 86677 h 177800"/>
                  <a:gd name="connsiteX98" fmla="*/ 289877 w 809625"/>
                  <a:gd name="connsiteY98" fmla="*/ 83820 h 177800"/>
                  <a:gd name="connsiteX99" fmla="*/ 295593 w 809625"/>
                  <a:gd name="connsiteY99" fmla="*/ 60325 h 177800"/>
                  <a:gd name="connsiteX100" fmla="*/ 314325 w 809625"/>
                  <a:gd name="connsiteY100" fmla="*/ 52705 h 177800"/>
                  <a:gd name="connsiteX101" fmla="*/ 332423 w 809625"/>
                  <a:gd name="connsiteY101" fmla="*/ 61913 h 177800"/>
                  <a:gd name="connsiteX102" fmla="*/ 301308 w 809625"/>
                  <a:gd name="connsiteY102" fmla="*/ 41910 h 177800"/>
                  <a:gd name="connsiteX103" fmla="*/ 290513 w 809625"/>
                  <a:gd name="connsiteY103" fmla="*/ 52070 h 177800"/>
                  <a:gd name="connsiteX104" fmla="*/ 289560 w 809625"/>
                  <a:gd name="connsiteY104" fmla="*/ 52070 h 177800"/>
                  <a:gd name="connsiteX105" fmla="*/ 287020 w 809625"/>
                  <a:gd name="connsiteY105" fmla="*/ 39370 h 177800"/>
                  <a:gd name="connsiteX106" fmla="*/ 271780 w 809625"/>
                  <a:gd name="connsiteY106" fmla="*/ 39370 h 177800"/>
                  <a:gd name="connsiteX107" fmla="*/ 271780 w 809625"/>
                  <a:gd name="connsiteY107" fmla="*/ 177800 h 177800"/>
                  <a:gd name="connsiteX108" fmla="*/ 290513 w 809625"/>
                  <a:gd name="connsiteY108" fmla="*/ 177800 h 177800"/>
                  <a:gd name="connsiteX109" fmla="*/ 290513 w 809625"/>
                  <a:gd name="connsiteY109" fmla="*/ 138748 h 177800"/>
                  <a:gd name="connsiteX110" fmla="*/ 290195 w 809625"/>
                  <a:gd name="connsiteY110" fmla="*/ 131127 h 177800"/>
                  <a:gd name="connsiteX111" fmla="*/ 289243 w 809625"/>
                  <a:gd name="connsiteY111" fmla="*/ 123508 h 177800"/>
                  <a:gd name="connsiteX112" fmla="*/ 290513 w 809625"/>
                  <a:gd name="connsiteY112" fmla="*/ 123508 h 177800"/>
                  <a:gd name="connsiteX113" fmla="*/ 301625 w 809625"/>
                  <a:gd name="connsiteY113" fmla="*/ 133033 h 177800"/>
                  <a:gd name="connsiteX114" fmla="*/ 319405 w 809625"/>
                  <a:gd name="connsiteY114" fmla="*/ 137160 h 177800"/>
                  <a:gd name="connsiteX115" fmla="*/ 347345 w 809625"/>
                  <a:gd name="connsiteY115" fmla="*/ 124460 h 177800"/>
                  <a:gd name="connsiteX116" fmla="*/ 358140 w 809625"/>
                  <a:gd name="connsiteY116" fmla="*/ 87313 h 177800"/>
                  <a:gd name="connsiteX117" fmla="*/ 347663 w 809625"/>
                  <a:gd name="connsiteY117" fmla="*/ 50165 h 177800"/>
                  <a:gd name="connsiteX118" fmla="*/ 319723 w 809625"/>
                  <a:gd name="connsiteY118" fmla="*/ 37783 h 177800"/>
                  <a:gd name="connsiteX119" fmla="*/ 301308 w 809625"/>
                  <a:gd name="connsiteY119" fmla="*/ 41910 h 177800"/>
                  <a:gd name="connsiteX120" fmla="*/ 182880 w 809625"/>
                  <a:gd name="connsiteY120" fmla="*/ 61913 h 177800"/>
                  <a:gd name="connsiteX121" fmla="*/ 202248 w 809625"/>
                  <a:gd name="connsiteY121" fmla="*/ 53023 h 177800"/>
                  <a:gd name="connsiteX122" fmla="*/ 221933 w 809625"/>
                  <a:gd name="connsiteY122" fmla="*/ 61913 h 177800"/>
                  <a:gd name="connsiteX123" fmla="*/ 227965 w 809625"/>
                  <a:gd name="connsiteY123" fmla="*/ 86995 h 177800"/>
                  <a:gd name="connsiteX124" fmla="*/ 221933 w 809625"/>
                  <a:gd name="connsiteY124" fmla="*/ 112395 h 177800"/>
                  <a:gd name="connsiteX125" fmla="*/ 202565 w 809625"/>
                  <a:gd name="connsiteY125" fmla="*/ 121602 h 177800"/>
                  <a:gd name="connsiteX126" fmla="*/ 183198 w 809625"/>
                  <a:gd name="connsiteY126" fmla="*/ 112395 h 177800"/>
                  <a:gd name="connsiteX127" fmla="*/ 177165 w 809625"/>
                  <a:gd name="connsiteY127" fmla="*/ 86995 h 177800"/>
                  <a:gd name="connsiteX128" fmla="*/ 182880 w 809625"/>
                  <a:gd name="connsiteY128" fmla="*/ 61913 h 177800"/>
                  <a:gd name="connsiteX129" fmla="*/ 241618 w 809625"/>
                  <a:gd name="connsiteY129" fmla="*/ 60008 h 177800"/>
                  <a:gd name="connsiteX130" fmla="*/ 225743 w 809625"/>
                  <a:gd name="connsiteY130" fmla="*/ 43180 h 177800"/>
                  <a:gd name="connsiteX131" fmla="*/ 202565 w 809625"/>
                  <a:gd name="connsiteY131" fmla="*/ 37465 h 177800"/>
                  <a:gd name="connsiteX132" fmla="*/ 169545 w 809625"/>
                  <a:gd name="connsiteY132" fmla="*/ 50483 h 177800"/>
                  <a:gd name="connsiteX133" fmla="*/ 157480 w 809625"/>
                  <a:gd name="connsiteY133" fmla="*/ 87313 h 177800"/>
                  <a:gd name="connsiteX134" fmla="*/ 163195 w 809625"/>
                  <a:gd name="connsiteY134" fmla="*/ 114300 h 177800"/>
                  <a:gd name="connsiteX135" fmla="*/ 179070 w 809625"/>
                  <a:gd name="connsiteY135" fmla="*/ 131127 h 177800"/>
                  <a:gd name="connsiteX136" fmla="*/ 202248 w 809625"/>
                  <a:gd name="connsiteY136" fmla="*/ 136842 h 177800"/>
                  <a:gd name="connsiteX137" fmla="*/ 235268 w 809625"/>
                  <a:gd name="connsiteY137" fmla="*/ 123825 h 177800"/>
                  <a:gd name="connsiteX138" fmla="*/ 247650 w 809625"/>
                  <a:gd name="connsiteY138" fmla="*/ 86995 h 177800"/>
                  <a:gd name="connsiteX139" fmla="*/ 241618 w 809625"/>
                  <a:gd name="connsiteY139" fmla="*/ 60008 h 177800"/>
                  <a:gd name="connsiteX140" fmla="*/ 114618 w 809625"/>
                  <a:gd name="connsiteY140" fmla="*/ 135255 h 177800"/>
                  <a:gd name="connsiteX141" fmla="*/ 133350 w 809625"/>
                  <a:gd name="connsiteY141" fmla="*/ 135255 h 177800"/>
                  <a:gd name="connsiteX142" fmla="*/ 133350 w 809625"/>
                  <a:gd name="connsiteY142" fmla="*/ 39370 h 177800"/>
                  <a:gd name="connsiteX143" fmla="*/ 114618 w 809625"/>
                  <a:gd name="connsiteY143" fmla="*/ 39370 h 177800"/>
                  <a:gd name="connsiteX144" fmla="*/ 114618 w 809625"/>
                  <a:gd name="connsiteY144" fmla="*/ 135255 h 177800"/>
                  <a:gd name="connsiteX145" fmla="*/ 116840 w 809625"/>
                  <a:gd name="connsiteY145" fmla="*/ 5398 h 177800"/>
                  <a:gd name="connsiteX146" fmla="*/ 113665 w 809625"/>
                  <a:gd name="connsiteY146" fmla="*/ 13652 h 177800"/>
                  <a:gd name="connsiteX147" fmla="*/ 116840 w 809625"/>
                  <a:gd name="connsiteY147" fmla="*/ 21908 h 177800"/>
                  <a:gd name="connsiteX148" fmla="*/ 124460 w 809625"/>
                  <a:gd name="connsiteY148" fmla="*/ 24448 h 177800"/>
                  <a:gd name="connsiteX149" fmla="*/ 132080 w 809625"/>
                  <a:gd name="connsiteY149" fmla="*/ 21908 h 177800"/>
                  <a:gd name="connsiteX150" fmla="*/ 135255 w 809625"/>
                  <a:gd name="connsiteY150" fmla="*/ 13652 h 177800"/>
                  <a:gd name="connsiteX151" fmla="*/ 132080 w 809625"/>
                  <a:gd name="connsiteY151" fmla="*/ 5398 h 177800"/>
                  <a:gd name="connsiteX152" fmla="*/ 124460 w 809625"/>
                  <a:gd name="connsiteY152" fmla="*/ 2858 h 177800"/>
                  <a:gd name="connsiteX153" fmla="*/ 116840 w 809625"/>
                  <a:gd name="connsiteY153" fmla="*/ 5398 h 177800"/>
                  <a:gd name="connsiteX154" fmla="*/ 41593 w 809625"/>
                  <a:gd name="connsiteY154" fmla="*/ 76835 h 177800"/>
                  <a:gd name="connsiteX155" fmla="*/ 64135 w 809625"/>
                  <a:gd name="connsiteY155" fmla="*/ 82550 h 177800"/>
                  <a:gd name="connsiteX156" fmla="*/ 70485 w 809625"/>
                  <a:gd name="connsiteY156" fmla="*/ 97155 h 177800"/>
                  <a:gd name="connsiteX157" fmla="*/ 64452 w 809625"/>
                  <a:gd name="connsiteY157" fmla="*/ 113030 h 177800"/>
                  <a:gd name="connsiteX158" fmla="*/ 43180 w 809625"/>
                  <a:gd name="connsiteY158" fmla="*/ 119063 h 177800"/>
                  <a:gd name="connsiteX159" fmla="*/ 20002 w 809625"/>
                  <a:gd name="connsiteY159" fmla="*/ 119063 h 177800"/>
                  <a:gd name="connsiteX160" fmla="*/ 20002 w 809625"/>
                  <a:gd name="connsiteY160" fmla="*/ 76835 h 177800"/>
                  <a:gd name="connsiteX161" fmla="*/ 41593 w 809625"/>
                  <a:gd name="connsiteY161" fmla="*/ 76835 h 177800"/>
                  <a:gd name="connsiteX162" fmla="*/ 19368 w 809625"/>
                  <a:gd name="connsiteY162" fmla="*/ 24448 h 177800"/>
                  <a:gd name="connsiteX163" fmla="*/ 38418 w 809625"/>
                  <a:gd name="connsiteY163" fmla="*/ 24448 h 177800"/>
                  <a:gd name="connsiteX164" fmla="*/ 59690 w 809625"/>
                  <a:gd name="connsiteY164" fmla="*/ 28575 h 177800"/>
                  <a:gd name="connsiteX165" fmla="*/ 66675 w 809625"/>
                  <a:gd name="connsiteY165" fmla="*/ 42227 h 177800"/>
                  <a:gd name="connsiteX166" fmla="*/ 60960 w 809625"/>
                  <a:gd name="connsiteY166" fmla="*/ 56515 h 177800"/>
                  <a:gd name="connsiteX167" fmla="*/ 40323 w 809625"/>
                  <a:gd name="connsiteY167" fmla="*/ 61277 h 177800"/>
                  <a:gd name="connsiteX168" fmla="*/ 19050 w 809625"/>
                  <a:gd name="connsiteY168" fmla="*/ 61277 h 177800"/>
                  <a:gd name="connsiteX169" fmla="*/ 19050 w 809625"/>
                  <a:gd name="connsiteY169" fmla="*/ 24448 h 177800"/>
                  <a:gd name="connsiteX170" fmla="*/ 318 w 809625"/>
                  <a:gd name="connsiteY170" fmla="*/ 135255 h 177800"/>
                  <a:gd name="connsiteX171" fmla="*/ 45720 w 809625"/>
                  <a:gd name="connsiteY171" fmla="*/ 135255 h 177800"/>
                  <a:gd name="connsiteX172" fmla="*/ 78423 w 809625"/>
                  <a:gd name="connsiteY172" fmla="*/ 125730 h 177800"/>
                  <a:gd name="connsiteX173" fmla="*/ 90488 w 809625"/>
                  <a:gd name="connsiteY173" fmla="*/ 98742 h 177800"/>
                  <a:gd name="connsiteX174" fmla="*/ 86995 w 809625"/>
                  <a:gd name="connsiteY174" fmla="*/ 82550 h 177800"/>
                  <a:gd name="connsiteX175" fmla="*/ 77152 w 809625"/>
                  <a:gd name="connsiteY175" fmla="*/ 73025 h 177800"/>
                  <a:gd name="connsiteX176" fmla="*/ 63500 w 809625"/>
                  <a:gd name="connsiteY176" fmla="*/ 68263 h 177800"/>
                  <a:gd name="connsiteX177" fmla="*/ 63500 w 809625"/>
                  <a:gd name="connsiteY177" fmla="*/ 67310 h 177800"/>
                  <a:gd name="connsiteX178" fmla="*/ 80327 w 809625"/>
                  <a:gd name="connsiteY178" fmla="*/ 57785 h 177800"/>
                  <a:gd name="connsiteX179" fmla="*/ 86360 w 809625"/>
                  <a:gd name="connsiteY179" fmla="*/ 39370 h 177800"/>
                  <a:gd name="connsiteX180" fmla="*/ 73977 w 809625"/>
                  <a:gd name="connsiteY180" fmla="*/ 14923 h 177800"/>
                  <a:gd name="connsiteX181" fmla="*/ 37148 w 809625"/>
                  <a:gd name="connsiteY181" fmla="*/ 7938 h 177800"/>
                  <a:gd name="connsiteX182" fmla="*/ 0 w 809625"/>
                  <a:gd name="connsiteY182" fmla="*/ 7938 h 177800"/>
                  <a:gd name="connsiteX183" fmla="*/ 0 w 809625"/>
                  <a:gd name="connsiteY183" fmla="*/ 135255 h 17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809625" h="177800">
                    <a:moveTo>
                      <a:pt x="761365" y="41275"/>
                    </a:moveTo>
                    <a:cubicBezTo>
                      <a:pt x="755968" y="43815"/>
                      <a:pt x="751523" y="47625"/>
                      <a:pt x="748665" y="53023"/>
                    </a:cubicBezTo>
                    <a:lnTo>
                      <a:pt x="747395" y="53023"/>
                    </a:lnTo>
                    <a:cubicBezTo>
                      <a:pt x="742633" y="42863"/>
                      <a:pt x="732790" y="37465"/>
                      <a:pt x="718185" y="37465"/>
                    </a:cubicBezTo>
                    <a:cubicBezTo>
                      <a:pt x="712470" y="37465"/>
                      <a:pt x="707073" y="38735"/>
                      <a:pt x="701993" y="40958"/>
                    </a:cubicBezTo>
                    <a:cubicBezTo>
                      <a:pt x="696913" y="43180"/>
                      <a:pt x="693102" y="46990"/>
                      <a:pt x="689927" y="52070"/>
                    </a:cubicBezTo>
                    <a:lnTo>
                      <a:pt x="688975" y="52070"/>
                    </a:lnTo>
                    <a:lnTo>
                      <a:pt x="686435" y="39370"/>
                    </a:lnTo>
                    <a:lnTo>
                      <a:pt x="671513" y="39370"/>
                    </a:lnTo>
                    <a:lnTo>
                      <a:pt x="671513" y="135255"/>
                    </a:lnTo>
                    <a:lnTo>
                      <a:pt x="690245" y="135255"/>
                    </a:lnTo>
                    <a:lnTo>
                      <a:pt x="690245" y="86995"/>
                    </a:lnTo>
                    <a:cubicBezTo>
                      <a:pt x="690245" y="76200"/>
                      <a:pt x="691833" y="67627"/>
                      <a:pt x="695325" y="61913"/>
                    </a:cubicBezTo>
                    <a:cubicBezTo>
                      <a:pt x="698818" y="56198"/>
                      <a:pt x="704850" y="53340"/>
                      <a:pt x="714058" y="53340"/>
                    </a:cubicBezTo>
                    <a:cubicBezTo>
                      <a:pt x="726123" y="53340"/>
                      <a:pt x="732155" y="60642"/>
                      <a:pt x="732155" y="75565"/>
                    </a:cubicBezTo>
                    <a:lnTo>
                      <a:pt x="732155" y="135573"/>
                    </a:lnTo>
                    <a:lnTo>
                      <a:pt x="750888" y="135573"/>
                    </a:lnTo>
                    <a:lnTo>
                      <a:pt x="750888" y="84138"/>
                    </a:lnTo>
                    <a:cubicBezTo>
                      <a:pt x="750888" y="74295"/>
                      <a:pt x="752793" y="66675"/>
                      <a:pt x="756285" y="61595"/>
                    </a:cubicBezTo>
                    <a:cubicBezTo>
                      <a:pt x="760095" y="56198"/>
                      <a:pt x="766127" y="53658"/>
                      <a:pt x="774700" y="53658"/>
                    </a:cubicBezTo>
                    <a:cubicBezTo>
                      <a:pt x="786765" y="53658"/>
                      <a:pt x="792798" y="60960"/>
                      <a:pt x="792798" y="75883"/>
                    </a:cubicBezTo>
                    <a:lnTo>
                      <a:pt x="792798" y="135890"/>
                    </a:lnTo>
                    <a:lnTo>
                      <a:pt x="811530" y="135890"/>
                    </a:lnTo>
                    <a:lnTo>
                      <a:pt x="811530" y="73342"/>
                    </a:lnTo>
                    <a:cubicBezTo>
                      <a:pt x="811530" y="60960"/>
                      <a:pt x="808673" y="52070"/>
                      <a:pt x="803275" y="46355"/>
                    </a:cubicBezTo>
                    <a:cubicBezTo>
                      <a:pt x="797877" y="40640"/>
                      <a:pt x="789623" y="38100"/>
                      <a:pt x="778827" y="38100"/>
                    </a:cubicBezTo>
                    <a:cubicBezTo>
                      <a:pt x="772477" y="37465"/>
                      <a:pt x="766763" y="38735"/>
                      <a:pt x="761365" y="41275"/>
                    </a:cubicBezTo>
                    <a:moveTo>
                      <a:pt x="625793" y="43180"/>
                    </a:moveTo>
                    <a:cubicBezTo>
                      <a:pt x="620713" y="46990"/>
                      <a:pt x="616902" y="51435"/>
                      <a:pt x="613727" y="56515"/>
                    </a:cubicBezTo>
                    <a:lnTo>
                      <a:pt x="613093" y="56515"/>
                    </a:lnTo>
                    <a:lnTo>
                      <a:pt x="610552" y="39370"/>
                    </a:lnTo>
                    <a:lnTo>
                      <a:pt x="595630" y="39370"/>
                    </a:lnTo>
                    <a:lnTo>
                      <a:pt x="595630" y="135255"/>
                    </a:lnTo>
                    <a:lnTo>
                      <a:pt x="614363" y="135255"/>
                    </a:lnTo>
                    <a:lnTo>
                      <a:pt x="614363" y="84773"/>
                    </a:lnTo>
                    <a:cubicBezTo>
                      <a:pt x="614363" y="78423"/>
                      <a:pt x="615633" y="73025"/>
                      <a:pt x="618173" y="68580"/>
                    </a:cubicBezTo>
                    <a:cubicBezTo>
                      <a:pt x="620713" y="64135"/>
                      <a:pt x="624205" y="60642"/>
                      <a:pt x="628333" y="58420"/>
                    </a:cubicBezTo>
                    <a:cubicBezTo>
                      <a:pt x="632460" y="56198"/>
                      <a:pt x="636905" y="54927"/>
                      <a:pt x="641985" y="54927"/>
                    </a:cubicBezTo>
                    <a:cubicBezTo>
                      <a:pt x="645160" y="54927"/>
                      <a:pt x="648652" y="55245"/>
                      <a:pt x="651510" y="56198"/>
                    </a:cubicBezTo>
                    <a:lnTo>
                      <a:pt x="653415" y="38735"/>
                    </a:lnTo>
                    <a:cubicBezTo>
                      <a:pt x="650240" y="38100"/>
                      <a:pt x="646748" y="37783"/>
                      <a:pt x="642938" y="37783"/>
                    </a:cubicBezTo>
                    <a:cubicBezTo>
                      <a:pt x="636588" y="37465"/>
                      <a:pt x="630555" y="39370"/>
                      <a:pt x="625793" y="43180"/>
                    </a:cubicBezTo>
                    <a:moveTo>
                      <a:pt x="548005" y="97473"/>
                    </a:moveTo>
                    <a:cubicBezTo>
                      <a:pt x="548005" y="105727"/>
                      <a:pt x="545465" y="112077"/>
                      <a:pt x="540702" y="116205"/>
                    </a:cubicBezTo>
                    <a:cubicBezTo>
                      <a:pt x="535940" y="120333"/>
                      <a:pt x="529590" y="122555"/>
                      <a:pt x="522288" y="122555"/>
                    </a:cubicBezTo>
                    <a:cubicBezTo>
                      <a:pt x="517525" y="122555"/>
                      <a:pt x="513715" y="121285"/>
                      <a:pt x="510858" y="119063"/>
                    </a:cubicBezTo>
                    <a:cubicBezTo>
                      <a:pt x="508000" y="116840"/>
                      <a:pt x="506413" y="113348"/>
                      <a:pt x="506413" y="108267"/>
                    </a:cubicBezTo>
                    <a:cubicBezTo>
                      <a:pt x="506413" y="102552"/>
                      <a:pt x="508635" y="98425"/>
                      <a:pt x="512763" y="95250"/>
                    </a:cubicBezTo>
                    <a:cubicBezTo>
                      <a:pt x="516890" y="92075"/>
                      <a:pt x="524510" y="90170"/>
                      <a:pt x="535305" y="89852"/>
                    </a:cubicBezTo>
                    <a:lnTo>
                      <a:pt x="548005" y="89535"/>
                    </a:lnTo>
                    <a:lnTo>
                      <a:pt x="548005" y="97473"/>
                    </a:lnTo>
                    <a:close/>
                    <a:moveTo>
                      <a:pt x="512445" y="40005"/>
                    </a:moveTo>
                    <a:cubicBezTo>
                      <a:pt x="506730" y="41592"/>
                      <a:pt x="501333" y="43498"/>
                      <a:pt x="496888" y="46038"/>
                    </a:cubicBezTo>
                    <a:lnTo>
                      <a:pt x="502920" y="59690"/>
                    </a:lnTo>
                    <a:cubicBezTo>
                      <a:pt x="507048" y="57785"/>
                      <a:pt x="511493" y="55880"/>
                      <a:pt x="515938" y="54610"/>
                    </a:cubicBezTo>
                    <a:cubicBezTo>
                      <a:pt x="520383" y="53340"/>
                      <a:pt x="525145" y="52388"/>
                      <a:pt x="529908" y="52388"/>
                    </a:cubicBezTo>
                    <a:cubicBezTo>
                      <a:pt x="535623" y="52388"/>
                      <a:pt x="540068" y="53975"/>
                      <a:pt x="543560" y="56833"/>
                    </a:cubicBezTo>
                    <a:cubicBezTo>
                      <a:pt x="546735" y="59690"/>
                      <a:pt x="548323" y="64770"/>
                      <a:pt x="548323" y="71755"/>
                    </a:cubicBezTo>
                    <a:lnTo>
                      <a:pt x="548323" y="77152"/>
                    </a:lnTo>
                    <a:lnTo>
                      <a:pt x="531813" y="77788"/>
                    </a:lnTo>
                    <a:cubicBezTo>
                      <a:pt x="516573" y="78105"/>
                      <a:pt x="505460" y="80963"/>
                      <a:pt x="497840" y="86042"/>
                    </a:cubicBezTo>
                    <a:cubicBezTo>
                      <a:pt x="490538" y="91123"/>
                      <a:pt x="486727" y="98425"/>
                      <a:pt x="486727" y="108267"/>
                    </a:cubicBezTo>
                    <a:cubicBezTo>
                      <a:pt x="486727" y="118110"/>
                      <a:pt x="489585" y="125413"/>
                      <a:pt x="495300" y="130175"/>
                    </a:cubicBezTo>
                    <a:cubicBezTo>
                      <a:pt x="501015" y="134938"/>
                      <a:pt x="508318" y="137160"/>
                      <a:pt x="516890" y="137160"/>
                    </a:cubicBezTo>
                    <a:cubicBezTo>
                      <a:pt x="524827" y="137160"/>
                      <a:pt x="531177" y="135890"/>
                      <a:pt x="535940" y="133667"/>
                    </a:cubicBezTo>
                    <a:cubicBezTo>
                      <a:pt x="540385" y="131127"/>
                      <a:pt x="544830" y="127317"/>
                      <a:pt x="548958" y="122238"/>
                    </a:cubicBezTo>
                    <a:lnTo>
                      <a:pt x="549593" y="122238"/>
                    </a:lnTo>
                    <a:lnTo>
                      <a:pt x="553402" y="135573"/>
                    </a:lnTo>
                    <a:lnTo>
                      <a:pt x="566738" y="135573"/>
                    </a:lnTo>
                    <a:lnTo>
                      <a:pt x="566738" y="70802"/>
                    </a:lnTo>
                    <a:cubicBezTo>
                      <a:pt x="566738" y="59690"/>
                      <a:pt x="563880" y="51117"/>
                      <a:pt x="557848" y="46038"/>
                    </a:cubicBezTo>
                    <a:cubicBezTo>
                      <a:pt x="551815" y="40640"/>
                      <a:pt x="542925" y="38100"/>
                      <a:pt x="530860" y="38100"/>
                    </a:cubicBezTo>
                    <a:cubicBezTo>
                      <a:pt x="524510" y="37465"/>
                      <a:pt x="518160" y="38417"/>
                      <a:pt x="512445" y="40005"/>
                    </a:cubicBezTo>
                    <a:moveTo>
                      <a:pt x="381635" y="0"/>
                    </a:moveTo>
                    <a:lnTo>
                      <a:pt x="381635" y="135255"/>
                    </a:lnTo>
                    <a:lnTo>
                      <a:pt x="400368" y="135255"/>
                    </a:lnTo>
                    <a:lnTo>
                      <a:pt x="400368" y="86995"/>
                    </a:lnTo>
                    <a:cubicBezTo>
                      <a:pt x="400368" y="76200"/>
                      <a:pt x="402273" y="67945"/>
                      <a:pt x="405765" y="61913"/>
                    </a:cubicBezTo>
                    <a:cubicBezTo>
                      <a:pt x="409575" y="55880"/>
                      <a:pt x="416243" y="53023"/>
                      <a:pt x="426085" y="53023"/>
                    </a:cubicBezTo>
                    <a:cubicBezTo>
                      <a:pt x="439102" y="53023"/>
                      <a:pt x="445770" y="60642"/>
                      <a:pt x="445770" y="75565"/>
                    </a:cubicBezTo>
                    <a:lnTo>
                      <a:pt x="445770" y="135255"/>
                    </a:lnTo>
                    <a:lnTo>
                      <a:pt x="464502" y="135255"/>
                    </a:lnTo>
                    <a:lnTo>
                      <a:pt x="464502" y="72708"/>
                    </a:lnTo>
                    <a:cubicBezTo>
                      <a:pt x="464502" y="60642"/>
                      <a:pt x="461645" y="51752"/>
                      <a:pt x="455613" y="46038"/>
                    </a:cubicBezTo>
                    <a:cubicBezTo>
                      <a:pt x="449580" y="40323"/>
                      <a:pt x="441008" y="37783"/>
                      <a:pt x="429895" y="37783"/>
                    </a:cubicBezTo>
                    <a:cubicBezTo>
                      <a:pt x="423863" y="37783"/>
                      <a:pt x="418148" y="39052"/>
                      <a:pt x="413068" y="41275"/>
                    </a:cubicBezTo>
                    <a:cubicBezTo>
                      <a:pt x="407988" y="43815"/>
                      <a:pt x="403860" y="47308"/>
                      <a:pt x="400685" y="52070"/>
                    </a:cubicBezTo>
                    <a:lnTo>
                      <a:pt x="399415" y="52070"/>
                    </a:lnTo>
                    <a:cubicBezTo>
                      <a:pt x="399733" y="50165"/>
                      <a:pt x="399733" y="47625"/>
                      <a:pt x="400050" y="44767"/>
                    </a:cubicBezTo>
                    <a:cubicBezTo>
                      <a:pt x="400368" y="41910"/>
                      <a:pt x="400368" y="38735"/>
                      <a:pt x="400368" y="35877"/>
                    </a:cubicBezTo>
                    <a:lnTo>
                      <a:pt x="400368" y="0"/>
                    </a:lnTo>
                    <a:lnTo>
                      <a:pt x="381635" y="0"/>
                    </a:lnTo>
                    <a:close/>
                    <a:moveTo>
                      <a:pt x="332423" y="61913"/>
                    </a:moveTo>
                    <a:cubicBezTo>
                      <a:pt x="336233" y="67945"/>
                      <a:pt x="338138" y="76200"/>
                      <a:pt x="338138" y="86677"/>
                    </a:cubicBezTo>
                    <a:cubicBezTo>
                      <a:pt x="338138" y="96838"/>
                      <a:pt x="336233" y="105410"/>
                      <a:pt x="332423" y="111760"/>
                    </a:cubicBezTo>
                    <a:cubicBezTo>
                      <a:pt x="328613" y="118110"/>
                      <a:pt x="322898" y="121285"/>
                      <a:pt x="314960" y="121285"/>
                    </a:cubicBezTo>
                    <a:cubicBezTo>
                      <a:pt x="305435" y="121285"/>
                      <a:pt x="299085" y="118427"/>
                      <a:pt x="295275" y="112395"/>
                    </a:cubicBezTo>
                    <a:cubicBezTo>
                      <a:pt x="291783" y="106363"/>
                      <a:pt x="289877" y="97790"/>
                      <a:pt x="289877" y="86677"/>
                    </a:cubicBezTo>
                    <a:lnTo>
                      <a:pt x="289877" y="83820"/>
                    </a:lnTo>
                    <a:cubicBezTo>
                      <a:pt x="289877" y="73342"/>
                      <a:pt x="291783" y="65405"/>
                      <a:pt x="295593" y="60325"/>
                    </a:cubicBezTo>
                    <a:cubicBezTo>
                      <a:pt x="299402" y="55245"/>
                      <a:pt x="305435" y="52705"/>
                      <a:pt x="314325" y="52705"/>
                    </a:cubicBezTo>
                    <a:cubicBezTo>
                      <a:pt x="322580" y="53023"/>
                      <a:pt x="328613" y="55880"/>
                      <a:pt x="332423" y="61913"/>
                    </a:cubicBezTo>
                    <a:moveTo>
                      <a:pt x="301308" y="41910"/>
                    </a:moveTo>
                    <a:cubicBezTo>
                      <a:pt x="296863" y="44767"/>
                      <a:pt x="293052" y="48260"/>
                      <a:pt x="290513" y="52070"/>
                    </a:cubicBezTo>
                    <a:lnTo>
                      <a:pt x="289560" y="52070"/>
                    </a:lnTo>
                    <a:lnTo>
                      <a:pt x="287020" y="39370"/>
                    </a:lnTo>
                    <a:lnTo>
                      <a:pt x="271780" y="39370"/>
                    </a:lnTo>
                    <a:lnTo>
                      <a:pt x="271780" y="177800"/>
                    </a:lnTo>
                    <a:lnTo>
                      <a:pt x="290513" y="177800"/>
                    </a:lnTo>
                    <a:lnTo>
                      <a:pt x="290513" y="138748"/>
                    </a:lnTo>
                    <a:cubicBezTo>
                      <a:pt x="290513" y="136525"/>
                      <a:pt x="290513" y="133985"/>
                      <a:pt x="290195" y="131127"/>
                    </a:cubicBezTo>
                    <a:cubicBezTo>
                      <a:pt x="289877" y="128270"/>
                      <a:pt x="289560" y="125730"/>
                      <a:pt x="289243" y="123508"/>
                    </a:cubicBezTo>
                    <a:lnTo>
                      <a:pt x="290513" y="123508"/>
                    </a:lnTo>
                    <a:cubicBezTo>
                      <a:pt x="293370" y="127317"/>
                      <a:pt x="296863" y="130492"/>
                      <a:pt x="301625" y="133033"/>
                    </a:cubicBezTo>
                    <a:cubicBezTo>
                      <a:pt x="306388" y="135573"/>
                      <a:pt x="312102" y="137160"/>
                      <a:pt x="319405" y="137160"/>
                    </a:cubicBezTo>
                    <a:cubicBezTo>
                      <a:pt x="330835" y="137160"/>
                      <a:pt x="340360" y="133033"/>
                      <a:pt x="347345" y="124460"/>
                    </a:cubicBezTo>
                    <a:cubicBezTo>
                      <a:pt x="354330" y="115888"/>
                      <a:pt x="358140" y="103505"/>
                      <a:pt x="358140" y="87313"/>
                    </a:cubicBezTo>
                    <a:cubicBezTo>
                      <a:pt x="358140" y="70802"/>
                      <a:pt x="354648" y="58420"/>
                      <a:pt x="347663" y="50165"/>
                    </a:cubicBezTo>
                    <a:cubicBezTo>
                      <a:pt x="340677" y="41910"/>
                      <a:pt x="331470" y="37783"/>
                      <a:pt x="319723" y="37783"/>
                    </a:cubicBezTo>
                    <a:cubicBezTo>
                      <a:pt x="311785" y="37465"/>
                      <a:pt x="305752" y="39052"/>
                      <a:pt x="301308" y="41910"/>
                    </a:cubicBezTo>
                    <a:moveTo>
                      <a:pt x="182880" y="61913"/>
                    </a:moveTo>
                    <a:cubicBezTo>
                      <a:pt x="187008" y="56198"/>
                      <a:pt x="193358" y="53023"/>
                      <a:pt x="202248" y="53023"/>
                    </a:cubicBezTo>
                    <a:cubicBezTo>
                      <a:pt x="211138" y="53023"/>
                      <a:pt x="217805" y="55880"/>
                      <a:pt x="221933" y="61913"/>
                    </a:cubicBezTo>
                    <a:cubicBezTo>
                      <a:pt x="226060" y="67627"/>
                      <a:pt x="227965" y="76200"/>
                      <a:pt x="227965" y="86995"/>
                    </a:cubicBezTo>
                    <a:cubicBezTo>
                      <a:pt x="227965" y="97790"/>
                      <a:pt x="226060" y="106045"/>
                      <a:pt x="221933" y="112395"/>
                    </a:cubicBezTo>
                    <a:cubicBezTo>
                      <a:pt x="217805" y="118427"/>
                      <a:pt x="211455" y="121602"/>
                      <a:pt x="202565" y="121602"/>
                    </a:cubicBezTo>
                    <a:cubicBezTo>
                      <a:pt x="193675" y="121602"/>
                      <a:pt x="187325" y="118427"/>
                      <a:pt x="183198" y="112395"/>
                    </a:cubicBezTo>
                    <a:cubicBezTo>
                      <a:pt x="179070" y="106363"/>
                      <a:pt x="177165" y="97790"/>
                      <a:pt x="177165" y="86995"/>
                    </a:cubicBezTo>
                    <a:cubicBezTo>
                      <a:pt x="176848" y="76200"/>
                      <a:pt x="179070" y="67945"/>
                      <a:pt x="182880" y="61913"/>
                    </a:cubicBezTo>
                    <a:moveTo>
                      <a:pt x="241618" y="60008"/>
                    </a:moveTo>
                    <a:cubicBezTo>
                      <a:pt x="237808" y="52705"/>
                      <a:pt x="232410" y="46990"/>
                      <a:pt x="225743" y="43180"/>
                    </a:cubicBezTo>
                    <a:cubicBezTo>
                      <a:pt x="219075" y="39370"/>
                      <a:pt x="211455" y="37465"/>
                      <a:pt x="202565" y="37465"/>
                    </a:cubicBezTo>
                    <a:cubicBezTo>
                      <a:pt x="188595" y="37465"/>
                      <a:pt x="177483" y="41910"/>
                      <a:pt x="169545" y="50483"/>
                    </a:cubicBezTo>
                    <a:cubicBezTo>
                      <a:pt x="161608" y="59055"/>
                      <a:pt x="157480" y="71438"/>
                      <a:pt x="157480" y="87313"/>
                    </a:cubicBezTo>
                    <a:cubicBezTo>
                      <a:pt x="157480" y="98108"/>
                      <a:pt x="159385" y="106998"/>
                      <a:pt x="163195" y="114300"/>
                    </a:cubicBezTo>
                    <a:cubicBezTo>
                      <a:pt x="167005" y="121602"/>
                      <a:pt x="172402" y="127317"/>
                      <a:pt x="179070" y="131127"/>
                    </a:cubicBezTo>
                    <a:cubicBezTo>
                      <a:pt x="185738" y="134938"/>
                      <a:pt x="193358" y="136842"/>
                      <a:pt x="202248" y="136842"/>
                    </a:cubicBezTo>
                    <a:cubicBezTo>
                      <a:pt x="216218" y="136842"/>
                      <a:pt x="227013" y="132398"/>
                      <a:pt x="235268" y="123825"/>
                    </a:cubicBezTo>
                    <a:cubicBezTo>
                      <a:pt x="243523" y="115252"/>
                      <a:pt x="247650" y="102870"/>
                      <a:pt x="247650" y="86995"/>
                    </a:cubicBezTo>
                    <a:cubicBezTo>
                      <a:pt x="247650" y="76517"/>
                      <a:pt x="245745" y="67310"/>
                      <a:pt x="241618" y="60008"/>
                    </a:cubicBezTo>
                    <a:moveTo>
                      <a:pt x="114618" y="135255"/>
                    </a:moveTo>
                    <a:lnTo>
                      <a:pt x="133350" y="135255"/>
                    </a:lnTo>
                    <a:lnTo>
                      <a:pt x="133350" y="39370"/>
                    </a:lnTo>
                    <a:lnTo>
                      <a:pt x="114618" y="39370"/>
                    </a:lnTo>
                    <a:lnTo>
                      <a:pt x="114618" y="135255"/>
                    </a:lnTo>
                    <a:close/>
                    <a:moveTo>
                      <a:pt x="116840" y="5398"/>
                    </a:moveTo>
                    <a:cubicBezTo>
                      <a:pt x="114618" y="6985"/>
                      <a:pt x="113665" y="9842"/>
                      <a:pt x="113665" y="13652"/>
                    </a:cubicBezTo>
                    <a:cubicBezTo>
                      <a:pt x="113665" y="17463"/>
                      <a:pt x="114618" y="20320"/>
                      <a:pt x="116840" y="21908"/>
                    </a:cubicBezTo>
                    <a:cubicBezTo>
                      <a:pt x="119063" y="23495"/>
                      <a:pt x="121602" y="24448"/>
                      <a:pt x="124460" y="24448"/>
                    </a:cubicBezTo>
                    <a:cubicBezTo>
                      <a:pt x="127318" y="24448"/>
                      <a:pt x="129858" y="23495"/>
                      <a:pt x="132080" y="21908"/>
                    </a:cubicBezTo>
                    <a:cubicBezTo>
                      <a:pt x="134302" y="20320"/>
                      <a:pt x="135255" y="17463"/>
                      <a:pt x="135255" y="13652"/>
                    </a:cubicBezTo>
                    <a:cubicBezTo>
                      <a:pt x="135255" y="9842"/>
                      <a:pt x="134302" y="6985"/>
                      <a:pt x="132080" y="5398"/>
                    </a:cubicBezTo>
                    <a:cubicBezTo>
                      <a:pt x="129858" y="3810"/>
                      <a:pt x="127318" y="2858"/>
                      <a:pt x="124460" y="2858"/>
                    </a:cubicBezTo>
                    <a:cubicBezTo>
                      <a:pt x="121285" y="2858"/>
                      <a:pt x="118745" y="3810"/>
                      <a:pt x="116840" y="5398"/>
                    </a:cubicBezTo>
                    <a:moveTo>
                      <a:pt x="41593" y="76835"/>
                    </a:moveTo>
                    <a:cubicBezTo>
                      <a:pt x="52388" y="76835"/>
                      <a:pt x="60008" y="78740"/>
                      <a:pt x="64135" y="82550"/>
                    </a:cubicBezTo>
                    <a:cubicBezTo>
                      <a:pt x="68263" y="86360"/>
                      <a:pt x="70485" y="91123"/>
                      <a:pt x="70485" y="97155"/>
                    </a:cubicBezTo>
                    <a:cubicBezTo>
                      <a:pt x="70485" y="103823"/>
                      <a:pt x="68580" y="109220"/>
                      <a:pt x="64452" y="113030"/>
                    </a:cubicBezTo>
                    <a:cubicBezTo>
                      <a:pt x="60325" y="117158"/>
                      <a:pt x="53340" y="119063"/>
                      <a:pt x="43180" y="119063"/>
                    </a:cubicBezTo>
                    <a:lnTo>
                      <a:pt x="20002" y="119063"/>
                    </a:lnTo>
                    <a:lnTo>
                      <a:pt x="20002" y="76835"/>
                    </a:lnTo>
                    <a:lnTo>
                      <a:pt x="41593" y="76835"/>
                    </a:lnTo>
                    <a:close/>
                    <a:moveTo>
                      <a:pt x="19368" y="24448"/>
                    </a:moveTo>
                    <a:lnTo>
                      <a:pt x="38418" y="24448"/>
                    </a:lnTo>
                    <a:cubicBezTo>
                      <a:pt x="48260" y="24448"/>
                      <a:pt x="55245" y="25717"/>
                      <a:pt x="59690" y="28575"/>
                    </a:cubicBezTo>
                    <a:cubicBezTo>
                      <a:pt x="64135" y="31433"/>
                      <a:pt x="66675" y="35877"/>
                      <a:pt x="66675" y="42227"/>
                    </a:cubicBezTo>
                    <a:cubicBezTo>
                      <a:pt x="66675" y="48577"/>
                      <a:pt x="64770" y="53340"/>
                      <a:pt x="60960" y="56515"/>
                    </a:cubicBezTo>
                    <a:cubicBezTo>
                      <a:pt x="57150" y="59690"/>
                      <a:pt x="50483" y="61277"/>
                      <a:pt x="40323" y="61277"/>
                    </a:cubicBezTo>
                    <a:lnTo>
                      <a:pt x="19050" y="61277"/>
                    </a:lnTo>
                    <a:lnTo>
                      <a:pt x="19050" y="24448"/>
                    </a:lnTo>
                    <a:close/>
                    <a:moveTo>
                      <a:pt x="318" y="135255"/>
                    </a:moveTo>
                    <a:lnTo>
                      <a:pt x="45720" y="135255"/>
                    </a:lnTo>
                    <a:cubicBezTo>
                      <a:pt x="59373" y="135255"/>
                      <a:pt x="70485" y="132080"/>
                      <a:pt x="78423" y="125730"/>
                    </a:cubicBezTo>
                    <a:cubicBezTo>
                      <a:pt x="86360" y="119380"/>
                      <a:pt x="90488" y="110490"/>
                      <a:pt x="90488" y="98742"/>
                    </a:cubicBezTo>
                    <a:cubicBezTo>
                      <a:pt x="90488" y="92075"/>
                      <a:pt x="89218" y="86677"/>
                      <a:pt x="86995" y="82550"/>
                    </a:cubicBezTo>
                    <a:cubicBezTo>
                      <a:pt x="84773" y="78423"/>
                      <a:pt x="81280" y="75248"/>
                      <a:pt x="77152" y="73025"/>
                    </a:cubicBezTo>
                    <a:cubicBezTo>
                      <a:pt x="73025" y="70802"/>
                      <a:pt x="68580" y="69215"/>
                      <a:pt x="63500" y="68263"/>
                    </a:cubicBezTo>
                    <a:lnTo>
                      <a:pt x="63500" y="67310"/>
                    </a:lnTo>
                    <a:cubicBezTo>
                      <a:pt x="70802" y="66040"/>
                      <a:pt x="76518" y="62865"/>
                      <a:pt x="80327" y="57785"/>
                    </a:cubicBezTo>
                    <a:cubicBezTo>
                      <a:pt x="84138" y="52705"/>
                      <a:pt x="86360" y="46673"/>
                      <a:pt x="86360" y="39370"/>
                    </a:cubicBezTo>
                    <a:cubicBezTo>
                      <a:pt x="86360" y="27623"/>
                      <a:pt x="82233" y="19685"/>
                      <a:pt x="73977" y="14923"/>
                    </a:cubicBezTo>
                    <a:cubicBezTo>
                      <a:pt x="65723" y="10160"/>
                      <a:pt x="53340" y="7938"/>
                      <a:pt x="37148" y="7938"/>
                    </a:cubicBezTo>
                    <a:lnTo>
                      <a:pt x="0" y="7938"/>
                    </a:lnTo>
                    <a:lnTo>
                      <a:pt x="0" y="135255"/>
                    </a:lnTo>
                    <a:close/>
                  </a:path>
                </a:pathLst>
              </a:custGeom>
              <a:grpFill/>
              <a:ln w="3175" cap="flat">
                <a:noFill/>
                <a:prstDash val="solid"/>
                <a:miter/>
              </a:ln>
            </p:spPr>
            <p:txBody>
              <a:bodyPr rtlCol="0" anchor="ctr"/>
              <a:lstStyle/>
              <a:p>
                <a:endParaRPr lang="en-GB">
                  <a:solidFill>
                    <a:srgbClr val="000000"/>
                  </a:solidFill>
                  <a:latin typeface="Verdana"/>
                </a:endParaRPr>
              </a:p>
            </p:txBody>
          </p:sp>
        </p:grpSp>
        <p:grpSp>
          <p:nvGrpSpPr>
            <p:cNvPr id="17" name="Group 16">
              <a:extLst>
                <a:ext uri="{FF2B5EF4-FFF2-40B4-BE49-F238E27FC236}">
                  <a16:creationId xmlns:a16="http://schemas.microsoft.com/office/drawing/2014/main" id="{F110AF71-CB3F-4CFA-B73C-E6524F566898}"/>
                </a:ext>
              </a:extLst>
            </p:cNvPr>
            <p:cNvGrpSpPr/>
            <p:nvPr/>
          </p:nvGrpSpPr>
          <p:grpSpPr>
            <a:xfrm>
              <a:off x="6089333" y="3055937"/>
              <a:ext cx="1403984" cy="847090"/>
              <a:chOff x="6089333" y="2960052"/>
              <a:chExt cx="1403984" cy="847090"/>
            </a:xfrm>
            <a:solidFill>
              <a:srgbClr val="2A918B"/>
            </a:solidFill>
          </p:grpSpPr>
          <p:sp>
            <p:nvSpPr>
              <p:cNvPr id="39" name="Freeform: Shape 38">
                <a:extLst>
                  <a:ext uri="{FF2B5EF4-FFF2-40B4-BE49-F238E27FC236}">
                    <a16:creationId xmlns:a16="http://schemas.microsoft.com/office/drawing/2014/main" id="{E155751F-B4AD-452E-B1DA-91A66CFF6A5F}"/>
                  </a:ext>
                </a:extLst>
              </p:cNvPr>
              <p:cNvSpPr/>
              <p:nvPr/>
            </p:nvSpPr>
            <p:spPr>
              <a:xfrm>
                <a:off x="6089333" y="3705542"/>
                <a:ext cx="1168400" cy="101600"/>
              </a:xfrm>
              <a:custGeom>
                <a:avLst/>
                <a:gdLst>
                  <a:gd name="connsiteX0" fmla="*/ 1155065 w 1168400"/>
                  <a:gd name="connsiteY0" fmla="*/ 36195 h 101600"/>
                  <a:gd name="connsiteX1" fmla="*/ 1158240 w 1168400"/>
                  <a:gd name="connsiteY1" fmla="*/ 50165 h 101600"/>
                  <a:gd name="connsiteX2" fmla="*/ 1155065 w 1168400"/>
                  <a:gd name="connsiteY2" fmla="*/ 64453 h 101600"/>
                  <a:gd name="connsiteX3" fmla="*/ 1145223 w 1168400"/>
                  <a:gd name="connsiteY3" fmla="*/ 69850 h 101600"/>
                  <a:gd name="connsiteX4" fmla="*/ 1134110 w 1168400"/>
                  <a:gd name="connsiteY4" fmla="*/ 64770 h 101600"/>
                  <a:gd name="connsiteX5" fmla="*/ 1130935 w 1168400"/>
                  <a:gd name="connsiteY5" fmla="*/ 50165 h 101600"/>
                  <a:gd name="connsiteX6" fmla="*/ 1130935 w 1168400"/>
                  <a:gd name="connsiteY6" fmla="*/ 48578 h 101600"/>
                  <a:gd name="connsiteX7" fmla="*/ 1134110 w 1168400"/>
                  <a:gd name="connsiteY7" fmla="*/ 35242 h 101600"/>
                  <a:gd name="connsiteX8" fmla="*/ 1144905 w 1168400"/>
                  <a:gd name="connsiteY8" fmla="*/ 30798 h 101600"/>
                  <a:gd name="connsiteX9" fmla="*/ 1155065 w 1168400"/>
                  <a:gd name="connsiteY9" fmla="*/ 36195 h 101600"/>
                  <a:gd name="connsiteX10" fmla="*/ 1137285 w 1168400"/>
                  <a:gd name="connsiteY10" fmla="*/ 24448 h 101600"/>
                  <a:gd name="connsiteX11" fmla="*/ 1130935 w 1168400"/>
                  <a:gd name="connsiteY11" fmla="*/ 30480 h 101600"/>
                  <a:gd name="connsiteX12" fmla="*/ 1130300 w 1168400"/>
                  <a:gd name="connsiteY12" fmla="*/ 30480 h 101600"/>
                  <a:gd name="connsiteX13" fmla="*/ 1128712 w 1168400"/>
                  <a:gd name="connsiteY13" fmla="*/ 23178 h 101600"/>
                  <a:gd name="connsiteX14" fmla="*/ 1119823 w 1168400"/>
                  <a:gd name="connsiteY14" fmla="*/ 23178 h 101600"/>
                  <a:gd name="connsiteX15" fmla="*/ 1119823 w 1168400"/>
                  <a:gd name="connsiteY15" fmla="*/ 102235 h 101600"/>
                  <a:gd name="connsiteX16" fmla="*/ 1130617 w 1168400"/>
                  <a:gd name="connsiteY16" fmla="*/ 102235 h 101600"/>
                  <a:gd name="connsiteX17" fmla="*/ 1130617 w 1168400"/>
                  <a:gd name="connsiteY17" fmla="*/ 80010 h 101600"/>
                  <a:gd name="connsiteX18" fmla="*/ 1130300 w 1168400"/>
                  <a:gd name="connsiteY18" fmla="*/ 75565 h 101600"/>
                  <a:gd name="connsiteX19" fmla="*/ 1129983 w 1168400"/>
                  <a:gd name="connsiteY19" fmla="*/ 71120 h 101600"/>
                  <a:gd name="connsiteX20" fmla="*/ 1130617 w 1168400"/>
                  <a:gd name="connsiteY20" fmla="*/ 71120 h 101600"/>
                  <a:gd name="connsiteX21" fmla="*/ 1136967 w 1168400"/>
                  <a:gd name="connsiteY21" fmla="*/ 76517 h 101600"/>
                  <a:gd name="connsiteX22" fmla="*/ 1147127 w 1168400"/>
                  <a:gd name="connsiteY22" fmla="*/ 78740 h 101600"/>
                  <a:gd name="connsiteX23" fmla="*/ 1163002 w 1168400"/>
                  <a:gd name="connsiteY23" fmla="*/ 71438 h 101600"/>
                  <a:gd name="connsiteX24" fmla="*/ 1169035 w 1168400"/>
                  <a:gd name="connsiteY24" fmla="*/ 50165 h 101600"/>
                  <a:gd name="connsiteX25" fmla="*/ 1163002 w 1168400"/>
                  <a:gd name="connsiteY25" fmla="*/ 28892 h 101600"/>
                  <a:gd name="connsiteX26" fmla="*/ 1147127 w 1168400"/>
                  <a:gd name="connsiteY26" fmla="*/ 21908 h 101600"/>
                  <a:gd name="connsiteX27" fmla="*/ 1137285 w 1168400"/>
                  <a:gd name="connsiteY27" fmla="*/ 24448 h 101600"/>
                  <a:gd name="connsiteX28" fmla="*/ 1092517 w 1168400"/>
                  <a:gd name="connsiteY28" fmla="*/ 77788 h 101600"/>
                  <a:gd name="connsiteX29" fmla="*/ 1103312 w 1168400"/>
                  <a:gd name="connsiteY29" fmla="*/ 77788 h 101600"/>
                  <a:gd name="connsiteX30" fmla="*/ 1103312 w 1168400"/>
                  <a:gd name="connsiteY30" fmla="*/ 23178 h 101600"/>
                  <a:gd name="connsiteX31" fmla="*/ 1092517 w 1168400"/>
                  <a:gd name="connsiteY31" fmla="*/ 23178 h 101600"/>
                  <a:gd name="connsiteX32" fmla="*/ 1092517 w 1168400"/>
                  <a:gd name="connsiteY32" fmla="*/ 77788 h 101600"/>
                  <a:gd name="connsiteX33" fmla="*/ 1093787 w 1168400"/>
                  <a:gd name="connsiteY33" fmla="*/ 3492 h 101600"/>
                  <a:gd name="connsiteX34" fmla="*/ 1091883 w 1168400"/>
                  <a:gd name="connsiteY34" fmla="*/ 8255 h 101600"/>
                  <a:gd name="connsiteX35" fmla="*/ 1093787 w 1168400"/>
                  <a:gd name="connsiteY35" fmla="*/ 13017 h 101600"/>
                  <a:gd name="connsiteX36" fmla="*/ 1098233 w 1168400"/>
                  <a:gd name="connsiteY36" fmla="*/ 14605 h 101600"/>
                  <a:gd name="connsiteX37" fmla="*/ 1102360 w 1168400"/>
                  <a:gd name="connsiteY37" fmla="*/ 13017 h 101600"/>
                  <a:gd name="connsiteX38" fmla="*/ 1104265 w 1168400"/>
                  <a:gd name="connsiteY38" fmla="*/ 8255 h 101600"/>
                  <a:gd name="connsiteX39" fmla="*/ 1102360 w 1168400"/>
                  <a:gd name="connsiteY39" fmla="*/ 3492 h 101600"/>
                  <a:gd name="connsiteX40" fmla="*/ 1098233 w 1168400"/>
                  <a:gd name="connsiteY40" fmla="*/ 2223 h 101600"/>
                  <a:gd name="connsiteX41" fmla="*/ 1093787 w 1168400"/>
                  <a:gd name="connsiteY41" fmla="*/ 3492 h 101600"/>
                  <a:gd name="connsiteX42" fmla="*/ 1028700 w 1168400"/>
                  <a:gd name="connsiteY42" fmla="*/ 635 h 101600"/>
                  <a:gd name="connsiteX43" fmla="*/ 1028700 w 1168400"/>
                  <a:gd name="connsiteY43" fmla="*/ 77788 h 101600"/>
                  <a:gd name="connsiteX44" fmla="*/ 1039495 w 1168400"/>
                  <a:gd name="connsiteY44" fmla="*/ 77788 h 101600"/>
                  <a:gd name="connsiteX45" fmla="*/ 1039495 w 1168400"/>
                  <a:gd name="connsiteY45" fmla="*/ 50165 h 101600"/>
                  <a:gd name="connsiteX46" fmla="*/ 1042670 w 1168400"/>
                  <a:gd name="connsiteY46" fmla="*/ 35878 h 101600"/>
                  <a:gd name="connsiteX47" fmla="*/ 1054100 w 1168400"/>
                  <a:gd name="connsiteY47" fmla="*/ 30798 h 101600"/>
                  <a:gd name="connsiteX48" fmla="*/ 1065530 w 1168400"/>
                  <a:gd name="connsiteY48" fmla="*/ 43498 h 101600"/>
                  <a:gd name="connsiteX49" fmla="*/ 1065530 w 1168400"/>
                  <a:gd name="connsiteY49" fmla="*/ 77788 h 101600"/>
                  <a:gd name="connsiteX50" fmla="*/ 1076325 w 1168400"/>
                  <a:gd name="connsiteY50" fmla="*/ 77788 h 101600"/>
                  <a:gd name="connsiteX51" fmla="*/ 1076325 w 1168400"/>
                  <a:gd name="connsiteY51" fmla="*/ 42228 h 101600"/>
                  <a:gd name="connsiteX52" fmla="*/ 1071245 w 1168400"/>
                  <a:gd name="connsiteY52" fmla="*/ 26988 h 101600"/>
                  <a:gd name="connsiteX53" fmla="*/ 1056323 w 1168400"/>
                  <a:gd name="connsiteY53" fmla="*/ 22225 h 101600"/>
                  <a:gd name="connsiteX54" fmla="*/ 1046798 w 1168400"/>
                  <a:gd name="connsiteY54" fmla="*/ 24448 h 101600"/>
                  <a:gd name="connsiteX55" fmla="*/ 1039812 w 1168400"/>
                  <a:gd name="connsiteY55" fmla="*/ 30798 h 101600"/>
                  <a:gd name="connsiteX56" fmla="*/ 1039177 w 1168400"/>
                  <a:gd name="connsiteY56" fmla="*/ 30798 h 101600"/>
                  <a:gd name="connsiteX57" fmla="*/ 1039495 w 1168400"/>
                  <a:gd name="connsiteY57" fmla="*/ 26670 h 101600"/>
                  <a:gd name="connsiteX58" fmla="*/ 1039812 w 1168400"/>
                  <a:gd name="connsiteY58" fmla="*/ 21590 h 101600"/>
                  <a:gd name="connsiteX59" fmla="*/ 1039812 w 1168400"/>
                  <a:gd name="connsiteY59" fmla="*/ 953 h 101600"/>
                  <a:gd name="connsiteX60" fmla="*/ 1028700 w 1168400"/>
                  <a:gd name="connsiteY60" fmla="*/ 953 h 101600"/>
                  <a:gd name="connsiteX61" fmla="*/ 1013777 w 1168400"/>
                  <a:gd name="connsiteY61" fmla="*/ 54928 h 101600"/>
                  <a:gd name="connsiteX62" fmla="*/ 1008380 w 1168400"/>
                  <a:gd name="connsiteY62" fmla="*/ 49848 h 101600"/>
                  <a:gd name="connsiteX63" fmla="*/ 999808 w 1168400"/>
                  <a:gd name="connsiteY63" fmla="*/ 45720 h 101600"/>
                  <a:gd name="connsiteX64" fmla="*/ 991870 w 1168400"/>
                  <a:gd name="connsiteY64" fmla="*/ 42228 h 101600"/>
                  <a:gd name="connsiteX65" fmla="*/ 987742 w 1168400"/>
                  <a:gd name="connsiteY65" fmla="*/ 39370 h 101600"/>
                  <a:gd name="connsiteX66" fmla="*/ 986473 w 1168400"/>
                  <a:gd name="connsiteY66" fmla="*/ 35878 h 101600"/>
                  <a:gd name="connsiteX67" fmla="*/ 996315 w 1168400"/>
                  <a:gd name="connsiteY67" fmla="*/ 30163 h 101600"/>
                  <a:gd name="connsiteX68" fmla="*/ 1003935 w 1168400"/>
                  <a:gd name="connsiteY68" fmla="*/ 31115 h 101600"/>
                  <a:gd name="connsiteX69" fmla="*/ 1011237 w 1168400"/>
                  <a:gd name="connsiteY69" fmla="*/ 33655 h 101600"/>
                  <a:gd name="connsiteX70" fmla="*/ 1014730 w 1168400"/>
                  <a:gd name="connsiteY70" fmla="*/ 25400 h 101600"/>
                  <a:gd name="connsiteX71" fmla="*/ 1006158 w 1168400"/>
                  <a:gd name="connsiteY71" fmla="*/ 22542 h 101600"/>
                  <a:gd name="connsiteX72" fmla="*/ 996633 w 1168400"/>
                  <a:gd name="connsiteY72" fmla="*/ 21590 h 101600"/>
                  <a:gd name="connsiteX73" fmla="*/ 981392 w 1168400"/>
                  <a:gd name="connsiteY73" fmla="*/ 25400 h 101600"/>
                  <a:gd name="connsiteX74" fmla="*/ 975677 w 1168400"/>
                  <a:gd name="connsiteY74" fmla="*/ 36195 h 101600"/>
                  <a:gd name="connsiteX75" fmla="*/ 977583 w 1168400"/>
                  <a:gd name="connsiteY75" fmla="*/ 43498 h 101600"/>
                  <a:gd name="connsiteX76" fmla="*/ 982980 w 1168400"/>
                  <a:gd name="connsiteY76" fmla="*/ 48578 h 101600"/>
                  <a:gd name="connsiteX77" fmla="*/ 991870 w 1168400"/>
                  <a:gd name="connsiteY77" fmla="*/ 52705 h 101600"/>
                  <a:gd name="connsiteX78" fmla="*/ 1000125 w 1168400"/>
                  <a:gd name="connsiteY78" fmla="*/ 56198 h 101600"/>
                  <a:gd name="connsiteX79" fmla="*/ 1003935 w 1168400"/>
                  <a:gd name="connsiteY79" fmla="*/ 59373 h 101600"/>
                  <a:gd name="connsiteX80" fmla="*/ 1004887 w 1168400"/>
                  <a:gd name="connsiteY80" fmla="*/ 62548 h 101600"/>
                  <a:gd name="connsiteX81" fmla="*/ 1002348 w 1168400"/>
                  <a:gd name="connsiteY81" fmla="*/ 67628 h 101600"/>
                  <a:gd name="connsiteX82" fmla="*/ 993458 w 1168400"/>
                  <a:gd name="connsiteY82" fmla="*/ 69533 h 101600"/>
                  <a:gd name="connsiteX83" fmla="*/ 983933 w 1168400"/>
                  <a:gd name="connsiteY83" fmla="*/ 68263 h 101600"/>
                  <a:gd name="connsiteX84" fmla="*/ 975677 w 1168400"/>
                  <a:gd name="connsiteY84" fmla="*/ 65088 h 101600"/>
                  <a:gd name="connsiteX85" fmla="*/ 975677 w 1168400"/>
                  <a:gd name="connsiteY85" fmla="*/ 74613 h 101600"/>
                  <a:gd name="connsiteX86" fmla="*/ 983298 w 1168400"/>
                  <a:gd name="connsiteY86" fmla="*/ 77153 h 101600"/>
                  <a:gd name="connsiteX87" fmla="*/ 993140 w 1168400"/>
                  <a:gd name="connsiteY87" fmla="*/ 78105 h 101600"/>
                  <a:gd name="connsiteX88" fmla="*/ 1009650 w 1168400"/>
                  <a:gd name="connsiteY88" fmla="*/ 73978 h 101600"/>
                  <a:gd name="connsiteX89" fmla="*/ 1015365 w 1168400"/>
                  <a:gd name="connsiteY89" fmla="*/ 61595 h 101600"/>
                  <a:gd name="connsiteX90" fmla="*/ 1013777 w 1168400"/>
                  <a:gd name="connsiteY90" fmla="*/ 54928 h 101600"/>
                  <a:gd name="connsiteX91" fmla="*/ 953452 w 1168400"/>
                  <a:gd name="connsiteY91" fmla="*/ 25083 h 101600"/>
                  <a:gd name="connsiteX92" fmla="*/ 946785 w 1168400"/>
                  <a:gd name="connsiteY92" fmla="*/ 32703 h 101600"/>
                  <a:gd name="connsiteX93" fmla="*/ 946467 w 1168400"/>
                  <a:gd name="connsiteY93" fmla="*/ 32703 h 101600"/>
                  <a:gd name="connsiteX94" fmla="*/ 945198 w 1168400"/>
                  <a:gd name="connsiteY94" fmla="*/ 22860 h 101600"/>
                  <a:gd name="connsiteX95" fmla="*/ 936625 w 1168400"/>
                  <a:gd name="connsiteY95" fmla="*/ 22860 h 101600"/>
                  <a:gd name="connsiteX96" fmla="*/ 936625 w 1168400"/>
                  <a:gd name="connsiteY96" fmla="*/ 77470 h 101600"/>
                  <a:gd name="connsiteX97" fmla="*/ 947420 w 1168400"/>
                  <a:gd name="connsiteY97" fmla="*/ 77470 h 101600"/>
                  <a:gd name="connsiteX98" fmla="*/ 947420 w 1168400"/>
                  <a:gd name="connsiteY98" fmla="*/ 48578 h 101600"/>
                  <a:gd name="connsiteX99" fmla="*/ 949642 w 1168400"/>
                  <a:gd name="connsiteY99" fmla="*/ 39370 h 101600"/>
                  <a:gd name="connsiteX100" fmla="*/ 955358 w 1168400"/>
                  <a:gd name="connsiteY100" fmla="*/ 33655 h 101600"/>
                  <a:gd name="connsiteX101" fmla="*/ 962977 w 1168400"/>
                  <a:gd name="connsiteY101" fmla="*/ 31750 h 101600"/>
                  <a:gd name="connsiteX102" fmla="*/ 968375 w 1168400"/>
                  <a:gd name="connsiteY102" fmla="*/ 32385 h 101600"/>
                  <a:gd name="connsiteX103" fmla="*/ 969645 w 1168400"/>
                  <a:gd name="connsiteY103" fmla="*/ 22225 h 101600"/>
                  <a:gd name="connsiteX104" fmla="*/ 963612 w 1168400"/>
                  <a:gd name="connsiteY104" fmla="*/ 21590 h 101600"/>
                  <a:gd name="connsiteX105" fmla="*/ 953452 w 1168400"/>
                  <a:gd name="connsiteY105" fmla="*/ 25083 h 101600"/>
                  <a:gd name="connsiteX106" fmla="*/ 909002 w 1168400"/>
                  <a:gd name="connsiteY106" fmla="*/ 34290 h 101600"/>
                  <a:gd name="connsiteX107" fmla="*/ 912177 w 1168400"/>
                  <a:gd name="connsiteY107" fmla="*/ 44767 h 101600"/>
                  <a:gd name="connsiteX108" fmla="*/ 886460 w 1168400"/>
                  <a:gd name="connsiteY108" fmla="*/ 44767 h 101600"/>
                  <a:gd name="connsiteX109" fmla="*/ 890587 w 1168400"/>
                  <a:gd name="connsiteY109" fmla="*/ 33973 h 101600"/>
                  <a:gd name="connsiteX110" fmla="*/ 899795 w 1168400"/>
                  <a:gd name="connsiteY110" fmla="*/ 30163 h 101600"/>
                  <a:gd name="connsiteX111" fmla="*/ 909002 w 1168400"/>
                  <a:gd name="connsiteY111" fmla="*/ 34290 h 101600"/>
                  <a:gd name="connsiteX112" fmla="*/ 886777 w 1168400"/>
                  <a:gd name="connsiteY112" fmla="*/ 25400 h 101600"/>
                  <a:gd name="connsiteX113" fmla="*/ 878205 w 1168400"/>
                  <a:gd name="connsiteY113" fmla="*/ 35242 h 101600"/>
                  <a:gd name="connsiteX114" fmla="*/ 875030 w 1168400"/>
                  <a:gd name="connsiteY114" fmla="*/ 50800 h 101600"/>
                  <a:gd name="connsiteX115" fmla="*/ 878523 w 1168400"/>
                  <a:gd name="connsiteY115" fmla="*/ 66358 h 101600"/>
                  <a:gd name="connsiteX116" fmla="*/ 888048 w 1168400"/>
                  <a:gd name="connsiteY116" fmla="*/ 75565 h 101600"/>
                  <a:gd name="connsiteX117" fmla="*/ 902017 w 1168400"/>
                  <a:gd name="connsiteY117" fmla="*/ 78740 h 101600"/>
                  <a:gd name="connsiteX118" fmla="*/ 911860 w 1168400"/>
                  <a:gd name="connsiteY118" fmla="*/ 77788 h 101600"/>
                  <a:gd name="connsiteX119" fmla="*/ 920115 w 1168400"/>
                  <a:gd name="connsiteY119" fmla="*/ 74930 h 101600"/>
                  <a:gd name="connsiteX120" fmla="*/ 920115 w 1168400"/>
                  <a:gd name="connsiteY120" fmla="*/ 66040 h 101600"/>
                  <a:gd name="connsiteX121" fmla="*/ 911542 w 1168400"/>
                  <a:gd name="connsiteY121" fmla="*/ 68898 h 101600"/>
                  <a:gd name="connsiteX122" fmla="*/ 902017 w 1168400"/>
                  <a:gd name="connsiteY122" fmla="*/ 69850 h 101600"/>
                  <a:gd name="connsiteX123" fmla="*/ 890270 w 1168400"/>
                  <a:gd name="connsiteY123" fmla="*/ 65405 h 101600"/>
                  <a:gd name="connsiteX124" fmla="*/ 885825 w 1168400"/>
                  <a:gd name="connsiteY124" fmla="*/ 52388 h 101600"/>
                  <a:gd name="connsiteX125" fmla="*/ 922655 w 1168400"/>
                  <a:gd name="connsiteY125" fmla="*/ 52388 h 101600"/>
                  <a:gd name="connsiteX126" fmla="*/ 922655 w 1168400"/>
                  <a:gd name="connsiteY126" fmla="*/ 46355 h 101600"/>
                  <a:gd name="connsiteX127" fmla="*/ 916305 w 1168400"/>
                  <a:gd name="connsiteY127" fmla="*/ 28258 h 101600"/>
                  <a:gd name="connsiteX128" fmla="*/ 899477 w 1168400"/>
                  <a:gd name="connsiteY128" fmla="*/ 21590 h 101600"/>
                  <a:gd name="connsiteX129" fmla="*/ 886777 w 1168400"/>
                  <a:gd name="connsiteY129" fmla="*/ 25400 h 101600"/>
                  <a:gd name="connsiteX130" fmla="*/ 826452 w 1168400"/>
                  <a:gd name="connsiteY130" fmla="*/ 65088 h 101600"/>
                  <a:gd name="connsiteX131" fmla="*/ 822960 w 1168400"/>
                  <a:gd name="connsiteY131" fmla="*/ 50800 h 101600"/>
                  <a:gd name="connsiteX132" fmla="*/ 826452 w 1168400"/>
                  <a:gd name="connsiteY132" fmla="*/ 36195 h 101600"/>
                  <a:gd name="connsiteX133" fmla="*/ 836295 w 1168400"/>
                  <a:gd name="connsiteY133" fmla="*/ 30798 h 101600"/>
                  <a:gd name="connsiteX134" fmla="*/ 847725 w 1168400"/>
                  <a:gd name="connsiteY134" fmla="*/ 35878 h 101600"/>
                  <a:gd name="connsiteX135" fmla="*/ 850900 w 1168400"/>
                  <a:gd name="connsiteY135" fmla="*/ 50483 h 101600"/>
                  <a:gd name="connsiteX136" fmla="*/ 850900 w 1168400"/>
                  <a:gd name="connsiteY136" fmla="*/ 52070 h 101600"/>
                  <a:gd name="connsiteX137" fmla="*/ 847725 w 1168400"/>
                  <a:gd name="connsiteY137" fmla="*/ 65405 h 101600"/>
                  <a:gd name="connsiteX138" fmla="*/ 836612 w 1168400"/>
                  <a:gd name="connsiteY138" fmla="*/ 69850 h 101600"/>
                  <a:gd name="connsiteX139" fmla="*/ 826452 w 1168400"/>
                  <a:gd name="connsiteY139" fmla="*/ 65088 h 101600"/>
                  <a:gd name="connsiteX140" fmla="*/ 844233 w 1168400"/>
                  <a:gd name="connsiteY140" fmla="*/ 76517 h 101600"/>
                  <a:gd name="connsiteX141" fmla="*/ 850583 w 1168400"/>
                  <a:gd name="connsiteY141" fmla="*/ 70485 h 101600"/>
                  <a:gd name="connsiteX142" fmla="*/ 851217 w 1168400"/>
                  <a:gd name="connsiteY142" fmla="*/ 70485 h 101600"/>
                  <a:gd name="connsiteX143" fmla="*/ 853123 w 1168400"/>
                  <a:gd name="connsiteY143" fmla="*/ 77788 h 101600"/>
                  <a:gd name="connsiteX144" fmla="*/ 861695 w 1168400"/>
                  <a:gd name="connsiteY144" fmla="*/ 77788 h 101600"/>
                  <a:gd name="connsiteX145" fmla="*/ 861695 w 1168400"/>
                  <a:gd name="connsiteY145" fmla="*/ 635 h 101600"/>
                  <a:gd name="connsiteX146" fmla="*/ 850900 w 1168400"/>
                  <a:gd name="connsiteY146" fmla="*/ 635 h 101600"/>
                  <a:gd name="connsiteX147" fmla="*/ 850900 w 1168400"/>
                  <a:gd name="connsiteY147" fmla="*/ 21273 h 101600"/>
                  <a:gd name="connsiteX148" fmla="*/ 851217 w 1168400"/>
                  <a:gd name="connsiteY148" fmla="*/ 26035 h 101600"/>
                  <a:gd name="connsiteX149" fmla="*/ 851852 w 1168400"/>
                  <a:gd name="connsiteY149" fmla="*/ 30163 h 101600"/>
                  <a:gd name="connsiteX150" fmla="*/ 851217 w 1168400"/>
                  <a:gd name="connsiteY150" fmla="*/ 30163 h 101600"/>
                  <a:gd name="connsiteX151" fmla="*/ 844867 w 1168400"/>
                  <a:gd name="connsiteY151" fmla="*/ 24448 h 101600"/>
                  <a:gd name="connsiteX152" fmla="*/ 834708 w 1168400"/>
                  <a:gd name="connsiteY152" fmla="*/ 22225 h 101600"/>
                  <a:gd name="connsiteX153" fmla="*/ 818515 w 1168400"/>
                  <a:gd name="connsiteY153" fmla="*/ 29528 h 101600"/>
                  <a:gd name="connsiteX154" fmla="*/ 812483 w 1168400"/>
                  <a:gd name="connsiteY154" fmla="*/ 50800 h 101600"/>
                  <a:gd name="connsiteX155" fmla="*/ 818515 w 1168400"/>
                  <a:gd name="connsiteY155" fmla="*/ 72073 h 101600"/>
                  <a:gd name="connsiteX156" fmla="*/ 834390 w 1168400"/>
                  <a:gd name="connsiteY156" fmla="*/ 79058 h 101600"/>
                  <a:gd name="connsiteX157" fmla="*/ 844233 w 1168400"/>
                  <a:gd name="connsiteY157" fmla="*/ 76517 h 101600"/>
                  <a:gd name="connsiteX158" fmla="*/ 788035 w 1168400"/>
                  <a:gd name="connsiteY158" fmla="*/ 56198 h 101600"/>
                  <a:gd name="connsiteX159" fmla="*/ 783908 w 1168400"/>
                  <a:gd name="connsiteY159" fmla="*/ 66992 h 101600"/>
                  <a:gd name="connsiteX160" fmla="*/ 773430 w 1168400"/>
                  <a:gd name="connsiteY160" fmla="*/ 70485 h 101600"/>
                  <a:gd name="connsiteX161" fmla="*/ 766762 w 1168400"/>
                  <a:gd name="connsiteY161" fmla="*/ 68580 h 101600"/>
                  <a:gd name="connsiteX162" fmla="*/ 764223 w 1168400"/>
                  <a:gd name="connsiteY162" fmla="*/ 62230 h 101600"/>
                  <a:gd name="connsiteX163" fmla="*/ 767715 w 1168400"/>
                  <a:gd name="connsiteY163" fmla="*/ 54610 h 101600"/>
                  <a:gd name="connsiteX164" fmla="*/ 780733 w 1168400"/>
                  <a:gd name="connsiteY164" fmla="*/ 51435 h 101600"/>
                  <a:gd name="connsiteX165" fmla="*/ 788035 w 1168400"/>
                  <a:gd name="connsiteY165" fmla="*/ 51117 h 101600"/>
                  <a:gd name="connsiteX166" fmla="*/ 788035 w 1168400"/>
                  <a:gd name="connsiteY166" fmla="*/ 56198 h 101600"/>
                  <a:gd name="connsiteX167" fmla="*/ 767398 w 1168400"/>
                  <a:gd name="connsiteY167" fmla="*/ 23495 h 101600"/>
                  <a:gd name="connsiteX168" fmla="*/ 758508 w 1168400"/>
                  <a:gd name="connsiteY168" fmla="*/ 26988 h 101600"/>
                  <a:gd name="connsiteX169" fmla="*/ 762000 w 1168400"/>
                  <a:gd name="connsiteY169" fmla="*/ 34925 h 101600"/>
                  <a:gd name="connsiteX170" fmla="*/ 769302 w 1168400"/>
                  <a:gd name="connsiteY170" fmla="*/ 32067 h 101600"/>
                  <a:gd name="connsiteX171" fmla="*/ 777240 w 1168400"/>
                  <a:gd name="connsiteY171" fmla="*/ 30798 h 101600"/>
                  <a:gd name="connsiteX172" fmla="*/ 784860 w 1168400"/>
                  <a:gd name="connsiteY172" fmla="*/ 33338 h 101600"/>
                  <a:gd name="connsiteX173" fmla="*/ 787717 w 1168400"/>
                  <a:gd name="connsiteY173" fmla="*/ 41910 h 101600"/>
                  <a:gd name="connsiteX174" fmla="*/ 787717 w 1168400"/>
                  <a:gd name="connsiteY174" fmla="*/ 45085 h 101600"/>
                  <a:gd name="connsiteX175" fmla="*/ 778510 w 1168400"/>
                  <a:gd name="connsiteY175" fmla="*/ 45403 h 101600"/>
                  <a:gd name="connsiteX176" fmla="*/ 759142 w 1168400"/>
                  <a:gd name="connsiteY176" fmla="*/ 50165 h 101600"/>
                  <a:gd name="connsiteX177" fmla="*/ 752792 w 1168400"/>
                  <a:gd name="connsiteY177" fmla="*/ 62865 h 101600"/>
                  <a:gd name="connsiteX178" fmla="*/ 757555 w 1168400"/>
                  <a:gd name="connsiteY178" fmla="*/ 75565 h 101600"/>
                  <a:gd name="connsiteX179" fmla="*/ 769937 w 1168400"/>
                  <a:gd name="connsiteY179" fmla="*/ 79692 h 101600"/>
                  <a:gd name="connsiteX180" fmla="*/ 780733 w 1168400"/>
                  <a:gd name="connsiteY180" fmla="*/ 77470 h 101600"/>
                  <a:gd name="connsiteX181" fmla="*/ 788352 w 1168400"/>
                  <a:gd name="connsiteY181" fmla="*/ 70803 h 101600"/>
                  <a:gd name="connsiteX182" fmla="*/ 788670 w 1168400"/>
                  <a:gd name="connsiteY182" fmla="*/ 70803 h 101600"/>
                  <a:gd name="connsiteX183" fmla="*/ 790892 w 1168400"/>
                  <a:gd name="connsiteY183" fmla="*/ 78423 h 101600"/>
                  <a:gd name="connsiteX184" fmla="*/ 798512 w 1168400"/>
                  <a:gd name="connsiteY184" fmla="*/ 78423 h 101600"/>
                  <a:gd name="connsiteX185" fmla="*/ 798512 w 1168400"/>
                  <a:gd name="connsiteY185" fmla="*/ 41275 h 101600"/>
                  <a:gd name="connsiteX186" fmla="*/ 793433 w 1168400"/>
                  <a:gd name="connsiteY186" fmla="*/ 26988 h 101600"/>
                  <a:gd name="connsiteX187" fmla="*/ 778192 w 1168400"/>
                  <a:gd name="connsiteY187" fmla="*/ 22542 h 101600"/>
                  <a:gd name="connsiteX188" fmla="*/ 767398 w 1168400"/>
                  <a:gd name="connsiteY188" fmla="*/ 23495 h 101600"/>
                  <a:gd name="connsiteX189" fmla="*/ 729615 w 1168400"/>
                  <a:gd name="connsiteY189" fmla="*/ 34290 h 101600"/>
                  <a:gd name="connsiteX190" fmla="*/ 732790 w 1168400"/>
                  <a:gd name="connsiteY190" fmla="*/ 44767 h 101600"/>
                  <a:gd name="connsiteX191" fmla="*/ 707073 w 1168400"/>
                  <a:gd name="connsiteY191" fmla="*/ 44767 h 101600"/>
                  <a:gd name="connsiteX192" fmla="*/ 711200 w 1168400"/>
                  <a:gd name="connsiteY192" fmla="*/ 33973 h 101600"/>
                  <a:gd name="connsiteX193" fmla="*/ 720408 w 1168400"/>
                  <a:gd name="connsiteY193" fmla="*/ 30163 h 101600"/>
                  <a:gd name="connsiteX194" fmla="*/ 729615 w 1168400"/>
                  <a:gd name="connsiteY194" fmla="*/ 34290 h 101600"/>
                  <a:gd name="connsiteX195" fmla="*/ 707390 w 1168400"/>
                  <a:gd name="connsiteY195" fmla="*/ 25400 h 101600"/>
                  <a:gd name="connsiteX196" fmla="*/ 698817 w 1168400"/>
                  <a:gd name="connsiteY196" fmla="*/ 35242 h 101600"/>
                  <a:gd name="connsiteX197" fmla="*/ 695642 w 1168400"/>
                  <a:gd name="connsiteY197" fmla="*/ 50800 h 101600"/>
                  <a:gd name="connsiteX198" fmla="*/ 699135 w 1168400"/>
                  <a:gd name="connsiteY198" fmla="*/ 66358 h 101600"/>
                  <a:gd name="connsiteX199" fmla="*/ 708660 w 1168400"/>
                  <a:gd name="connsiteY199" fmla="*/ 75565 h 101600"/>
                  <a:gd name="connsiteX200" fmla="*/ 722630 w 1168400"/>
                  <a:gd name="connsiteY200" fmla="*/ 78740 h 101600"/>
                  <a:gd name="connsiteX201" fmla="*/ 732473 w 1168400"/>
                  <a:gd name="connsiteY201" fmla="*/ 77788 h 101600"/>
                  <a:gd name="connsiteX202" fmla="*/ 740727 w 1168400"/>
                  <a:gd name="connsiteY202" fmla="*/ 74930 h 101600"/>
                  <a:gd name="connsiteX203" fmla="*/ 740727 w 1168400"/>
                  <a:gd name="connsiteY203" fmla="*/ 66040 h 101600"/>
                  <a:gd name="connsiteX204" fmla="*/ 732155 w 1168400"/>
                  <a:gd name="connsiteY204" fmla="*/ 68898 h 101600"/>
                  <a:gd name="connsiteX205" fmla="*/ 722630 w 1168400"/>
                  <a:gd name="connsiteY205" fmla="*/ 69850 h 101600"/>
                  <a:gd name="connsiteX206" fmla="*/ 710883 w 1168400"/>
                  <a:gd name="connsiteY206" fmla="*/ 65405 h 101600"/>
                  <a:gd name="connsiteX207" fmla="*/ 706437 w 1168400"/>
                  <a:gd name="connsiteY207" fmla="*/ 52388 h 101600"/>
                  <a:gd name="connsiteX208" fmla="*/ 743267 w 1168400"/>
                  <a:gd name="connsiteY208" fmla="*/ 52388 h 101600"/>
                  <a:gd name="connsiteX209" fmla="*/ 743267 w 1168400"/>
                  <a:gd name="connsiteY209" fmla="*/ 46355 h 101600"/>
                  <a:gd name="connsiteX210" fmla="*/ 736917 w 1168400"/>
                  <a:gd name="connsiteY210" fmla="*/ 28258 h 101600"/>
                  <a:gd name="connsiteX211" fmla="*/ 720090 w 1168400"/>
                  <a:gd name="connsiteY211" fmla="*/ 21590 h 101600"/>
                  <a:gd name="connsiteX212" fmla="*/ 707390 w 1168400"/>
                  <a:gd name="connsiteY212" fmla="*/ 25400 h 101600"/>
                  <a:gd name="connsiteX213" fmla="*/ 681673 w 1168400"/>
                  <a:gd name="connsiteY213" fmla="*/ 635 h 101600"/>
                  <a:gd name="connsiteX214" fmla="*/ 670877 w 1168400"/>
                  <a:gd name="connsiteY214" fmla="*/ 635 h 101600"/>
                  <a:gd name="connsiteX215" fmla="*/ 670877 w 1168400"/>
                  <a:gd name="connsiteY215" fmla="*/ 77788 h 101600"/>
                  <a:gd name="connsiteX216" fmla="*/ 681673 w 1168400"/>
                  <a:gd name="connsiteY216" fmla="*/ 77788 h 101600"/>
                  <a:gd name="connsiteX217" fmla="*/ 681673 w 1168400"/>
                  <a:gd name="connsiteY217" fmla="*/ 635 h 101600"/>
                  <a:gd name="connsiteX218" fmla="*/ 625475 w 1168400"/>
                  <a:gd name="connsiteY218" fmla="*/ 78105 h 101600"/>
                  <a:gd name="connsiteX219" fmla="*/ 631825 w 1168400"/>
                  <a:gd name="connsiteY219" fmla="*/ 75565 h 101600"/>
                  <a:gd name="connsiteX220" fmla="*/ 631825 w 1168400"/>
                  <a:gd name="connsiteY220" fmla="*/ 66358 h 101600"/>
                  <a:gd name="connsiteX221" fmla="*/ 625475 w 1168400"/>
                  <a:gd name="connsiteY221" fmla="*/ 68898 h 101600"/>
                  <a:gd name="connsiteX222" fmla="*/ 617537 w 1168400"/>
                  <a:gd name="connsiteY222" fmla="*/ 69850 h 101600"/>
                  <a:gd name="connsiteX223" fmla="*/ 606742 w 1168400"/>
                  <a:gd name="connsiteY223" fmla="*/ 65088 h 101600"/>
                  <a:gd name="connsiteX224" fmla="*/ 602933 w 1168400"/>
                  <a:gd name="connsiteY224" fmla="*/ 50800 h 101600"/>
                  <a:gd name="connsiteX225" fmla="*/ 617855 w 1168400"/>
                  <a:gd name="connsiteY225" fmla="*/ 31433 h 101600"/>
                  <a:gd name="connsiteX226" fmla="*/ 623887 w 1168400"/>
                  <a:gd name="connsiteY226" fmla="*/ 32385 h 101600"/>
                  <a:gd name="connsiteX227" fmla="*/ 629920 w 1168400"/>
                  <a:gd name="connsiteY227" fmla="*/ 34290 h 101600"/>
                  <a:gd name="connsiteX228" fmla="*/ 633095 w 1168400"/>
                  <a:gd name="connsiteY228" fmla="*/ 25400 h 101600"/>
                  <a:gd name="connsiteX229" fmla="*/ 626427 w 1168400"/>
                  <a:gd name="connsiteY229" fmla="*/ 23178 h 101600"/>
                  <a:gd name="connsiteX230" fmla="*/ 617855 w 1168400"/>
                  <a:gd name="connsiteY230" fmla="*/ 22225 h 101600"/>
                  <a:gd name="connsiteX231" fmla="*/ 604520 w 1168400"/>
                  <a:gd name="connsiteY231" fmla="*/ 25083 h 101600"/>
                  <a:gd name="connsiteX232" fmla="*/ 595312 w 1168400"/>
                  <a:gd name="connsiteY232" fmla="*/ 34290 h 101600"/>
                  <a:gd name="connsiteX233" fmla="*/ 591820 w 1168400"/>
                  <a:gd name="connsiteY233" fmla="*/ 50800 h 101600"/>
                  <a:gd name="connsiteX234" fmla="*/ 598805 w 1168400"/>
                  <a:gd name="connsiteY234" fmla="*/ 72073 h 101600"/>
                  <a:gd name="connsiteX235" fmla="*/ 617220 w 1168400"/>
                  <a:gd name="connsiteY235" fmla="*/ 78740 h 101600"/>
                  <a:gd name="connsiteX236" fmla="*/ 625475 w 1168400"/>
                  <a:gd name="connsiteY236" fmla="*/ 78105 h 101600"/>
                  <a:gd name="connsiteX237" fmla="*/ 567055 w 1168400"/>
                  <a:gd name="connsiteY237" fmla="*/ 77788 h 101600"/>
                  <a:gd name="connsiteX238" fmla="*/ 577850 w 1168400"/>
                  <a:gd name="connsiteY238" fmla="*/ 77788 h 101600"/>
                  <a:gd name="connsiteX239" fmla="*/ 577850 w 1168400"/>
                  <a:gd name="connsiteY239" fmla="*/ 23178 h 101600"/>
                  <a:gd name="connsiteX240" fmla="*/ 567055 w 1168400"/>
                  <a:gd name="connsiteY240" fmla="*/ 23178 h 101600"/>
                  <a:gd name="connsiteX241" fmla="*/ 567055 w 1168400"/>
                  <a:gd name="connsiteY241" fmla="*/ 77788 h 101600"/>
                  <a:gd name="connsiteX242" fmla="*/ 568325 w 1168400"/>
                  <a:gd name="connsiteY242" fmla="*/ 3492 h 101600"/>
                  <a:gd name="connsiteX243" fmla="*/ 566420 w 1168400"/>
                  <a:gd name="connsiteY243" fmla="*/ 8255 h 101600"/>
                  <a:gd name="connsiteX244" fmla="*/ 568325 w 1168400"/>
                  <a:gd name="connsiteY244" fmla="*/ 13017 h 101600"/>
                  <a:gd name="connsiteX245" fmla="*/ 572770 w 1168400"/>
                  <a:gd name="connsiteY245" fmla="*/ 14605 h 101600"/>
                  <a:gd name="connsiteX246" fmla="*/ 576898 w 1168400"/>
                  <a:gd name="connsiteY246" fmla="*/ 13017 h 101600"/>
                  <a:gd name="connsiteX247" fmla="*/ 578802 w 1168400"/>
                  <a:gd name="connsiteY247" fmla="*/ 8255 h 101600"/>
                  <a:gd name="connsiteX248" fmla="*/ 576898 w 1168400"/>
                  <a:gd name="connsiteY248" fmla="*/ 3492 h 101600"/>
                  <a:gd name="connsiteX249" fmla="*/ 572770 w 1168400"/>
                  <a:gd name="connsiteY249" fmla="*/ 2223 h 101600"/>
                  <a:gd name="connsiteX250" fmla="*/ 568325 w 1168400"/>
                  <a:gd name="connsiteY250" fmla="*/ 3492 h 101600"/>
                  <a:gd name="connsiteX251" fmla="*/ 557530 w 1168400"/>
                  <a:gd name="connsiteY251" fmla="*/ 23178 h 101600"/>
                  <a:gd name="connsiteX252" fmla="*/ 543877 w 1168400"/>
                  <a:gd name="connsiteY252" fmla="*/ 23178 h 101600"/>
                  <a:gd name="connsiteX253" fmla="*/ 543877 w 1168400"/>
                  <a:gd name="connsiteY253" fmla="*/ 19685 h 101600"/>
                  <a:gd name="connsiteX254" fmla="*/ 551815 w 1168400"/>
                  <a:gd name="connsiteY254" fmla="*/ 8890 h 101600"/>
                  <a:gd name="connsiteX255" fmla="*/ 556260 w 1168400"/>
                  <a:gd name="connsiteY255" fmla="*/ 9208 h 101600"/>
                  <a:gd name="connsiteX256" fmla="*/ 560070 w 1168400"/>
                  <a:gd name="connsiteY256" fmla="*/ 10160 h 101600"/>
                  <a:gd name="connsiteX257" fmla="*/ 562927 w 1168400"/>
                  <a:gd name="connsiteY257" fmla="*/ 1905 h 101600"/>
                  <a:gd name="connsiteX258" fmla="*/ 557848 w 1168400"/>
                  <a:gd name="connsiteY258" fmla="*/ 635 h 101600"/>
                  <a:gd name="connsiteX259" fmla="*/ 551498 w 1168400"/>
                  <a:gd name="connsiteY259" fmla="*/ 0 h 101600"/>
                  <a:gd name="connsiteX260" fmla="*/ 538162 w 1168400"/>
                  <a:gd name="connsiteY260" fmla="*/ 4445 h 101600"/>
                  <a:gd name="connsiteX261" fmla="*/ 533400 w 1168400"/>
                  <a:gd name="connsiteY261" fmla="*/ 19367 h 101600"/>
                  <a:gd name="connsiteX262" fmla="*/ 533400 w 1168400"/>
                  <a:gd name="connsiteY262" fmla="*/ 22860 h 101600"/>
                  <a:gd name="connsiteX263" fmla="*/ 524192 w 1168400"/>
                  <a:gd name="connsiteY263" fmla="*/ 26353 h 101600"/>
                  <a:gd name="connsiteX264" fmla="*/ 524192 w 1168400"/>
                  <a:gd name="connsiteY264" fmla="*/ 31433 h 101600"/>
                  <a:gd name="connsiteX265" fmla="*/ 533400 w 1168400"/>
                  <a:gd name="connsiteY265" fmla="*/ 31433 h 101600"/>
                  <a:gd name="connsiteX266" fmla="*/ 533400 w 1168400"/>
                  <a:gd name="connsiteY266" fmla="*/ 78105 h 101600"/>
                  <a:gd name="connsiteX267" fmla="*/ 544195 w 1168400"/>
                  <a:gd name="connsiteY267" fmla="*/ 78105 h 101600"/>
                  <a:gd name="connsiteX268" fmla="*/ 544195 w 1168400"/>
                  <a:gd name="connsiteY268" fmla="*/ 31433 h 101600"/>
                  <a:gd name="connsiteX269" fmla="*/ 557848 w 1168400"/>
                  <a:gd name="connsiteY269" fmla="*/ 31433 h 101600"/>
                  <a:gd name="connsiteX270" fmla="*/ 557848 w 1168400"/>
                  <a:gd name="connsiteY270" fmla="*/ 23178 h 101600"/>
                  <a:gd name="connsiteX271" fmla="*/ 503237 w 1168400"/>
                  <a:gd name="connsiteY271" fmla="*/ 77788 h 101600"/>
                  <a:gd name="connsiteX272" fmla="*/ 514033 w 1168400"/>
                  <a:gd name="connsiteY272" fmla="*/ 77788 h 101600"/>
                  <a:gd name="connsiteX273" fmla="*/ 514033 w 1168400"/>
                  <a:gd name="connsiteY273" fmla="*/ 23178 h 101600"/>
                  <a:gd name="connsiteX274" fmla="*/ 503237 w 1168400"/>
                  <a:gd name="connsiteY274" fmla="*/ 23178 h 101600"/>
                  <a:gd name="connsiteX275" fmla="*/ 503237 w 1168400"/>
                  <a:gd name="connsiteY275" fmla="*/ 77788 h 101600"/>
                  <a:gd name="connsiteX276" fmla="*/ 504508 w 1168400"/>
                  <a:gd name="connsiteY276" fmla="*/ 3492 h 101600"/>
                  <a:gd name="connsiteX277" fmla="*/ 502602 w 1168400"/>
                  <a:gd name="connsiteY277" fmla="*/ 8255 h 101600"/>
                  <a:gd name="connsiteX278" fmla="*/ 504508 w 1168400"/>
                  <a:gd name="connsiteY278" fmla="*/ 13017 h 101600"/>
                  <a:gd name="connsiteX279" fmla="*/ 508952 w 1168400"/>
                  <a:gd name="connsiteY279" fmla="*/ 14605 h 101600"/>
                  <a:gd name="connsiteX280" fmla="*/ 513080 w 1168400"/>
                  <a:gd name="connsiteY280" fmla="*/ 13017 h 101600"/>
                  <a:gd name="connsiteX281" fmla="*/ 514985 w 1168400"/>
                  <a:gd name="connsiteY281" fmla="*/ 8255 h 101600"/>
                  <a:gd name="connsiteX282" fmla="*/ 513080 w 1168400"/>
                  <a:gd name="connsiteY282" fmla="*/ 3492 h 101600"/>
                  <a:gd name="connsiteX283" fmla="*/ 508952 w 1168400"/>
                  <a:gd name="connsiteY283" fmla="*/ 2223 h 101600"/>
                  <a:gd name="connsiteX284" fmla="*/ 504508 w 1168400"/>
                  <a:gd name="connsiteY284" fmla="*/ 3492 h 101600"/>
                  <a:gd name="connsiteX285" fmla="*/ 478473 w 1168400"/>
                  <a:gd name="connsiteY285" fmla="*/ 67945 h 101600"/>
                  <a:gd name="connsiteX286" fmla="*/ 476250 w 1168400"/>
                  <a:gd name="connsiteY286" fmla="*/ 61278 h 101600"/>
                  <a:gd name="connsiteX287" fmla="*/ 476250 w 1168400"/>
                  <a:gd name="connsiteY287" fmla="*/ 31115 h 101600"/>
                  <a:gd name="connsiteX288" fmla="*/ 491808 w 1168400"/>
                  <a:gd name="connsiteY288" fmla="*/ 31115 h 101600"/>
                  <a:gd name="connsiteX289" fmla="*/ 491808 w 1168400"/>
                  <a:gd name="connsiteY289" fmla="*/ 22860 h 101600"/>
                  <a:gd name="connsiteX290" fmla="*/ 476250 w 1168400"/>
                  <a:gd name="connsiteY290" fmla="*/ 22860 h 101600"/>
                  <a:gd name="connsiteX291" fmla="*/ 476250 w 1168400"/>
                  <a:gd name="connsiteY291" fmla="*/ 10478 h 101600"/>
                  <a:gd name="connsiteX292" fmla="*/ 469583 w 1168400"/>
                  <a:gd name="connsiteY292" fmla="*/ 10478 h 101600"/>
                  <a:gd name="connsiteX293" fmla="*/ 465773 w 1168400"/>
                  <a:gd name="connsiteY293" fmla="*/ 21908 h 101600"/>
                  <a:gd name="connsiteX294" fmla="*/ 457835 w 1168400"/>
                  <a:gd name="connsiteY294" fmla="*/ 26035 h 101600"/>
                  <a:gd name="connsiteX295" fmla="*/ 457835 w 1168400"/>
                  <a:gd name="connsiteY295" fmla="*/ 30798 h 101600"/>
                  <a:gd name="connsiteX296" fmla="*/ 465455 w 1168400"/>
                  <a:gd name="connsiteY296" fmla="*/ 30798 h 101600"/>
                  <a:gd name="connsiteX297" fmla="*/ 465455 w 1168400"/>
                  <a:gd name="connsiteY297" fmla="*/ 60960 h 101600"/>
                  <a:gd name="connsiteX298" fmla="*/ 467677 w 1168400"/>
                  <a:gd name="connsiteY298" fmla="*/ 71438 h 101600"/>
                  <a:gd name="connsiteX299" fmla="*/ 473710 w 1168400"/>
                  <a:gd name="connsiteY299" fmla="*/ 76835 h 101600"/>
                  <a:gd name="connsiteX300" fmla="*/ 481965 w 1168400"/>
                  <a:gd name="connsiteY300" fmla="*/ 78423 h 101600"/>
                  <a:gd name="connsiteX301" fmla="*/ 487998 w 1168400"/>
                  <a:gd name="connsiteY301" fmla="*/ 77788 h 101600"/>
                  <a:gd name="connsiteX302" fmla="*/ 492760 w 1168400"/>
                  <a:gd name="connsiteY302" fmla="*/ 76517 h 101600"/>
                  <a:gd name="connsiteX303" fmla="*/ 492760 w 1168400"/>
                  <a:gd name="connsiteY303" fmla="*/ 68263 h 101600"/>
                  <a:gd name="connsiteX304" fmla="*/ 484505 w 1168400"/>
                  <a:gd name="connsiteY304" fmla="*/ 69533 h 101600"/>
                  <a:gd name="connsiteX305" fmla="*/ 478473 w 1168400"/>
                  <a:gd name="connsiteY305" fmla="*/ 67945 h 101600"/>
                  <a:gd name="connsiteX306" fmla="*/ 418465 w 1168400"/>
                  <a:gd name="connsiteY306" fmla="*/ 24130 h 101600"/>
                  <a:gd name="connsiteX307" fmla="*/ 411163 w 1168400"/>
                  <a:gd name="connsiteY307" fmla="*/ 30480 h 101600"/>
                  <a:gd name="connsiteX308" fmla="*/ 410527 w 1168400"/>
                  <a:gd name="connsiteY308" fmla="*/ 30480 h 101600"/>
                  <a:gd name="connsiteX309" fmla="*/ 408940 w 1168400"/>
                  <a:gd name="connsiteY309" fmla="*/ 23178 h 101600"/>
                  <a:gd name="connsiteX310" fmla="*/ 400367 w 1168400"/>
                  <a:gd name="connsiteY310" fmla="*/ 23178 h 101600"/>
                  <a:gd name="connsiteX311" fmla="*/ 400367 w 1168400"/>
                  <a:gd name="connsiteY311" fmla="*/ 77788 h 101600"/>
                  <a:gd name="connsiteX312" fmla="*/ 411163 w 1168400"/>
                  <a:gd name="connsiteY312" fmla="*/ 77788 h 101600"/>
                  <a:gd name="connsiteX313" fmla="*/ 411163 w 1168400"/>
                  <a:gd name="connsiteY313" fmla="*/ 50165 h 101600"/>
                  <a:gd name="connsiteX314" fmla="*/ 414337 w 1168400"/>
                  <a:gd name="connsiteY314" fmla="*/ 35878 h 101600"/>
                  <a:gd name="connsiteX315" fmla="*/ 425767 w 1168400"/>
                  <a:gd name="connsiteY315" fmla="*/ 30798 h 101600"/>
                  <a:gd name="connsiteX316" fmla="*/ 437198 w 1168400"/>
                  <a:gd name="connsiteY316" fmla="*/ 43498 h 101600"/>
                  <a:gd name="connsiteX317" fmla="*/ 437198 w 1168400"/>
                  <a:gd name="connsiteY317" fmla="*/ 77788 h 101600"/>
                  <a:gd name="connsiteX318" fmla="*/ 447992 w 1168400"/>
                  <a:gd name="connsiteY318" fmla="*/ 77788 h 101600"/>
                  <a:gd name="connsiteX319" fmla="*/ 447992 w 1168400"/>
                  <a:gd name="connsiteY319" fmla="*/ 42228 h 101600"/>
                  <a:gd name="connsiteX320" fmla="*/ 442912 w 1168400"/>
                  <a:gd name="connsiteY320" fmla="*/ 26988 h 101600"/>
                  <a:gd name="connsiteX321" fmla="*/ 428308 w 1168400"/>
                  <a:gd name="connsiteY321" fmla="*/ 22225 h 101600"/>
                  <a:gd name="connsiteX322" fmla="*/ 418465 w 1168400"/>
                  <a:gd name="connsiteY322" fmla="*/ 24130 h 101600"/>
                  <a:gd name="connsiteX323" fmla="*/ 373063 w 1168400"/>
                  <a:gd name="connsiteY323" fmla="*/ 34290 h 101600"/>
                  <a:gd name="connsiteX324" fmla="*/ 376238 w 1168400"/>
                  <a:gd name="connsiteY324" fmla="*/ 44767 h 101600"/>
                  <a:gd name="connsiteX325" fmla="*/ 350520 w 1168400"/>
                  <a:gd name="connsiteY325" fmla="*/ 44767 h 101600"/>
                  <a:gd name="connsiteX326" fmla="*/ 354647 w 1168400"/>
                  <a:gd name="connsiteY326" fmla="*/ 33973 h 101600"/>
                  <a:gd name="connsiteX327" fmla="*/ 363855 w 1168400"/>
                  <a:gd name="connsiteY327" fmla="*/ 30163 h 101600"/>
                  <a:gd name="connsiteX328" fmla="*/ 373063 w 1168400"/>
                  <a:gd name="connsiteY328" fmla="*/ 34290 h 101600"/>
                  <a:gd name="connsiteX329" fmla="*/ 350838 w 1168400"/>
                  <a:gd name="connsiteY329" fmla="*/ 25400 h 101600"/>
                  <a:gd name="connsiteX330" fmla="*/ 342265 w 1168400"/>
                  <a:gd name="connsiteY330" fmla="*/ 35242 h 101600"/>
                  <a:gd name="connsiteX331" fmla="*/ 339090 w 1168400"/>
                  <a:gd name="connsiteY331" fmla="*/ 50800 h 101600"/>
                  <a:gd name="connsiteX332" fmla="*/ 342583 w 1168400"/>
                  <a:gd name="connsiteY332" fmla="*/ 66358 h 101600"/>
                  <a:gd name="connsiteX333" fmla="*/ 352108 w 1168400"/>
                  <a:gd name="connsiteY333" fmla="*/ 75565 h 101600"/>
                  <a:gd name="connsiteX334" fmla="*/ 366077 w 1168400"/>
                  <a:gd name="connsiteY334" fmla="*/ 78740 h 101600"/>
                  <a:gd name="connsiteX335" fmla="*/ 375920 w 1168400"/>
                  <a:gd name="connsiteY335" fmla="*/ 77788 h 101600"/>
                  <a:gd name="connsiteX336" fmla="*/ 384175 w 1168400"/>
                  <a:gd name="connsiteY336" fmla="*/ 74930 h 101600"/>
                  <a:gd name="connsiteX337" fmla="*/ 384175 w 1168400"/>
                  <a:gd name="connsiteY337" fmla="*/ 66040 h 101600"/>
                  <a:gd name="connsiteX338" fmla="*/ 375602 w 1168400"/>
                  <a:gd name="connsiteY338" fmla="*/ 68898 h 101600"/>
                  <a:gd name="connsiteX339" fmla="*/ 366077 w 1168400"/>
                  <a:gd name="connsiteY339" fmla="*/ 69850 h 101600"/>
                  <a:gd name="connsiteX340" fmla="*/ 354330 w 1168400"/>
                  <a:gd name="connsiteY340" fmla="*/ 65405 h 101600"/>
                  <a:gd name="connsiteX341" fmla="*/ 349885 w 1168400"/>
                  <a:gd name="connsiteY341" fmla="*/ 52388 h 101600"/>
                  <a:gd name="connsiteX342" fmla="*/ 386715 w 1168400"/>
                  <a:gd name="connsiteY342" fmla="*/ 52388 h 101600"/>
                  <a:gd name="connsiteX343" fmla="*/ 386715 w 1168400"/>
                  <a:gd name="connsiteY343" fmla="*/ 46355 h 101600"/>
                  <a:gd name="connsiteX344" fmla="*/ 380365 w 1168400"/>
                  <a:gd name="connsiteY344" fmla="*/ 28258 h 101600"/>
                  <a:gd name="connsiteX345" fmla="*/ 363538 w 1168400"/>
                  <a:gd name="connsiteY345" fmla="*/ 21590 h 101600"/>
                  <a:gd name="connsiteX346" fmla="*/ 350838 w 1168400"/>
                  <a:gd name="connsiteY346" fmla="*/ 25400 h 101600"/>
                  <a:gd name="connsiteX347" fmla="*/ 314642 w 1168400"/>
                  <a:gd name="connsiteY347" fmla="*/ 77788 h 101600"/>
                  <a:gd name="connsiteX348" fmla="*/ 325438 w 1168400"/>
                  <a:gd name="connsiteY348" fmla="*/ 77788 h 101600"/>
                  <a:gd name="connsiteX349" fmla="*/ 325438 w 1168400"/>
                  <a:gd name="connsiteY349" fmla="*/ 23178 h 101600"/>
                  <a:gd name="connsiteX350" fmla="*/ 314642 w 1168400"/>
                  <a:gd name="connsiteY350" fmla="*/ 23178 h 101600"/>
                  <a:gd name="connsiteX351" fmla="*/ 314642 w 1168400"/>
                  <a:gd name="connsiteY351" fmla="*/ 77788 h 101600"/>
                  <a:gd name="connsiteX352" fmla="*/ 315913 w 1168400"/>
                  <a:gd name="connsiteY352" fmla="*/ 3492 h 101600"/>
                  <a:gd name="connsiteX353" fmla="*/ 314008 w 1168400"/>
                  <a:gd name="connsiteY353" fmla="*/ 8255 h 101600"/>
                  <a:gd name="connsiteX354" fmla="*/ 315913 w 1168400"/>
                  <a:gd name="connsiteY354" fmla="*/ 13017 h 101600"/>
                  <a:gd name="connsiteX355" fmla="*/ 320358 w 1168400"/>
                  <a:gd name="connsiteY355" fmla="*/ 14605 h 101600"/>
                  <a:gd name="connsiteX356" fmla="*/ 324485 w 1168400"/>
                  <a:gd name="connsiteY356" fmla="*/ 13017 h 101600"/>
                  <a:gd name="connsiteX357" fmla="*/ 326390 w 1168400"/>
                  <a:gd name="connsiteY357" fmla="*/ 8255 h 101600"/>
                  <a:gd name="connsiteX358" fmla="*/ 324485 w 1168400"/>
                  <a:gd name="connsiteY358" fmla="*/ 3492 h 101600"/>
                  <a:gd name="connsiteX359" fmla="*/ 320358 w 1168400"/>
                  <a:gd name="connsiteY359" fmla="*/ 2223 h 101600"/>
                  <a:gd name="connsiteX360" fmla="*/ 315913 w 1168400"/>
                  <a:gd name="connsiteY360" fmla="*/ 3492 h 101600"/>
                  <a:gd name="connsiteX361" fmla="*/ 295275 w 1168400"/>
                  <a:gd name="connsiteY361" fmla="*/ 78105 h 101600"/>
                  <a:gd name="connsiteX362" fmla="*/ 301625 w 1168400"/>
                  <a:gd name="connsiteY362" fmla="*/ 75565 h 101600"/>
                  <a:gd name="connsiteX363" fmla="*/ 301625 w 1168400"/>
                  <a:gd name="connsiteY363" fmla="*/ 66358 h 101600"/>
                  <a:gd name="connsiteX364" fmla="*/ 295275 w 1168400"/>
                  <a:gd name="connsiteY364" fmla="*/ 68898 h 101600"/>
                  <a:gd name="connsiteX365" fmla="*/ 287338 w 1168400"/>
                  <a:gd name="connsiteY365" fmla="*/ 69850 h 101600"/>
                  <a:gd name="connsiteX366" fmla="*/ 276542 w 1168400"/>
                  <a:gd name="connsiteY366" fmla="*/ 65088 h 101600"/>
                  <a:gd name="connsiteX367" fmla="*/ 272733 w 1168400"/>
                  <a:gd name="connsiteY367" fmla="*/ 50800 h 101600"/>
                  <a:gd name="connsiteX368" fmla="*/ 287655 w 1168400"/>
                  <a:gd name="connsiteY368" fmla="*/ 31433 h 101600"/>
                  <a:gd name="connsiteX369" fmla="*/ 293688 w 1168400"/>
                  <a:gd name="connsiteY369" fmla="*/ 32385 h 101600"/>
                  <a:gd name="connsiteX370" fmla="*/ 299720 w 1168400"/>
                  <a:gd name="connsiteY370" fmla="*/ 34290 h 101600"/>
                  <a:gd name="connsiteX371" fmla="*/ 302895 w 1168400"/>
                  <a:gd name="connsiteY371" fmla="*/ 25400 h 101600"/>
                  <a:gd name="connsiteX372" fmla="*/ 296227 w 1168400"/>
                  <a:gd name="connsiteY372" fmla="*/ 23178 h 101600"/>
                  <a:gd name="connsiteX373" fmla="*/ 287655 w 1168400"/>
                  <a:gd name="connsiteY373" fmla="*/ 22225 h 101600"/>
                  <a:gd name="connsiteX374" fmla="*/ 274320 w 1168400"/>
                  <a:gd name="connsiteY374" fmla="*/ 25083 h 101600"/>
                  <a:gd name="connsiteX375" fmla="*/ 265113 w 1168400"/>
                  <a:gd name="connsiteY375" fmla="*/ 34290 h 101600"/>
                  <a:gd name="connsiteX376" fmla="*/ 261620 w 1168400"/>
                  <a:gd name="connsiteY376" fmla="*/ 50800 h 101600"/>
                  <a:gd name="connsiteX377" fmla="*/ 268605 w 1168400"/>
                  <a:gd name="connsiteY377" fmla="*/ 72073 h 101600"/>
                  <a:gd name="connsiteX378" fmla="*/ 287020 w 1168400"/>
                  <a:gd name="connsiteY378" fmla="*/ 78740 h 101600"/>
                  <a:gd name="connsiteX379" fmla="*/ 295275 w 1168400"/>
                  <a:gd name="connsiteY379" fmla="*/ 78105 h 101600"/>
                  <a:gd name="connsiteX380" fmla="*/ 250190 w 1168400"/>
                  <a:gd name="connsiteY380" fmla="*/ 54928 h 101600"/>
                  <a:gd name="connsiteX381" fmla="*/ 244792 w 1168400"/>
                  <a:gd name="connsiteY381" fmla="*/ 49848 h 101600"/>
                  <a:gd name="connsiteX382" fmla="*/ 236220 w 1168400"/>
                  <a:gd name="connsiteY382" fmla="*/ 45720 h 101600"/>
                  <a:gd name="connsiteX383" fmla="*/ 228283 w 1168400"/>
                  <a:gd name="connsiteY383" fmla="*/ 42228 h 101600"/>
                  <a:gd name="connsiteX384" fmla="*/ 224155 w 1168400"/>
                  <a:gd name="connsiteY384" fmla="*/ 39370 h 101600"/>
                  <a:gd name="connsiteX385" fmla="*/ 222885 w 1168400"/>
                  <a:gd name="connsiteY385" fmla="*/ 35878 h 101600"/>
                  <a:gd name="connsiteX386" fmla="*/ 232727 w 1168400"/>
                  <a:gd name="connsiteY386" fmla="*/ 30163 h 101600"/>
                  <a:gd name="connsiteX387" fmla="*/ 240347 w 1168400"/>
                  <a:gd name="connsiteY387" fmla="*/ 31115 h 101600"/>
                  <a:gd name="connsiteX388" fmla="*/ 247650 w 1168400"/>
                  <a:gd name="connsiteY388" fmla="*/ 33655 h 101600"/>
                  <a:gd name="connsiteX389" fmla="*/ 251142 w 1168400"/>
                  <a:gd name="connsiteY389" fmla="*/ 25400 h 101600"/>
                  <a:gd name="connsiteX390" fmla="*/ 242570 w 1168400"/>
                  <a:gd name="connsiteY390" fmla="*/ 22542 h 101600"/>
                  <a:gd name="connsiteX391" fmla="*/ 233045 w 1168400"/>
                  <a:gd name="connsiteY391" fmla="*/ 21590 h 101600"/>
                  <a:gd name="connsiteX392" fmla="*/ 217805 w 1168400"/>
                  <a:gd name="connsiteY392" fmla="*/ 25400 h 101600"/>
                  <a:gd name="connsiteX393" fmla="*/ 212090 w 1168400"/>
                  <a:gd name="connsiteY393" fmla="*/ 36195 h 101600"/>
                  <a:gd name="connsiteX394" fmla="*/ 213995 w 1168400"/>
                  <a:gd name="connsiteY394" fmla="*/ 43498 h 101600"/>
                  <a:gd name="connsiteX395" fmla="*/ 219392 w 1168400"/>
                  <a:gd name="connsiteY395" fmla="*/ 48578 h 101600"/>
                  <a:gd name="connsiteX396" fmla="*/ 228283 w 1168400"/>
                  <a:gd name="connsiteY396" fmla="*/ 52705 h 101600"/>
                  <a:gd name="connsiteX397" fmla="*/ 236538 w 1168400"/>
                  <a:gd name="connsiteY397" fmla="*/ 56198 h 101600"/>
                  <a:gd name="connsiteX398" fmla="*/ 240347 w 1168400"/>
                  <a:gd name="connsiteY398" fmla="*/ 59373 h 101600"/>
                  <a:gd name="connsiteX399" fmla="*/ 241300 w 1168400"/>
                  <a:gd name="connsiteY399" fmla="*/ 62548 h 101600"/>
                  <a:gd name="connsiteX400" fmla="*/ 238760 w 1168400"/>
                  <a:gd name="connsiteY400" fmla="*/ 67628 h 101600"/>
                  <a:gd name="connsiteX401" fmla="*/ 229870 w 1168400"/>
                  <a:gd name="connsiteY401" fmla="*/ 69533 h 101600"/>
                  <a:gd name="connsiteX402" fmla="*/ 220345 w 1168400"/>
                  <a:gd name="connsiteY402" fmla="*/ 68263 h 101600"/>
                  <a:gd name="connsiteX403" fmla="*/ 212090 w 1168400"/>
                  <a:gd name="connsiteY403" fmla="*/ 65088 h 101600"/>
                  <a:gd name="connsiteX404" fmla="*/ 212090 w 1168400"/>
                  <a:gd name="connsiteY404" fmla="*/ 74613 h 101600"/>
                  <a:gd name="connsiteX405" fmla="*/ 219710 w 1168400"/>
                  <a:gd name="connsiteY405" fmla="*/ 77153 h 101600"/>
                  <a:gd name="connsiteX406" fmla="*/ 229552 w 1168400"/>
                  <a:gd name="connsiteY406" fmla="*/ 78105 h 101600"/>
                  <a:gd name="connsiteX407" fmla="*/ 246063 w 1168400"/>
                  <a:gd name="connsiteY407" fmla="*/ 73978 h 101600"/>
                  <a:gd name="connsiteX408" fmla="*/ 251777 w 1168400"/>
                  <a:gd name="connsiteY408" fmla="*/ 61595 h 101600"/>
                  <a:gd name="connsiteX409" fmla="*/ 250190 w 1168400"/>
                  <a:gd name="connsiteY409" fmla="*/ 54928 h 101600"/>
                  <a:gd name="connsiteX410" fmla="*/ 137477 w 1168400"/>
                  <a:gd name="connsiteY410" fmla="*/ 65088 h 101600"/>
                  <a:gd name="connsiteX411" fmla="*/ 133985 w 1168400"/>
                  <a:gd name="connsiteY411" fmla="*/ 50800 h 101600"/>
                  <a:gd name="connsiteX412" fmla="*/ 137477 w 1168400"/>
                  <a:gd name="connsiteY412" fmla="*/ 36195 h 101600"/>
                  <a:gd name="connsiteX413" fmla="*/ 147320 w 1168400"/>
                  <a:gd name="connsiteY413" fmla="*/ 30798 h 101600"/>
                  <a:gd name="connsiteX414" fmla="*/ 158750 w 1168400"/>
                  <a:gd name="connsiteY414" fmla="*/ 35878 h 101600"/>
                  <a:gd name="connsiteX415" fmla="*/ 161925 w 1168400"/>
                  <a:gd name="connsiteY415" fmla="*/ 50483 h 101600"/>
                  <a:gd name="connsiteX416" fmla="*/ 161925 w 1168400"/>
                  <a:gd name="connsiteY416" fmla="*/ 52070 h 101600"/>
                  <a:gd name="connsiteX417" fmla="*/ 158750 w 1168400"/>
                  <a:gd name="connsiteY417" fmla="*/ 65405 h 101600"/>
                  <a:gd name="connsiteX418" fmla="*/ 147638 w 1168400"/>
                  <a:gd name="connsiteY418" fmla="*/ 69850 h 101600"/>
                  <a:gd name="connsiteX419" fmla="*/ 137477 w 1168400"/>
                  <a:gd name="connsiteY419" fmla="*/ 65088 h 101600"/>
                  <a:gd name="connsiteX420" fmla="*/ 155258 w 1168400"/>
                  <a:gd name="connsiteY420" fmla="*/ 76517 h 101600"/>
                  <a:gd name="connsiteX421" fmla="*/ 161608 w 1168400"/>
                  <a:gd name="connsiteY421" fmla="*/ 70485 h 101600"/>
                  <a:gd name="connsiteX422" fmla="*/ 162242 w 1168400"/>
                  <a:gd name="connsiteY422" fmla="*/ 70485 h 101600"/>
                  <a:gd name="connsiteX423" fmla="*/ 164147 w 1168400"/>
                  <a:gd name="connsiteY423" fmla="*/ 77788 h 101600"/>
                  <a:gd name="connsiteX424" fmla="*/ 172720 w 1168400"/>
                  <a:gd name="connsiteY424" fmla="*/ 77788 h 101600"/>
                  <a:gd name="connsiteX425" fmla="*/ 172720 w 1168400"/>
                  <a:gd name="connsiteY425" fmla="*/ 635 h 101600"/>
                  <a:gd name="connsiteX426" fmla="*/ 161925 w 1168400"/>
                  <a:gd name="connsiteY426" fmla="*/ 635 h 101600"/>
                  <a:gd name="connsiteX427" fmla="*/ 161925 w 1168400"/>
                  <a:gd name="connsiteY427" fmla="*/ 21273 h 101600"/>
                  <a:gd name="connsiteX428" fmla="*/ 162242 w 1168400"/>
                  <a:gd name="connsiteY428" fmla="*/ 26035 h 101600"/>
                  <a:gd name="connsiteX429" fmla="*/ 162877 w 1168400"/>
                  <a:gd name="connsiteY429" fmla="*/ 30163 h 101600"/>
                  <a:gd name="connsiteX430" fmla="*/ 162242 w 1168400"/>
                  <a:gd name="connsiteY430" fmla="*/ 30163 h 101600"/>
                  <a:gd name="connsiteX431" fmla="*/ 155892 w 1168400"/>
                  <a:gd name="connsiteY431" fmla="*/ 24448 h 101600"/>
                  <a:gd name="connsiteX432" fmla="*/ 145733 w 1168400"/>
                  <a:gd name="connsiteY432" fmla="*/ 22225 h 101600"/>
                  <a:gd name="connsiteX433" fmla="*/ 129540 w 1168400"/>
                  <a:gd name="connsiteY433" fmla="*/ 29528 h 101600"/>
                  <a:gd name="connsiteX434" fmla="*/ 123508 w 1168400"/>
                  <a:gd name="connsiteY434" fmla="*/ 50800 h 101600"/>
                  <a:gd name="connsiteX435" fmla="*/ 129540 w 1168400"/>
                  <a:gd name="connsiteY435" fmla="*/ 72073 h 101600"/>
                  <a:gd name="connsiteX436" fmla="*/ 145415 w 1168400"/>
                  <a:gd name="connsiteY436" fmla="*/ 79058 h 101600"/>
                  <a:gd name="connsiteX437" fmla="*/ 155258 w 1168400"/>
                  <a:gd name="connsiteY437" fmla="*/ 76517 h 101600"/>
                  <a:gd name="connsiteX438" fmla="*/ 80327 w 1168400"/>
                  <a:gd name="connsiteY438" fmla="*/ 24130 h 101600"/>
                  <a:gd name="connsiteX439" fmla="*/ 73025 w 1168400"/>
                  <a:gd name="connsiteY439" fmla="*/ 30480 h 101600"/>
                  <a:gd name="connsiteX440" fmla="*/ 72390 w 1168400"/>
                  <a:gd name="connsiteY440" fmla="*/ 30480 h 101600"/>
                  <a:gd name="connsiteX441" fmla="*/ 70802 w 1168400"/>
                  <a:gd name="connsiteY441" fmla="*/ 23178 h 101600"/>
                  <a:gd name="connsiteX442" fmla="*/ 62230 w 1168400"/>
                  <a:gd name="connsiteY442" fmla="*/ 23178 h 101600"/>
                  <a:gd name="connsiteX443" fmla="*/ 62230 w 1168400"/>
                  <a:gd name="connsiteY443" fmla="*/ 77788 h 101600"/>
                  <a:gd name="connsiteX444" fmla="*/ 73025 w 1168400"/>
                  <a:gd name="connsiteY444" fmla="*/ 77788 h 101600"/>
                  <a:gd name="connsiteX445" fmla="*/ 73025 w 1168400"/>
                  <a:gd name="connsiteY445" fmla="*/ 50165 h 101600"/>
                  <a:gd name="connsiteX446" fmla="*/ 76200 w 1168400"/>
                  <a:gd name="connsiteY446" fmla="*/ 35878 h 101600"/>
                  <a:gd name="connsiteX447" fmla="*/ 87630 w 1168400"/>
                  <a:gd name="connsiteY447" fmla="*/ 30798 h 101600"/>
                  <a:gd name="connsiteX448" fmla="*/ 99060 w 1168400"/>
                  <a:gd name="connsiteY448" fmla="*/ 43498 h 101600"/>
                  <a:gd name="connsiteX449" fmla="*/ 99060 w 1168400"/>
                  <a:gd name="connsiteY449" fmla="*/ 77788 h 101600"/>
                  <a:gd name="connsiteX450" fmla="*/ 109855 w 1168400"/>
                  <a:gd name="connsiteY450" fmla="*/ 77788 h 101600"/>
                  <a:gd name="connsiteX451" fmla="*/ 109855 w 1168400"/>
                  <a:gd name="connsiteY451" fmla="*/ 42228 h 101600"/>
                  <a:gd name="connsiteX452" fmla="*/ 104775 w 1168400"/>
                  <a:gd name="connsiteY452" fmla="*/ 26988 h 101600"/>
                  <a:gd name="connsiteX453" fmla="*/ 90170 w 1168400"/>
                  <a:gd name="connsiteY453" fmla="*/ 22225 h 101600"/>
                  <a:gd name="connsiteX454" fmla="*/ 80327 w 1168400"/>
                  <a:gd name="connsiteY454" fmla="*/ 24130 h 101600"/>
                  <a:gd name="connsiteX455" fmla="*/ 34925 w 1168400"/>
                  <a:gd name="connsiteY455" fmla="*/ 56198 h 101600"/>
                  <a:gd name="connsiteX456" fmla="*/ 30797 w 1168400"/>
                  <a:gd name="connsiteY456" fmla="*/ 66992 h 101600"/>
                  <a:gd name="connsiteX457" fmla="*/ 20320 w 1168400"/>
                  <a:gd name="connsiteY457" fmla="*/ 70485 h 101600"/>
                  <a:gd name="connsiteX458" fmla="*/ 13652 w 1168400"/>
                  <a:gd name="connsiteY458" fmla="*/ 68580 h 101600"/>
                  <a:gd name="connsiteX459" fmla="*/ 11113 w 1168400"/>
                  <a:gd name="connsiteY459" fmla="*/ 62230 h 101600"/>
                  <a:gd name="connsiteX460" fmla="*/ 14605 w 1168400"/>
                  <a:gd name="connsiteY460" fmla="*/ 54610 h 101600"/>
                  <a:gd name="connsiteX461" fmla="*/ 27622 w 1168400"/>
                  <a:gd name="connsiteY461" fmla="*/ 51435 h 101600"/>
                  <a:gd name="connsiteX462" fmla="*/ 34925 w 1168400"/>
                  <a:gd name="connsiteY462" fmla="*/ 51117 h 101600"/>
                  <a:gd name="connsiteX463" fmla="*/ 34925 w 1168400"/>
                  <a:gd name="connsiteY463" fmla="*/ 56198 h 101600"/>
                  <a:gd name="connsiteX464" fmla="*/ 14605 w 1168400"/>
                  <a:gd name="connsiteY464" fmla="*/ 23495 h 101600"/>
                  <a:gd name="connsiteX465" fmla="*/ 5715 w 1168400"/>
                  <a:gd name="connsiteY465" fmla="*/ 26988 h 101600"/>
                  <a:gd name="connsiteX466" fmla="*/ 9208 w 1168400"/>
                  <a:gd name="connsiteY466" fmla="*/ 34925 h 101600"/>
                  <a:gd name="connsiteX467" fmla="*/ 16510 w 1168400"/>
                  <a:gd name="connsiteY467" fmla="*/ 32067 h 101600"/>
                  <a:gd name="connsiteX468" fmla="*/ 24447 w 1168400"/>
                  <a:gd name="connsiteY468" fmla="*/ 30798 h 101600"/>
                  <a:gd name="connsiteX469" fmla="*/ 32067 w 1168400"/>
                  <a:gd name="connsiteY469" fmla="*/ 33338 h 101600"/>
                  <a:gd name="connsiteX470" fmla="*/ 34925 w 1168400"/>
                  <a:gd name="connsiteY470" fmla="*/ 41910 h 101600"/>
                  <a:gd name="connsiteX471" fmla="*/ 34925 w 1168400"/>
                  <a:gd name="connsiteY471" fmla="*/ 45085 h 101600"/>
                  <a:gd name="connsiteX472" fmla="*/ 25717 w 1168400"/>
                  <a:gd name="connsiteY472" fmla="*/ 45403 h 101600"/>
                  <a:gd name="connsiteX473" fmla="*/ 6350 w 1168400"/>
                  <a:gd name="connsiteY473" fmla="*/ 50165 h 101600"/>
                  <a:gd name="connsiteX474" fmla="*/ 0 w 1168400"/>
                  <a:gd name="connsiteY474" fmla="*/ 62865 h 101600"/>
                  <a:gd name="connsiteX475" fmla="*/ 4763 w 1168400"/>
                  <a:gd name="connsiteY475" fmla="*/ 75565 h 101600"/>
                  <a:gd name="connsiteX476" fmla="*/ 17145 w 1168400"/>
                  <a:gd name="connsiteY476" fmla="*/ 79692 h 101600"/>
                  <a:gd name="connsiteX477" fmla="*/ 27940 w 1168400"/>
                  <a:gd name="connsiteY477" fmla="*/ 77470 h 101600"/>
                  <a:gd name="connsiteX478" fmla="*/ 35560 w 1168400"/>
                  <a:gd name="connsiteY478" fmla="*/ 70803 h 101600"/>
                  <a:gd name="connsiteX479" fmla="*/ 35877 w 1168400"/>
                  <a:gd name="connsiteY479" fmla="*/ 70803 h 101600"/>
                  <a:gd name="connsiteX480" fmla="*/ 38100 w 1168400"/>
                  <a:gd name="connsiteY480" fmla="*/ 78423 h 101600"/>
                  <a:gd name="connsiteX481" fmla="*/ 45720 w 1168400"/>
                  <a:gd name="connsiteY481" fmla="*/ 78423 h 101600"/>
                  <a:gd name="connsiteX482" fmla="*/ 45720 w 1168400"/>
                  <a:gd name="connsiteY482" fmla="*/ 41275 h 101600"/>
                  <a:gd name="connsiteX483" fmla="*/ 40640 w 1168400"/>
                  <a:gd name="connsiteY483" fmla="*/ 26988 h 101600"/>
                  <a:gd name="connsiteX484" fmla="*/ 25400 w 1168400"/>
                  <a:gd name="connsiteY484" fmla="*/ 22542 h 101600"/>
                  <a:gd name="connsiteX485" fmla="*/ 14605 w 1168400"/>
                  <a:gd name="connsiteY485" fmla="*/ 23495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168400" h="101600">
                    <a:moveTo>
                      <a:pt x="1155065" y="36195"/>
                    </a:moveTo>
                    <a:cubicBezTo>
                      <a:pt x="1157287" y="39688"/>
                      <a:pt x="1158240" y="44450"/>
                      <a:pt x="1158240" y="50165"/>
                    </a:cubicBezTo>
                    <a:cubicBezTo>
                      <a:pt x="1158240" y="56198"/>
                      <a:pt x="1157287" y="60960"/>
                      <a:pt x="1155065" y="64453"/>
                    </a:cubicBezTo>
                    <a:cubicBezTo>
                      <a:pt x="1152842" y="68263"/>
                      <a:pt x="1149667" y="69850"/>
                      <a:pt x="1145223" y="69850"/>
                    </a:cubicBezTo>
                    <a:cubicBezTo>
                      <a:pt x="1139825" y="69850"/>
                      <a:pt x="1136015" y="68263"/>
                      <a:pt x="1134110" y="64770"/>
                    </a:cubicBezTo>
                    <a:cubicBezTo>
                      <a:pt x="1132205" y="61278"/>
                      <a:pt x="1130935" y="56515"/>
                      <a:pt x="1130935" y="50165"/>
                    </a:cubicBezTo>
                    <a:lnTo>
                      <a:pt x="1130935" y="48578"/>
                    </a:lnTo>
                    <a:cubicBezTo>
                      <a:pt x="1130935" y="42545"/>
                      <a:pt x="1132205" y="38100"/>
                      <a:pt x="1134110" y="35242"/>
                    </a:cubicBezTo>
                    <a:cubicBezTo>
                      <a:pt x="1136333" y="32385"/>
                      <a:pt x="1139825" y="30798"/>
                      <a:pt x="1144905" y="30798"/>
                    </a:cubicBezTo>
                    <a:cubicBezTo>
                      <a:pt x="1149667" y="30798"/>
                      <a:pt x="1152842" y="32703"/>
                      <a:pt x="1155065" y="36195"/>
                    </a:cubicBezTo>
                    <a:moveTo>
                      <a:pt x="1137285" y="24448"/>
                    </a:moveTo>
                    <a:cubicBezTo>
                      <a:pt x="1134745" y="26035"/>
                      <a:pt x="1132523" y="27940"/>
                      <a:pt x="1130935" y="30480"/>
                    </a:cubicBezTo>
                    <a:lnTo>
                      <a:pt x="1130300" y="30480"/>
                    </a:lnTo>
                    <a:lnTo>
                      <a:pt x="1128712" y="23178"/>
                    </a:lnTo>
                    <a:lnTo>
                      <a:pt x="1119823" y="23178"/>
                    </a:lnTo>
                    <a:lnTo>
                      <a:pt x="1119823" y="102235"/>
                    </a:lnTo>
                    <a:lnTo>
                      <a:pt x="1130617" y="102235"/>
                    </a:lnTo>
                    <a:lnTo>
                      <a:pt x="1130617" y="80010"/>
                    </a:lnTo>
                    <a:cubicBezTo>
                      <a:pt x="1130617" y="78740"/>
                      <a:pt x="1130617" y="77153"/>
                      <a:pt x="1130300" y="75565"/>
                    </a:cubicBezTo>
                    <a:cubicBezTo>
                      <a:pt x="1129983" y="73978"/>
                      <a:pt x="1129983" y="72390"/>
                      <a:pt x="1129983" y="71120"/>
                    </a:cubicBezTo>
                    <a:lnTo>
                      <a:pt x="1130617" y="71120"/>
                    </a:lnTo>
                    <a:cubicBezTo>
                      <a:pt x="1132205" y="73342"/>
                      <a:pt x="1134427" y="74930"/>
                      <a:pt x="1136967" y="76517"/>
                    </a:cubicBezTo>
                    <a:cubicBezTo>
                      <a:pt x="1139508" y="78105"/>
                      <a:pt x="1143000" y="78740"/>
                      <a:pt x="1147127" y="78740"/>
                    </a:cubicBezTo>
                    <a:cubicBezTo>
                      <a:pt x="1153795" y="78740"/>
                      <a:pt x="1158875" y="76200"/>
                      <a:pt x="1163002" y="71438"/>
                    </a:cubicBezTo>
                    <a:cubicBezTo>
                      <a:pt x="1167130" y="66675"/>
                      <a:pt x="1169035" y="59690"/>
                      <a:pt x="1169035" y="50165"/>
                    </a:cubicBezTo>
                    <a:cubicBezTo>
                      <a:pt x="1169035" y="40640"/>
                      <a:pt x="1167130" y="33655"/>
                      <a:pt x="1163002" y="28892"/>
                    </a:cubicBezTo>
                    <a:cubicBezTo>
                      <a:pt x="1158875" y="24130"/>
                      <a:pt x="1153795" y="21908"/>
                      <a:pt x="1147127" y="21908"/>
                    </a:cubicBezTo>
                    <a:cubicBezTo>
                      <a:pt x="1143317" y="21908"/>
                      <a:pt x="1139825" y="22860"/>
                      <a:pt x="1137285" y="24448"/>
                    </a:cubicBezTo>
                    <a:moveTo>
                      <a:pt x="1092517" y="77788"/>
                    </a:moveTo>
                    <a:lnTo>
                      <a:pt x="1103312" y="77788"/>
                    </a:lnTo>
                    <a:lnTo>
                      <a:pt x="1103312" y="23178"/>
                    </a:lnTo>
                    <a:lnTo>
                      <a:pt x="1092517" y="23178"/>
                    </a:lnTo>
                    <a:lnTo>
                      <a:pt x="1092517" y="77788"/>
                    </a:lnTo>
                    <a:close/>
                    <a:moveTo>
                      <a:pt x="1093787" y="3492"/>
                    </a:moveTo>
                    <a:cubicBezTo>
                      <a:pt x="1092517" y="4445"/>
                      <a:pt x="1091883" y="6033"/>
                      <a:pt x="1091883" y="8255"/>
                    </a:cubicBezTo>
                    <a:cubicBezTo>
                      <a:pt x="1091883" y="10478"/>
                      <a:pt x="1092517" y="12065"/>
                      <a:pt x="1093787" y="13017"/>
                    </a:cubicBezTo>
                    <a:cubicBezTo>
                      <a:pt x="1095058" y="13970"/>
                      <a:pt x="1096327" y="14605"/>
                      <a:pt x="1098233" y="14605"/>
                    </a:cubicBezTo>
                    <a:cubicBezTo>
                      <a:pt x="1099820" y="14605"/>
                      <a:pt x="1101408" y="13970"/>
                      <a:pt x="1102360" y="13017"/>
                    </a:cubicBezTo>
                    <a:cubicBezTo>
                      <a:pt x="1103312" y="12065"/>
                      <a:pt x="1104265" y="10478"/>
                      <a:pt x="1104265" y="8255"/>
                    </a:cubicBezTo>
                    <a:cubicBezTo>
                      <a:pt x="1104265" y="6033"/>
                      <a:pt x="1103630" y="4445"/>
                      <a:pt x="1102360" y="3492"/>
                    </a:cubicBezTo>
                    <a:cubicBezTo>
                      <a:pt x="1101090" y="2540"/>
                      <a:pt x="1099820" y="2223"/>
                      <a:pt x="1098233" y="2223"/>
                    </a:cubicBezTo>
                    <a:cubicBezTo>
                      <a:pt x="1096327" y="2223"/>
                      <a:pt x="1095058" y="2540"/>
                      <a:pt x="1093787" y="3492"/>
                    </a:cubicBezTo>
                    <a:moveTo>
                      <a:pt x="1028700" y="635"/>
                    </a:moveTo>
                    <a:lnTo>
                      <a:pt x="1028700" y="77788"/>
                    </a:lnTo>
                    <a:lnTo>
                      <a:pt x="1039495" y="77788"/>
                    </a:lnTo>
                    <a:lnTo>
                      <a:pt x="1039495" y="50165"/>
                    </a:lnTo>
                    <a:cubicBezTo>
                      <a:pt x="1039495" y="44133"/>
                      <a:pt x="1040448" y="39370"/>
                      <a:pt x="1042670" y="35878"/>
                    </a:cubicBezTo>
                    <a:cubicBezTo>
                      <a:pt x="1044892" y="32385"/>
                      <a:pt x="1048702" y="30798"/>
                      <a:pt x="1054100" y="30798"/>
                    </a:cubicBezTo>
                    <a:cubicBezTo>
                      <a:pt x="1061720" y="30798"/>
                      <a:pt x="1065530" y="34925"/>
                      <a:pt x="1065530" y="43498"/>
                    </a:cubicBezTo>
                    <a:lnTo>
                      <a:pt x="1065530" y="77788"/>
                    </a:lnTo>
                    <a:lnTo>
                      <a:pt x="1076325" y="77788"/>
                    </a:lnTo>
                    <a:lnTo>
                      <a:pt x="1076325" y="42228"/>
                    </a:lnTo>
                    <a:cubicBezTo>
                      <a:pt x="1076325" y="35242"/>
                      <a:pt x="1074737" y="30163"/>
                      <a:pt x="1071245" y="26988"/>
                    </a:cubicBezTo>
                    <a:cubicBezTo>
                      <a:pt x="1067752" y="23813"/>
                      <a:pt x="1062990" y="22225"/>
                      <a:pt x="1056323" y="22225"/>
                    </a:cubicBezTo>
                    <a:cubicBezTo>
                      <a:pt x="1052830" y="22225"/>
                      <a:pt x="1049655" y="22860"/>
                      <a:pt x="1046798" y="24448"/>
                    </a:cubicBezTo>
                    <a:cubicBezTo>
                      <a:pt x="1043940" y="25717"/>
                      <a:pt x="1041400" y="27940"/>
                      <a:pt x="1039812" y="30798"/>
                    </a:cubicBezTo>
                    <a:lnTo>
                      <a:pt x="1039177" y="30798"/>
                    </a:lnTo>
                    <a:cubicBezTo>
                      <a:pt x="1039177" y="29845"/>
                      <a:pt x="1039495" y="28258"/>
                      <a:pt x="1039495" y="26670"/>
                    </a:cubicBezTo>
                    <a:cubicBezTo>
                      <a:pt x="1039495" y="25083"/>
                      <a:pt x="1039812" y="23178"/>
                      <a:pt x="1039812" y="21590"/>
                    </a:cubicBezTo>
                    <a:lnTo>
                      <a:pt x="1039812" y="953"/>
                    </a:lnTo>
                    <a:lnTo>
                      <a:pt x="1028700" y="953"/>
                    </a:lnTo>
                    <a:close/>
                    <a:moveTo>
                      <a:pt x="1013777" y="54928"/>
                    </a:moveTo>
                    <a:cubicBezTo>
                      <a:pt x="1012508" y="53023"/>
                      <a:pt x="1010602" y="51435"/>
                      <a:pt x="1008380" y="49848"/>
                    </a:cubicBezTo>
                    <a:cubicBezTo>
                      <a:pt x="1005840" y="48578"/>
                      <a:pt x="1002983" y="46990"/>
                      <a:pt x="999808" y="45720"/>
                    </a:cubicBezTo>
                    <a:cubicBezTo>
                      <a:pt x="996315" y="44450"/>
                      <a:pt x="993775" y="43180"/>
                      <a:pt x="991870" y="42228"/>
                    </a:cubicBezTo>
                    <a:cubicBezTo>
                      <a:pt x="989965" y="41275"/>
                      <a:pt x="988695" y="40323"/>
                      <a:pt x="987742" y="39370"/>
                    </a:cubicBezTo>
                    <a:cubicBezTo>
                      <a:pt x="987108" y="38417"/>
                      <a:pt x="986473" y="37148"/>
                      <a:pt x="986473" y="35878"/>
                    </a:cubicBezTo>
                    <a:cubicBezTo>
                      <a:pt x="986473" y="32067"/>
                      <a:pt x="989648" y="30163"/>
                      <a:pt x="996315" y="30163"/>
                    </a:cubicBezTo>
                    <a:cubicBezTo>
                      <a:pt x="998855" y="30163"/>
                      <a:pt x="1001395" y="30480"/>
                      <a:pt x="1003935" y="31115"/>
                    </a:cubicBezTo>
                    <a:cubicBezTo>
                      <a:pt x="1006475" y="31750"/>
                      <a:pt x="1009015" y="32703"/>
                      <a:pt x="1011237" y="33655"/>
                    </a:cubicBezTo>
                    <a:lnTo>
                      <a:pt x="1014730" y="25400"/>
                    </a:lnTo>
                    <a:cubicBezTo>
                      <a:pt x="1011873" y="24130"/>
                      <a:pt x="1009015" y="23178"/>
                      <a:pt x="1006158" y="22542"/>
                    </a:cubicBezTo>
                    <a:cubicBezTo>
                      <a:pt x="1003300" y="21908"/>
                      <a:pt x="1000125" y="21590"/>
                      <a:pt x="996633" y="21590"/>
                    </a:cubicBezTo>
                    <a:cubicBezTo>
                      <a:pt x="990283" y="21590"/>
                      <a:pt x="985202" y="22860"/>
                      <a:pt x="981392" y="25400"/>
                    </a:cubicBezTo>
                    <a:cubicBezTo>
                      <a:pt x="977583" y="27940"/>
                      <a:pt x="975677" y="31433"/>
                      <a:pt x="975677" y="36195"/>
                    </a:cubicBezTo>
                    <a:cubicBezTo>
                      <a:pt x="975677" y="39053"/>
                      <a:pt x="976312" y="41592"/>
                      <a:pt x="977583" y="43498"/>
                    </a:cubicBezTo>
                    <a:cubicBezTo>
                      <a:pt x="978852" y="45403"/>
                      <a:pt x="980758" y="47308"/>
                      <a:pt x="982980" y="48578"/>
                    </a:cubicBezTo>
                    <a:cubicBezTo>
                      <a:pt x="985520" y="49848"/>
                      <a:pt x="988377" y="51435"/>
                      <a:pt x="991870" y="52705"/>
                    </a:cubicBezTo>
                    <a:cubicBezTo>
                      <a:pt x="995362" y="53975"/>
                      <a:pt x="998220" y="55245"/>
                      <a:pt x="1000125" y="56198"/>
                    </a:cubicBezTo>
                    <a:cubicBezTo>
                      <a:pt x="1002030" y="57150"/>
                      <a:pt x="1003300" y="58420"/>
                      <a:pt x="1003935" y="59373"/>
                    </a:cubicBezTo>
                    <a:cubicBezTo>
                      <a:pt x="1004570" y="60325"/>
                      <a:pt x="1004887" y="61595"/>
                      <a:pt x="1004887" y="62548"/>
                    </a:cubicBezTo>
                    <a:cubicBezTo>
                      <a:pt x="1004887" y="64770"/>
                      <a:pt x="1003935" y="66358"/>
                      <a:pt x="1002348" y="67628"/>
                    </a:cubicBezTo>
                    <a:cubicBezTo>
                      <a:pt x="1000442" y="68898"/>
                      <a:pt x="997585" y="69533"/>
                      <a:pt x="993458" y="69533"/>
                    </a:cubicBezTo>
                    <a:cubicBezTo>
                      <a:pt x="990283" y="69533"/>
                      <a:pt x="987425" y="69215"/>
                      <a:pt x="983933" y="68263"/>
                    </a:cubicBezTo>
                    <a:cubicBezTo>
                      <a:pt x="980758" y="67310"/>
                      <a:pt x="977900" y="66358"/>
                      <a:pt x="975677" y="65088"/>
                    </a:cubicBezTo>
                    <a:lnTo>
                      <a:pt x="975677" y="74613"/>
                    </a:lnTo>
                    <a:cubicBezTo>
                      <a:pt x="977900" y="75883"/>
                      <a:pt x="980440" y="76517"/>
                      <a:pt x="983298" y="77153"/>
                    </a:cubicBezTo>
                    <a:cubicBezTo>
                      <a:pt x="986155" y="77788"/>
                      <a:pt x="989330" y="78105"/>
                      <a:pt x="993140" y="78105"/>
                    </a:cubicBezTo>
                    <a:cubicBezTo>
                      <a:pt x="1000125" y="78105"/>
                      <a:pt x="1005523" y="76835"/>
                      <a:pt x="1009650" y="73978"/>
                    </a:cubicBezTo>
                    <a:cubicBezTo>
                      <a:pt x="1013460" y="71120"/>
                      <a:pt x="1015365" y="66992"/>
                      <a:pt x="1015365" y="61595"/>
                    </a:cubicBezTo>
                    <a:cubicBezTo>
                      <a:pt x="1015683" y="59373"/>
                      <a:pt x="1015048" y="56833"/>
                      <a:pt x="1013777" y="54928"/>
                    </a:cubicBezTo>
                    <a:moveTo>
                      <a:pt x="953452" y="25083"/>
                    </a:moveTo>
                    <a:cubicBezTo>
                      <a:pt x="950595" y="27305"/>
                      <a:pt x="948373" y="29845"/>
                      <a:pt x="946785" y="32703"/>
                    </a:cubicBezTo>
                    <a:lnTo>
                      <a:pt x="946467" y="32703"/>
                    </a:lnTo>
                    <a:lnTo>
                      <a:pt x="945198" y="22860"/>
                    </a:lnTo>
                    <a:lnTo>
                      <a:pt x="936625" y="22860"/>
                    </a:lnTo>
                    <a:lnTo>
                      <a:pt x="936625" y="77470"/>
                    </a:lnTo>
                    <a:lnTo>
                      <a:pt x="947420" y="77470"/>
                    </a:lnTo>
                    <a:lnTo>
                      <a:pt x="947420" y="48578"/>
                    </a:lnTo>
                    <a:cubicBezTo>
                      <a:pt x="947420" y="45085"/>
                      <a:pt x="948055" y="41910"/>
                      <a:pt x="949642" y="39370"/>
                    </a:cubicBezTo>
                    <a:cubicBezTo>
                      <a:pt x="951230" y="36830"/>
                      <a:pt x="953135" y="34925"/>
                      <a:pt x="955358" y="33655"/>
                    </a:cubicBezTo>
                    <a:cubicBezTo>
                      <a:pt x="957580" y="32385"/>
                      <a:pt x="960437" y="31750"/>
                      <a:pt x="962977" y="31750"/>
                    </a:cubicBezTo>
                    <a:cubicBezTo>
                      <a:pt x="964883" y="31750"/>
                      <a:pt x="966787" y="32067"/>
                      <a:pt x="968375" y="32385"/>
                    </a:cubicBezTo>
                    <a:lnTo>
                      <a:pt x="969645" y="22225"/>
                    </a:lnTo>
                    <a:cubicBezTo>
                      <a:pt x="967740" y="21908"/>
                      <a:pt x="965835" y="21590"/>
                      <a:pt x="963612" y="21590"/>
                    </a:cubicBezTo>
                    <a:cubicBezTo>
                      <a:pt x="959485" y="21908"/>
                      <a:pt x="956310" y="23178"/>
                      <a:pt x="953452" y="25083"/>
                    </a:cubicBezTo>
                    <a:moveTo>
                      <a:pt x="909002" y="34290"/>
                    </a:moveTo>
                    <a:cubicBezTo>
                      <a:pt x="910908" y="36830"/>
                      <a:pt x="912177" y="40323"/>
                      <a:pt x="912177" y="44767"/>
                    </a:cubicBezTo>
                    <a:lnTo>
                      <a:pt x="886460" y="44767"/>
                    </a:lnTo>
                    <a:cubicBezTo>
                      <a:pt x="886777" y="40005"/>
                      <a:pt x="888365" y="36513"/>
                      <a:pt x="890587" y="33973"/>
                    </a:cubicBezTo>
                    <a:cubicBezTo>
                      <a:pt x="892810" y="31433"/>
                      <a:pt x="895985" y="30163"/>
                      <a:pt x="899795" y="30163"/>
                    </a:cubicBezTo>
                    <a:cubicBezTo>
                      <a:pt x="903923" y="30480"/>
                      <a:pt x="906780" y="31750"/>
                      <a:pt x="909002" y="34290"/>
                    </a:cubicBezTo>
                    <a:moveTo>
                      <a:pt x="886777" y="25400"/>
                    </a:moveTo>
                    <a:cubicBezTo>
                      <a:pt x="882967" y="27623"/>
                      <a:pt x="880110" y="30798"/>
                      <a:pt x="878205" y="35242"/>
                    </a:cubicBezTo>
                    <a:cubicBezTo>
                      <a:pt x="875983" y="39370"/>
                      <a:pt x="875030" y="44767"/>
                      <a:pt x="875030" y="50800"/>
                    </a:cubicBezTo>
                    <a:cubicBezTo>
                      <a:pt x="875030" y="56833"/>
                      <a:pt x="876300" y="62230"/>
                      <a:pt x="878523" y="66358"/>
                    </a:cubicBezTo>
                    <a:cubicBezTo>
                      <a:pt x="880745" y="70485"/>
                      <a:pt x="883920" y="73660"/>
                      <a:pt x="888048" y="75565"/>
                    </a:cubicBezTo>
                    <a:cubicBezTo>
                      <a:pt x="892175" y="77788"/>
                      <a:pt x="896937" y="78740"/>
                      <a:pt x="902017" y="78740"/>
                    </a:cubicBezTo>
                    <a:cubicBezTo>
                      <a:pt x="905827" y="78740"/>
                      <a:pt x="909320" y="78423"/>
                      <a:pt x="911860" y="77788"/>
                    </a:cubicBezTo>
                    <a:cubicBezTo>
                      <a:pt x="914717" y="77153"/>
                      <a:pt x="917258" y="76200"/>
                      <a:pt x="920115" y="74930"/>
                    </a:cubicBezTo>
                    <a:lnTo>
                      <a:pt x="920115" y="66040"/>
                    </a:lnTo>
                    <a:cubicBezTo>
                      <a:pt x="917258" y="67310"/>
                      <a:pt x="914400" y="68263"/>
                      <a:pt x="911542" y="68898"/>
                    </a:cubicBezTo>
                    <a:cubicBezTo>
                      <a:pt x="908685" y="69533"/>
                      <a:pt x="905510" y="69850"/>
                      <a:pt x="902017" y="69850"/>
                    </a:cubicBezTo>
                    <a:cubicBezTo>
                      <a:pt x="896937" y="69850"/>
                      <a:pt x="893127" y="68263"/>
                      <a:pt x="890270" y="65405"/>
                    </a:cubicBezTo>
                    <a:cubicBezTo>
                      <a:pt x="887412" y="62548"/>
                      <a:pt x="885825" y="58103"/>
                      <a:pt x="885825" y="52388"/>
                    </a:cubicBezTo>
                    <a:lnTo>
                      <a:pt x="922655" y="52388"/>
                    </a:lnTo>
                    <a:lnTo>
                      <a:pt x="922655" y="46355"/>
                    </a:lnTo>
                    <a:cubicBezTo>
                      <a:pt x="922655" y="38735"/>
                      <a:pt x="920433" y="32703"/>
                      <a:pt x="916305" y="28258"/>
                    </a:cubicBezTo>
                    <a:cubicBezTo>
                      <a:pt x="912177" y="23813"/>
                      <a:pt x="906462" y="21590"/>
                      <a:pt x="899477" y="21590"/>
                    </a:cubicBezTo>
                    <a:cubicBezTo>
                      <a:pt x="894715" y="21908"/>
                      <a:pt x="890270" y="23178"/>
                      <a:pt x="886777" y="25400"/>
                    </a:cubicBezTo>
                    <a:moveTo>
                      <a:pt x="826452" y="65088"/>
                    </a:moveTo>
                    <a:cubicBezTo>
                      <a:pt x="824230" y="61913"/>
                      <a:pt x="822960" y="57150"/>
                      <a:pt x="822960" y="50800"/>
                    </a:cubicBezTo>
                    <a:cubicBezTo>
                      <a:pt x="822960" y="44450"/>
                      <a:pt x="824230" y="39688"/>
                      <a:pt x="826452" y="36195"/>
                    </a:cubicBezTo>
                    <a:cubicBezTo>
                      <a:pt x="828675" y="32703"/>
                      <a:pt x="831850" y="30798"/>
                      <a:pt x="836295" y="30798"/>
                    </a:cubicBezTo>
                    <a:cubicBezTo>
                      <a:pt x="841692" y="30798"/>
                      <a:pt x="845502" y="32385"/>
                      <a:pt x="847725" y="35878"/>
                    </a:cubicBezTo>
                    <a:cubicBezTo>
                      <a:pt x="849630" y="39370"/>
                      <a:pt x="850900" y="44133"/>
                      <a:pt x="850900" y="50483"/>
                    </a:cubicBezTo>
                    <a:lnTo>
                      <a:pt x="850900" y="52070"/>
                    </a:lnTo>
                    <a:cubicBezTo>
                      <a:pt x="850900" y="58103"/>
                      <a:pt x="849630" y="62548"/>
                      <a:pt x="847725" y="65405"/>
                    </a:cubicBezTo>
                    <a:cubicBezTo>
                      <a:pt x="845502" y="68263"/>
                      <a:pt x="842010" y="69850"/>
                      <a:pt x="836612" y="69850"/>
                    </a:cubicBezTo>
                    <a:cubicBezTo>
                      <a:pt x="831850" y="69850"/>
                      <a:pt x="828675" y="68263"/>
                      <a:pt x="826452" y="65088"/>
                    </a:cubicBezTo>
                    <a:moveTo>
                      <a:pt x="844233" y="76517"/>
                    </a:moveTo>
                    <a:cubicBezTo>
                      <a:pt x="846773" y="74930"/>
                      <a:pt x="848995" y="73025"/>
                      <a:pt x="850583" y="70485"/>
                    </a:cubicBezTo>
                    <a:lnTo>
                      <a:pt x="851217" y="70485"/>
                    </a:lnTo>
                    <a:lnTo>
                      <a:pt x="853123" y="77788"/>
                    </a:lnTo>
                    <a:lnTo>
                      <a:pt x="861695" y="77788"/>
                    </a:lnTo>
                    <a:lnTo>
                      <a:pt x="861695" y="635"/>
                    </a:lnTo>
                    <a:lnTo>
                      <a:pt x="850900" y="635"/>
                    </a:lnTo>
                    <a:lnTo>
                      <a:pt x="850900" y="21273"/>
                    </a:lnTo>
                    <a:cubicBezTo>
                      <a:pt x="850900" y="22542"/>
                      <a:pt x="850900" y="24130"/>
                      <a:pt x="851217" y="26035"/>
                    </a:cubicBezTo>
                    <a:cubicBezTo>
                      <a:pt x="851535" y="27940"/>
                      <a:pt x="851535" y="29210"/>
                      <a:pt x="851852" y="30163"/>
                    </a:cubicBezTo>
                    <a:lnTo>
                      <a:pt x="851217" y="30163"/>
                    </a:lnTo>
                    <a:cubicBezTo>
                      <a:pt x="849630" y="27940"/>
                      <a:pt x="847408" y="26035"/>
                      <a:pt x="844867" y="24448"/>
                    </a:cubicBezTo>
                    <a:cubicBezTo>
                      <a:pt x="842327" y="22860"/>
                      <a:pt x="838835" y="22225"/>
                      <a:pt x="834708" y="22225"/>
                    </a:cubicBezTo>
                    <a:cubicBezTo>
                      <a:pt x="828040" y="22225"/>
                      <a:pt x="822642" y="24765"/>
                      <a:pt x="818515" y="29528"/>
                    </a:cubicBezTo>
                    <a:cubicBezTo>
                      <a:pt x="814387" y="34290"/>
                      <a:pt x="812483" y="41592"/>
                      <a:pt x="812483" y="50800"/>
                    </a:cubicBezTo>
                    <a:cubicBezTo>
                      <a:pt x="812483" y="60008"/>
                      <a:pt x="814387" y="67310"/>
                      <a:pt x="818515" y="72073"/>
                    </a:cubicBezTo>
                    <a:cubicBezTo>
                      <a:pt x="822642" y="76835"/>
                      <a:pt x="827723" y="79058"/>
                      <a:pt x="834390" y="79058"/>
                    </a:cubicBezTo>
                    <a:cubicBezTo>
                      <a:pt x="838200" y="78740"/>
                      <a:pt x="841375" y="78105"/>
                      <a:pt x="844233" y="76517"/>
                    </a:cubicBezTo>
                    <a:moveTo>
                      <a:pt x="788035" y="56198"/>
                    </a:moveTo>
                    <a:cubicBezTo>
                      <a:pt x="788035" y="60960"/>
                      <a:pt x="786765" y="64453"/>
                      <a:pt x="783908" y="66992"/>
                    </a:cubicBezTo>
                    <a:cubicBezTo>
                      <a:pt x="781050" y="69215"/>
                      <a:pt x="777558" y="70485"/>
                      <a:pt x="773430" y="70485"/>
                    </a:cubicBezTo>
                    <a:cubicBezTo>
                      <a:pt x="770573" y="70485"/>
                      <a:pt x="768667" y="69850"/>
                      <a:pt x="766762" y="68580"/>
                    </a:cubicBezTo>
                    <a:cubicBezTo>
                      <a:pt x="765175" y="67310"/>
                      <a:pt x="764223" y="65088"/>
                      <a:pt x="764223" y="62230"/>
                    </a:cubicBezTo>
                    <a:cubicBezTo>
                      <a:pt x="764223" y="59055"/>
                      <a:pt x="765492" y="56515"/>
                      <a:pt x="767715" y="54610"/>
                    </a:cubicBezTo>
                    <a:cubicBezTo>
                      <a:pt x="770255" y="52705"/>
                      <a:pt x="774383" y="51753"/>
                      <a:pt x="780733" y="51435"/>
                    </a:cubicBezTo>
                    <a:lnTo>
                      <a:pt x="788035" y="51117"/>
                    </a:lnTo>
                    <a:lnTo>
                      <a:pt x="788035" y="56198"/>
                    </a:lnTo>
                    <a:close/>
                    <a:moveTo>
                      <a:pt x="767398" y="23495"/>
                    </a:moveTo>
                    <a:cubicBezTo>
                      <a:pt x="763905" y="24448"/>
                      <a:pt x="761048" y="25400"/>
                      <a:pt x="758508" y="26988"/>
                    </a:cubicBezTo>
                    <a:lnTo>
                      <a:pt x="762000" y="34925"/>
                    </a:lnTo>
                    <a:cubicBezTo>
                      <a:pt x="764223" y="33655"/>
                      <a:pt x="766762" y="32703"/>
                      <a:pt x="769302" y="32067"/>
                    </a:cubicBezTo>
                    <a:cubicBezTo>
                      <a:pt x="771842" y="31433"/>
                      <a:pt x="774700" y="30798"/>
                      <a:pt x="777240" y="30798"/>
                    </a:cubicBezTo>
                    <a:cubicBezTo>
                      <a:pt x="780415" y="30798"/>
                      <a:pt x="783273" y="31750"/>
                      <a:pt x="784860" y="33338"/>
                    </a:cubicBezTo>
                    <a:cubicBezTo>
                      <a:pt x="786765" y="34925"/>
                      <a:pt x="787717" y="37783"/>
                      <a:pt x="787717" y="41910"/>
                    </a:cubicBezTo>
                    <a:lnTo>
                      <a:pt x="787717" y="45085"/>
                    </a:lnTo>
                    <a:lnTo>
                      <a:pt x="778510" y="45403"/>
                    </a:lnTo>
                    <a:cubicBezTo>
                      <a:pt x="769937" y="45720"/>
                      <a:pt x="763270" y="47308"/>
                      <a:pt x="759142" y="50165"/>
                    </a:cubicBezTo>
                    <a:cubicBezTo>
                      <a:pt x="755015" y="53023"/>
                      <a:pt x="752792" y="57150"/>
                      <a:pt x="752792" y="62865"/>
                    </a:cubicBezTo>
                    <a:cubicBezTo>
                      <a:pt x="752792" y="68580"/>
                      <a:pt x="754380" y="72708"/>
                      <a:pt x="757555" y="75565"/>
                    </a:cubicBezTo>
                    <a:cubicBezTo>
                      <a:pt x="760730" y="78105"/>
                      <a:pt x="764858" y="79692"/>
                      <a:pt x="769937" y="79692"/>
                    </a:cubicBezTo>
                    <a:cubicBezTo>
                      <a:pt x="774700" y="79692"/>
                      <a:pt x="778192" y="79058"/>
                      <a:pt x="780733" y="77470"/>
                    </a:cubicBezTo>
                    <a:cubicBezTo>
                      <a:pt x="783273" y="76200"/>
                      <a:pt x="785812" y="73978"/>
                      <a:pt x="788352" y="70803"/>
                    </a:cubicBezTo>
                    <a:lnTo>
                      <a:pt x="788670" y="70803"/>
                    </a:lnTo>
                    <a:lnTo>
                      <a:pt x="790892" y="78423"/>
                    </a:lnTo>
                    <a:lnTo>
                      <a:pt x="798512" y="78423"/>
                    </a:lnTo>
                    <a:lnTo>
                      <a:pt x="798512" y="41275"/>
                    </a:lnTo>
                    <a:cubicBezTo>
                      <a:pt x="798512" y="34925"/>
                      <a:pt x="796925" y="30163"/>
                      <a:pt x="793433" y="26988"/>
                    </a:cubicBezTo>
                    <a:cubicBezTo>
                      <a:pt x="789940" y="24130"/>
                      <a:pt x="784860" y="22542"/>
                      <a:pt x="778192" y="22542"/>
                    </a:cubicBezTo>
                    <a:cubicBezTo>
                      <a:pt x="774383" y="21908"/>
                      <a:pt x="770890" y="22542"/>
                      <a:pt x="767398" y="23495"/>
                    </a:cubicBezTo>
                    <a:moveTo>
                      <a:pt x="729615" y="34290"/>
                    </a:moveTo>
                    <a:cubicBezTo>
                      <a:pt x="731520" y="36830"/>
                      <a:pt x="732790" y="40323"/>
                      <a:pt x="732790" y="44767"/>
                    </a:cubicBezTo>
                    <a:lnTo>
                      <a:pt x="707073" y="44767"/>
                    </a:lnTo>
                    <a:cubicBezTo>
                      <a:pt x="707390" y="40005"/>
                      <a:pt x="708977" y="36513"/>
                      <a:pt x="711200" y="33973"/>
                    </a:cubicBezTo>
                    <a:cubicBezTo>
                      <a:pt x="713423" y="31433"/>
                      <a:pt x="716598" y="30163"/>
                      <a:pt x="720408" y="30163"/>
                    </a:cubicBezTo>
                    <a:cubicBezTo>
                      <a:pt x="724535" y="30480"/>
                      <a:pt x="727392" y="31750"/>
                      <a:pt x="729615" y="34290"/>
                    </a:cubicBezTo>
                    <a:moveTo>
                      <a:pt x="707390" y="25400"/>
                    </a:moveTo>
                    <a:cubicBezTo>
                      <a:pt x="703580" y="27623"/>
                      <a:pt x="700723" y="30798"/>
                      <a:pt x="698817" y="35242"/>
                    </a:cubicBezTo>
                    <a:cubicBezTo>
                      <a:pt x="696595" y="39370"/>
                      <a:pt x="695642" y="44767"/>
                      <a:pt x="695642" y="50800"/>
                    </a:cubicBezTo>
                    <a:cubicBezTo>
                      <a:pt x="695642" y="56833"/>
                      <a:pt x="696912" y="62230"/>
                      <a:pt x="699135" y="66358"/>
                    </a:cubicBezTo>
                    <a:cubicBezTo>
                      <a:pt x="701358" y="70485"/>
                      <a:pt x="704533" y="73660"/>
                      <a:pt x="708660" y="75565"/>
                    </a:cubicBezTo>
                    <a:cubicBezTo>
                      <a:pt x="712787" y="77788"/>
                      <a:pt x="717550" y="78740"/>
                      <a:pt x="722630" y="78740"/>
                    </a:cubicBezTo>
                    <a:cubicBezTo>
                      <a:pt x="726440" y="78740"/>
                      <a:pt x="729933" y="78423"/>
                      <a:pt x="732473" y="77788"/>
                    </a:cubicBezTo>
                    <a:cubicBezTo>
                      <a:pt x="735330" y="77153"/>
                      <a:pt x="737870" y="76200"/>
                      <a:pt x="740727" y="74930"/>
                    </a:cubicBezTo>
                    <a:lnTo>
                      <a:pt x="740727" y="66040"/>
                    </a:lnTo>
                    <a:cubicBezTo>
                      <a:pt x="737870" y="67310"/>
                      <a:pt x="735012" y="68263"/>
                      <a:pt x="732155" y="68898"/>
                    </a:cubicBezTo>
                    <a:cubicBezTo>
                      <a:pt x="729298" y="69533"/>
                      <a:pt x="726123" y="69850"/>
                      <a:pt x="722630" y="69850"/>
                    </a:cubicBezTo>
                    <a:cubicBezTo>
                      <a:pt x="717550" y="69850"/>
                      <a:pt x="713740" y="68263"/>
                      <a:pt x="710883" y="65405"/>
                    </a:cubicBezTo>
                    <a:cubicBezTo>
                      <a:pt x="708025" y="62548"/>
                      <a:pt x="706755" y="58103"/>
                      <a:pt x="706437" y="52388"/>
                    </a:cubicBezTo>
                    <a:lnTo>
                      <a:pt x="743267" y="52388"/>
                    </a:lnTo>
                    <a:lnTo>
                      <a:pt x="743267" y="46355"/>
                    </a:lnTo>
                    <a:cubicBezTo>
                      <a:pt x="743267" y="38735"/>
                      <a:pt x="741045" y="32703"/>
                      <a:pt x="736917" y="28258"/>
                    </a:cubicBezTo>
                    <a:cubicBezTo>
                      <a:pt x="732790" y="23813"/>
                      <a:pt x="727075" y="21590"/>
                      <a:pt x="720090" y="21590"/>
                    </a:cubicBezTo>
                    <a:cubicBezTo>
                      <a:pt x="715327" y="21908"/>
                      <a:pt x="710883" y="23178"/>
                      <a:pt x="707390" y="25400"/>
                    </a:cubicBezTo>
                    <a:moveTo>
                      <a:pt x="681673" y="635"/>
                    </a:moveTo>
                    <a:lnTo>
                      <a:pt x="670877" y="635"/>
                    </a:lnTo>
                    <a:lnTo>
                      <a:pt x="670877" y="77788"/>
                    </a:lnTo>
                    <a:lnTo>
                      <a:pt x="681673" y="77788"/>
                    </a:lnTo>
                    <a:lnTo>
                      <a:pt x="681673" y="635"/>
                    </a:lnTo>
                    <a:close/>
                    <a:moveTo>
                      <a:pt x="625475" y="78105"/>
                    </a:moveTo>
                    <a:cubicBezTo>
                      <a:pt x="627698" y="77470"/>
                      <a:pt x="629920" y="76835"/>
                      <a:pt x="631825" y="75565"/>
                    </a:cubicBezTo>
                    <a:lnTo>
                      <a:pt x="631825" y="66358"/>
                    </a:lnTo>
                    <a:cubicBezTo>
                      <a:pt x="629920" y="67310"/>
                      <a:pt x="627698" y="68263"/>
                      <a:pt x="625475" y="68898"/>
                    </a:cubicBezTo>
                    <a:cubicBezTo>
                      <a:pt x="623252" y="69533"/>
                      <a:pt x="620395" y="69850"/>
                      <a:pt x="617537" y="69850"/>
                    </a:cubicBezTo>
                    <a:cubicBezTo>
                      <a:pt x="612775" y="69850"/>
                      <a:pt x="609283" y="68263"/>
                      <a:pt x="606742" y="65088"/>
                    </a:cubicBezTo>
                    <a:cubicBezTo>
                      <a:pt x="604202" y="61913"/>
                      <a:pt x="602933" y="57150"/>
                      <a:pt x="602933" y="50800"/>
                    </a:cubicBezTo>
                    <a:cubicBezTo>
                      <a:pt x="602933" y="37783"/>
                      <a:pt x="608012" y="31433"/>
                      <a:pt x="617855" y="31433"/>
                    </a:cubicBezTo>
                    <a:cubicBezTo>
                      <a:pt x="619760" y="31433"/>
                      <a:pt x="621983" y="31750"/>
                      <a:pt x="623887" y="32385"/>
                    </a:cubicBezTo>
                    <a:cubicBezTo>
                      <a:pt x="626110" y="33020"/>
                      <a:pt x="628015" y="33655"/>
                      <a:pt x="629920" y="34290"/>
                    </a:cubicBezTo>
                    <a:lnTo>
                      <a:pt x="633095" y="25400"/>
                    </a:lnTo>
                    <a:cubicBezTo>
                      <a:pt x="631190" y="24448"/>
                      <a:pt x="628967" y="23813"/>
                      <a:pt x="626427" y="23178"/>
                    </a:cubicBezTo>
                    <a:cubicBezTo>
                      <a:pt x="623887" y="22542"/>
                      <a:pt x="621030" y="22225"/>
                      <a:pt x="617855" y="22225"/>
                    </a:cubicBezTo>
                    <a:cubicBezTo>
                      <a:pt x="612775" y="22225"/>
                      <a:pt x="608330" y="23178"/>
                      <a:pt x="604520" y="25083"/>
                    </a:cubicBezTo>
                    <a:cubicBezTo>
                      <a:pt x="600710" y="26988"/>
                      <a:pt x="597535" y="30163"/>
                      <a:pt x="595312" y="34290"/>
                    </a:cubicBezTo>
                    <a:cubicBezTo>
                      <a:pt x="593090" y="38417"/>
                      <a:pt x="591820" y="44133"/>
                      <a:pt x="591820" y="50800"/>
                    </a:cubicBezTo>
                    <a:cubicBezTo>
                      <a:pt x="591820" y="60642"/>
                      <a:pt x="594042" y="67628"/>
                      <a:pt x="598805" y="72073"/>
                    </a:cubicBezTo>
                    <a:cubicBezTo>
                      <a:pt x="603567" y="76517"/>
                      <a:pt x="609600" y="78740"/>
                      <a:pt x="617220" y="78740"/>
                    </a:cubicBezTo>
                    <a:cubicBezTo>
                      <a:pt x="620077" y="78740"/>
                      <a:pt x="622935" y="78423"/>
                      <a:pt x="625475" y="78105"/>
                    </a:cubicBezTo>
                    <a:moveTo>
                      <a:pt x="567055" y="77788"/>
                    </a:moveTo>
                    <a:lnTo>
                      <a:pt x="577850" y="77788"/>
                    </a:lnTo>
                    <a:lnTo>
                      <a:pt x="577850" y="23178"/>
                    </a:lnTo>
                    <a:lnTo>
                      <a:pt x="567055" y="23178"/>
                    </a:lnTo>
                    <a:lnTo>
                      <a:pt x="567055" y="77788"/>
                    </a:lnTo>
                    <a:close/>
                    <a:moveTo>
                      <a:pt x="568325" y="3492"/>
                    </a:moveTo>
                    <a:cubicBezTo>
                      <a:pt x="567055" y="4445"/>
                      <a:pt x="566420" y="6033"/>
                      <a:pt x="566420" y="8255"/>
                    </a:cubicBezTo>
                    <a:cubicBezTo>
                      <a:pt x="566420" y="10478"/>
                      <a:pt x="567055" y="12065"/>
                      <a:pt x="568325" y="13017"/>
                    </a:cubicBezTo>
                    <a:cubicBezTo>
                      <a:pt x="569595" y="13970"/>
                      <a:pt x="570865" y="14605"/>
                      <a:pt x="572770" y="14605"/>
                    </a:cubicBezTo>
                    <a:cubicBezTo>
                      <a:pt x="574358" y="14605"/>
                      <a:pt x="575945" y="13970"/>
                      <a:pt x="576898" y="13017"/>
                    </a:cubicBezTo>
                    <a:cubicBezTo>
                      <a:pt x="578167" y="12065"/>
                      <a:pt x="578802" y="10478"/>
                      <a:pt x="578802" y="8255"/>
                    </a:cubicBezTo>
                    <a:cubicBezTo>
                      <a:pt x="578802" y="6033"/>
                      <a:pt x="578167" y="4445"/>
                      <a:pt x="576898" y="3492"/>
                    </a:cubicBezTo>
                    <a:cubicBezTo>
                      <a:pt x="575627" y="2540"/>
                      <a:pt x="574358" y="2223"/>
                      <a:pt x="572770" y="2223"/>
                    </a:cubicBezTo>
                    <a:cubicBezTo>
                      <a:pt x="570865" y="2223"/>
                      <a:pt x="569595" y="2540"/>
                      <a:pt x="568325" y="3492"/>
                    </a:cubicBezTo>
                    <a:moveTo>
                      <a:pt x="557530" y="23178"/>
                    </a:moveTo>
                    <a:lnTo>
                      <a:pt x="543877" y="23178"/>
                    </a:lnTo>
                    <a:lnTo>
                      <a:pt x="543877" y="19685"/>
                    </a:lnTo>
                    <a:cubicBezTo>
                      <a:pt x="543877" y="12700"/>
                      <a:pt x="546417" y="8890"/>
                      <a:pt x="551815" y="8890"/>
                    </a:cubicBezTo>
                    <a:cubicBezTo>
                      <a:pt x="553402" y="8890"/>
                      <a:pt x="554673" y="8890"/>
                      <a:pt x="556260" y="9208"/>
                    </a:cubicBezTo>
                    <a:cubicBezTo>
                      <a:pt x="557530" y="9525"/>
                      <a:pt x="559117" y="9842"/>
                      <a:pt x="560070" y="10160"/>
                    </a:cubicBezTo>
                    <a:lnTo>
                      <a:pt x="562927" y="1905"/>
                    </a:lnTo>
                    <a:cubicBezTo>
                      <a:pt x="561658" y="1588"/>
                      <a:pt x="560070" y="953"/>
                      <a:pt x="557848" y="635"/>
                    </a:cubicBezTo>
                    <a:cubicBezTo>
                      <a:pt x="555942" y="317"/>
                      <a:pt x="553720" y="0"/>
                      <a:pt x="551498" y="0"/>
                    </a:cubicBezTo>
                    <a:cubicBezTo>
                      <a:pt x="545783" y="0"/>
                      <a:pt x="541337" y="1588"/>
                      <a:pt x="538162" y="4445"/>
                    </a:cubicBezTo>
                    <a:cubicBezTo>
                      <a:pt x="534987" y="7303"/>
                      <a:pt x="533400" y="12383"/>
                      <a:pt x="533400" y="19367"/>
                    </a:cubicBezTo>
                    <a:lnTo>
                      <a:pt x="533400" y="22860"/>
                    </a:lnTo>
                    <a:lnTo>
                      <a:pt x="524192" y="26353"/>
                    </a:lnTo>
                    <a:lnTo>
                      <a:pt x="524192" y="31433"/>
                    </a:lnTo>
                    <a:lnTo>
                      <a:pt x="533400" y="31433"/>
                    </a:lnTo>
                    <a:lnTo>
                      <a:pt x="533400" y="78105"/>
                    </a:lnTo>
                    <a:lnTo>
                      <a:pt x="544195" y="78105"/>
                    </a:lnTo>
                    <a:lnTo>
                      <a:pt x="544195" y="31433"/>
                    </a:lnTo>
                    <a:lnTo>
                      <a:pt x="557848" y="31433"/>
                    </a:lnTo>
                    <a:lnTo>
                      <a:pt x="557848" y="23178"/>
                    </a:lnTo>
                    <a:close/>
                    <a:moveTo>
                      <a:pt x="503237" y="77788"/>
                    </a:moveTo>
                    <a:lnTo>
                      <a:pt x="514033" y="77788"/>
                    </a:lnTo>
                    <a:lnTo>
                      <a:pt x="514033" y="23178"/>
                    </a:lnTo>
                    <a:lnTo>
                      <a:pt x="503237" y="23178"/>
                    </a:lnTo>
                    <a:lnTo>
                      <a:pt x="503237" y="77788"/>
                    </a:lnTo>
                    <a:close/>
                    <a:moveTo>
                      <a:pt x="504508" y="3492"/>
                    </a:moveTo>
                    <a:cubicBezTo>
                      <a:pt x="503237" y="4445"/>
                      <a:pt x="502602" y="6033"/>
                      <a:pt x="502602" y="8255"/>
                    </a:cubicBezTo>
                    <a:cubicBezTo>
                      <a:pt x="502602" y="10478"/>
                      <a:pt x="503237" y="12065"/>
                      <a:pt x="504508" y="13017"/>
                    </a:cubicBezTo>
                    <a:cubicBezTo>
                      <a:pt x="505777" y="13970"/>
                      <a:pt x="507048" y="14605"/>
                      <a:pt x="508952" y="14605"/>
                    </a:cubicBezTo>
                    <a:cubicBezTo>
                      <a:pt x="510540" y="14605"/>
                      <a:pt x="512127" y="13970"/>
                      <a:pt x="513080" y="13017"/>
                    </a:cubicBezTo>
                    <a:cubicBezTo>
                      <a:pt x="514033" y="12065"/>
                      <a:pt x="514985" y="10478"/>
                      <a:pt x="514985" y="8255"/>
                    </a:cubicBezTo>
                    <a:cubicBezTo>
                      <a:pt x="514985" y="6033"/>
                      <a:pt x="514350" y="4445"/>
                      <a:pt x="513080" y="3492"/>
                    </a:cubicBezTo>
                    <a:cubicBezTo>
                      <a:pt x="511810" y="2540"/>
                      <a:pt x="510540" y="2223"/>
                      <a:pt x="508952" y="2223"/>
                    </a:cubicBezTo>
                    <a:cubicBezTo>
                      <a:pt x="507048" y="2223"/>
                      <a:pt x="505777" y="2540"/>
                      <a:pt x="504508" y="3492"/>
                    </a:cubicBezTo>
                    <a:moveTo>
                      <a:pt x="478473" y="67945"/>
                    </a:moveTo>
                    <a:cubicBezTo>
                      <a:pt x="476885" y="66675"/>
                      <a:pt x="476250" y="64453"/>
                      <a:pt x="476250" y="61278"/>
                    </a:cubicBezTo>
                    <a:lnTo>
                      <a:pt x="476250" y="31115"/>
                    </a:lnTo>
                    <a:lnTo>
                      <a:pt x="491808" y="31115"/>
                    </a:lnTo>
                    <a:lnTo>
                      <a:pt x="491808" y="22860"/>
                    </a:lnTo>
                    <a:lnTo>
                      <a:pt x="476250" y="22860"/>
                    </a:lnTo>
                    <a:lnTo>
                      <a:pt x="476250" y="10478"/>
                    </a:lnTo>
                    <a:lnTo>
                      <a:pt x="469583" y="10478"/>
                    </a:lnTo>
                    <a:lnTo>
                      <a:pt x="465773" y="21908"/>
                    </a:lnTo>
                    <a:lnTo>
                      <a:pt x="457835" y="26035"/>
                    </a:lnTo>
                    <a:lnTo>
                      <a:pt x="457835" y="30798"/>
                    </a:lnTo>
                    <a:lnTo>
                      <a:pt x="465455" y="30798"/>
                    </a:lnTo>
                    <a:lnTo>
                      <a:pt x="465455" y="60960"/>
                    </a:lnTo>
                    <a:cubicBezTo>
                      <a:pt x="465455" y="65405"/>
                      <a:pt x="466090" y="68898"/>
                      <a:pt x="467677" y="71438"/>
                    </a:cubicBezTo>
                    <a:cubicBezTo>
                      <a:pt x="469265" y="73978"/>
                      <a:pt x="471170" y="75565"/>
                      <a:pt x="473710" y="76835"/>
                    </a:cubicBezTo>
                    <a:cubicBezTo>
                      <a:pt x="476250" y="77788"/>
                      <a:pt x="478790" y="78423"/>
                      <a:pt x="481965" y="78423"/>
                    </a:cubicBezTo>
                    <a:cubicBezTo>
                      <a:pt x="483870" y="78423"/>
                      <a:pt x="485775" y="78105"/>
                      <a:pt x="487998" y="77788"/>
                    </a:cubicBezTo>
                    <a:cubicBezTo>
                      <a:pt x="489902" y="77470"/>
                      <a:pt x="491490" y="76835"/>
                      <a:pt x="492760" y="76517"/>
                    </a:cubicBezTo>
                    <a:lnTo>
                      <a:pt x="492760" y="68263"/>
                    </a:lnTo>
                    <a:cubicBezTo>
                      <a:pt x="490220" y="69215"/>
                      <a:pt x="487680" y="69533"/>
                      <a:pt x="484505" y="69533"/>
                    </a:cubicBezTo>
                    <a:cubicBezTo>
                      <a:pt x="481648" y="70167"/>
                      <a:pt x="479742" y="69533"/>
                      <a:pt x="478473" y="67945"/>
                    </a:cubicBezTo>
                    <a:moveTo>
                      <a:pt x="418465" y="24130"/>
                    </a:moveTo>
                    <a:cubicBezTo>
                      <a:pt x="415290" y="25400"/>
                      <a:pt x="413067" y="27623"/>
                      <a:pt x="411163" y="30480"/>
                    </a:cubicBezTo>
                    <a:lnTo>
                      <a:pt x="410527" y="30480"/>
                    </a:lnTo>
                    <a:lnTo>
                      <a:pt x="408940" y="23178"/>
                    </a:lnTo>
                    <a:lnTo>
                      <a:pt x="400367" y="23178"/>
                    </a:lnTo>
                    <a:lnTo>
                      <a:pt x="400367" y="77788"/>
                    </a:lnTo>
                    <a:lnTo>
                      <a:pt x="411163" y="77788"/>
                    </a:lnTo>
                    <a:lnTo>
                      <a:pt x="411163" y="50165"/>
                    </a:lnTo>
                    <a:cubicBezTo>
                      <a:pt x="411163" y="43815"/>
                      <a:pt x="412115" y="39053"/>
                      <a:pt x="414337" y="35878"/>
                    </a:cubicBezTo>
                    <a:cubicBezTo>
                      <a:pt x="416560" y="32703"/>
                      <a:pt x="420370" y="30798"/>
                      <a:pt x="425767" y="30798"/>
                    </a:cubicBezTo>
                    <a:cubicBezTo>
                      <a:pt x="433387" y="30798"/>
                      <a:pt x="437198" y="34925"/>
                      <a:pt x="437198" y="43498"/>
                    </a:cubicBezTo>
                    <a:lnTo>
                      <a:pt x="437198" y="77788"/>
                    </a:lnTo>
                    <a:lnTo>
                      <a:pt x="447992" y="77788"/>
                    </a:lnTo>
                    <a:lnTo>
                      <a:pt x="447992" y="42228"/>
                    </a:lnTo>
                    <a:cubicBezTo>
                      <a:pt x="447992" y="35242"/>
                      <a:pt x="446405" y="30163"/>
                      <a:pt x="442912" y="26988"/>
                    </a:cubicBezTo>
                    <a:cubicBezTo>
                      <a:pt x="439420" y="23813"/>
                      <a:pt x="434658" y="22225"/>
                      <a:pt x="428308" y="22225"/>
                    </a:cubicBezTo>
                    <a:cubicBezTo>
                      <a:pt x="424815" y="21908"/>
                      <a:pt x="421323" y="22860"/>
                      <a:pt x="418465" y="24130"/>
                    </a:cubicBezTo>
                    <a:moveTo>
                      <a:pt x="373063" y="34290"/>
                    </a:moveTo>
                    <a:cubicBezTo>
                      <a:pt x="374967" y="36830"/>
                      <a:pt x="376238" y="40323"/>
                      <a:pt x="376238" y="44767"/>
                    </a:cubicBezTo>
                    <a:lnTo>
                      <a:pt x="350520" y="44767"/>
                    </a:lnTo>
                    <a:cubicBezTo>
                      <a:pt x="350838" y="40005"/>
                      <a:pt x="352425" y="36513"/>
                      <a:pt x="354647" y="33973"/>
                    </a:cubicBezTo>
                    <a:cubicBezTo>
                      <a:pt x="356870" y="31433"/>
                      <a:pt x="360045" y="30163"/>
                      <a:pt x="363855" y="30163"/>
                    </a:cubicBezTo>
                    <a:cubicBezTo>
                      <a:pt x="367983" y="30480"/>
                      <a:pt x="371158" y="31750"/>
                      <a:pt x="373063" y="34290"/>
                    </a:cubicBezTo>
                    <a:moveTo>
                      <a:pt x="350838" y="25400"/>
                    </a:moveTo>
                    <a:cubicBezTo>
                      <a:pt x="347027" y="27623"/>
                      <a:pt x="344170" y="30798"/>
                      <a:pt x="342265" y="35242"/>
                    </a:cubicBezTo>
                    <a:cubicBezTo>
                      <a:pt x="340042" y="39370"/>
                      <a:pt x="339090" y="44767"/>
                      <a:pt x="339090" y="50800"/>
                    </a:cubicBezTo>
                    <a:cubicBezTo>
                      <a:pt x="339090" y="56833"/>
                      <a:pt x="340360" y="62230"/>
                      <a:pt x="342583" y="66358"/>
                    </a:cubicBezTo>
                    <a:cubicBezTo>
                      <a:pt x="344805" y="70485"/>
                      <a:pt x="347980" y="73660"/>
                      <a:pt x="352108" y="75565"/>
                    </a:cubicBezTo>
                    <a:cubicBezTo>
                      <a:pt x="356235" y="77788"/>
                      <a:pt x="360997" y="78740"/>
                      <a:pt x="366077" y="78740"/>
                    </a:cubicBezTo>
                    <a:cubicBezTo>
                      <a:pt x="369888" y="78740"/>
                      <a:pt x="373380" y="78423"/>
                      <a:pt x="375920" y="77788"/>
                    </a:cubicBezTo>
                    <a:cubicBezTo>
                      <a:pt x="378777" y="77153"/>
                      <a:pt x="381317" y="76200"/>
                      <a:pt x="384175" y="74930"/>
                    </a:cubicBezTo>
                    <a:lnTo>
                      <a:pt x="384175" y="66040"/>
                    </a:lnTo>
                    <a:cubicBezTo>
                      <a:pt x="381317" y="67310"/>
                      <a:pt x="378460" y="68263"/>
                      <a:pt x="375602" y="68898"/>
                    </a:cubicBezTo>
                    <a:cubicBezTo>
                      <a:pt x="372745" y="69533"/>
                      <a:pt x="369570" y="69850"/>
                      <a:pt x="366077" y="69850"/>
                    </a:cubicBezTo>
                    <a:cubicBezTo>
                      <a:pt x="360997" y="69850"/>
                      <a:pt x="357188" y="68263"/>
                      <a:pt x="354330" y="65405"/>
                    </a:cubicBezTo>
                    <a:cubicBezTo>
                      <a:pt x="351472" y="62548"/>
                      <a:pt x="349885" y="58103"/>
                      <a:pt x="349885" y="52388"/>
                    </a:cubicBezTo>
                    <a:lnTo>
                      <a:pt x="386715" y="52388"/>
                    </a:lnTo>
                    <a:lnTo>
                      <a:pt x="386715" y="46355"/>
                    </a:lnTo>
                    <a:cubicBezTo>
                      <a:pt x="386715" y="38735"/>
                      <a:pt x="384492" y="32703"/>
                      <a:pt x="380365" y="28258"/>
                    </a:cubicBezTo>
                    <a:cubicBezTo>
                      <a:pt x="376238" y="23813"/>
                      <a:pt x="370522" y="21590"/>
                      <a:pt x="363538" y="21590"/>
                    </a:cubicBezTo>
                    <a:cubicBezTo>
                      <a:pt x="358775" y="21908"/>
                      <a:pt x="354647" y="23178"/>
                      <a:pt x="350838" y="25400"/>
                    </a:cubicBezTo>
                    <a:moveTo>
                      <a:pt x="314642" y="77788"/>
                    </a:moveTo>
                    <a:lnTo>
                      <a:pt x="325438" y="77788"/>
                    </a:lnTo>
                    <a:lnTo>
                      <a:pt x="325438" y="23178"/>
                    </a:lnTo>
                    <a:lnTo>
                      <a:pt x="314642" y="23178"/>
                    </a:lnTo>
                    <a:lnTo>
                      <a:pt x="314642" y="77788"/>
                    </a:lnTo>
                    <a:close/>
                    <a:moveTo>
                      <a:pt x="315913" y="3492"/>
                    </a:moveTo>
                    <a:cubicBezTo>
                      <a:pt x="314642" y="4445"/>
                      <a:pt x="314008" y="6033"/>
                      <a:pt x="314008" y="8255"/>
                    </a:cubicBezTo>
                    <a:cubicBezTo>
                      <a:pt x="314008" y="10478"/>
                      <a:pt x="314642" y="12065"/>
                      <a:pt x="315913" y="13017"/>
                    </a:cubicBezTo>
                    <a:cubicBezTo>
                      <a:pt x="317183" y="13970"/>
                      <a:pt x="318452" y="14605"/>
                      <a:pt x="320358" y="14605"/>
                    </a:cubicBezTo>
                    <a:cubicBezTo>
                      <a:pt x="321945" y="14605"/>
                      <a:pt x="323533" y="13970"/>
                      <a:pt x="324485" y="13017"/>
                    </a:cubicBezTo>
                    <a:cubicBezTo>
                      <a:pt x="325755" y="12065"/>
                      <a:pt x="326390" y="10478"/>
                      <a:pt x="326390" y="8255"/>
                    </a:cubicBezTo>
                    <a:cubicBezTo>
                      <a:pt x="326390" y="6033"/>
                      <a:pt x="325755" y="4445"/>
                      <a:pt x="324485" y="3492"/>
                    </a:cubicBezTo>
                    <a:cubicBezTo>
                      <a:pt x="323215" y="2540"/>
                      <a:pt x="321945" y="2223"/>
                      <a:pt x="320358" y="2223"/>
                    </a:cubicBezTo>
                    <a:cubicBezTo>
                      <a:pt x="318452" y="2223"/>
                      <a:pt x="316865" y="2540"/>
                      <a:pt x="315913" y="3492"/>
                    </a:cubicBezTo>
                    <a:moveTo>
                      <a:pt x="295275" y="78105"/>
                    </a:moveTo>
                    <a:cubicBezTo>
                      <a:pt x="297497" y="77470"/>
                      <a:pt x="299720" y="76835"/>
                      <a:pt x="301625" y="75565"/>
                    </a:cubicBezTo>
                    <a:lnTo>
                      <a:pt x="301625" y="66358"/>
                    </a:lnTo>
                    <a:cubicBezTo>
                      <a:pt x="299720" y="67310"/>
                      <a:pt x="297497" y="68263"/>
                      <a:pt x="295275" y="68898"/>
                    </a:cubicBezTo>
                    <a:cubicBezTo>
                      <a:pt x="293052" y="69533"/>
                      <a:pt x="290195" y="69850"/>
                      <a:pt x="287338" y="69850"/>
                    </a:cubicBezTo>
                    <a:cubicBezTo>
                      <a:pt x="282575" y="69850"/>
                      <a:pt x="279083" y="68263"/>
                      <a:pt x="276542" y="65088"/>
                    </a:cubicBezTo>
                    <a:cubicBezTo>
                      <a:pt x="274002" y="61913"/>
                      <a:pt x="272733" y="57150"/>
                      <a:pt x="272733" y="50800"/>
                    </a:cubicBezTo>
                    <a:cubicBezTo>
                      <a:pt x="272733" y="37783"/>
                      <a:pt x="277813" y="31433"/>
                      <a:pt x="287655" y="31433"/>
                    </a:cubicBezTo>
                    <a:cubicBezTo>
                      <a:pt x="289560" y="31433"/>
                      <a:pt x="291783" y="31750"/>
                      <a:pt x="293688" y="32385"/>
                    </a:cubicBezTo>
                    <a:cubicBezTo>
                      <a:pt x="295910" y="33020"/>
                      <a:pt x="297815" y="33655"/>
                      <a:pt x="299720" y="34290"/>
                    </a:cubicBezTo>
                    <a:lnTo>
                      <a:pt x="302895" y="25400"/>
                    </a:lnTo>
                    <a:cubicBezTo>
                      <a:pt x="300990" y="24448"/>
                      <a:pt x="298767" y="23813"/>
                      <a:pt x="296227" y="23178"/>
                    </a:cubicBezTo>
                    <a:cubicBezTo>
                      <a:pt x="293688" y="22542"/>
                      <a:pt x="290830" y="22225"/>
                      <a:pt x="287655" y="22225"/>
                    </a:cubicBezTo>
                    <a:cubicBezTo>
                      <a:pt x="282575" y="22225"/>
                      <a:pt x="278130" y="23178"/>
                      <a:pt x="274320" y="25083"/>
                    </a:cubicBezTo>
                    <a:cubicBezTo>
                      <a:pt x="270510" y="26988"/>
                      <a:pt x="267335" y="30163"/>
                      <a:pt x="265113" y="34290"/>
                    </a:cubicBezTo>
                    <a:cubicBezTo>
                      <a:pt x="262890" y="38417"/>
                      <a:pt x="261620" y="44133"/>
                      <a:pt x="261620" y="50800"/>
                    </a:cubicBezTo>
                    <a:cubicBezTo>
                      <a:pt x="261620" y="60642"/>
                      <a:pt x="263842" y="67628"/>
                      <a:pt x="268605" y="72073"/>
                    </a:cubicBezTo>
                    <a:cubicBezTo>
                      <a:pt x="273050" y="76517"/>
                      <a:pt x="279400" y="78740"/>
                      <a:pt x="287020" y="78740"/>
                    </a:cubicBezTo>
                    <a:cubicBezTo>
                      <a:pt x="290195" y="78740"/>
                      <a:pt x="293052" y="78423"/>
                      <a:pt x="295275" y="78105"/>
                    </a:cubicBezTo>
                    <a:moveTo>
                      <a:pt x="250190" y="54928"/>
                    </a:moveTo>
                    <a:cubicBezTo>
                      <a:pt x="248920" y="53023"/>
                      <a:pt x="247015" y="51435"/>
                      <a:pt x="244792" y="49848"/>
                    </a:cubicBezTo>
                    <a:cubicBezTo>
                      <a:pt x="242252" y="48578"/>
                      <a:pt x="239395" y="46990"/>
                      <a:pt x="236220" y="45720"/>
                    </a:cubicBezTo>
                    <a:cubicBezTo>
                      <a:pt x="232727" y="44450"/>
                      <a:pt x="230188" y="43180"/>
                      <a:pt x="228283" y="42228"/>
                    </a:cubicBezTo>
                    <a:cubicBezTo>
                      <a:pt x="226377" y="41275"/>
                      <a:pt x="225108" y="40323"/>
                      <a:pt x="224155" y="39370"/>
                    </a:cubicBezTo>
                    <a:cubicBezTo>
                      <a:pt x="223520" y="38417"/>
                      <a:pt x="222885" y="37148"/>
                      <a:pt x="222885" y="35878"/>
                    </a:cubicBezTo>
                    <a:cubicBezTo>
                      <a:pt x="222885" y="32067"/>
                      <a:pt x="226060" y="30163"/>
                      <a:pt x="232727" y="30163"/>
                    </a:cubicBezTo>
                    <a:cubicBezTo>
                      <a:pt x="235267" y="30163"/>
                      <a:pt x="237808" y="30480"/>
                      <a:pt x="240347" y="31115"/>
                    </a:cubicBezTo>
                    <a:cubicBezTo>
                      <a:pt x="242888" y="31750"/>
                      <a:pt x="245427" y="32703"/>
                      <a:pt x="247650" y="33655"/>
                    </a:cubicBezTo>
                    <a:lnTo>
                      <a:pt x="251142" y="25400"/>
                    </a:lnTo>
                    <a:cubicBezTo>
                      <a:pt x="248285" y="24130"/>
                      <a:pt x="245427" y="23178"/>
                      <a:pt x="242570" y="22542"/>
                    </a:cubicBezTo>
                    <a:cubicBezTo>
                      <a:pt x="239713" y="21908"/>
                      <a:pt x="236538" y="21590"/>
                      <a:pt x="233045" y="21590"/>
                    </a:cubicBezTo>
                    <a:cubicBezTo>
                      <a:pt x="226695" y="21590"/>
                      <a:pt x="221615" y="22860"/>
                      <a:pt x="217805" y="25400"/>
                    </a:cubicBezTo>
                    <a:cubicBezTo>
                      <a:pt x="213995" y="27940"/>
                      <a:pt x="212090" y="31433"/>
                      <a:pt x="212090" y="36195"/>
                    </a:cubicBezTo>
                    <a:cubicBezTo>
                      <a:pt x="212090" y="39053"/>
                      <a:pt x="212725" y="41592"/>
                      <a:pt x="213995" y="43498"/>
                    </a:cubicBezTo>
                    <a:cubicBezTo>
                      <a:pt x="215265" y="45403"/>
                      <a:pt x="217170" y="47308"/>
                      <a:pt x="219392" y="48578"/>
                    </a:cubicBezTo>
                    <a:cubicBezTo>
                      <a:pt x="221933" y="49848"/>
                      <a:pt x="224790" y="51435"/>
                      <a:pt x="228283" y="52705"/>
                    </a:cubicBezTo>
                    <a:cubicBezTo>
                      <a:pt x="231775" y="53975"/>
                      <a:pt x="234633" y="55245"/>
                      <a:pt x="236538" y="56198"/>
                    </a:cubicBezTo>
                    <a:cubicBezTo>
                      <a:pt x="238442" y="57150"/>
                      <a:pt x="239713" y="58420"/>
                      <a:pt x="240347" y="59373"/>
                    </a:cubicBezTo>
                    <a:cubicBezTo>
                      <a:pt x="240983" y="60325"/>
                      <a:pt x="241300" y="61595"/>
                      <a:pt x="241300" y="62548"/>
                    </a:cubicBezTo>
                    <a:cubicBezTo>
                      <a:pt x="241300" y="64770"/>
                      <a:pt x="240347" y="66358"/>
                      <a:pt x="238760" y="67628"/>
                    </a:cubicBezTo>
                    <a:cubicBezTo>
                      <a:pt x="236855" y="68898"/>
                      <a:pt x="233997" y="69533"/>
                      <a:pt x="229870" y="69533"/>
                    </a:cubicBezTo>
                    <a:cubicBezTo>
                      <a:pt x="226695" y="69533"/>
                      <a:pt x="223838" y="69215"/>
                      <a:pt x="220345" y="68263"/>
                    </a:cubicBezTo>
                    <a:cubicBezTo>
                      <a:pt x="217170" y="67310"/>
                      <a:pt x="214313" y="66358"/>
                      <a:pt x="212090" y="65088"/>
                    </a:cubicBezTo>
                    <a:lnTo>
                      <a:pt x="212090" y="74613"/>
                    </a:lnTo>
                    <a:cubicBezTo>
                      <a:pt x="214313" y="75883"/>
                      <a:pt x="216852" y="76517"/>
                      <a:pt x="219710" y="77153"/>
                    </a:cubicBezTo>
                    <a:cubicBezTo>
                      <a:pt x="222567" y="77788"/>
                      <a:pt x="225742" y="78105"/>
                      <a:pt x="229552" y="78105"/>
                    </a:cubicBezTo>
                    <a:cubicBezTo>
                      <a:pt x="236538" y="78105"/>
                      <a:pt x="241935" y="76835"/>
                      <a:pt x="246063" y="73978"/>
                    </a:cubicBezTo>
                    <a:cubicBezTo>
                      <a:pt x="249872" y="71120"/>
                      <a:pt x="251777" y="66992"/>
                      <a:pt x="251777" y="61595"/>
                    </a:cubicBezTo>
                    <a:cubicBezTo>
                      <a:pt x="252095" y="59373"/>
                      <a:pt x="251460" y="56833"/>
                      <a:pt x="250190" y="54928"/>
                    </a:cubicBezTo>
                    <a:moveTo>
                      <a:pt x="137477" y="65088"/>
                    </a:moveTo>
                    <a:cubicBezTo>
                      <a:pt x="135255" y="61913"/>
                      <a:pt x="133985" y="57150"/>
                      <a:pt x="133985" y="50800"/>
                    </a:cubicBezTo>
                    <a:cubicBezTo>
                      <a:pt x="133985" y="44450"/>
                      <a:pt x="135255" y="39688"/>
                      <a:pt x="137477" y="36195"/>
                    </a:cubicBezTo>
                    <a:cubicBezTo>
                      <a:pt x="139700" y="32703"/>
                      <a:pt x="142875" y="30798"/>
                      <a:pt x="147320" y="30798"/>
                    </a:cubicBezTo>
                    <a:cubicBezTo>
                      <a:pt x="152717" y="30798"/>
                      <a:pt x="156527" y="32385"/>
                      <a:pt x="158750" y="35878"/>
                    </a:cubicBezTo>
                    <a:cubicBezTo>
                      <a:pt x="160655" y="39370"/>
                      <a:pt x="161925" y="44133"/>
                      <a:pt x="161925" y="50483"/>
                    </a:cubicBezTo>
                    <a:lnTo>
                      <a:pt x="161925" y="52070"/>
                    </a:lnTo>
                    <a:cubicBezTo>
                      <a:pt x="161925" y="58103"/>
                      <a:pt x="160655" y="62548"/>
                      <a:pt x="158750" y="65405"/>
                    </a:cubicBezTo>
                    <a:cubicBezTo>
                      <a:pt x="156845" y="68263"/>
                      <a:pt x="153035" y="69850"/>
                      <a:pt x="147638" y="69850"/>
                    </a:cubicBezTo>
                    <a:cubicBezTo>
                      <a:pt x="143192" y="69850"/>
                      <a:pt x="139700" y="68263"/>
                      <a:pt x="137477" y="65088"/>
                    </a:cubicBezTo>
                    <a:moveTo>
                      <a:pt x="155258" y="76517"/>
                    </a:moveTo>
                    <a:cubicBezTo>
                      <a:pt x="157797" y="74930"/>
                      <a:pt x="160020" y="73025"/>
                      <a:pt x="161608" y="70485"/>
                    </a:cubicBezTo>
                    <a:lnTo>
                      <a:pt x="162242" y="70485"/>
                    </a:lnTo>
                    <a:lnTo>
                      <a:pt x="164147" y="77788"/>
                    </a:lnTo>
                    <a:lnTo>
                      <a:pt x="172720" y="77788"/>
                    </a:lnTo>
                    <a:lnTo>
                      <a:pt x="172720" y="635"/>
                    </a:lnTo>
                    <a:lnTo>
                      <a:pt x="161925" y="635"/>
                    </a:lnTo>
                    <a:lnTo>
                      <a:pt x="161925" y="21273"/>
                    </a:lnTo>
                    <a:cubicBezTo>
                      <a:pt x="161925" y="22542"/>
                      <a:pt x="161925" y="24130"/>
                      <a:pt x="162242" y="26035"/>
                    </a:cubicBezTo>
                    <a:cubicBezTo>
                      <a:pt x="162560" y="27940"/>
                      <a:pt x="162560" y="29210"/>
                      <a:pt x="162877" y="30163"/>
                    </a:cubicBezTo>
                    <a:lnTo>
                      <a:pt x="162242" y="30163"/>
                    </a:lnTo>
                    <a:cubicBezTo>
                      <a:pt x="160655" y="27940"/>
                      <a:pt x="158433" y="26035"/>
                      <a:pt x="155892" y="24448"/>
                    </a:cubicBezTo>
                    <a:cubicBezTo>
                      <a:pt x="153352" y="22860"/>
                      <a:pt x="149860" y="22225"/>
                      <a:pt x="145733" y="22225"/>
                    </a:cubicBezTo>
                    <a:cubicBezTo>
                      <a:pt x="139065" y="22225"/>
                      <a:pt x="133667" y="24765"/>
                      <a:pt x="129540" y="29528"/>
                    </a:cubicBezTo>
                    <a:cubicBezTo>
                      <a:pt x="125413" y="34290"/>
                      <a:pt x="123508" y="41592"/>
                      <a:pt x="123508" y="50800"/>
                    </a:cubicBezTo>
                    <a:cubicBezTo>
                      <a:pt x="123508" y="60008"/>
                      <a:pt x="125413" y="67310"/>
                      <a:pt x="129540" y="72073"/>
                    </a:cubicBezTo>
                    <a:cubicBezTo>
                      <a:pt x="133667" y="76835"/>
                      <a:pt x="138747" y="79058"/>
                      <a:pt x="145415" y="79058"/>
                    </a:cubicBezTo>
                    <a:cubicBezTo>
                      <a:pt x="149225" y="78740"/>
                      <a:pt x="152717" y="78105"/>
                      <a:pt x="155258" y="76517"/>
                    </a:cubicBezTo>
                    <a:moveTo>
                      <a:pt x="80327" y="24130"/>
                    </a:moveTo>
                    <a:cubicBezTo>
                      <a:pt x="77152" y="25400"/>
                      <a:pt x="74930" y="27623"/>
                      <a:pt x="73025" y="30480"/>
                    </a:cubicBezTo>
                    <a:lnTo>
                      <a:pt x="72390" y="30480"/>
                    </a:lnTo>
                    <a:lnTo>
                      <a:pt x="70802" y="23178"/>
                    </a:lnTo>
                    <a:lnTo>
                      <a:pt x="62230" y="23178"/>
                    </a:lnTo>
                    <a:lnTo>
                      <a:pt x="62230" y="77788"/>
                    </a:lnTo>
                    <a:lnTo>
                      <a:pt x="73025" y="77788"/>
                    </a:lnTo>
                    <a:lnTo>
                      <a:pt x="73025" y="50165"/>
                    </a:lnTo>
                    <a:cubicBezTo>
                      <a:pt x="73025" y="43815"/>
                      <a:pt x="73977" y="39053"/>
                      <a:pt x="76200" y="35878"/>
                    </a:cubicBezTo>
                    <a:cubicBezTo>
                      <a:pt x="78422" y="32703"/>
                      <a:pt x="82233" y="30798"/>
                      <a:pt x="87630" y="30798"/>
                    </a:cubicBezTo>
                    <a:cubicBezTo>
                      <a:pt x="95250" y="30798"/>
                      <a:pt x="99060" y="34925"/>
                      <a:pt x="99060" y="43498"/>
                    </a:cubicBezTo>
                    <a:lnTo>
                      <a:pt x="99060" y="77788"/>
                    </a:lnTo>
                    <a:lnTo>
                      <a:pt x="109855" y="77788"/>
                    </a:lnTo>
                    <a:lnTo>
                      <a:pt x="109855" y="42228"/>
                    </a:lnTo>
                    <a:cubicBezTo>
                      <a:pt x="109855" y="35242"/>
                      <a:pt x="108267" y="30163"/>
                      <a:pt x="104775" y="26988"/>
                    </a:cubicBezTo>
                    <a:cubicBezTo>
                      <a:pt x="101283" y="23813"/>
                      <a:pt x="96520" y="22225"/>
                      <a:pt x="90170" y="22225"/>
                    </a:cubicBezTo>
                    <a:cubicBezTo>
                      <a:pt x="86677" y="21908"/>
                      <a:pt x="83185" y="22860"/>
                      <a:pt x="80327" y="24130"/>
                    </a:cubicBezTo>
                    <a:moveTo>
                      <a:pt x="34925" y="56198"/>
                    </a:moveTo>
                    <a:cubicBezTo>
                      <a:pt x="34925" y="60960"/>
                      <a:pt x="33655" y="64453"/>
                      <a:pt x="30797" y="66992"/>
                    </a:cubicBezTo>
                    <a:cubicBezTo>
                      <a:pt x="27940" y="69215"/>
                      <a:pt x="24447" y="70485"/>
                      <a:pt x="20320" y="70485"/>
                    </a:cubicBezTo>
                    <a:cubicBezTo>
                      <a:pt x="17463" y="70485"/>
                      <a:pt x="15558" y="69850"/>
                      <a:pt x="13652" y="68580"/>
                    </a:cubicBezTo>
                    <a:cubicBezTo>
                      <a:pt x="12065" y="67310"/>
                      <a:pt x="11113" y="65088"/>
                      <a:pt x="11113" y="62230"/>
                    </a:cubicBezTo>
                    <a:cubicBezTo>
                      <a:pt x="11113" y="59055"/>
                      <a:pt x="12383" y="56515"/>
                      <a:pt x="14605" y="54610"/>
                    </a:cubicBezTo>
                    <a:cubicBezTo>
                      <a:pt x="17145" y="52705"/>
                      <a:pt x="21272" y="51753"/>
                      <a:pt x="27622" y="51435"/>
                    </a:cubicBezTo>
                    <a:lnTo>
                      <a:pt x="34925" y="51117"/>
                    </a:lnTo>
                    <a:lnTo>
                      <a:pt x="34925" y="56198"/>
                    </a:lnTo>
                    <a:close/>
                    <a:moveTo>
                      <a:pt x="14605" y="23495"/>
                    </a:moveTo>
                    <a:cubicBezTo>
                      <a:pt x="11113" y="24448"/>
                      <a:pt x="8255" y="25400"/>
                      <a:pt x="5715" y="26988"/>
                    </a:cubicBezTo>
                    <a:lnTo>
                      <a:pt x="9208" y="34925"/>
                    </a:lnTo>
                    <a:cubicBezTo>
                      <a:pt x="11430" y="33655"/>
                      <a:pt x="13970" y="32703"/>
                      <a:pt x="16510" y="32067"/>
                    </a:cubicBezTo>
                    <a:cubicBezTo>
                      <a:pt x="19050" y="31433"/>
                      <a:pt x="21908" y="30798"/>
                      <a:pt x="24447" y="30798"/>
                    </a:cubicBezTo>
                    <a:cubicBezTo>
                      <a:pt x="27622" y="30798"/>
                      <a:pt x="30480" y="31750"/>
                      <a:pt x="32067" y="33338"/>
                    </a:cubicBezTo>
                    <a:cubicBezTo>
                      <a:pt x="33972" y="34925"/>
                      <a:pt x="34925" y="37783"/>
                      <a:pt x="34925" y="41910"/>
                    </a:cubicBezTo>
                    <a:lnTo>
                      <a:pt x="34925" y="45085"/>
                    </a:lnTo>
                    <a:lnTo>
                      <a:pt x="25717" y="45403"/>
                    </a:lnTo>
                    <a:cubicBezTo>
                      <a:pt x="17145" y="45720"/>
                      <a:pt x="10477" y="47308"/>
                      <a:pt x="6350" y="50165"/>
                    </a:cubicBezTo>
                    <a:cubicBezTo>
                      <a:pt x="2222" y="53023"/>
                      <a:pt x="0" y="57150"/>
                      <a:pt x="0" y="62865"/>
                    </a:cubicBezTo>
                    <a:cubicBezTo>
                      <a:pt x="0" y="68580"/>
                      <a:pt x="1588" y="72708"/>
                      <a:pt x="4763" y="75565"/>
                    </a:cubicBezTo>
                    <a:cubicBezTo>
                      <a:pt x="7938" y="78105"/>
                      <a:pt x="12065" y="79692"/>
                      <a:pt x="17145" y="79692"/>
                    </a:cubicBezTo>
                    <a:cubicBezTo>
                      <a:pt x="21908" y="79692"/>
                      <a:pt x="25400" y="79058"/>
                      <a:pt x="27940" y="77470"/>
                    </a:cubicBezTo>
                    <a:cubicBezTo>
                      <a:pt x="30480" y="76200"/>
                      <a:pt x="33020" y="73978"/>
                      <a:pt x="35560" y="70803"/>
                    </a:cubicBezTo>
                    <a:lnTo>
                      <a:pt x="35877" y="70803"/>
                    </a:lnTo>
                    <a:lnTo>
                      <a:pt x="38100" y="78423"/>
                    </a:lnTo>
                    <a:lnTo>
                      <a:pt x="45720" y="78423"/>
                    </a:lnTo>
                    <a:lnTo>
                      <a:pt x="45720" y="41275"/>
                    </a:lnTo>
                    <a:cubicBezTo>
                      <a:pt x="45720" y="34925"/>
                      <a:pt x="44133" y="30163"/>
                      <a:pt x="40640" y="26988"/>
                    </a:cubicBezTo>
                    <a:cubicBezTo>
                      <a:pt x="37147" y="24130"/>
                      <a:pt x="32067" y="22542"/>
                      <a:pt x="25400" y="22542"/>
                    </a:cubicBezTo>
                    <a:cubicBezTo>
                      <a:pt x="21590" y="21908"/>
                      <a:pt x="18097" y="22542"/>
                      <a:pt x="14605" y="23495"/>
                    </a:cubicBezTo>
                  </a:path>
                </a:pathLst>
              </a:custGeom>
              <a:grpFill/>
              <a:ln w="3175" cap="flat">
                <a:noFill/>
                <a:prstDash val="solid"/>
                <a:miter/>
              </a:ln>
            </p:spPr>
            <p:txBody>
              <a:bodyPr rtlCol="0" anchor="ctr"/>
              <a:lstStyle/>
              <a:p>
                <a:endParaRPr lang="en-GB">
                  <a:solidFill>
                    <a:srgbClr val="000000"/>
                  </a:solidFill>
                  <a:latin typeface="Verdana"/>
                </a:endParaRPr>
              </a:p>
            </p:txBody>
          </p:sp>
          <p:sp>
            <p:nvSpPr>
              <p:cNvPr id="40" name="Freeform: Shape 39">
                <a:extLst>
                  <a:ext uri="{FF2B5EF4-FFF2-40B4-BE49-F238E27FC236}">
                    <a16:creationId xmlns:a16="http://schemas.microsoft.com/office/drawing/2014/main" id="{61DA4F68-C698-4025-902E-AD588691AA16}"/>
                  </a:ext>
                </a:extLst>
              </p:cNvPr>
              <p:cNvSpPr/>
              <p:nvPr/>
            </p:nvSpPr>
            <p:spPr>
              <a:xfrm>
                <a:off x="6093142" y="3583622"/>
                <a:ext cx="1400175" cy="101600"/>
              </a:xfrm>
              <a:custGeom>
                <a:avLst/>
                <a:gdLst>
                  <a:gd name="connsiteX0" fmla="*/ 1388427 w 1400175"/>
                  <a:gd name="connsiteY0" fmla="*/ 34290 h 101600"/>
                  <a:gd name="connsiteX1" fmla="*/ 1391602 w 1400175"/>
                  <a:gd name="connsiteY1" fmla="*/ 44768 h 101600"/>
                  <a:gd name="connsiteX2" fmla="*/ 1365885 w 1400175"/>
                  <a:gd name="connsiteY2" fmla="*/ 44768 h 101600"/>
                  <a:gd name="connsiteX3" fmla="*/ 1370013 w 1400175"/>
                  <a:gd name="connsiteY3" fmla="*/ 33973 h 101600"/>
                  <a:gd name="connsiteX4" fmla="*/ 1379220 w 1400175"/>
                  <a:gd name="connsiteY4" fmla="*/ 30163 h 101600"/>
                  <a:gd name="connsiteX5" fmla="*/ 1388427 w 1400175"/>
                  <a:gd name="connsiteY5" fmla="*/ 34290 h 101600"/>
                  <a:gd name="connsiteX6" fmla="*/ 1366202 w 1400175"/>
                  <a:gd name="connsiteY6" fmla="*/ 25400 h 101600"/>
                  <a:gd name="connsiteX7" fmla="*/ 1357630 w 1400175"/>
                  <a:gd name="connsiteY7" fmla="*/ 35243 h 101600"/>
                  <a:gd name="connsiteX8" fmla="*/ 1354455 w 1400175"/>
                  <a:gd name="connsiteY8" fmla="*/ 50800 h 101600"/>
                  <a:gd name="connsiteX9" fmla="*/ 1357948 w 1400175"/>
                  <a:gd name="connsiteY9" fmla="*/ 66358 h 101600"/>
                  <a:gd name="connsiteX10" fmla="*/ 1367473 w 1400175"/>
                  <a:gd name="connsiteY10" fmla="*/ 75565 h 101600"/>
                  <a:gd name="connsiteX11" fmla="*/ 1381442 w 1400175"/>
                  <a:gd name="connsiteY11" fmla="*/ 78740 h 101600"/>
                  <a:gd name="connsiteX12" fmla="*/ 1391285 w 1400175"/>
                  <a:gd name="connsiteY12" fmla="*/ 77788 h 101600"/>
                  <a:gd name="connsiteX13" fmla="*/ 1399540 w 1400175"/>
                  <a:gd name="connsiteY13" fmla="*/ 74930 h 101600"/>
                  <a:gd name="connsiteX14" fmla="*/ 1399540 w 1400175"/>
                  <a:gd name="connsiteY14" fmla="*/ 66040 h 101600"/>
                  <a:gd name="connsiteX15" fmla="*/ 1390967 w 1400175"/>
                  <a:gd name="connsiteY15" fmla="*/ 68898 h 101600"/>
                  <a:gd name="connsiteX16" fmla="*/ 1381442 w 1400175"/>
                  <a:gd name="connsiteY16" fmla="*/ 69850 h 101600"/>
                  <a:gd name="connsiteX17" fmla="*/ 1369695 w 1400175"/>
                  <a:gd name="connsiteY17" fmla="*/ 65405 h 101600"/>
                  <a:gd name="connsiteX18" fmla="*/ 1365250 w 1400175"/>
                  <a:gd name="connsiteY18" fmla="*/ 52388 h 101600"/>
                  <a:gd name="connsiteX19" fmla="*/ 1402080 w 1400175"/>
                  <a:gd name="connsiteY19" fmla="*/ 52388 h 101600"/>
                  <a:gd name="connsiteX20" fmla="*/ 1402080 w 1400175"/>
                  <a:gd name="connsiteY20" fmla="*/ 46355 h 101600"/>
                  <a:gd name="connsiteX21" fmla="*/ 1395730 w 1400175"/>
                  <a:gd name="connsiteY21" fmla="*/ 28258 h 101600"/>
                  <a:gd name="connsiteX22" fmla="*/ 1378902 w 1400175"/>
                  <a:gd name="connsiteY22" fmla="*/ 21590 h 101600"/>
                  <a:gd name="connsiteX23" fmla="*/ 1366202 w 1400175"/>
                  <a:gd name="connsiteY23" fmla="*/ 25400 h 101600"/>
                  <a:gd name="connsiteX24" fmla="*/ 1311592 w 1400175"/>
                  <a:gd name="connsiteY24" fmla="*/ 24130 h 101600"/>
                  <a:gd name="connsiteX25" fmla="*/ 1304290 w 1400175"/>
                  <a:gd name="connsiteY25" fmla="*/ 30480 h 101600"/>
                  <a:gd name="connsiteX26" fmla="*/ 1303655 w 1400175"/>
                  <a:gd name="connsiteY26" fmla="*/ 30480 h 101600"/>
                  <a:gd name="connsiteX27" fmla="*/ 1302067 w 1400175"/>
                  <a:gd name="connsiteY27" fmla="*/ 23178 h 101600"/>
                  <a:gd name="connsiteX28" fmla="*/ 1293495 w 1400175"/>
                  <a:gd name="connsiteY28" fmla="*/ 23178 h 101600"/>
                  <a:gd name="connsiteX29" fmla="*/ 1293495 w 1400175"/>
                  <a:gd name="connsiteY29" fmla="*/ 77788 h 101600"/>
                  <a:gd name="connsiteX30" fmla="*/ 1304290 w 1400175"/>
                  <a:gd name="connsiteY30" fmla="*/ 77788 h 101600"/>
                  <a:gd name="connsiteX31" fmla="*/ 1304290 w 1400175"/>
                  <a:gd name="connsiteY31" fmla="*/ 50165 h 101600"/>
                  <a:gd name="connsiteX32" fmla="*/ 1307465 w 1400175"/>
                  <a:gd name="connsiteY32" fmla="*/ 35878 h 101600"/>
                  <a:gd name="connsiteX33" fmla="*/ 1318895 w 1400175"/>
                  <a:gd name="connsiteY33" fmla="*/ 30798 h 101600"/>
                  <a:gd name="connsiteX34" fmla="*/ 1330325 w 1400175"/>
                  <a:gd name="connsiteY34" fmla="*/ 43498 h 101600"/>
                  <a:gd name="connsiteX35" fmla="*/ 1330325 w 1400175"/>
                  <a:gd name="connsiteY35" fmla="*/ 77788 h 101600"/>
                  <a:gd name="connsiteX36" fmla="*/ 1341120 w 1400175"/>
                  <a:gd name="connsiteY36" fmla="*/ 77788 h 101600"/>
                  <a:gd name="connsiteX37" fmla="*/ 1341120 w 1400175"/>
                  <a:gd name="connsiteY37" fmla="*/ 42228 h 101600"/>
                  <a:gd name="connsiteX38" fmla="*/ 1336040 w 1400175"/>
                  <a:gd name="connsiteY38" fmla="*/ 26988 h 101600"/>
                  <a:gd name="connsiteX39" fmla="*/ 1321435 w 1400175"/>
                  <a:gd name="connsiteY39" fmla="*/ 22225 h 101600"/>
                  <a:gd name="connsiteX40" fmla="*/ 1311592 w 1400175"/>
                  <a:gd name="connsiteY40" fmla="*/ 24130 h 101600"/>
                  <a:gd name="connsiteX41" fmla="*/ 1266190 w 1400175"/>
                  <a:gd name="connsiteY41" fmla="*/ 77788 h 101600"/>
                  <a:gd name="connsiteX42" fmla="*/ 1276985 w 1400175"/>
                  <a:gd name="connsiteY42" fmla="*/ 77788 h 101600"/>
                  <a:gd name="connsiteX43" fmla="*/ 1276985 w 1400175"/>
                  <a:gd name="connsiteY43" fmla="*/ 23178 h 101600"/>
                  <a:gd name="connsiteX44" fmla="*/ 1266190 w 1400175"/>
                  <a:gd name="connsiteY44" fmla="*/ 23178 h 101600"/>
                  <a:gd name="connsiteX45" fmla="*/ 1266190 w 1400175"/>
                  <a:gd name="connsiteY45" fmla="*/ 77788 h 101600"/>
                  <a:gd name="connsiteX46" fmla="*/ 1267142 w 1400175"/>
                  <a:gd name="connsiteY46" fmla="*/ 3493 h 101600"/>
                  <a:gd name="connsiteX47" fmla="*/ 1265238 w 1400175"/>
                  <a:gd name="connsiteY47" fmla="*/ 8255 h 101600"/>
                  <a:gd name="connsiteX48" fmla="*/ 1267142 w 1400175"/>
                  <a:gd name="connsiteY48" fmla="*/ 13018 h 101600"/>
                  <a:gd name="connsiteX49" fmla="*/ 1271588 w 1400175"/>
                  <a:gd name="connsiteY49" fmla="*/ 14605 h 101600"/>
                  <a:gd name="connsiteX50" fmla="*/ 1275715 w 1400175"/>
                  <a:gd name="connsiteY50" fmla="*/ 13018 h 101600"/>
                  <a:gd name="connsiteX51" fmla="*/ 1277620 w 1400175"/>
                  <a:gd name="connsiteY51" fmla="*/ 8255 h 101600"/>
                  <a:gd name="connsiteX52" fmla="*/ 1275715 w 1400175"/>
                  <a:gd name="connsiteY52" fmla="*/ 3493 h 101600"/>
                  <a:gd name="connsiteX53" fmla="*/ 1271588 w 1400175"/>
                  <a:gd name="connsiteY53" fmla="*/ 2223 h 101600"/>
                  <a:gd name="connsiteX54" fmla="*/ 1267142 w 1400175"/>
                  <a:gd name="connsiteY54" fmla="*/ 3493 h 101600"/>
                  <a:gd name="connsiteX55" fmla="*/ 1249045 w 1400175"/>
                  <a:gd name="connsiteY55" fmla="*/ 635 h 101600"/>
                  <a:gd name="connsiteX56" fmla="*/ 1238250 w 1400175"/>
                  <a:gd name="connsiteY56" fmla="*/ 635 h 101600"/>
                  <a:gd name="connsiteX57" fmla="*/ 1238250 w 1400175"/>
                  <a:gd name="connsiteY57" fmla="*/ 77788 h 101600"/>
                  <a:gd name="connsiteX58" fmla="*/ 1249045 w 1400175"/>
                  <a:gd name="connsiteY58" fmla="*/ 77788 h 101600"/>
                  <a:gd name="connsiteX59" fmla="*/ 1249045 w 1400175"/>
                  <a:gd name="connsiteY59" fmla="*/ 635 h 101600"/>
                  <a:gd name="connsiteX60" fmla="*/ 1211263 w 1400175"/>
                  <a:gd name="connsiteY60" fmla="*/ 34290 h 101600"/>
                  <a:gd name="connsiteX61" fmla="*/ 1214438 w 1400175"/>
                  <a:gd name="connsiteY61" fmla="*/ 44768 h 101600"/>
                  <a:gd name="connsiteX62" fmla="*/ 1188720 w 1400175"/>
                  <a:gd name="connsiteY62" fmla="*/ 44768 h 101600"/>
                  <a:gd name="connsiteX63" fmla="*/ 1192848 w 1400175"/>
                  <a:gd name="connsiteY63" fmla="*/ 33973 h 101600"/>
                  <a:gd name="connsiteX64" fmla="*/ 1202055 w 1400175"/>
                  <a:gd name="connsiteY64" fmla="*/ 30163 h 101600"/>
                  <a:gd name="connsiteX65" fmla="*/ 1211263 w 1400175"/>
                  <a:gd name="connsiteY65" fmla="*/ 34290 h 101600"/>
                  <a:gd name="connsiteX66" fmla="*/ 1189038 w 1400175"/>
                  <a:gd name="connsiteY66" fmla="*/ 25400 h 101600"/>
                  <a:gd name="connsiteX67" fmla="*/ 1180465 w 1400175"/>
                  <a:gd name="connsiteY67" fmla="*/ 35243 h 101600"/>
                  <a:gd name="connsiteX68" fmla="*/ 1177290 w 1400175"/>
                  <a:gd name="connsiteY68" fmla="*/ 50800 h 101600"/>
                  <a:gd name="connsiteX69" fmla="*/ 1180783 w 1400175"/>
                  <a:gd name="connsiteY69" fmla="*/ 66358 h 101600"/>
                  <a:gd name="connsiteX70" fmla="*/ 1190308 w 1400175"/>
                  <a:gd name="connsiteY70" fmla="*/ 75565 h 101600"/>
                  <a:gd name="connsiteX71" fmla="*/ 1204277 w 1400175"/>
                  <a:gd name="connsiteY71" fmla="*/ 78740 h 101600"/>
                  <a:gd name="connsiteX72" fmla="*/ 1214120 w 1400175"/>
                  <a:gd name="connsiteY72" fmla="*/ 77788 h 101600"/>
                  <a:gd name="connsiteX73" fmla="*/ 1222375 w 1400175"/>
                  <a:gd name="connsiteY73" fmla="*/ 74930 h 101600"/>
                  <a:gd name="connsiteX74" fmla="*/ 1222375 w 1400175"/>
                  <a:gd name="connsiteY74" fmla="*/ 66040 h 101600"/>
                  <a:gd name="connsiteX75" fmla="*/ 1213802 w 1400175"/>
                  <a:gd name="connsiteY75" fmla="*/ 68898 h 101600"/>
                  <a:gd name="connsiteX76" fmla="*/ 1204277 w 1400175"/>
                  <a:gd name="connsiteY76" fmla="*/ 69850 h 101600"/>
                  <a:gd name="connsiteX77" fmla="*/ 1192530 w 1400175"/>
                  <a:gd name="connsiteY77" fmla="*/ 65405 h 101600"/>
                  <a:gd name="connsiteX78" fmla="*/ 1188085 w 1400175"/>
                  <a:gd name="connsiteY78" fmla="*/ 52388 h 101600"/>
                  <a:gd name="connsiteX79" fmla="*/ 1224915 w 1400175"/>
                  <a:gd name="connsiteY79" fmla="*/ 52388 h 101600"/>
                  <a:gd name="connsiteX80" fmla="*/ 1224915 w 1400175"/>
                  <a:gd name="connsiteY80" fmla="*/ 46355 h 101600"/>
                  <a:gd name="connsiteX81" fmla="*/ 1218565 w 1400175"/>
                  <a:gd name="connsiteY81" fmla="*/ 28258 h 101600"/>
                  <a:gd name="connsiteX82" fmla="*/ 1201738 w 1400175"/>
                  <a:gd name="connsiteY82" fmla="*/ 21590 h 101600"/>
                  <a:gd name="connsiteX83" fmla="*/ 1189038 w 1400175"/>
                  <a:gd name="connsiteY83" fmla="*/ 25400 h 101600"/>
                  <a:gd name="connsiteX84" fmla="*/ 1152208 w 1400175"/>
                  <a:gd name="connsiteY84" fmla="*/ 36195 h 101600"/>
                  <a:gd name="connsiteX85" fmla="*/ 1155383 w 1400175"/>
                  <a:gd name="connsiteY85" fmla="*/ 50165 h 101600"/>
                  <a:gd name="connsiteX86" fmla="*/ 1152208 w 1400175"/>
                  <a:gd name="connsiteY86" fmla="*/ 64453 h 101600"/>
                  <a:gd name="connsiteX87" fmla="*/ 1142365 w 1400175"/>
                  <a:gd name="connsiteY87" fmla="*/ 69850 h 101600"/>
                  <a:gd name="connsiteX88" fmla="*/ 1131252 w 1400175"/>
                  <a:gd name="connsiteY88" fmla="*/ 64770 h 101600"/>
                  <a:gd name="connsiteX89" fmla="*/ 1128077 w 1400175"/>
                  <a:gd name="connsiteY89" fmla="*/ 50165 h 101600"/>
                  <a:gd name="connsiteX90" fmla="*/ 1128077 w 1400175"/>
                  <a:gd name="connsiteY90" fmla="*/ 48578 h 101600"/>
                  <a:gd name="connsiteX91" fmla="*/ 1131252 w 1400175"/>
                  <a:gd name="connsiteY91" fmla="*/ 35243 h 101600"/>
                  <a:gd name="connsiteX92" fmla="*/ 1142048 w 1400175"/>
                  <a:gd name="connsiteY92" fmla="*/ 30798 h 101600"/>
                  <a:gd name="connsiteX93" fmla="*/ 1152208 w 1400175"/>
                  <a:gd name="connsiteY93" fmla="*/ 36195 h 101600"/>
                  <a:gd name="connsiteX94" fmla="*/ 1134427 w 1400175"/>
                  <a:gd name="connsiteY94" fmla="*/ 24448 h 101600"/>
                  <a:gd name="connsiteX95" fmla="*/ 1128077 w 1400175"/>
                  <a:gd name="connsiteY95" fmla="*/ 30480 h 101600"/>
                  <a:gd name="connsiteX96" fmla="*/ 1127442 w 1400175"/>
                  <a:gd name="connsiteY96" fmla="*/ 30480 h 101600"/>
                  <a:gd name="connsiteX97" fmla="*/ 1125855 w 1400175"/>
                  <a:gd name="connsiteY97" fmla="*/ 23178 h 101600"/>
                  <a:gd name="connsiteX98" fmla="*/ 1116965 w 1400175"/>
                  <a:gd name="connsiteY98" fmla="*/ 23178 h 101600"/>
                  <a:gd name="connsiteX99" fmla="*/ 1116965 w 1400175"/>
                  <a:gd name="connsiteY99" fmla="*/ 102235 h 101600"/>
                  <a:gd name="connsiteX100" fmla="*/ 1127760 w 1400175"/>
                  <a:gd name="connsiteY100" fmla="*/ 102235 h 101600"/>
                  <a:gd name="connsiteX101" fmla="*/ 1127760 w 1400175"/>
                  <a:gd name="connsiteY101" fmla="*/ 80010 h 101600"/>
                  <a:gd name="connsiteX102" fmla="*/ 1127442 w 1400175"/>
                  <a:gd name="connsiteY102" fmla="*/ 75565 h 101600"/>
                  <a:gd name="connsiteX103" fmla="*/ 1127125 w 1400175"/>
                  <a:gd name="connsiteY103" fmla="*/ 71120 h 101600"/>
                  <a:gd name="connsiteX104" fmla="*/ 1127760 w 1400175"/>
                  <a:gd name="connsiteY104" fmla="*/ 71120 h 101600"/>
                  <a:gd name="connsiteX105" fmla="*/ 1134110 w 1400175"/>
                  <a:gd name="connsiteY105" fmla="*/ 76518 h 101600"/>
                  <a:gd name="connsiteX106" fmla="*/ 1144270 w 1400175"/>
                  <a:gd name="connsiteY106" fmla="*/ 78740 h 101600"/>
                  <a:gd name="connsiteX107" fmla="*/ 1160145 w 1400175"/>
                  <a:gd name="connsiteY107" fmla="*/ 71438 h 101600"/>
                  <a:gd name="connsiteX108" fmla="*/ 1166177 w 1400175"/>
                  <a:gd name="connsiteY108" fmla="*/ 50165 h 101600"/>
                  <a:gd name="connsiteX109" fmla="*/ 1160145 w 1400175"/>
                  <a:gd name="connsiteY109" fmla="*/ 28893 h 101600"/>
                  <a:gd name="connsiteX110" fmla="*/ 1144270 w 1400175"/>
                  <a:gd name="connsiteY110" fmla="*/ 21908 h 101600"/>
                  <a:gd name="connsiteX111" fmla="*/ 1134427 w 1400175"/>
                  <a:gd name="connsiteY111" fmla="*/ 24448 h 101600"/>
                  <a:gd name="connsiteX112" fmla="*/ 1089660 w 1400175"/>
                  <a:gd name="connsiteY112" fmla="*/ 77788 h 101600"/>
                  <a:gd name="connsiteX113" fmla="*/ 1100455 w 1400175"/>
                  <a:gd name="connsiteY113" fmla="*/ 77788 h 101600"/>
                  <a:gd name="connsiteX114" fmla="*/ 1100455 w 1400175"/>
                  <a:gd name="connsiteY114" fmla="*/ 23178 h 101600"/>
                  <a:gd name="connsiteX115" fmla="*/ 1089660 w 1400175"/>
                  <a:gd name="connsiteY115" fmla="*/ 23178 h 101600"/>
                  <a:gd name="connsiteX116" fmla="*/ 1089660 w 1400175"/>
                  <a:gd name="connsiteY116" fmla="*/ 77788 h 101600"/>
                  <a:gd name="connsiteX117" fmla="*/ 1090930 w 1400175"/>
                  <a:gd name="connsiteY117" fmla="*/ 3493 h 101600"/>
                  <a:gd name="connsiteX118" fmla="*/ 1089025 w 1400175"/>
                  <a:gd name="connsiteY118" fmla="*/ 8255 h 101600"/>
                  <a:gd name="connsiteX119" fmla="*/ 1090930 w 1400175"/>
                  <a:gd name="connsiteY119" fmla="*/ 13018 h 101600"/>
                  <a:gd name="connsiteX120" fmla="*/ 1095375 w 1400175"/>
                  <a:gd name="connsiteY120" fmla="*/ 14605 h 101600"/>
                  <a:gd name="connsiteX121" fmla="*/ 1099502 w 1400175"/>
                  <a:gd name="connsiteY121" fmla="*/ 13018 h 101600"/>
                  <a:gd name="connsiteX122" fmla="*/ 1101408 w 1400175"/>
                  <a:gd name="connsiteY122" fmla="*/ 8255 h 101600"/>
                  <a:gd name="connsiteX123" fmla="*/ 1099502 w 1400175"/>
                  <a:gd name="connsiteY123" fmla="*/ 3493 h 101600"/>
                  <a:gd name="connsiteX124" fmla="*/ 1095375 w 1400175"/>
                  <a:gd name="connsiteY124" fmla="*/ 2223 h 101600"/>
                  <a:gd name="connsiteX125" fmla="*/ 1090930 w 1400175"/>
                  <a:gd name="connsiteY125" fmla="*/ 3493 h 101600"/>
                  <a:gd name="connsiteX126" fmla="*/ 1061720 w 1400175"/>
                  <a:gd name="connsiteY126" fmla="*/ 36195 h 101600"/>
                  <a:gd name="connsiteX127" fmla="*/ 1064895 w 1400175"/>
                  <a:gd name="connsiteY127" fmla="*/ 50165 h 101600"/>
                  <a:gd name="connsiteX128" fmla="*/ 1061720 w 1400175"/>
                  <a:gd name="connsiteY128" fmla="*/ 64453 h 101600"/>
                  <a:gd name="connsiteX129" fmla="*/ 1051877 w 1400175"/>
                  <a:gd name="connsiteY129" fmla="*/ 69850 h 101600"/>
                  <a:gd name="connsiteX130" fmla="*/ 1040765 w 1400175"/>
                  <a:gd name="connsiteY130" fmla="*/ 64770 h 101600"/>
                  <a:gd name="connsiteX131" fmla="*/ 1037590 w 1400175"/>
                  <a:gd name="connsiteY131" fmla="*/ 50165 h 101600"/>
                  <a:gd name="connsiteX132" fmla="*/ 1037590 w 1400175"/>
                  <a:gd name="connsiteY132" fmla="*/ 48578 h 101600"/>
                  <a:gd name="connsiteX133" fmla="*/ 1040765 w 1400175"/>
                  <a:gd name="connsiteY133" fmla="*/ 35243 h 101600"/>
                  <a:gd name="connsiteX134" fmla="*/ 1051560 w 1400175"/>
                  <a:gd name="connsiteY134" fmla="*/ 30798 h 101600"/>
                  <a:gd name="connsiteX135" fmla="*/ 1061720 w 1400175"/>
                  <a:gd name="connsiteY135" fmla="*/ 36195 h 101600"/>
                  <a:gd name="connsiteX136" fmla="*/ 1043623 w 1400175"/>
                  <a:gd name="connsiteY136" fmla="*/ 24448 h 101600"/>
                  <a:gd name="connsiteX137" fmla="*/ 1037273 w 1400175"/>
                  <a:gd name="connsiteY137" fmla="*/ 30480 h 101600"/>
                  <a:gd name="connsiteX138" fmla="*/ 1036638 w 1400175"/>
                  <a:gd name="connsiteY138" fmla="*/ 30480 h 101600"/>
                  <a:gd name="connsiteX139" fmla="*/ 1035050 w 1400175"/>
                  <a:gd name="connsiteY139" fmla="*/ 23178 h 101600"/>
                  <a:gd name="connsiteX140" fmla="*/ 1026160 w 1400175"/>
                  <a:gd name="connsiteY140" fmla="*/ 23178 h 101600"/>
                  <a:gd name="connsiteX141" fmla="*/ 1026160 w 1400175"/>
                  <a:gd name="connsiteY141" fmla="*/ 102235 h 101600"/>
                  <a:gd name="connsiteX142" fmla="*/ 1036955 w 1400175"/>
                  <a:gd name="connsiteY142" fmla="*/ 102235 h 101600"/>
                  <a:gd name="connsiteX143" fmla="*/ 1036955 w 1400175"/>
                  <a:gd name="connsiteY143" fmla="*/ 80010 h 101600"/>
                  <a:gd name="connsiteX144" fmla="*/ 1036638 w 1400175"/>
                  <a:gd name="connsiteY144" fmla="*/ 75565 h 101600"/>
                  <a:gd name="connsiteX145" fmla="*/ 1036320 w 1400175"/>
                  <a:gd name="connsiteY145" fmla="*/ 71120 h 101600"/>
                  <a:gd name="connsiteX146" fmla="*/ 1036955 w 1400175"/>
                  <a:gd name="connsiteY146" fmla="*/ 71120 h 101600"/>
                  <a:gd name="connsiteX147" fmla="*/ 1043305 w 1400175"/>
                  <a:gd name="connsiteY147" fmla="*/ 76518 h 101600"/>
                  <a:gd name="connsiteX148" fmla="*/ 1053465 w 1400175"/>
                  <a:gd name="connsiteY148" fmla="*/ 78740 h 101600"/>
                  <a:gd name="connsiteX149" fmla="*/ 1069340 w 1400175"/>
                  <a:gd name="connsiteY149" fmla="*/ 71438 h 101600"/>
                  <a:gd name="connsiteX150" fmla="*/ 1075373 w 1400175"/>
                  <a:gd name="connsiteY150" fmla="*/ 50165 h 101600"/>
                  <a:gd name="connsiteX151" fmla="*/ 1069340 w 1400175"/>
                  <a:gd name="connsiteY151" fmla="*/ 28893 h 101600"/>
                  <a:gd name="connsiteX152" fmla="*/ 1053465 w 1400175"/>
                  <a:gd name="connsiteY152" fmla="*/ 21908 h 101600"/>
                  <a:gd name="connsiteX153" fmla="*/ 1043623 w 1400175"/>
                  <a:gd name="connsiteY153" fmla="*/ 24448 h 101600"/>
                  <a:gd name="connsiteX154" fmla="*/ 973138 w 1400175"/>
                  <a:gd name="connsiteY154" fmla="*/ 34290 h 101600"/>
                  <a:gd name="connsiteX155" fmla="*/ 976313 w 1400175"/>
                  <a:gd name="connsiteY155" fmla="*/ 44768 h 101600"/>
                  <a:gd name="connsiteX156" fmla="*/ 950595 w 1400175"/>
                  <a:gd name="connsiteY156" fmla="*/ 44768 h 101600"/>
                  <a:gd name="connsiteX157" fmla="*/ 954723 w 1400175"/>
                  <a:gd name="connsiteY157" fmla="*/ 33973 h 101600"/>
                  <a:gd name="connsiteX158" fmla="*/ 963930 w 1400175"/>
                  <a:gd name="connsiteY158" fmla="*/ 30163 h 101600"/>
                  <a:gd name="connsiteX159" fmla="*/ 973138 w 1400175"/>
                  <a:gd name="connsiteY159" fmla="*/ 34290 h 101600"/>
                  <a:gd name="connsiteX160" fmla="*/ 950595 w 1400175"/>
                  <a:gd name="connsiteY160" fmla="*/ 25400 h 101600"/>
                  <a:gd name="connsiteX161" fmla="*/ 942023 w 1400175"/>
                  <a:gd name="connsiteY161" fmla="*/ 35243 h 101600"/>
                  <a:gd name="connsiteX162" fmla="*/ 938848 w 1400175"/>
                  <a:gd name="connsiteY162" fmla="*/ 50800 h 101600"/>
                  <a:gd name="connsiteX163" fmla="*/ 942340 w 1400175"/>
                  <a:gd name="connsiteY163" fmla="*/ 66358 h 101600"/>
                  <a:gd name="connsiteX164" fmla="*/ 951865 w 1400175"/>
                  <a:gd name="connsiteY164" fmla="*/ 75565 h 101600"/>
                  <a:gd name="connsiteX165" fmla="*/ 965835 w 1400175"/>
                  <a:gd name="connsiteY165" fmla="*/ 78740 h 101600"/>
                  <a:gd name="connsiteX166" fmla="*/ 975677 w 1400175"/>
                  <a:gd name="connsiteY166" fmla="*/ 77788 h 101600"/>
                  <a:gd name="connsiteX167" fmla="*/ 983933 w 1400175"/>
                  <a:gd name="connsiteY167" fmla="*/ 74930 h 101600"/>
                  <a:gd name="connsiteX168" fmla="*/ 983933 w 1400175"/>
                  <a:gd name="connsiteY168" fmla="*/ 66040 h 101600"/>
                  <a:gd name="connsiteX169" fmla="*/ 975360 w 1400175"/>
                  <a:gd name="connsiteY169" fmla="*/ 68898 h 101600"/>
                  <a:gd name="connsiteX170" fmla="*/ 965835 w 1400175"/>
                  <a:gd name="connsiteY170" fmla="*/ 69850 h 101600"/>
                  <a:gd name="connsiteX171" fmla="*/ 954088 w 1400175"/>
                  <a:gd name="connsiteY171" fmla="*/ 65405 h 101600"/>
                  <a:gd name="connsiteX172" fmla="*/ 949642 w 1400175"/>
                  <a:gd name="connsiteY172" fmla="*/ 52388 h 101600"/>
                  <a:gd name="connsiteX173" fmla="*/ 986473 w 1400175"/>
                  <a:gd name="connsiteY173" fmla="*/ 52388 h 101600"/>
                  <a:gd name="connsiteX174" fmla="*/ 986473 w 1400175"/>
                  <a:gd name="connsiteY174" fmla="*/ 46355 h 101600"/>
                  <a:gd name="connsiteX175" fmla="*/ 980123 w 1400175"/>
                  <a:gd name="connsiteY175" fmla="*/ 28258 h 101600"/>
                  <a:gd name="connsiteX176" fmla="*/ 963295 w 1400175"/>
                  <a:gd name="connsiteY176" fmla="*/ 21590 h 101600"/>
                  <a:gd name="connsiteX177" fmla="*/ 950595 w 1400175"/>
                  <a:gd name="connsiteY177" fmla="*/ 25400 h 101600"/>
                  <a:gd name="connsiteX178" fmla="*/ 912813 w 1400175"/>
                  <a:gd name="connsiteY178" fmla="*/ 77788 h 101600"/>
                  <a:gd name="connsiteX179" fmla="*/ 933767 w 1400175"/>
                  <a:gd name="connsiteY179" fmla="*/ 23178 h 101600"/>
                  <a:gd name="connsiteX180" fmla="*/ 922338 w 1400175"/>
                  <a:gd name="connsiteY180" fmla="*/ 23178 h 101600"/>
                  <a:gd name="connsiteX181" fmla="*/ 910908 w 1400175"/>
                  <a:gd name="connsiteY181" fmla="*/ 55245 h 101600"/>
                  <a:gd name="connsiteX182" fmla="*/ 908685 w 1400175"/>
                  <a:gd name="connsiteY182" fmla="*/ 62230 h 101600"/>
                  <a:gd name="connsiteX183" fmla="*/ 907098 w 1400175"/>
                  <a:gd name="connsiteY183" fmla="*/ 68580 h 101600"/>
                  <a:gd name="connsiteX184" fmla="*/ 906780 w 1400175"/>
                  <a:gd name="connsiteY184" fmla="*/ 68580 h 101600"/>
                  <a:gd name="connsiteX185" fmla="*/ 905192 w 1400175"/>
                  <a:gd name="connsiteY185" fmla="*/ 62230 h 101600"/>
                  <a:gd name="connsiteX186" fmla="*/ 902970 w 1400175"/>
                  <a:gd name="connsiteY186" fmla="*/ 55245 h 101600"/>
                  <a:gd name="connsiteX187" fmla="*/ 891540 w 1400175"/>
                  <a:gd name="connsiteY187" fmla="*/ 23178 h 101600"/>
                  <a:gd name="connsiteX188" fmla="*/ 880110 w 1400175"/>
                  <a:gd name="connsiteY188" fmla="*/ 23178 h 101600"/>
                  <a:gd name="connsiteX189" fmla="*/ 900748 w 1400175"/>
                  <a:gd name="connsiteY189" fmla="*/ 77788 h 101600"/>
                  <a:gd name="connsiteX190" fmla="*/ 912813 w 1400175"/>
                  <a:gd name="connsiteY190" fmla="*/ 77788 h 101600"/>
                  <a:gd name="connsiteX191" fmla="*/ 861060 w 1400175"/>
                  <a:gd name="connsiteY191" fmla="*/ 77788 h 101600"/>
                  <a:gd name="connsiteX192" fmla="*/ 871855 w 1400175"/>
                  <a:gd name="connsiteY192" fmla="*/ 77788 h 101600"/>
                  <a:gd name="connsiteX193" fmla="*/ 871855 w 1400175"/>
                  <a:gd name="connsiteY193" fmla="*/ 23178 h 101600"/>
                  <a:gd name="connsiteX194" fmla="*/ 861060 w 1400175"/>
                  <a:gd name="connsiteY194" fmla="*/ 23178 h 101600"/>
                  <a:gd name="connsiteX195" fmla="*/ 861060 w 1400175"/>
                  <a:gd name="connsiteY195" fmla="*/ 77788 h 101600"/>
                  <a:gd name="connsiteX196" fmla="*/ 862330 w 1400175"/>
                  <a:gd name="connsiteY196" fmla="*/ 3493 h 101600"/>
                  <a:gd name="connsiteX197" fmla="*/ 860425 w 1400175"/>
                  <a:gd name="connsiteY197" fmla="*/ 8255 h 101600"/>
                  <a:gd name="connsiteX198" fmla="*/ 862330 w 1400175"/>
                  <a:gd name="connsiteY198" fmla="*/ 13018 h 101600"/>
                  <a:gd name="connsiteX199" fmla="*/ 866775 w 1400175"/>
                  <a:gd name="connsiteY199" fmla="*/ 14605 h 101600"/>
                  <a:gd name="connsiteX200" fmla="*/ 870902 w 1400175"/>
                  <a:gd name="connsiteY200" fmla="*/ 13018 h 101600"/>
                  <a:gd name="connsiteX201" fmla="*/ 872808 w 1400175"/>
                  <a:gd name="connsiteY201" fmla="*/ 8255 h 101600"/>
                  <a:gd name="connsiteX202" fmla="*/ 870902 w 1400175"/>
                  <a:gd name="connsiteY202" fmla="*/ 3493 h 101600"/>
                  <a:gd name="connsiteX203" fmla="*/ 866775 w 1400175"/>
                  <a:gd name="connsiteY203" fmla="*/ 2223 h 101600"/>
                  <a:gd name="connsiteX204" fmla="*/ 862330 w 1400175"/>
                  <a:gd name="connsiteY204" fmla="*/ 3493 h 101600"/>
                  <a:gd name="connsiteX205" fmla="*/ 836295 w 1400175"/>
                  <a:gd name="connsiteY205" fmla="*/ 67945 h 101600"/>
                  <a:gd name="connsiteX206" fmla="*/ 834073 w 1400175"/>
                  <a:gd name="connsiteY206" fmla="*/ 61278 h 101600"/>
                  <a:gd name="connsiteX207" fmla="*/ 834073 w 1400175"/>
                  <a:gd name="connsiteY207" fmla="*/ 31115 h 101600"/>
                  <a:gd name="connsiteX208" fmla="*/ 849630 w 1400175"/>
                  <a:gd name="connsiteY208" fmla="*/ 31115 h 101600"/>
                  <a:gd name="connsiteX209" fmla="*/ 849630 w 1400175"/>
                  <a:gd name="connsiteY209" fmla="*/ 22860 h 101600"/>
                  <a:gd name="connsiteX210" fmla="*/ 834073 w 1400175"/>
                  <a:gd name="connsiteY210" fmla="*/ 22860 h 101600"/>
                  <a:gd name="connsiteX211" fmla="*/ 834073 w 1400175"/>
                  <a:gd name="connsiteY211" fmla="*/ 10478 h 101600"/>
                  <a:gd name="connsiteX212" fmla="*/ 827405 w 1400175"/>
                  <a:gd name="connsiteY212" fmla="*/ 10478 h 101600"/>
                  <a:gd name="connsiteX213" fmla="*/ 823595 w 1400175"/>
                  <a:gd name="connsiteY213" fmla="*/ 21908 h 101600"/>
                  <a:gd name="connsiteX214" fmla="*/ 815658 w 1400175"/>
                  <a:gd name="connsiteY214" fmla="*/ 26035 h 101600"/>
                  <a:gd name="connsiteX215" fmla="*/ 815658 w 1400175"/>
                  <a:gd name="connsiteY215" fmla="*/ 30798 h 101600"/>
                  <a:gd name="connsiteX216" fmla="*/ 823277 w 1400175"/>
                  <a:gd name="connsiteY216" fmla="*/ 30798 h 101600"/>
                  <a:gd name="connsiteX217" fmla="*/ 823277 w 1400175"/>
                  <a:gd name="connsiteY217" fmla="*/ 60960 h 101600"/>
                  <a:gd name="connsiteX218" fmla="*/ 825500 w 1400175"/>
                  <a:gd name="connsiteY218" fmla="*/ 71438 h 101600"/>
                  <a:gd name="connsiteX219" fmla="*/ 831533 w 1400175"/>
                  <a:gd name="connsiteY219" fmla="*/ 76835 h 101600"/>
                  <a:gd name="connsiteX220" fmla="*/ 839788 w 1400175"/>
                  <a:gd name="connsiteY220" fmla="*/ 78423 h 101600"/>
                  <a:gd name="connsiteX221" fmla="*/ 845820 w 1400175"/>
                  <a:gd name="connsiteY221" fmla="*/ 77788 h 101600"/>
                  <a:gd name="connsiteX222" fmla="*/ 850583 w 1400175"/>
                  <a:gd name="connsiteY222" fmla="*/ 76518 h 101600"/>
                  <a:gd name="connsiteX223" fmla="*/ 850583 w 1400175"/>
                  <a:gd name="connsiteY223" fmla="*/ 68263 h 101600"/>
                  <a:gd name="connsiteX224" fmla="*/ 842327 w 1400175"/>
                  <a:gd name="connsiteY224" fmla="*/ 69533 h 101600"/>
                  <a:gd name="connsiteX225" fmla="*/ 836295 w 1400175"/>
                  <a:gd name="connsiteY225" fmla="*/ 67945 h 101600"/>
                  <a:gd name="connsiteX226" fmla="*/ 794385 w 1400175"/>
                  <a:gd name="connsiteY226" fmla="*/ 77788 h 101600"/>
                  <a:gd name="connsiteX227" fmla="*/ 805180 w 1400175"/>
                  <a:gd name="connsiteY227" fmla="*/ 77788 h 101600"/>
                  <a:gd name="connsiteX228" fmla="*/ 805180 w 1400175"/>
                  <a:gd name="connsiteY228" fmla="*/ 23178 h 101600"/>
                  <a:gd name="connsiteX229" fmla="*/ 794385 w 1400175"/>
                  <a:gd name="connsiteY229" fmla="*/ 23178 h 101600"/>
                  <a:gd name="connsiteX230" fmla="*/ 794385 w 1400175"/>
                  <a:gd name="connsiteY230" fmla="*/ 77788 h 101600"/>
                  <a:gd name="connsiteX231" fmla="*/ 795655 w 1400175"/>
                  <a:gd name="connsiteY231" fmla="*/ 3493 h 101600"/>
                  <a:gd name="connsiteX232" fmla="*/ 793750 w 1400175"/>
                  <a:gd name="connsiteY232" fmla="*/ 8255 h 101600"/>
                  <a:gd name="connsiteX233" fmla="*/ 795655 w 1400175"/>
                  <a:gd name="connsiteY233" fmla="*/ 13018 h 101600"/>
                  <a:gd name="connsiteX234" fmla="*/ 800100 w 1400175"/>
                  <a:gd name="connsiteY234" fmla="*/ 14605 h 101600"/>
                  <a:gd name="connsiteX235" fmla="*/ 804227 w 1400175"/>
                  <a:gd name="connsiteY235" fmla="*/ 13018 h 101600"/>
                  <a:gd name="connsiteX236" fmla="*/ 806133 w 1400175"/>
                  <a:gd name="connsiteY236" fmla="*/ 8255 h 101600"/>
                  <a:gd name="connsiteX237" fmla="*/ 804227 w 1400175"/>
                  <a:gd name="connsiteY237" fmla="*/ 3493 h 101600"/>
                  <a:gd name="connsiteX238" fmla="*/ 800100 w 1400175"/>
                  <a:gd name="connsiteY238" fmla="*/ 2223 h 101600"/>
                  <a:gd name="connsiteX239" fmla="*/ 795655 w 1400175"/>
                  <a:gd name="connsiteY239" fmla="*/ 3493 h 101600"/>
                  <a:gd name="connsiteX240" fmla="*/ 769620 w 1400175"/>
                  <a:gd name="connsiteY240" fmla="*/ 67945 h 101600"/>
                  <a:gd name="connsiteX241" fmla="*/ 767398 w 1400175"/>
                  <a:gd name="connsiteY241" fmla="*/ 61278 h 101600"/>
                  <a:gd name="connsiteX242" fmla="*/ 767398 w 1400175"/>
                  <a:gd name="connsiteY242" fmla="*/ 31115 h 101600"/>
                  <a:gd name="connsiteX243" fmla="*/ 782955 w 1400175"/>
                  <a:gd name="connsiteY243" fmla="*/ 31115 h 101600"/>
                  <a:gd name="connsiteX244" fmla="*/ 782955 w 1400175"/>
                  <a:gd name="connsiteY244" fmla="*/ 22860 h 101600"/>
                  <a:gd name="connsiteX245" fmla="*/ 767398 w 1400175"/>
                  <a:gd name="connsiteY245" fmla="*/ 22860 h 101600"/>
                  <a:gd name="connsiteX246" fmla="*/ 767398 w 1400175"/>
                  <a:gd name="connsiteY246" fmla="*/ 10478 h 101600"/>
                  <a:gd name="connsiteX247" fmla="*/ 760730 w 1400175"/>
                  <a:gd name="connsiteY247" fmla="*/ 10478 h 101600"/>
                  <a:gd name="connsiteX248" fmla="*/ 756920 w 1400175"/>
                  <a:gd name="connsiteY248" fmla="*/ 21908 h 101600"/>
                  <a:gd name="connsiteX249" fmla="*/ 748983 w 1400175"/>
                  <a:gd name="connsiteY249" fmla="*/ 26035 h 101600"/>
                  <a:gd name="connsiteX250" fmla="*/ 748983 w 1400175"/>
                  <a:gd name="connsiteY250" fmla="*/ 30798 h 101600"/>
                  <a:gd name="connsiteX251" fmla="*/ 756602 w 1400175"/>
                  <a:gd name="connsiteY251" fmla="*/ 30798 h 101600"/>
                  <a:gd name="connsiteX252" fmla="*/ 756602 w 1400175"/>
                  <a:gd name="connsiteY252" fmla="*/ 60960 h 101600"/>
                  <a:gd name="connsiteX253" fmla="*/ 758825 w 1400175"/>
                  <a:gd name="connsiteY253" fmla="*/ 71438 h 101600"/>
                  <a:gd name="connsiteX254" fmla="*/ 764858 w 1400175"/>
                  <a:gd name="connsiteY254" fmla="*/ 76835 h 101600"/>
                  <a:gd name="connsiteX255" fmla="*/ 773113 w 1400175"/>
                  <a:gd name="connsiteY255" fmla="*/ 78423 h 101600"/>
                  <a:gd name="connsiteX256" fmla="*/ 779145 w 1400175"/>
                  <a:gd name="connsiteY256" fmla="*/ 77788 h 101600"/>
                  <a:gd name="connsiteX257" fmla="*/ 783908 w 1400175"/>
                  <a:gd name="connsiteY257" fmla="*/ 76518 h 101600"/>
                  <a:gd name="connsiteX258" fmla="*/ 783908 w 1400175"/>
                  <a:gd name="connsiteY258" fmla="*/ 68263 h 101600"/>
                  <a:gd name="connsiteX259" fmla="*/ 775652 w 1400175"/>
                  <a:gd name="connsiteY259" fmla="*/ 69533 h 101600"/>
                  <a:gd name="connsiteX260" fmla="*/ 769620 w 1400175"/>
                  <a:gd name="connsiteY260" fmla="*/ 67945 h 101600"/>
                  <a:gd name="connsiteX261" fmla="*/ 728345 w 1400175"/>
                  <a:gd name="connsiteY261" fmla="*/ 34290 h 101600"/>
                  <a:gd name="connsiteX262" fmla="*/ 731520 w 1400175"/>
                  <a:gd name="connsiteY262" fmla="*/ 44768 h 101600"/>
                  <a:gd name="connsiteX263" fmla="*/ 705802 w 1400175"/>
                  <a:gd name="connsiteY263" fmla="*/ 44768 h 101600"/>
                  <a:gd name="connsiteX264" fmla="*/ 709930 w 1400175"/>
                  <a:gd name="connsiteY264" fmla="*/ 33973 h 101600"/>
                  <a:gd name="connsiteX265" fmla="*/ 719138 w 1400175"/>
                  <a:gd name="connsiteY265" fmla="*/ 30163 h 101600"/>
                  <a:gd name="connsiteX266" fmla="*/ 728345 w 1400175"/>
                  <a:gd name="connsiteY266" fmla="*/ 34290 h 101600"/>
                  <a:gd name="connsiteX267" fmla="*/ 706120 w 1400175"/>
                  <a:gd name="connsiteY267" fmla="*/ 25400 h 101600"/>
                  <a:gd name="connsiteX268" fmla="*/ 697548 w 1400175"/>
                  <a:gd name="connsiteY268" fmla="*/ 35243 h 101600"/>
                  <a:gd name="connsiteX269" fmla="*/ 694373 w 1400175"/>
                  <a:gd name="connsiteY269" fmla="*/ 50800 h 101600"/>
                  <a:gd name="connsiteX270" fmla="*/ 697865 w 1400175"/>
                  <a:gd name="connsiteY270" fmla="*/ 66358 h 101600"/>
                  <a:gd name="connsiteX271" fmla="*/ 707390 w 1400175"/>
                  <a:gd name="connsiteY271" fmla="*/ 75565 h 101600"/>
                  <a:gd name="connsiteX272" fmla="*/ 721360 w 1400175"/>
                  <a:gd name="connsiteY272" fmla="*/ 78740 h 101600"/>
                  <a:gd name="connsiteX273" fmla="*/ 731202 w 1400175"/>
                  <a:gd name="connsiteY273" fmla="*/ 77788 h 101600"/>
                  <a:gd name="connsiteX274" fmla="*/ 739458 w 1400175"/>
                  <a:gd name="connsiteY274" fmla="*/ 74930 h 101600"/>
                  <a:gd name="connsiteX275" fmla="*/ 739458 w 1400175"/>
                  <a:gd name="connsiteY275" fmla="*/ 66040 h 101600"/>
                  <a:gd name="connsiteX276" fmla="*/ 730885 w 1400175"/>
                  <a:gd name="connsiteY276" fmla="*/ 68898 h 101600"/>
                  <a:gd name="connsiteX277" fmla="*/ 721360 w 1400175"/>
                  <a:gd name="connsiteY277" fmla="*/ 69850 h 101600"/>
                  <a:gd name="connsiteX278" fmla="*/ 709613 w 1400175"/>
                  <a:gd name="connsiteY278" fmla="*/ 65405 h 101600"/>
                  <a:gd name="connsiteX279" fmla="*/ 705167 w 1400175"/>
                  <a:gd name="connsiteY279" fmla="*/ 52388 h 101600"/>
                  <a:gd name="connsiteX280" fmla="*/ 741998 w 1400175"/>
                  <a:gd name="connsiteY280" fmla="*/ 52388 h 101600"/>
                  <a:gd name="connsiteX281" fmla="*/ 741998 w 1400175"/>
                  <a:gd name="connsiteY281" fmla="*/ 46355 h 101600"/>
                  <a:gd name="connsiteX282" fmla="*/ 735648 w 1400175"/>
                  <a:gd name="connsiteY282" fmla="*/ 28258 h 101600"/>
                  <a:gd name="connsiteX283" fmla="*/ 718820 w 1400175"/>
                  <a:gd name="connsiteY283" fmla="*/ 21590 h 101600"/>
                  <a:gd name="connsiteX284" fmla="*/ 706120 w 1400175"/>
                  <a:gd name="connsiteY284" fmla="*/ 25400 h 101600"/>
                  <a:gd name="connsiteX285" fmla="*/ 669290 w 1400175"/>
                  <a:gd name="connsiteY285" fmla="*/ 36195 h 101600"/>
                  <a:gd name="connsiteX286" fmla="*/ 672465 w 1400175"/>
                  <a:gd name="connsiteY286" fmla="*/ 50165 h 101600"/>
                  <a:gd name="connsiteX287" fmla="*/ 669290 w 1400175"/>
                  <a:gd name="connsiteY287" fmla="*/ 64453 h 101600"/>
                  <a:gd name="connsiteX288" fmla="*/ 659448 w 1400175"/>
                  <a:gd name="connsiteY288" fmla="*/ 69850 h 101600"/>
                  <a:gd name="connsiteX289" fmla="*/ 648335 w 1400175"/>
                  <a:gd name="connsiteY289" fmla="*/ 64770 h 101600"/>
                  <a:gd name="connsiteX290" fmla="*/ 645160 w 1400175"/>
                  <a:gd name="connsiteY290" fmla="*/ 50165 h 101600"/>
                  <a:gd name="connsiteX291" fmla="*/ 645160 w 1400175"/>
                  <a:gd name="connsiteY291" fmla="*/ 48578 h 101600"/>
                  <a:gd name="connsiteX292" fmla="*/ 648335 w 1400175"/>
                  <a:gd name="connsiteY292" fmla="*/ 35243 h 101600"/>
                  <a:gd name="connsiteX293" fmla="*/ 659130 w 1400175"/>
                  <a:gd name="connsiteY293" fmla="*/ 30798 h 101600"/>
                  <a:gd name="connsiteX294" fmla="*/ 669290 w 1400175"/>
                  <a:gd name="connsiteY294" fmla="*/ 36195 h 101600"/>
                  <a:gd name="connsiteX295" fmla="*/ 651510 w 1400175"/>
                  <a:gd name="connsiteY295" fmla="*/ 24448 h 101600"/>
                  <a:gd name="connsiteX296" fmla="*/ 645160 w 1400175"/>
                  <a:gd name="connsiteY296" fmla="*/ 30480 h 101600"/>
                  <a:gd name="connsiteX297" fmla="*/ 644525 w 1400175"/>
                  <a:gd name="connsiteY297" fmla="*/ 30480 h 101600"/>
                  <a:gd name="connsiteX298" fmla="*/ 642938 w 1400175"/>
                  <a:gd name="connsiteY298" fmla="*/ 23178 h 101600"/>
                  <a:gd name="connsiteX299" fmla="*/ 634048 w 1400175"/>
                  <a:gd name="connsiteY299" fmla="*/ 23178 h 101600"/>
                  <a:gd name="connsiteX300" fmla="*/ 634048 w 1400175"/>
                  <a:gd name="connsiteY300" fmla="*/ 102235 h 101600"/>
                  <a:gd name="connsiteX301" fmla="*/ 644842 w 1400175"/>
                  <a:gd name="connsiteY301" fmla="*/ 102235 h 101600"/>
                  <a:gd name="connsiteX302" fmla="*/ 644842 w 1400175"/>
                  <a:gd name="connsiteY302" fmla="*/ 80010 h 101600"/>
                  <a:gd name="connsiteX303" fmla="*/ 644525 w 1400175"/>
                  <a:gd name="connsiteY303" fmla="*/ 75565 h 101600"/>
                  <a:gd name="connsiteX304" fmla="*/ 644208 w 1400175"/>
                  <a:gd name="connsiteY304" fmla="*/ 71120 h 101600"/>
                  <a:gd name="connsiteX305" fmla="*/ 644842 w 1400175"/>
                  <a:gd name="connsiteY305" fmla="*/ 71120 h 101600"/>
                  <a:gd name="connsiteX306" fmla="*/ 651192 w 1400175"/>
                  <a:gd name="connsiteY306" fmla="*/ 76518 h 101600"/>
                  <a:gd name="connsiteX307" fmla="*/ 661352 w 1400175"/>
                  <a:gd name="connsiteY307" fmla="*/ 78740 h 101600"/>
                  <a:gd name="connsiteX308" fmla="*/ 677227 w 1400175"/>
                  <a:gd name="connsiteY308" fmla="*/ 71438 h 101600"/>
                  <a:gd name="connsiteX309" fmla="*/ 683260 w 1400175"/>
                  <a:gd name="connsiteY309" fmla="*/ 50165 h 101600"/>
                  <a:gd name="connsiteX310" fmla="*/ 677227 w 1400175"/>
                  <a:gd name="connsiteY310" fmla="*/ 28893 h 101600"/>
                  <a:gd name="connsiteX311" fmla="*/ 661352 w 1400175"/>
                  <a:gd name="connsiteY311" fmla="*/ 21908 h 101600"/>
                  <a:gd name="connsiteX312" fmla="*/ 651510 w 1400175"/>
                  <a:gd name="connsiteY312" fmla="*/ 24448 h 101600"/>
                  <a:gd name="connsiteX313" fmla="*/ 589598 w 1400175"/>
                  <a:gd name="connsiteY313" fmla="*/ 24130 h 101600"/>
                  <a:gd name="connsiteX314" fmla="*/ 582295 w 1400175"/>
                  <a:gd name="connsiteY314" fmla="*/ 30798 h 101600"/>
                  <a:gd name="connsiteX315" fmla="*/ 581342 w 1400175"/>
                  <a:gd name="connsiteY315" fmla="*/ 30798 h 101600"/>
                  <a:gd name="connsiteX316" fmla="*/ 564833 w 1400175"/>
                  <a:gd name="connsiteY316" fmla="*/ 21908 h 101600"/>
                  <a:gd name="connsiteX317" fmla="*/ 555625 w 1400175"/>
                  <a:gd name="connsiteY317" fmla="*/ 23813 h 101600"/>
                  <a:gd name="connsiteX318" fmla="*/ 548640 w 1400175"/>
                  <a:gd name="connsiteY318" fmla="*/ 30163 h 101600"/>
                  <a:gd name="connsiteX319" fmla="*/ 548005 w 1400175"/>
                  <a:gd name="connsiteY319" fmla="*/ 30163 h 101600"/>
                  <a:gd name="connsiteX320" fmla="*/ 546417 w 1400175"/>
                  <a:gd name="connsiteY320" fmla="*/ 22860 h 101600"/>
                  <a:gd name="connsiteX321" fmla="*/ 537845 w 1400175"/>
                  <a:gd name="connsiteY321" fmla="*/ 22860 h 101600"/>
                  <a:gd name="connsiteX322" fmla="*/ 537845 w 1400175"/>
                  <a:gd name="connsiteY322" fmla="*/ 77470 h 101600"/>
                  <a:gd name="connsiteX323" fmla="*/ 548640 w 1400175"/>
                  <a:gd name="connsiteY323" fmla="*/ 77470 h 101600"/>
                  <a:gd name="connsiteX324" fmla="*/ 548640 w 1400175"/>
                  <a:gd name="connsiteY324" fmla="*/ 49848 h 101600"/>
                  <a:gd name="connsiteX325" fmla="*/ 551498 w 1400175"/>
                  <a:gd name="connsiteY325" fmla="*/ 35560 h 101600"/>
                  <a:gd name="connsiteX326" fmla="*/ 561975 w 1400175"/>
                  <a:gd name="connsiteY326" fmla="*/ 30480 h 101600"/>
                  <a:gd name="connsiteX327" fmla="*/ 572452 w 1400175"/>
                  <a:gd name="connsiteY327" fmla="*/ 43180 h 101600"/>
                  <a:gd name="connsiteX328" fmla="*/ 572452 w 1400175"/>
                  <a:gd name="connsiteY328" fmla="*/ 77470 h 101600"/>
                  <a:gd name="connsiteX329" fmla="*/ 583248 w 1400175"/>
                  <a:gd name="connsiteY329" fmla="*/ 77470 h 101600"/>
                  <a:gd name="connsiteX330" fmla="*/ 583248 w 1400175"/>
                  <a:gd name="connsiteY330" fmla="*/ 47943 h 101600"/>
                  <a:gd name="connsiteX331" fmla="*/ 586423 w 1400175"/>
                  <a:gd name="connsiteY331" fmla="*/ 34925 h 101600"/>
                  <a:gd name="connsiteX332" fmla="*/ 596900 w 1400175"/>
                  <a:gd name="connsiteY332" fmla="*/ 30480 h 101600"/>
                  <a:gd name="connsiteX333" fmla="*/ 607060 w 1400175"/>
                  <a:gd name="connsiteY333" fmla="*/ 43180 h 101600"/>
                  <a:gd name="connsiteX334" fmla="*/ 607060 w 1400175"/>
                  <a:gd name="connsiteY334" fmla="*/ 77470 h 101600"/>
                  <a:gd name="connsiteX335" fmla="*/ 617855 w 1400175"/>
                  <a:gd name="connsiteY335" fmla="*/ 77470 h 101600"/>
                  <a:gd name="connsiteX336" fmla="*/ 617855 w 1400175"/>
                  <a:gd name="connsiteY336" fmla="*/ 42228 h 101600"/>
                  <a:gd name="connsiteX337" fmla="*/ 613092 w 1400175"/>
                  <a:gd name="connsiteY337" fmla="*/ 26988 h 101600"/>
                  <a:gd name="connsiteX338" fmla="*/ 599123 w 1400175"/>
                  <a:gd name="connsiteY338" fmla="*/ 22225 h 101600"/>
                  <a:gd name="connsiteX339" fmla="*/ 589598 w 1400175"/>
                  <a:gd name="connsiteY339" fmla="*/ 24130 h 101600"/>
                  <a:gd name="connsiteX340" fmla="*/ 487680 w 1400175"/>
                  <a:gd name="connsiteY340" fmla="*/ 35878 h 101600"/>
                  <a:gd name="connsiteX341" fmla="*/ 498792 w 1400175"/>
                  <a:gd name="connsiteY341" fmla="*/ 30798 h 101600"/>
                  <a:gd name="connsiteX342" fmla="*/ 509905 w 1400175"/>
                  <a:gd name="connsiteY342" fmla="*/ 35878 h 101600"/>
                  <a:gd name="connsiteX343" fmla="*/ 513398 w 1400175"/>
                  <a:gd name="connsiteY343" fmla="*/ 50165 h 101600"/>
                  <a:gd name="connsiteX344" fmla="*/ 509905 w 1400175"/>
                  <a:gd name="connsiteY344" fmla="*/ 64453 h 101600"/>
                  <a:gd name="connsiteX345" fmla="*/ 498792 w 1400175"/>
                  <a:gd name="connsiteY345" fmla="*/ 69533 h 101600"/>
                  <a:gd name="connsiteX346" fmla="*/ 487680 w 1400175"/>
                  <a:gd name="connsiteY346" fmla="*/ 64453 h 101600"/>
                  <a:gd name="connsiteX347" fmla="*/ 484188 w 1400175"/>
                  <a:gd name="connsiteY347" fmla="*/ 50165 h 101600"/>
                  <a:gd name="connsiteX348" fmla="*/ 487680 w 1400175"/>
                  <a:gd name="connsiteY348" fmla="*/ 35878 h 101600"/>
                  <a:gd name="connsiteX349" fmla="*/ 521335 w 1400175"/>
                  <a:gd name="connsiteY349" fmla="*/ 34925 h 101600"/>
                  <a:gd name="connsiteX350" fmla="*/ 512445 w 1400175"/>
                  <a:gd name="connsiteY350" fmla="*/ 25400 h 101600"/>
                  <a:gd name="connsiteX351" fmla="*/ 499110 w 1400175"/>
                  <a:gd name="connsiteY351" fmla="*/ 22225 h 101600"/>
                  <a:gd name="connsiteX352" fmla="*/ 480060 w 1400175"/>
                  <a:gd name="connsiteY352" fmla="*/ 29528 h 101600"/>
                  <a:gd name="connsiteX353" fmla="*/ 473075 w 1400175"/>
                  <a:gd name="connsiteY353" fmla="*/ 50483 h 101600"/>
                  <a:gd name="connsiteX354" fmla="*/ 476250 w 1400175"/>
                  <a:gd name="connsiteY354" fmla="*/ 66040 h 101600"/>
                  <a:gd name="connsiteX355" fmla="*/ 485140 w 1400175"/>
                  <a:gd name="connsiteY355" fmla="*/ 75565 h 101600"/>
                  <a:gd name="connsiteX356" fmla="*/ 498158 w 1400175"/>
                  <a:gd name="connsiteY356" fmla="*/ 78740 h 101600"/>
                  <a:gd name="connsiteX357" fmla="*/ 517208 w 1400175"/>
                  <a:gd name="connsiteY357" fmla="*/ 71438 h 101600"/>
                  <a:gd name="connsiteX358" fmla="*/ 524192 w 1400175"/>
                  <a:gd name="connsiteY358" fmla="*/ 50483 h 101600"/>
                  <a:gd name="connsiteX359" fmla="*/ 521335 w 1400175"/>
                  <a:gd name="connsiteY359" fmla="*/ 34925 h 101600"/>
                  <a:gd name="connsiteX360" fmla="*/ 456883 w 1400175"/>
                  <a:gd name="connsiteY360" fmla="*/ 78105 h 101600"/>
                  <a:gd name="connsiteX361" fmla="*/ 463233 w 1400175"/>
                  <a:gd name="connsiteY361" fmla="*/ 75565 h 101600"/>
                  <a:gd name="connsiteX362" fmla="*/ 463233 w 1400175"/>
                  <a:gd name="connsiteY362" fmla="*/ 66358 h 101600"/>
                  <a:gd name="connsiteX363" fmla="*/ 456883 w 1400175"/>
                  <a:gd name="connsiteY363" fmla="*/ 68898 h 101600"/>
                  <a:gd name="connsiteX364" fmla="*/ 448945 w 1400175"/>
                  <a:gd name="connsiteY364" fmla="*/ 69850 h 101600"/>
                  <a:gd name="connsiteX365" fmla="*/ 438150 w 1400175"/>
                  <a:gd name="connsiteY365" fmla="*/ 65088 h 101600"/>
                  <a:gd name="connsiteX366" fmla="*/ 434340 w 1400175"/>
                  <a:gd name="connsiteY366" fmla="*/ 50800 h 101600"/>
                  <a:gd name="connsiteX367" fmla="*/ 449263 w 1400175"/>
                  <a:gd name="connsiteY367" fmla="*/ 31433 h 101600"/>
                  <a:gd name="connsiteX368" fmla="*/ 455295 w 1400175"/>
                  <a:gd name="connsiteY368" fmla="*/ 32385 h 101600"/>
                  <a:gd name="connsiteX369" fmla="*/ 461327 w 1400175"/>
                  <a:gd name="connsiteY369" fmla="*/ 34290 h 101600"/>
                  <a:gd name="connsiteX370" fmla="*/ 464502 w 1400175"/>
                  <a:gd name="connsiteY370" fmla="*/ 25400 h 101600"/>
                  <a:gd name="connsiteX371" fmla="*/ 457835 w 1400175"/>
                  <a:gd name="connsiteY371" fmla="*/ 23178 h 101600"/>
                  <a:gd name="connsiteX372" fmla="*/ 449263 w 1400175"/>
                  <a:gd name="connsiteY372" fmla="*/ 22225 h 101600"/>
                  <a:gd name="connsiteX373" fmla="*/ 435927 w 1400175"/>
                  <a:gd name="connsiteY373" fmla="*/ 25083 h 101600"/>
                  <a:gd name="connsiteX374" fmla="*/ 426720 w 1400175"/>
                  <a:gd name="connsiteY374" fmla="*/ 34290 h 101600"/>
                  <a:gd name="connsiteX375" fmla="*/ 423227 w 1400175"/>
                  <a:gd name="connsiteY375" fmla="*/ 50800 h 101600"/>
                  <a:gd name="connsiteX376" fmla="*/ 430213 w 1400175"/>
                  <a:gd name="connsiteY376" fmla="*/ 72073 h 101600"/>
                  <a:gd name="connsiteX377" fmla="*/ 448627 w 1400175"/>
                  <a:gd name="connsiteY377" fmla="*/ 78740 h 101600"/>
                  <a:gd name="connsiteX378" fmla="*/ 456883 w 1400175"/>
                  <a:gd name="connsiteY378" fmla="*/ 78105 h 101600"/>
                  <a:gd name="connsiteX379" fmla="*/ 369253 w 1400175"/>
                  <a:gd name="connsiteY379" fmla="*/ 35560 h 101600"/>
                  <a:gd name="connsiteX380" fmla="*/ 372745 w 1400175"/>
                  <a:gd name="connsiteY380" fmla="*/ 50800 h 101600"/>
                  <a:gd name="connsiteX381" fmla="*/ 372745 w 1400175"/>
                  <a:gd name="connsiteY381" fmla="*/ 52705 h 101600"/>
                  <a:gd name="connsiteX382" fmla="*/ 369253 w 1400175"/>
                  <a:gd name="connsiteY382" fmla="*/ 66040 h 101600"/>
                  <a:gd name="connsiteX383" fmla="*/ 358140 w 1400175"/>
                  <a:gd name="connsiteY383" fmla="*/ 70168 h 101600"/>
                  <a:gd name="connsiteX384" fmla="*/ 347980 w 1400175"/>
                  <a:gd name="connsiteY384" fmla="*/ 65088 h 101600"/>
                  <a:gd name="connsiteX385" fmla="*/ 344488 w 1400175"/>
                  <a:gd name="connsiteY385" fmla="*/ 50483 h 101600"/>
                  <a:gd name="connsiteX386" fmla="*/ 347980 w 1400175"/>
                  <a:gd name="connsiteY386" fmla="*/ 35878 h 101600"/>
                  <a:gd name="connsiteX387" fmla="*/ 357823 w 1400175"/>
                  <a:gd name="connsiteY387" fmla="*/ 30798 h 101600"/>
                  <a:gd name="connsiteX388" fmla="*/ 369253 w 1400175"/>
                  <a:gd name="connsiteY388" fmla="*/ 35560 h 101600"/>
                  <a:gd name="connsiteX389" fmla="*/ 339725 w 1400175"/>
                  <a:gd name="connsiteY389" fmla="*/ 29845 h 101600"/>
                  <a:gd name="connsiteX390" fmla="*/ 334010 w 1400175"/>
                  <a:gd name="connsiteY390" fmla="*/ 50800 h 101600"/>
                  <a:gd name="connsiteX391" fmla="*/ 339725 w 1400175"/>
                  <a:gd name="connsiteY391" fmla="*/ 71438 h 101600"/>
                  <a:gd name="connsiteX392" fmla="*/ 355917 w 1400175"/>
                  <a:gd name="connsiteY392" fmla="*/ 79058 h 101600"/>
                  <a:gd name="connsiteX393" fmla="*/ 365442 w 1400175"/>
                  <a:gd name="connsiteY393" fmla="*/ 77153 h 101600"/>
                  <a:gd name="connsiteX394" fmla="*/ 372428 w 1400175"/>
                  <a:gd name="connsiteY394" fmla="*/ 70803 h 101600"/>
                  <a:gd name="connsiteX395" fmla="*/ 372745 w 1400175"/>
                  <a:gd name="connsiteY395" fmla="*/ 70803 h 101600"/>
                  <a:gd name="connsiteX396" fmla="*/ 372428 w 1400175"/>
                  <a:gd name="connsiteY396" fmla="*/ 73978 h 101600"/>
                  <a:gd name="connsiteX397" fmla="*/ 372428 w 1400175"/>
                  <a:gd name="connsiteY397" fmla="*/ 77470 h 101600"/>
                  <a:gd name="connsiteX398" fmla="*/ 372428 w 1400175"/>
                  <a:gd name="connsiteY398" fmla="*/ 79375 h 101600"/>
                  <a:gd name="connsiteX399" fmla="*/ 368617 w 1400175"/>
                  <a:gd name="connsiteY399" fmla="*/ 90170 h 101600"/>
                  <a:gd name="connsiteX400" fmla="*/ 358458 w 1400175"/>
                  <a:gd name="connsiteY400" fmla="*/ 93980 h 101600"/>
                  <a:gd name="connsiteX401" fmla="*/ 347345 w 1400175"/>
                  <a:gd name="connsiteY401" fmla="*/ 93028 h 101600"/>
                  <a:gd name="connsiteX402" fmla="*/ 337820 w 1400175"/>
                  <a:gd name="connsiteY402" fmla="*/ 89853 h 101600"/>
                  <a:gd name="connsiteX403" fmla="*/ 337820 w 1400175"/>
                  <a:gd name="connsiteY403" fmla="*/ 99378 h 101600"/>
                  <a:gd name="connsiteX404" fmla="*/ 347028 w 1400175"/>
                  <a:gd name="connsiteY404" fmla="*/ 101918 h 101600"/>
                  <a:gd name="connsiteX405" fmla="*/ 357823 w 1400175"/>
                  <a:gd name="connsiteY405" fmla="*/ 102870 h 101600"/>
                  <a:gd name="connsiteX406" fmla="*/ 383223 w 1400175"/>
                  <a:gd name="connsiteY406" fmla="*/ 79058 h 101600"/>
                  <a:gd name="connsiteX407" fmla="*/ 383223 w 1400175"/>
                  <a:gd name="connsiteY407" fmla="*/ 23178 h 101600"/>
                  <a:gd name="connsiteX408" fmla="*/ 374333 w 1400175"/>
                  <a:gd name="connsiteY408" fmla="*/ 23178 h 101600"/>
                  <a:gd name="connsiteX409" fmla="*/ 373063 w 1400175"/>
                  <a:gd name="connsiteY409" fmla="*/ 30480 h 101600"/>
                  <a:gd name="connsiteX410" fmla="*/ 372428 w 1400175"/>
                  <a:gd name="connsiteY410" fmla="*/ 30480 h 101600"/>
                  <a:gd name="connsiteX411" fmla="*/ 365125 w 1400175"/>
                  <a:gd name="connsiteY411" fmla="*/ 24130 h 101600"/>
                  <a:gd name="connsiteX412" fmla="*/ 355600 w 1400175"/>
                  <a:gd name="connsiteY412" fmla="*/ 22225 h 101600"/>
                  <a:gd name="connsiteX413" fmla="*/ 339725 w 1400175"/>
                  <a:gd name="connsiteY413" fmla="*/ 29845 h 101600"/>
                  <a:gd name="connsiteX414" fmla="*/ 290830 w 1400175"/>
                  <a:gd name="connsiteY414" fmla="*/ 24130 h 101600"/>
                  <a:gd name="connsiteX415" fmla="*/ 283528 w 1400175"/>
                  <a:gd name="connsiteY415" fmla="*/ 30480 h 101600"/>
                  <a:gd name="connsiteX416" fmla="*/ 282892 w 1400175"/>
                  <a:gd name="connsiteY416" fmla="*/ 30480 h 101600"/>
                  <a:gd name="connsiteX417" fmla="*/ 281305 w 1400175"/>
                  <a:gd name="connsiteY417" fmla="*/ 23178 h 101600"/>
                  <a:gd name="connsiteX418" fmla="*/ 272733 w 1400175"/>
                  <a:gd name="connsiteY418" fmla="*/ 23178 h 101600"/>
                  <a:gd name="connsiteX419" fmla="*/ 272733 w 1400175"/>
                  <a:gd name="connsiteY419" fmla="*/ 77788 h 101600"/>
                  <a:gd name="connsiteX420" fmla="*/ 283528 w 1400175"/>
                  <a:gd name="connsiteY420" fmla="*/ 77788 h 101600"/>
                  <a:gd name="connsiteX421" fmla="*/ 283528 w 1400175"/>
                  <a:gd name="connsiteY421" fmla="*/ 50165 h 101600"/>
                  <a:gd name="connsiteX422" fmla="*/ 286703 w 1400175"/>
                  <a:gd name="connsiteY422" fmla="*/ 35878 h 101600"/>
                  <a:gd name="connsiteX423" fmla="*/ 298133 w 1400175"/>
                  <a:gd name="connsiteY423" fmla="*/ 30798 h 101600"/>
                  <a:gd name="connsiteX424" fmla="*/ 309563 w 1400175"/>
                  <a:gd name="connsiteY424" fmla="*/ 43498 h 101600"/>
                  <a:gd name="connsiteX425" fmla="*/ 309563 w 1400175"/>
                  <a:gd name="connsiteY425" fmla="*/ 77788 h 101600"/>
                  <a:gd name="connsiteX426" fmla="*/ 320358 w 1400175"/>
                  <a:gd name="connsiteY426" fmla="*/ 77788 h 101600"/>
                  <a:gd name="connsiteX427" fmla="*/ 320358 w 1400175"/>
                  <a:gd name="connsiteY427" fmla="*/ 42228 h 101600"/>
                  <a:gd name="connsiteX428" fmla="*/ 315278 w 1400175"/>
                  <a:gd name="connsiteY428" fmla="*/ 26988 h 101600"/>
                  <a:gd name="connsiteX429" fmla="*/ 300673 w 1400175"/>
                  <a:gd name="connsiteY429" fmla="*/ 22225 h 101600"/>
                  <a:gd name="connsiteX430" fmla="*/ 290830 w 1400175"/>
                  <a:gd name="connsiteY430" fmla="*/ 24130 h 101600"/>
                  <a:gd name="connsiteX431" fmla="*/ 245428 w 1400175"/>
                  <a:gd name="connsiteY431" fmla="*/ 77788 h 101600"/>
                  <a:gd name="connsiteX432" fmla="*/ 256223 w 1400175"/>
                  <a:gd name="connsiteY432" fmla="*/ 77788 h 101600"/>
                  <a:gd name="connsiteX433" fmla="*/ 256223 w 1400175"/>
                  <a:gd name="connsiteY433" fmla="*/ 23178 h 101600"/>
                  <a:gd name="connsiteX434" fmla="*/ 245428 w 1400175"/>
                  <a:gd name="connsiteY434" fmla="*/ 23178 h 101600"/>
                  <a:gd name="connsiteX435" fmla="*/ 245428 w 1400175"/>
                  <a:gd name="connsiteY435" fmla="*/ 77788 h 101600"/>
                  <a:gd name="connsiteX436" fmla="*/ 246380 w 1400175"/>
                  <a:gd name="connsiteY436" fmla="*/ 3493 h 101600"/>
                  <a:gd name="connsiteX437" fmla="*/ 244475 w 1400175"/>
                  <a:gd name="connsiteY437" fmla="*/ 8255 h 101600"/>
                  <a:gd name="connsiteX438" fmla="*/ 246380 w 1400175"/>
                  <a:gd name="connsiteY438" fmla="*/ 13018 h 101600"/>
                  <a:gd name="connsiteX439" fmla="*/ 250825 w 1400175"/>
                  <a:gd name="connsiteY439" fmla="*/ 14605 h 101600"/>
                  <a:gd name="connsiteX440" fmla="*/ 254953 w 1400175"/>
                  <a:gd name="connsiteY440" fmla="*/ 13018 h 101600"/>
                  <a:gd name="connsiteX441" fmla="*/ 256858 w 1400175"/>
                  <a:gd name="connsiteY441" fmla="*/ 8255 h 101600"/>
                  <a:gd name="connsiteX442" fmla="*/ 254953 w 1400175"/>
                  <a:gd name="connsiteY442" fmla="*/ 3493 h 101600"/>
                  <a:gd name="connsiteX443" fmla="*/ 250825 w 1400175"/>
                  <a:gd name="connsiteY443" fmla="*/ 2223 h 101600"/>
                  <a:gd name="connsiteX444" fmla="*/ 246380 w 1400175"/>
                  <a:gd name="connsiteY444" fmla="*/ 3493 h 101600"/>
                  <a:gd name="connsiteX445" fmla="*/ 193675 w 1400175"/>
                  <a:gd name="connsiteY445" fmla="*/ 65088 h 101600"/>
                  <a:gd name="connsiteX446" fmla="*/ 190183 w 1400175"/>
                  <a:gd name="connsiteY446" fmla="*/ 50800 h 101600"/>
                  <a:gd name="connsiteX447" fmla="*/ 193675 w 1400175"/>
                  <a:gd name="connsiteY447" fmla="*/ 36195 h 101600"/>
                  <a:gd name="connsiteX448" fmla="*/ 203517 w 1400175"/>
                  <a:gd name="connsiteY448" fmla="*/ 30798 h 101600"/>
                  <a:gd name="connsiteX449" fmla="*/ 214948 w 1400175"/>
                  <a:gd name="connsiteY449" fmla="*/ 35878 h 101600"/>
                  <a:gd name="connsiteX450" fmla="*/ 218123 w 1400175"/>
                  <a:gd name="connsiteY450" fmla="*/ 50483 h 101600"/>
                  <a:gd name="connsiteX451" fmla="*/ 218123 w 1400175"/>
                  <a:gd name="connsiteY451" fmla="*/ 52070 h 101600"/>
                  <a:gd name="connsiteX452" fmla="*/ 214948 w 1400175"/>
                  <a:gd name="connsiteY452" fmla="*/ 65405 h 101600"/>
                  <a:gd name="connsiteX453" fmla="*/ 203835 w 1400175"/>
                  <a:gd name="connsiteY453" fmla="*/ 69850 h 101600"/>
                  <a:gd name="connsiteX454" fmla="*/ 193675 w 1400175"/>
                  <a:gd name="connsiteY454" fmla="*/ 65088 h 101600"/>
                  <a:gd name="connsiteX455" fmla="*/ 211455 w 1400175"/>
                  <a:gd name="connsiteY455" fmla="*/ 76518 h 101600"/>
                  <a:gd name="connsiteX456" fmla="*/ 217805 w 1400175"/>
                  <a:gd name="connsiteY456" fmla="*/ 70485 h 101600"/>
                  <a:gd name="connsiteX457" fmla="*/ 218440 w 1400175"/>
                  <a:gd name="connsiteY457" fmla="*/ 70485 h 101600"/>
                  <a:gd name="connsiteX458" fmla="*/ 220345 w 1400175"/>
                  <a:gd name="connsiteY458" fmla="*/ 77788 h 101600"/>
                  <a:gd name="connsiteX459" fmla="*/ 228917 w 1400175"/>
                  <a:gd name="connsiteY459" fmla="*/ 77788 h 101600"/>
                  <a:gd name="connsiteX460" fmla="*/ 228917 w 1400175"/>
                  <a:gd name="connsiteY460" fmla="*/ 635 h 101600"/>
                  <a:gd name="connsiteX461" fmla="*/ 218123 w 1400175"/>
                  <a:gd name="connsiteY461" fmla="*/ 635 h 101600"/>
                  <a:gd name="connsiteX462" fmla="*/ 218123 w 1400175"/>
                  <a:gd name="connsiteY462" fmla="*/ 21273 h 101600"/>
                  <a:gd name="connsiteX463" fmla="*/ 218440 w 1400175"/>
                  <a:gd name="connsiteY463" fmla="*/ 26035 h 101600"/>
                  <a:gd name="connsiteX464" fmla="*/ 219075 w 1400175"/>
                  <a:gd name="connsiteY464" fmla="*/ 30163 h 101600"/>
                  <a:gd name="connsiteX465" fmla="*/ 218440 w 1400175"/>
                  <a:gd name="connsiteY465" fmla="*/ 30163 h 101600"/>
                  <a:gd name="connsiteX466" fmla="*/ 212090 w 1400175"/>
                  <a:gd name="connsiteY466" fmla="*/ 24448 h 101600"/>
                  <a:gd name="connsiteX467" fmla="*/ 201930 w 1400175"/>
                  <a:gd name="connsiteY467" fmla="*/ 22225 h 101600"/>
                  <a:gd name="connsiteX468" fmla="*/ 185738 w 1400175"/>
                  <a:gd name="connsiteY468" fmla="*/ 29528 h 101600"/>
                  <a:gd name="connsiteX469" fmla="*/ 179705 w 1400175"/>
                  <a:gd name="connsiteY469" fmla="*/ 50800 h 101600"/>
                  <a:gd name="connsiteX470" fmla="*/ 185738 w 1400175"/>
                  <a:gd name="connsiteY470" fmla="*/ 72073 h 101600"/>
                  <a:gd name="connsiteX471" fmla="*/ 201613 w 1400175"/>
                  <a:gd name="connsiteY471" fmla="*/ 79058 h 101600"/>
                  <a:gd name="connsiteX472" fmla="*/ 211455 w 1400175"/>
                  <a:gd name="connsiteY472" fmla="*/ 76518 h 101600"/>
                  <a:gd name="connsiteX473" fmla="*/ 165417 w 1400175"/>
                  <a:gd name="connsiteY473" fmla="*/ 635 h 101600"/>
                  <a:gd name="connsiteX474" fmla="*/ 154623 w 1400175"/>
                  <a:gd name="connsiteY474" fmla="*/ 635 h 101600"/>
                  <a:gd name="connsiteX475" fmla="*/ 154623 w 1400175"/>
                  <a:gd name="connsiteY475" fmla="*/ 77788 h 101600"/>
                  <a:gd name="connsiteX476" fmla="*/ 165417 w 1400175"/>
                  <a:gd name="connsiteY476" fmla="*/ 77788 h 101600"/>
                  <a:gd name="connsiteX477" fmla="*/ 165417 w 1400175"/>
                  <a:gd name="connsiteY477" fmla="*/ 635 h 101600"/>
                  <a:gd name="connsiteX478" fmla="*/ 127000 w 1400175"/>
                  <a:gd name="connsiteY478" fmla="*/ 77788 h 101600"/>
                  <a:gd name="connsiteX479" fmla="*/ 137795 w 1400175"/>
                  <a:gd name="connsiteY479" fmla="*/ 77788 h 101600"/>
                  <a:gd name="connsiteX480" fmla="*/ 137795 w 1400175"/>
                  <a:gd name="connsiteY480" fmla="*/ 23178 h 101600"/>
                  <a:gd name="connsiteX481" fmla="*/ 127000 w 1400175"/>
                  <a:gd name="connsiteY481" fmla="*/ 23178 h 101600"/>
                  <a:gd name="connsiteX482" fmla="*/ 127000 w 1400175"/>
                  <a:gd name="connsiteY482" fmla="*/ 77788 h 101600"/>
                  <a:gd name="connsiteX483" fmla="*/ 128270 w 1400175"/>
                  <a:gd name="connsiteY483" fmla="*/ 3493 h 101600"/>
                  <a:gd name="connsiteX484" fmla="*/ 126365 w 1400175"/>
                  <a:gd name="connsiteY484" fmla="*/ 8255 h 101600"/>
                  <a:gd name="connsiteX485" fmla="*/ 128270 w 1400175"/>
                  <a:gd name="connsiteY485" fmla="*/ 13018 h 101600"/>
                  <a:gd name="connsiteX486" fmla="*/ 132715 w 1400175"/>
                  <a:gd name="connsiteY486" fmla="*/ 14605 h 101600"/>
                  <a:gd name="connsiteX487" fmla="*/ 136842 w 1400175"/>
                  <a:gd name="connsiteY487" fmla="*/ 13018 h 101600"/>
                  <a:gd name="connsiteX488" fmla="*/ 138748 w 1400175"/>
                  <a:gd name="connsiteY488" fmla="*/ 8255 h 101600"/>
                  <a:gd name="connsiteX489" fmla="*/ 136842 w 1400175"/>
                  <a:gd name="connsiteY489" fmla="*/ 3493 h 101600"/>
                  <a:gd name="connsiteX490" fmla="*/ 132715 w 1400175"/>
                  <a:gd name="connsiteY490" fmla="*/ 2223 h 101600"/>
                  <a:gd name="connsiteX491" fmla="*/ 128270 w 1400175"/>
                  <a:gd name="connsiteY491" fmla="*/ 3493 h 101600"/>
                  <a:gd name="connsiteX492" fmla="*/ 99378 w 1400175"/>
                  <a:gd name="connsiteY492" fmla="*/ 23178 h 101600"/>
                  <a:gd name="connsiteX493" fmla="*/ 99378 w 1400175"/>
                  <a:gd name="connsiteY493" fmla="*/ 50800 h 101600"/>
                  <a:gd name="connsiteX494" fmla="*/ 96203 w 1400175"/>
                  <a:gd name="connsiteY494" fmla="*/ 65088 h 101600"/>
                  <a:gd name="connsiteX495" fmla="*/ 84455 w 1400175"/>
                  <a:gd name="connsiteY495" fmla="*/ 70168 h 101600"/>
                  <a:gd name="connsiteX496" fmla="*/ 76200 w 1400175"/>
                  <a:gd name="connsiteY496" fmla="*/ 66993 h 101600"/>
                  <a:gd name="connsiteX497" fmla="*/ 73660 w 1400175"/>
                  <a:gd name="connsiteY497" fmla="*/ 57468 h 101600"/>
                  <a:gd name="connsiteX498" fmla="*/ 73660 w 1400175"/>
                  <a:gd name="connsiteY498" fmla="*/ 23178 h 101600"/>
                  <a:gd name="connsiteX499" fmla="*/ 62865 w 1400175"/>
                  <a:gd name="connsiteY499" fmla="*/ 23178 h 101600"/>
                  <a:gd name="connsiteX500" fmla="*/ 62865 w 1400175"/>
                  <a:gd name="connsiteY500" fmla="*/ 59055 h 101600"/>
                  <a:gd name="connsiteX501" fmla="*/ 67945 w 1400175"/>
                  <a:gd name="connsiteY501" fmla="*/ 74295 h 101600"/>
                  <a:gd name="connsiteX502" fmla="*/ 82550 w 1400175"/>
                  <a:gd name="connsiteY502" fmla="*/ 79058 h 101600"/>
                  <a:gd name="connsiteX503" fmla="*/ 92392 w 1400175"/>
                  <a:gd name="connsiteY503" fmla="*/ 77153 h 101600"/>
                  <a:gd name="connsiteX504" fmla="*/ 99695 w 1400175"/>
                  <a:gd name="connsiteY504" fmla="*/ 70803 h 101600"/>
                  <a:gd name="connsiteX505" fmla="*/ 100330 w 1400175"/>
                  <a:gd name="connsiteY505" fmla="*/ 70803 h 101600"/>
                  <a:gd name="connsiteX506" fmla="*/ 101917 w 1400175"/>
                  <a:gd name="connsiteY506" fmla="*/ 78105 h 101600"/>
                  <a:gd name="connsiteX507" fmla="*/ 110490 w 1400175"/>
                  <a:gd name="connsiteY507" fmla="*/ 78105 h 101600"/>
                  <a:gd name="connsiteX508" fmla="*/ 110490 w 1400175"/>
                  <a:gd name="connsiteY508" fmla="*/ 23178 h 101600"/>
                  <a:gd name="connsiteX509" fmla="*/ 99378 w 1400175"/>
                  <a:gd name="connsiteY509" fmla="*/ 23178 h 101600"/>
                  <a:gd name="connsiteX510" fmla="*/ 38417 w 1400175"/>
                  <a:gd name="connsiteY510" fmla="*/ 50165 h 101600"/>
                  <a:gd name="connsiteX511" fmla="*/ 35242 w 1400175"/>
                  <a:gd name="connsiteY511" fmla="*/ 64770 h 101600"/>
                  <a:gd name="connsiteX512" fmla="*/ 25400 w 1400175"/>
                  <a:gd name="connsiteY512" fmla="*/ 69850 h 101600"/>
                  <a:gd name="connsiteX513" fmla="*/ 14288 w 1400175"/>
                  <a:gd name="connsiteY513" fmla="*/ 64770 h 101600"/>
                  <a:gd name="connsiteX514" fmla="*/ 11430 w 1400175"/>
                  <a:gd name="connsiteY514" fmla="*/ 50165 h 101600"/>
                  <a:gd name="connsiteX515" fmla="*/ 11430 w 1400175"/>
                  <a:gd name="connsiteY515" fmla="*/ 49213 h 101600"/>
                  <a:gd name="connsiteX516" fmla="*/ 14605 w 1400175"/>
                  <a:gd name="connsiteY516" fmla="*/ 34925 h 101600"/>
                  <a:gd name="connsiteX517" fmla="*/ 25400 w 1400175"/>
                  <a:gd name="connsiteY517" fmla="*/ 30163 h 101600"/>
                  <a:gd name="connsiteX518" fmla="*/ 38417 w 1400175"/>
                  <a:gd name="connsiteY518" fmla="*/ 50165 h 101600"/>
                  <a:gd name="connsiteX519" fmla="*/ 0 w 1400175"/>
                  <a:gd name="connsiteY519" fmla="*/ 635 h 101600"/>
                  <a:gd name="connsiteX520" fmla="*/ 0 w 1400175"/>
                  <a:gd name="connsiteY520" fmla="*/ 77788 h 101600"/>
                  <a:gd name="connsiteX521" fmla="*/ 7938 w 1400175"/>
                  <a:gd name="connsiteY521" fmla="*/ 77788 h 101600"/>
                  <a:gd name="connsiteX522" fmla="*/ 9842 w 1400175"/>
                  <a:gd name="connsiteY522" fmla="*/ 71120 h 101600"/>
                  <a:gd name="connsiteX523" fmla="*/ 10795 w 1400175"/>
                  <a:gd name="connsiteY523" fmla="*/ 71120 h 101600"/>
                  <a:gd name="connsiteX524" fmla="*/ 17145 w 1400175"/>
                  <a:gd name="connsiteY524" fmla="*/ 76518 h 101600"/>
                  <a:gd name="connsiteX525" fmla="*/ 27305 w 1400175"/>
                  <a:gd name="connsiteY525" fmla="*/ 78740 h 101600"/>
                  <a:gd name="connsiteX526" fmla="*/ 43180 w 1400175"/>
                  <a:gd name="connsiteY526" fmla="*/ 71438 h 101600"/>
                  <a:gd name="connsiteX527" fmla="*/ 49213 w 1400175"/>
                  <a:gd name="connsiteY527" fmla="*/ 50165 h 101600"/>
                  <a:gd name="connsiteX528" fmla="*/ 43180 w 1400175"/>
                  <a:gd name="connsiteY528" fmla="*/ 28893 h 101600"/>
                  <a:gd name="connsiteX529" fmla="*/ 27305 w 1400175"/>
                  <a:gd name="connsiteY529" fmla="*/ 21908 h 101600"/>
                  <a:gd name="connsiteX530" fmla="*/ 17145 w 1400175"/>
                  <a:gd name="connsiteY530" fmla="*/ 24130 h 101600"/>
                  <a:gd name="connsiteX531" fmla="*/ 10795 w 1400175"/>
                  <a:gd name="connsiteY531" fmla="*/ 29845 h 101600"/>
                  <a:gd name="connsiteX532" fmla="*/ 10160 w 1400175"/>
                  <a:gd name="connsiteY532" fmla="*/ 29845 h 101600"/>
                  <a:gd name="connsiteX533" fmla="*/ 10478 w 1400175"/>
                  <a:gd name="connsiteY533" fmla="*/ 25083 h 101600"/>
                  <a:gd name="connsiteX534" fmla="*/ 10478 w 1400175"/>
                  <a:gd name="connsiteY534" fmla="*/ 18733 h 101600"/>
                  <a:gd name="connsiteX535" fmla="*/ 10478 w 1400175"/>
                  <a:gd name="connsiteY535" fmla="*/ 0 h 101600"/>
                  <a:gd name="connsiteX536" fmla="*/ 0 w 1400175"/>
                  <a:gd name="connsiteY536" fmla="*/ 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1400175" h="101600">
                    <a:moveTo>
                      <a:pt x="1388427" y="34290"/>
                    </a:moveTo>
                    <a:cubicBezTo>
                      <a:pt x="1390333" y="36830"/>
                      <a:pt x="1391602" y="40323"/>
                      <a:pt x="1391602" y="44768"/>
                    </a:cubicBezTo>
                    <a:lnTo>
                      <a:pt x="1365885" y="44768"/>
                    </a:lnTo>
                    <a:cubicBezTo>
                      <a:pt x="1366202" y="40005"/>
                      <a:pt x="1367790" y="36513"/>
                      <a:pt x="1370013" y="33973"/>
                    </a:cubicBezTo>
                    <a:cubicBezTo>
                      <a:pt x="1372235" y="31433"/>
                      <a:pt x="1375410" y="30163"/>
                      <a:pt x="1379220" y="30163"/>
                    </a:cubicBezTo>
                    <a:cubicBezTo>
                      <a:pt x="1383348" y="30480"/>
                      <a:pt x="1386523" y="31750"/>
                      <a:pt x="1388427" y="34290"/>
                    </a:cubicBezTo>
                    <a:moveTo>
                      <a:pt x="1366202" y="25400"/>
                    </a:moveTo>
                    <a:cubicBezTo>
                      <a:pt x="1362392" y="27623"/>
                      <a:pt x="1359535" y="30798"/>
                      <a:pt x="1357630" y="35243"/>
                    </a:cubicBezTo>
                    <a:cubicBezTo>
                      <a:pt x="1355408" y="39370"/>
                      <a:pt x="1354455" y="44768"/>
                      <a:pt x="1354455" y="50800"/>
                    </a:cubicBezTo>
                    <a:cubicBezTo>
                      <a:pt x="1354455" y="56833"/>
                      <a:pt x="1355725" y="62230"/>
                      <a:pt x="1357948" y="66358"/>
                    </a:cubicBezTo>
                    <a:cubicBezTo>
                      <a:pt x="1360170" y="70485"/>
                      <a:pt x="1363345" y="73660"/>
                      <a:pt x="1367473" y="75565"/>
                    </a:cubicBezTo>
                    <a:cubicBezTo>
                      <a:pt x="1371600" y="77788"/>
                      <a:pt x="1376363" y="78740"/>
                      <a:pt x="1381442" y="78740"/>
                    </a:cubicBezTo>
                    <a:cubicBezTo>
                      <a:pt x="1385252" y="78740"/>
                      <a:pt x="1388745" y="78423"/>
                      <a:pt x="1391285" y="77788"/>
                    </a:cubicBezTo>
                    <a:cubicBezTo>
                      <a:pt x="1393825" y="77153"/>
                      <a:pt x="1396683" y="76200"/>
                      <a:pt x="1399540" y="74930"/>
                    </a:cubicBezTo>
                    <a:lnTo>
                      <a:pt x="1399540" y="66040"/>
                    </a:lnTo>
                    <a:cubicBezTo>
                      <a:pt x="1396683" y="67310"/>
                      <a:pt x="1393825" y="68263"/>
                      <a:pt x="1390967" y="68898"/>
                    </a:cubicBezTo>
                    <a:cubicBezTo>
                      <a:pt x="1388110" y="69533"/>
                      <a:pt x="1384935" y="69850"/>
                      <a:pt x="1381442" y="69850"/>
                    </a:cubicBezTo>
                    <a:cubicBezTo>
                      <a:pt x="1376363" y="69850"/>
                      <a:pt x="1372552" y="68263"/>
                      <a:pt x="1369695" y="65405"/>
                    </a:cubicBezTo>
                    <a:cubicBezTo>
                      <a:pt x="1366838" y="62548"/>
                      <a:pt x="1365567" y="58103"/>
                      <a:pt x="1365250" y="52388"/>
                    </a:cubicBezTo>
                    <a:lnTo>
                      <a:pt x="1402080" y="52388"/>
                    </a:lnTo>
                    <a:lnTo>
                      <a:pt x="1402080" y="46355"/>
                    </a:lnTo>
                    <a:cubicBezTo>
                      <a:pt x="1402080" y="38735"/>
                      <a:pt x="1399858" y="32703"/>
                      <a:pt x="1395730" y="28258"/>
                    </a:cubicBezTo>
                    <a:cubicBezTo>
                      <a:pt x="1391602" y="23813"/>
                      <a:pt x="1385888" y="21590"/>
                      <a:pt x="1378902" y="21590"/>
                    </a:cubicBezTo>
                    <a:cubicBezTo>
                      <a:pt x="1374140" y="21908"/>
                      <a:pt x="1370013" y="23178"/>
                      <a:pt x="1366202" y="25400"/>
                    </a:cubicBezTo>
                    <a:moveTo>
                      <a:pt x="1311592" y="24130"/>
                    </a:moveTo>
                    <a:cubicBezTo>
                      <a:pt x="1308417" y="25400"/>
                      <a:pt x="1306195" y="27623"/>
                      <a:pt x="1304290" y="30480"/>
                    </a:cubicBezTo>
                    <a:lnTo>
                      <a:pt x="1303655" y="30480"/>
                    </a:lnTo>
                    <a:lnTo>
                      <a:pt x="1302067" y="23178"/>
                    </a:lnTo>
                    <a:lnTo>
                      <a:pt x="1293495" y="23178"/>
                    </a:lnTo>
                    <a:lnTo>
                      <a:pt x="1293495" y="77788"/>
                    </a:lnTo>
                    <a:lnTo>
                      <a:pt x="1304290" y="77788"/>
                    </a:lnTo>
                    <a:lnTo>
                      <a:pt x="1304290" y="50165"/>
                    </a:lnTo>
                    <a:cubicBezTo>
                      <a:pt x="1304290" y="43815"/>
                      <a:pt x="1305242" y="39053"/>
                      <a:pt x="1307465" y="35878"/>
                    </a:cubicBezTo>
                    <a:cubicBezTo>
                      <a:pt x="1309688" y="32703"/>
                      <a:pt x="1313498" y="30798"/>
                      <a:pt x="1318895" y="30798"/>
                    </a:cubicBezTo>
                    <a:cubicBezTo>
                      <a:pt x="1326515" y="30798"/>
                      <a:pt x="1330325" y="34925"/>
                      <a:pt x="1330325" y="43498"/>
                    </a:cubicBezTo>
                    <a:lnTo>
                      <a:pt x="1330325" y="77788"/>
                    </a:lnTo>
                    <a:lnTo>
                      <a:pt x="1341120" y="77788"/>
                    </a:lnTo>
                    <a:lnTo>
                      <a:pt x="1341120" y="42228"/>
                    </a:lnTo>
                    <a:cubicBezTo>
                      <a:pt x="1341120" y="35243"/>
                      <a:pt x="1339533" y="30163"/>
                      <a:pt x="1336040" y="26988"/>
                    </a:cubicBezTo>
                    <a:cubicBezTo>
                      <a:pt x="1332548" y="23813"/>
                      <a:pt x="1327785" y="22225"/>
                      <a:pt x="1321435" y="22225"/>
                    </a:cubicBezTo>
                    <a:cubicBezTo>
                      <a:pt x="1317942" y="21908"/>
                      <a:pt x="1314767" y="22860"/>
                      <a:pt x="1311592" y="24130"/>
                    </a:cubicBezTo>
                    <a:moveTo>
                      <a:pt x="1266190" y="77788"/>
                    </a:moveTo>
                    <a:lnTo>
                      <a:pt x="1276985" y="77788"/>
                    </a:lnTo>
                    <a:lnTo>
                      <a:pt x="1276985" y="23178"/>
                    </a:lnTo>
                    <a:lnTo>
                      <a:pt x="1266190" y="23178"/>
                    </a:lnTo>
                    <a:lnTo>
                      <a:pt x="1266190" y="77788"/>
                    </a:lnTo>
                    <a:close/>
                    <a:moveTo>
                      <a:pt x="1267142" y="3493"/>
                    </a:moveTo>
                    <a:cubicBezTo>
                      <a:pt x="1265873" y="4445"/>
                      <a:pt x="1265238" y="6033"/>
                      <a:pt x="1265238" y="8255"/>
                    </a:cubicBezTo>
                    <a:cubicBezTo>
                      <a:pt x="1265238" y="10478"/>
                      <a:pt x="1265873" y="12065"/>
                      <a:pt x="1267142" y="13018"/>
                    </a:cubicBezTo>
                    <a:cubicBezTo>
                      <a:pt x="1268413" y="13970"/>
                      <a:pt x="1269683" y="14605"/>
                      <a:pt x="1271588" y="14605"/>
                    </a:cubicBezTo>
                    <a:cubicBezTo>
                      <a:pt x="1273175" y="14605"/>
                      <a:pt x="1274763" y="13970"/>
                      <a:pt x="1275715" y="13018"/>
                    </a:cubicBezTo>
                    <a:cubicBezTo>
                      <a:pt x="1276667" y="12065"/>
                      <a:pt x="1277620" y="10478"/>
                      <a:pt x="1277620" y="8255"/>
                    </a:cubicBezTo>
                    <a:cubicBezTo>
                      <a:pt x="1277620" y="6033"/>
                      <a:pt x="1276985" y="4445"/>
                      <a:pt x="1275715" y="3493"/>
                    </a:cubicBezTo>
                    <a:cubicBezTo>
                      <a:pt x="1274445" y="2540"/>
                      <a:pt x="1273175" y="2223"/>
                      <a:pt x="1271588" y="2223"/>
                    </a:cubicBezTo>
                    <a:cubicBezTo>
                      <a:pt x="1270000" y="2223"/>
                      <a:pt x="1268413" y="2540"/>
                      <a:pt x="1267142" y="3493"/>
                    </a:cubicBezTo>
                    <a:moveTo>
                      <a:pt x="1249045" y="635"/>
                    </a:moveTo>
                    <a:lnTo>
                      <a:pt x="1238250" y="635"/>
                    </a:lnTo>
                    <a:lnTo>
                      <a:pt x="1238250" y="77788"/>
                    </a:lnTo>
                    <a:lnTo>
                      <a:pt x="1249045" y="77788"/>
                    </a:lnTo>
                    <a:lnTo>
                      <a:pt x="1249045" y="635"/>
                    </a:lnTo>
                    <a:close/>
                    <a:moveTo>
                      <a:pt x="1211263" y="34290"/>
                    </a:moveTo>
                    <a:cubicBezTo>
                      <a:pt x="1213167" y="36830"/>
                      <a:pt x="1214438" y="40323"/>
                      <a:pt x="1214438" y="44768"/>
                    </a:cubicBezTo>
                    <a:lnTo>
                      <a:pt x="1188720" y="44768"/>
                    </a:lnTo>
                    <a:cubicBezTo>
                      <a:pt x="1189038" y="40005"/>
                      <a:pt x="1190625" y="36513"/>
                      <a:pt x="1192848" y="33973"/>
                    </a:cubicBezTo>
                    <a:cubicBezTo>
                      <a:pt x="1195070" y="31433"/>
                      <a:pt x="1198245" y="30163"/>
                      <a:pt x="1202055" y="30163"/>
                    </a:cubicBezTo>
                    <a:cubicBezTo>
                      <a:pt x="1206183" y="30480"/>
                      <a:pt x="1209040" y="31750"/>
                      <a:pt x="1211263" y="34290"/>
                    </a:cubicBezTo>
                    <a:moveTo>
                      <a:pt x="1189038" y="25400"/>
                    </a:moveTo>
                    <a:cubicBezTo>
                      <a:pt x="1185227" y="27623"/>
                      <a:pt x="1182370" y="30798"/>
                      <a:pt x="1180465" y="35243"/>
                    </a:cubicBezTo>
                    <a:cubicBezTo>
                      <a:pt x="1178560" y="39370"/>
                      <a:pt x="1177290" y="44768"/>
                      <a:pt x="1177290" y="50800"/>
                    </a:cubicBezTo>
                    <a:cubicBezTo>
                      <a:pt x="1177290" y="56833"/>
                      <a:pt x="1178560" y="62230"/>
                      <a:pt x="1180783" y="66358"/>
                    </a:cubicBezTo>
                    <a:cubicBezTo>
                      <a:pt x="1183005" y="70485"/>
                      <a:pt x="1186180" y="73660"/>
                      <a:pt x="1190308" y="75565"/>
                    </a:cubicBezTo>
                    <a:cubicBezTo>
                      <a:pt x="1194435" y="77788"/>
                      <a:pt x="1199198" y="78740"/>
                      <a:pt x="1204277" y="78740"/>
                    </a:cubicBezTo>
                    <a:cubicBezTo>
                      <a:pt x="1208088" y="78740"/>
                      <a:pt x="1211580" y="78423"/>
                      <a:pt x="1214120" y="77788"/>
                    </a:cubicBezTo>
                    <a:cubicBezTo>
                      <a:pt x="1216977" y="77153"/>
                      <a:pt x="1219835" y="76200"/>
                      <a:pt x="1222375" y="74930"/>
                    </a:cubicBezTo>
                    <a:lnTo>
                      <a:pt x="1222375" y="66040"/>
                    </a:lnTo>
                    <a:cubicBezTo>
                      <a:pt x="1219517" y="67310"/>
                      <a:pt x="1216660" y="68263"/>
                      <a:pt x="1213802" y="68898"/>
                    </a:cubicBezTo>
                    <a:cubicBezTo>
                      <a:pt x="1210945" y="69533"/>
                      <a:pt x="1208088" y="69850"/>
                      <a:pt x="1204277" y="69850"/>
                    </a:cubicBezTo>
                    <a:cubicBezTo>
                      <a:pt x="1199198" y="69850"/>
                      <a:pt x="1195388" y="68263"/>
                      <a:pt x="1192530" y="65405"/>
                    </a:cubicBezTo>
                    <a:cubicBezTo>
                      <a:pt x="1189673" y="62548"/>
                      <a:pt x="1188402" y="58103"/>
                      <a:pt x="1188085" y="52388"/>
                    </a:cubicBezTo>
                    <a:lnTo>
                      <a:pt x="1224915" y="52388"/>
                    </a:lnTo>
                    <a:lnTo>
                      <a:pt x="1224915" y="46355"/>
                    </a:lnTo>
                    <a:cubicBezTo>
                      <a:pt x="1224915" y="38735"/>
                      <a:pt x="1223010" y="32703"/>
                      <a:pt x="1218565" y="28258"/>
                    </a:cubicBezTo>
                    <a:cubicBezTo>
                      <a:pt x="1214438" y="23813"/>
                      <a:pt x="1208723" y="21590"/>
                      <a:pt x="1201738" y="21590"/>
                    </a:cubicBezTo>
                    <a:cubicBezTo>
                      <a:pt x="1196975" y="21908"/>
                      <a:pt x="1192530" y="23178"/>
                      <a:pt x="1189038" y="25400"/>
                    </a:cubicBezTo>
                    <a:moveTo>
                      <a:pt x="1152208" y="36195"/>
                    </a:moveTo>
                    <a:cubicBezTo>
                      <a:pt x="1154430" y="39688"/>
                      <a:pt x="1155383" y="44450"/>
                      <a:pt x="1155383" y="50165"/>
                    </a:cubicBezTo>
                    <a:cubicBezTo>
                      <a:pt x="1155383" y="56198"/>
                      <a:pt x="1154430" y="60960"/>
                      <a:pt x="1152208" y="64453"/>
                    </a:cubicBezTo>
                    <a:cubicBezTo>
                      <a:pt x="1149985" y="68263"/>
                      <a:pt x="1146810" y="69850"/>
                      <a:pt x="1142365" y="69850"/>
                    </a:cubicBezTo>
                    <a:cubicBezTo>
                      <a:pt x="1136967" y="69850"/>
                      <a:pt x="1133158" y="68263"/>
                      <a:pt x="1131252" y="64770"/>
                    </a:cubicBezTo>
                    <a:cubicBezTo>
                      <a:pt x="1129348" y="61278"/>
                      <a:pt x="1128077" y="56515"/>
                      <a:pt x="1128077" y="50165"/>
                    </a:cubicBezTo>
                    <a:lnTo>
                      <a:pt x="1128077" y="48578"/>
                    </a:lnTo>
                    <a:cubicBezTo>
                      <a:pt x="1128077" y="42545"/>
                      <a:pt x="1129348" y="38100"/>
                      <a:pt x="1131252" y="35243"/>
                    </a:cubicBezTo>
                    <a:cubicBezTo>
                      <a:pt x="1133475" y="32385"/>
                      <a:pt x="1136967" y="30798"/>
                      <a:pt x="1142048" y="30798"/>
                    </a:cubicBezTo>
                    <a:cubicBezTo>
                      <a:pt x="1146492" y="30798"/>
                      <a:pt x="1149985" y="32703"/>
                      <a:pt x="1152208" y="36195"/>
                    </a:cubicBezTo>
                    <a:moveTo>
                      <a:pt x="1134427" y="24448"/>
                    </a:moveTo>
                    <a:cubicBezTo>
                      <a:pt x="1131888" y="26035"/>
                      <a:pt x="1129665" y="27940"/>
                      <a:pt x="1128077" y="30480"/>
                    </a:cubicBezTo>
                    <a:lnTo>
                      <a:pt x="1127442" y="30480"/>
                    </a:lnTo>
                    <a:lnTo>
                      <a:pt x="1125855" y="23178"/>
                    </a:lnTo>
                    <a:lnTo>
                      <a:pt x="1116965" y="23178"/>
                    </a:lnTo>
                    <a:lnTo>
                      <a:pt x="1116965" y="102235"/>
                    </a:lnTo>
                    <a:lnTo>
                      <a:pt x="1127760" y="102235"/>
                    </a:lnTo>
                    <a:lnTo>
                      <a:pt x="1127760" y="80010"/>
                    </a:lnTo>
                    <a:cubicBezTo>
                      <a:pt x="1127760" y="78740"/>
                      <a:pt x="1127760" y="77153"/>
                      <a:pt x="1127442" y="75565"/>
                    </a:cubicBezTo>
                    <a:cubicBezTo>
                      <a:pt x="1127125" y="73978"/>
                      <a:pt x="1127125" y="72390"/>
                      <a:pt x="1127125" y="71120"/>
                    </a:cubicBezTo>
                    <a:lnTo>
                      <a:pt x="1127760" y="71120"/>
                    </a:lnTo>
                    <a:cubicBezTo>
                      <a:pt x="1129348" y="73343"/>
                      <a:pt x="1131570" y="74930"/>
                      <a:pt x="1134110" y="76518"/>
                    </a:cubicBezTo>
                    <a:cubicBezTo>
                      <a:pt x="1136650" y="78105"/>
                      <a:pt x="1140142" y="78740"/>
                      <a:pt x="1144270" y="78740"/>
                    </a:cubicBezTo>
                    <a:cubicBezTo>
                      <a:pt x="1150938" y="78740"/>
                      <a:pt x="1156017" y="76200"/>
                      <a:pt x="1160145" y="71438"/>
                    </a:cubicBezTo>
                    <a:cubicBezTo>
                      <a:pt x="1164273" y="66675"/>
                      <a:pt x="1166177" y="59690"/>
                      <a:pt x="1166177" y="50165"/>
                    </a:cubicBezTo>
                    <a:cubicBezTo>
                      <a:pt x="1166177" y="40640"/>
                      <a:pt x="1164273" y="33655"/>
                      <a:pt x="1160145" y="28893"/>
                    </a:cubicBezTo>
                    <a:cubicBezTo>
                      <a:pt x="1156017" y="24130"/>
                      <a:pt x="1150938" y="21908"/>
                      <a:pt x="1144270" y="21908"/>
                    </a:cubicBezTo>
                    <a:cubicBezTo>
                      <a:pt x="1140460" y="21908"/>
                      <a:pt x="1136967" y="22860"/>
                      <a:pt x="1134427" y="24448"/>
                    </a:cubicBezTo>
                    <a:moveTo>
                      <a:pt x="1089660" y="77788"/>
                    </a:moveTo>
                    <a:lnTo>
                      <a:pt x="1100455" y="77788"/>
                    </a:lnTo>
                    <a:lnTo>
                      <a:pt x="1100455" y="23178"/>
                    </a:lnTo>
                    <a:lnTo>
                      <a:pt x="1089660" y="23178"/>
                    </a:lnTo>
                    <a:lnTo>
                      <a:pt x="1089660" y="77788"/>
                    </a:lnTo>
                    <a:close/>
                    <a:moveTo>
                      <a:pt x="1090930" y="3493"/>
                    </a:moveTo>
                    <a:cubicBezTo>
                      <a:pt x="1089660" y="4445"/>
                      <a:pt x="1089025" y="6033"/>
                      <a:pt x="1089025" y="8255"/>
                    </a:cubicBezTo>
                    <a:cubicBezTo>
                      <a:pt x="1089025" y="10478"/>
                      <a:pt x="1089660" y="12065"/>
                      <a:pt x="1090930" y="13018"/>
                    </a:cubicBezTo>
                    <a:cubicBezTo>
                      <a:pt x="1092200" y="13970"/>
                      <a:pt x="1093470" y="14605"/>
                      <a:pt x="1095375" y="14605"/>
                    </a:cubicBezTo>
                    <a:cubicBezTo>
                      <a:pt x="1096963" y="14605"/>
                      <a:pt x="1098550" y="13970"/>
                      <a:pt x="1099502" y="13018"/>
                    </a:cubicBezTo>
                    <a:cubicBezTo>
                      <a:pt x="1100455" y="12065"/>
                      <a:pt x="1101408" y="10478"/>
                      <a:pt x="1101408" y="8255"/>
                    </a:cubicBezTo>
                    <a:cubicBezTo>
                      <a:pt x="1101408" y="6033"/>
                      <a:pt x="1100773" y="4445"/>
                      <a:pt x="1099502" y="3493"/>
                    </a:cubicBezTo>
                    <a:cubicBezTo>
                      <a:pt x="1098233" y="2540"/>
                      <a:pt x="1096963" y="2223"/>
                      <a:pt x="1095375" y="2223"/>
                    </a:cubicBezTo>
                    <a:cubicBezTo>
                      <a:pt x="1093470" y="2223"/>
                      <a:pt x="1091883" y="2540"/>
                      <a:pt x="1090930" y="3493"/>
                    </a:cubicBezTo>
                    <a:moveTo>
                      <a:pt x="1061720" y="36195"/>
                    </a:moveTo>
                    <a:cubicBezTo>
                      <a:pt x="1063942" y="39688"/>
                      <a:pt x="1064895" y="44450"/>
                      <a:pt x="1064895" y="50165"/>
                    </a:cubicBezTo>
                    <a:cubicBezTo>
                      <a:pt x="1064895" y="56198"/>
                      <a:pt x="1063942" y="60960"/>
                      <a:pt x="1061720" y="64453"/>
                    </a:cubicBezTo>
                    <a:cubicBezTo>
                      <a:pt x="1059498" y="68263"/>
                      <a:pt x="1056323" y="69850"/>
                      <a:pt x="1051877" y="69850"/>
                    </a:cubicBezTo>
                    <a:cubicBezTo>
                      <a:pt x="1046480" y="69850"/>
                      <a:pt x="1042670" y="68263"/>
                      <a:pt x="1040765" y="64770"/>
                    </a:cubicBezTo>
                    <a:cubicBezTo>
                      <a:pt x="1038860" y="61278"/>
                      <a:pt x="1037590" y="56515"/>
                      <a:pt x="1037590" y="50165"/>
                    </a:cubicBezTo>
                    <a:lnTo>
                      <a:pt x="1037590" y="48578"/>
                    </a:lnTo>
                    <a:cubicBezTo>
                      <a:pt x="1037590" y="42545"/>
                      <a:pt x="1038860" y="38100"/>
                      <a:pt x="1040765" y="35243"/>
                    </a:cubicBezTo>
                    <a:cubicBezTo>
                      <a:pt x="1042988" y="32385"/>
                      <a:pt x="1046480" y="30798"/>
                      <a:pt x="1051560" y="30798"/>
                    </a:cubicBezTo>
                    <a:cubicBezTo>
                      <a:pt x="1056005" y="30798"/>
                      <a:pt x="1059498" y="32703"/>
                      <a:pt x="1061720" y="36195"/>
                    </a:cubicBezTo>
                    <a:moveTo>
                      <a:pt x="1043623" y="24448"/>
                    </a:moveTo>
                    <a:cubicBezTo>
                      <a:pt x="1041083" y="26035"/>
                      <a:pt x="1038860" y="27940"/>
                      <a:pt x="1037273" y="30480"/>
                    </a:cubicBezTo>
                    <a:lnTo>
                      <a:pt x="1036638" y="30480"/>
                    </a:lnTo>
                    <a:lnTo>
                      <a:pt x="1035050" y="23178"/>
                    </a:lnTo>
                    <a:lnTo>
                      <a:pt x="1026160" y="23178"/>
                    </a:lnTo>
                    <a:lnTo>
                      <a:pt x="1026160" y="102235"/>
                    </a:lnTo>
                    <a:lnTo>
                      <a:pt x="1036955" y="102235"/>
                    </a:lnTo>
                    <a:lnTo>
                      <a:pt x="1036955" y="80010"/>
                    </a:lnTo>
                    <a:cubicBezTo>
                      <a:pt x="1036955" y="78740"/>
                      <a:pt x="1036955" y="77153"/>
                      <a:pt x="1036638" y="75565"/>
                    </a:cubicBezTo>
                    <a:cubicBezTo>
                      <a:pt x="1036320" y="73978"/>
                      <a:pt x="1036320" y="72390"/>
                      <a:pt x="1036320" y="71120"/>
                    </a:cubicBezTo>
                    <a:lnTo>
                      <a:pt x="1036955" y="71120"/>
                    </a:lnTo>
                    <a:cubicBezTo>
                      <a:pt x="1038542" y="73343"/>
                      <a:pt x="1040765" y="74930"/>
                      <a:pt x="1043305" y="76518"/>
                    </a:cubicBezTo>
                    <a:cubicBezTo>
                      <a:pt x="1045845" y="78105"/>
                      <a:pt x="1049338" y="78740"/>
                      <a:pt x="1053465" y="78740"/>
                    </a:cubicBezTo>
                    <a:cubicBezTo>
                      <a:pt x="1060133" y="78740"/>
                      <a:pt x="1065213" y="76200"/>
                      <a:pt x="1069340" y="71438"/>
                    </a:cubicBezTo>
                    <a:cubicBezTo>
                      <a:pt x="1073467" y="66675"/>
                      <a:pt x="1075373" y="59690"/>
                      <a:pt x="1075373" y="50165"/>
                    </a:cubicBezTo>
                    <a:cubicBezTo>
                      <a:pt x="1075373" y="40640"/>
                      <a:pt x="1073467" y="33655"/>
                      <a:pt x="1069340" y="28893"/>
                    </a:cubicBezTo>
                    <a:cubicBezTo>
                      <a:pt x="1065213" y="24130"/>
                      <a:pt x="1060133" y="21908"/>
                      <a:pt x="1053465" y="21908"/>
                    </a:cubicBezTo>
                    <a:cubicBezTo>
                      <a:pt x="1049655" y="21908"/>
                      <a:pt x="1046163" y="22860"/>
                      <a:pt x="1043623" y="24448"/>
                    </a:cubicBezTo>
                    <a:moveTo>
                      <a:pt x="973138" y="34290"/>
                    </a:moveTo>
                    <a:cubicBezTo>
                      <a:pt x="975042" y="36830"/>
                      <a:pt x="976313" y="40323"/>
                      <a:pt x="976313" y="44768"/>
                    </a:cubicBezTo>
                    <a:lnTo>
                      <a:pt x="950595" y="44768"/>
                    </a:lnTo>
                    <a:cubicBezTo>
                      <a:pt x="950913" y="40005"/>
                      <a:pt x="952500" y="36513"/>
                      <a:pt x="954723" y="33973"/>
                    </a:cubicBezTo>
                    <a:cubicBezTo>
                      <a:pt x="956945" y="31433"/>
                      <a:pt x="960120" y="30163"/>
                      <a:pt x="963930" y="30163"/>
                    </a:cubicBezTo>
                    <a:cubicBezTo>
                      <a:pt x="967740" y="30480"/>
                      <a:pt x="970915" y="31750"/>
                      <a:pt x="973138" y="34290"/>
                    </a:cubicBezTo>
                    <a:moveTo>
                      <a:pt x="950595" y="25400"/>
                    </a:moveTo>
                    <a:cubicBezTo>
                      <a:pt x="946785" y="27623"/>
                      <a:pt x="943927" y="30798"/>
                      <a:pt x="942023" y="35243"/>
                    </a:cubicBezTo>
                    <a:cubicBezTo>
                      <a:pt x="939800" y="39370"/>
                      <a:pt x="938848" y="44768"/>
                      <a:pt x="938848" y="50800"/>
                    </a:cubicBezTo>
                    <a:cubicBezTo>
                      <a:pt x="938848" y="56833"/>
                      <a:pt x="940117" y="62230"/>
                      <a:pt x="942340" y="66358"/>
                    </a:cubicBezTo>
                    <a:cubicBezTo>
                      <a:pt x="944563" y="70485"/>
                      <a:pt x="947738" y="73660"/>
                      <a:pt x="951865" y="75565"/>
                    </a:cubicBezTo>
                    <a:cubicBezTo>
                      <a:pt x="955992" y="77788"/>
                      <a:pt x="960755" y="78740"/>
                      <a:pt x="965835" y="78740"/>
                    </a:cubicBezTo>
                    <a:cubicBezTo>
                      <a:pt x="969645" y="78740"/>
                      <a:pt x="973138" y="78423"/>
                      <a:pt x="975677" y="77788"/>
                    </a:cubicBezTo>
                    <a:cubicBezTo>
                      <a:pt x="978535" y="77153"/>
                      <a:pt x="981075" y="76200"/>
                      <a:pt x="983933" y="74930"/>
                    </a:cubicBezTo>
                    <a:lnTo>
                      <a:pt x="983933" y="66040"/>
                    </a:lnTo>
                    <a:cubicBezTo>
                      <a:pt x="981075" y="67310"/>
                      <a:pt x="978217" y="68263"/>
                      <a:pt x="975360" y="68898"/>
                    </a:cubicBezTo>
                    <a:cubicBezTo>
                      <a:pt x="972502" y="69533"/>
                      <a:pt x="969327" y="69850"/>
                      <a:pt x="965835" y="69850"/>
                    </a:cubicBezTo>
                    <a:cubicBezTo>
                      <a:pt x="960755" y="69850"/>
                      <a:pt x="956945" y="68263"/>
                      <a:pt x="954088" y="65405"/>
                    </a:cubicBezTo>
                    <a:cubicBezTo>
                      <a:pt x="951230" y="62548"/>
                      <a:pt x="949642" y="58103"/>
                      <a:pt x="949642" y="52388"/>
                    </a:cubicBezTo>
                    <a:lnTo>
                      <a:pt x="986473" y="52388"/>
                    </a:lnTo>
                    <a:lnTo>
                      <a:pt x="986473" y="46355"/>
                    </a:lnTo>
                    <a:cubicBezTo>
                      <a:pt x="986473" y="38735"/>
                      <a:pt x="984250" y="32703"/>
                      <a:pt x="980123" y="28258"/>
                    </a:cubicBezTo>
                    <a:cubicBezTo>
                      <a:pt x="975995" y="23813"/>
                      <a:pt x="970280" y="21590"/>
                      <a:pt x="963295" y="21590"/>
                    </a:cubicBezTo>
                    <a:cubicBezTo>
                      <a:pt x="958850" y="21908"/>
                      <a:pt x="954405" y="23178"/>
                      <a:pt x="950595" y="25400"/>
                    </a:cubicBezTo>
                    <a:moveTo>
                      <a:pt x="912813" y="77788"/>
                    </a:moveTo>
                    <a:lnTo>
                      <a:pt x="933767" y="23178"/>
                    </a:lnTo>
                    <a:lnTo>
                      <a:pt x="922338" y="23178"/>
                    </a:lnTo>
                    <a:lnTo>
                      <a:pt x="910908" y="55245"/>
                    </a:lnTo>
                    <a:cubicBezTo>
                      <a:pt x="910273" y="57468"/>
                      <a:pt x="909638" y="59690"/>
                      <a:pt x="908685" y="62230"/>
                    </a:cubicBezTo>
                    <a:cubicBezTo>
                      <a:pt x="907733" y="64770"/>
                      <a:pt x="907415" y="66993"/>
                      <a:pt x="907098" y="68580"/>
                    </a:cubicBezTo>
                    <a:lnTo>
                      <a:pt x="906780" y="68580"/>
                    </a:lnTo>
                    <a:cubicBezTo>
                      <a:pt x="906463" y="66993"/>
                      <a:pt x="906145" y="64770"/>
                      <a:pt x="905192" y="62230"/>
                    </a:cubicBezTo>
                    <a:cubicBezTo>
                      <a:pt x="904558" y="59690"/>
                      <a:pt x="903605" y="57150"/>
                      <a:pt x="902970" y="55245"/>
                    </a:cubicBezTo>
                    <a:lnTo>
                      <a:pt x="891540" y="23178"/>
                    </a:lnTo>
                    <a:lnTo>
                      <a:pt x="880110" y="23178"/>
                    </a:lnTo>
                    <a:lnTo>
                      <a:pt x="900748" y="77788"/>
                    </a:lnTo>
                    <a:lnTo>
                      <a:pt x="912813" y="77788"/>
                    </a:lnTo>
                    <a:close/>
                    <a:moveTo>
                      <a:pt x="861060" y="77788"/>
                    </a:moveTo>
                    <a:lnTo>
                      <a:pt x="871855" y="77788"/>
                    </a:lnTo>
                    <a:lnTo>
                      <a:pt x="871855" y="23178"/>
                    </a:lnTo>
                    <a:lnTo>
                      <a:pt x="861060" y="23178"/>
                    </a:lnTo>
                    <a:lnTo>
                      <a:pt x="861060" y="77788"/>
                    </a:lnTo>
                    <a:close/>
                    <a:moveTo>
                      <a:pt x="862330" y="3493"/>
                    </a:moveTo>
                    <a:cubicBezTo>
                      <a:pt x="861060" y="4445"/>
                      <a:pt x="860425" y="6033"/>
                      <a:pt x="860425" y="8255"/>
                    </a:cubicBezTo>
                    <a:cubicBezTo>
                      <a:pt x="860425" y="10478"/>
                      <a:pt x="861060" y="12065"/>
                      <a:pt x="862330" y="13018"/>
                    </a:cubicBezTo>
                    <a:cubicBezTo>
                      <a:pt x="863600" y="13970"/>
                      <a:pt x="864870" y="14605"/>
                      <a:pt x="866775" y="14605"/>
                    </a:cubicBezTo>
                    <a:cubicBezTo>
                      <a:pt x="868363" y="14605"/>
                      <a:pt x="869950" y="13970"/>
                      <a:pt x="870902" y="13018"/>
                    </a:cubicBezTo>
                    <a:cubicBezTo>
                      <a:pt x="871855" y="12065"/>
                      <a:pt x="872808" y="10478"/>
                      <a:pt x="872808" y="8255"/>
                    </a:cubicBezTo>
                    <a:cubicBezTo>
                      <a:pt x="872808" y="6033"/>
                      <a:pt x="872173" y="4445"/>
                      <a:pt x="870902" y="3493"/>
                    </a:cubicBezTo>
                    <a:cubicBezTo>
                      <a:pt x="869633" y="2540"/>
                      <a:pt x="868363" y="2223"/>
                      <a:pt x="866775" y="2223"/>
                    </a:cubicBezTo>
                    <a:cubicBezTo>
                      <a:pt x="864870" y="2223"/>
                      <a:pt x="863283" y="2540"/>
                      <a:pt x="862330" y="3493"/>
                    </a:cubicBezTo>
                    <a:moveTo>
                      <a:pt x="836295" y="67945"/>
                    </a:moveTo>
                    <a:cubicBezTo>
                      <a:pt x="834708" y="66675"/>
                      <a:pt x="834073" y="64453"/>
                      <a:pt x="834073" y="61278"/>
                    </a:cubicBezTo>
                    <a:lnTo>
                      <a:pt x="834073" y="31115"/>
                    </a:lnTo>
                    <a:lnTo>
                      <a:pt x="849630" y="31115"/>
                    </a:lnTo>
                    <a:lnTo>
                      <a:pt x="849630" y="22860"/>
                    </a:lnTo>
                    <a:lnTo>
                      <a:pt x="834073" y="22860"/>
                    </a:lnTo>
                    <a:lnTo>
                      <a:pt x="834073" y="10478"/>
                    </a:lnTo>
                    <a:lnTo>
                      <a:pt x="827405" y="10478"/>
                    </a:lnTo>
                    <a:lnTo>
                      <a:pt x="823595" y="21908"/>
                    </a:lnTo>
                    <a:lnTo>
                      <a:pt x="815658" y="26035"/>
                    </a:lnTo>
                    <a:lnTo>
                      <a:pt x="815658" y="30798"/>
                    </a:lnTo>
                    <a:lnTo>
                      <a:pt x="823277" y="30798"/>
                    </a:lnTo>
                    <a:lnTo>
                      <a:pt x="823277" y="60960"/>
                    </a:lnTo>
                    <a:cubicBezTo>
                      <a:pt x="823277" y="65405"/>
                      <a:pt x="823913" y="68898"/>
                      <a:pt x="825500" y="71438"/>
                    </a:cubicBezTo>
                    <a:cubicBezTo>
                      <a:pt x="827088" y="73978"/>
                      <a:pt x="828992" y="75565"/>
                      <a:pt x="831533" y="76835"/>
                    </a:cubicBezTo>
                    <a:cubicBezTo>
                      <a:pt x="834073" y="77788"/>
                      <a:pt x="836613" y="78423"/>
                      <a:pt x="839788" y="78423"/>
                    </a:cubicBezTo>
                    <a:cubicBezTo>
                      <a:pt x="841692" y="78423"/>
                      <a:pt x="843598" y="78105"/>
                      <a:pt x="845820" y="77788"/>
                    </a:cubicBezTo>
                    <a:cubicBezTo>
                      <a:pt x="847725" y="77470"/>
                      <a:pt x="849313" y="76835"/>
                      <a:pt x="850583" y="76518"/>
                    </a:cubicBezTo>
                    <a:lnTo>
                      <a:pt x="850583" y="68263"/>
                    </a:lnTo>
                    <a:cubicBezTo>
                      <a:pt x="848042" y="69215"/>
                      <a:pt x="845502" y="69533"/>
                      <a:pt x="842327" y="69533"/>
                    </a:cubicBezTo>
                    <a:cubicBezTo>
                      <a:pt x="839470" y="70168"/>
                      <a:pt x="837565" y="69533"/>
                      <a:pt x="836295" y="67945"/>
                    </a:cubicBezTo>
                    <a:moveTo>
                      <a:pt x="794385" y="77788"/>
                    </a:moveTo>
                    <a:lnTo>
                      <a:pt x="805180" y="77788"/>
                    </a:lnTo>
                    <a:lnTo>
                      <a:pt x="805180" y="23178"/>
                    </a:lnTo>
                    <a:lnTo>
                      <a:pt x="794385" y="23178"/>
                    </a:lnTo>
                    <a:lnTo>
                      <a:pt x="794385" y="77788"/>
                    </a:lnTo>
                    <a:close/>
                    <a:moveTo>
                      <a:pt x="795655" y="3493"/>
                    </a:moveTo>
                    <a:cubicBezTo>
                      <a:pt x="794385" y="4445"/>
                      <a:pt x="793750" y="6033"/>
                      <a:pt x="793750" y="8255"/>
                    </a:cubicBezTo>
                    <a:cubicBezTo>
                      <a:pt x="793750" y="10478"/>
                      <a:pt x="794385" y="12065"/>
                      <a:pt x="795655" y="13018"/>
                    </a:cubicBezTo>
                    <a:cubicBezTo>
                      <a:pt x="796925" y="13970"/>
                      <a:pt x="798195" y="14605"/>
                      <a:pt x="800100" y="14605"/>
                    </a:cubicBezTo>
                    <a:cubicBezTo>
                      <a:pt x="801688" y="14605"/>
                      <a:pt x="803275" y="13970"/>
                      <a:pt x="804227" y="13018"/>
                    </a:cubicBezTo>
                    <a:cubicBezTo>
                      <a:pt x="805498" y="12065"/>
                      <a:pt x="806133" y="10478"/>
                      <a:pt x="806133" y="8255"/>
                    </a:cubicBezTo>
                    <a:cubicBezTo>
                      <a:pt x="806133" y="6033"/>
                      <a:pt x="805498" y="4445"/>
                      <a:pt x="804227" y="3493"/>
                    </a:cubicBezTo>
                    <a:cubicBezTo>
                      <a:pt x="802958" y="2540"/>
                      <a:pt x="801688" y="2223"/>
                      <a:pt x="800100" y="2223"/>
                    </a:cubicBezTo>
                    <a:cubicBezTo>
                      <a:pt x="798195" y="2223"/>
                      <a:pt x="796925" y="2540"/>
                      <a:pt x="795655" y="3493"/>
                    </a:cubicBezTo>
                    <a:moveTo>
                      <a:pt x="769620" y="67945"/>
                    </a:moveTo>
                    <a:cubicBezTo>
                      <a:pt x="768033" y="66675"/>
                      <a:pt x="767398" y="64453"/>
                      <a:pt x="767398" y="61278"/>
                    </a:cubicBezTo>
                    <a:lnTo>
                      <a:pt x="767398" y="31115"/>
                    </a:lnTo>
                    <a:lnTo>
                      <a:pt x="782955" y="31115"/>
                    </a:lnTo>
                    <a:lnTo>
                      <a:pt x="782955" y="22860"/>
                    </a:lnTo>
                    <a:lnTo>
                      <a:pt x="767398" y="22860"/>
                    </a:lnTo>
                    <a:lnTo>
                      <a:pt x="767398" y="10478"/>
                    </a:lnTo>
                    <a:lnTo>
                      <a:pt x="760730" y="10478"/>
                    </a:lnTo>
                    <a:lnTo>
                      <a:pt x="756920" y="21908"/>
                    </a:lnTo>
                    <a:lnTo>
                      <a:pt x="748983" y="26035"/>
                    </a:lnTo>
                    <a:lnTo>
                      <a:pt x="748983" y="30798"/>
                    </a:lnTo>
                    <a:lnTo>
                      <a:pt x="756602" y="30798"/>
                    </a:lnTo>
                    <a:lnTo>
                      <a:pt x="756602" y="60960"/>
                    </a:lnTo>
                    <a:cubicBezTo>
                      <a:pt x="756602" y="65405"/>
                      <a:pt x="757238" y="68898"/>
                      <a:pt x="758825" y="71438"/>
                    </a:cubicBezTo>
                    <a:cubicBezTo>
                      <a:pt x="760413" y="73978"/>
                      <a:pt x="762317" y="75565"/>
                      <a:pt x="764858" y="76835"/>
                    </a:cubicBezTo>
                    <a:cubicBezTo>
                      <a:pt x="767398" y="77788"/>
                      <a:pt x="769938" y="78423"/>
                      <a:pt x="773113" y="78423"/>
                    </a:cubicBezTo>
                    <a:cubicBezTo>
                      <a:pt x="775017" y="78423"/>
                      <a:pt x="776923" y="78105"/>
                      <a:pt x="779145" y="77788"/>
                    </a:cubicBezTo>
                    <a:cubicBezTo>
                      <a:pt x="781050" y="77470"/>
                      <a:pt x="782638" y="76835"/>
                      <a:pt x="783908" y="76518"/>
                    </a:cubicBezTo>
                    <a:lnTo>
                      <a:pt x="783908" y="68263"/>
                    </a:lnTo>
                    <a:cubicBezTo>
                      <a:pt x="781367" y="69215"/>
                      <a:pt x="778827" y="69533"/>
                      <a:pt x="775652" y="69533"/>
                    </a:cubicBezTo>
                    <a:cubicBezTo>
                      <a:pt x="773113" y="70168"/>
                      <a:pt x="771208" y="69533"/>
                      <a:pt x="769620" y="67945"/>
                    </a:cubicBezTo>
                    <a:moveTo>
                      <a:pt x="728345" y="34290"/>
                    </a:moveTo>
                    <a:cubicBezTo>
                      <a:pt x="730250" y="36830"/>
                      <a:pt x="731520" y="40323"/>
                      <a:pt x="731520" y="44768"/>
                    </a:cubicBezTo>
                    <a:lnTo>
                      <a:pt x="705802" y="44768"/>
                    </a:lnTo>
                    <a:cubicBezTo>
                      <a:pt x="706120" y="40005"/>
                      <a:pt x="707708" y="36513"/>
                      <a:pt x="709930" y="33973"/>
                    </a:cubicBezTo>
                    <a:cubicBezTo>
                      <a:pt x="712152" y="31433"/>
                      <a:pt x="715327" y="30163"/>
                      <a:pt x="719138" y="30163"/>
                    </a:cubicBezTo>
                    <a:cubicBezTo>
                      <a:pt x="723265" y="30480"/>
                      <a:pt x="726440" y="31750"/>
                      <a:pt x="728345" y="34290"/>
                    </a:cubicBezTo>
                    <a:moveTo>
                      <a:pt x="706120" y="25400"/>
                    </a:moveTo>
                    <a:cubicBezTo>
                      <a:pt x="702310" y="27623"/>
                      <a:pt x="699452" y="30798"/>
                      <a:pt x="697548" y="35243"/>
                    </a:cubicBezTo>
                    <a:cubicBezTo>
                      <a:pt x="695325" y="39370"/>
                      <a:pt x="694373" y="44768"/>
                      <a:pt x="694373" y="50800"/>
                    </a:cubicBezTo>
                    <a:cubicBezTo>
                      <a:pt x="694373" y="56833"/>
                      <a:pt x="695642" y="62230"/>
                      <a:pt x="697865" y="66358"/>
                    </a:cubicBezTo>
                    <a:cubicBezTo>
                      <a:pt x="700088" y="70485"/>
                      <a:pt x="703263" y="73660"/>
                      <a:pt x="707390" y="75565"/>
                    </a:cubicBezTo>
                    <a:cubicBezTo>
                      <a:pt x="711517" y="77788"/>
                      <a:pt x="716280" y="78740"/>
                      <a:pt x="721360" y="78740"/>
                    </a:cubicBezTo>
                    <a:cubicBezTo>
                      <a:pt x="725170" y="78740"/>
                      <a:pt x="728663" y="78423"/>
                      <a:pt x="731202" y="77788"/>
                    </a:cubicBezTo>
                    <a:cubicBezTo>
                      <a:pt x="733742" y="77153"/>
                      <a:pt x="736600" y="76200"/>
                      <a:pt x="739458" y="74930"/>
                    </a:cubicBezTo>
                    <a:lnTo>
                      <a:pt x="739458" y="66040"/>
                    </a:lnTo>
                    <a:cubicBezTo>
                      <a:pt x="736600" y="67310"/>
                      <a:pt x="733742" y="68263"/>
                      <a:pt x="730885" y="68898"/>
                    </a:cubicBezTo>
                    <a:cubicBezTo>
                      <a:pt x="728027" y="69533"/>
                      <a:pt x="724852" y="69850"/>
                      <a:pt x="721360" y="69850"/>
                    </a:cubicBezTo>
                    <a:cubicBezTo>
                      <a:pt x="716280" y="69850"/>
                      <a:pt x="712470" y="68263"/>
                      <a:pt x="709613" y="65405"/>
                    </a:cubicBezTo>
                    <a:cubicBezTo>
                      <a:pt x="706755" y="62548"/>
                      <a:pt x="705485" y="58103"/>
                      <a:pt x="705167" y="52388"/>
                    </a:cubicBezTo>
                    <a:lnTo>
                      <a:pt x="741998" y="52388"/>
                    </a:lnTo>
                    <a:lnTo>
                      <a:pt x="741998" y="46355"/>
                    </a:lnTo>
                    <a:cubicBezTo>
                      <a:pt x="741998" y="38735"/>
                      <a:pt x="739775" y="32703"/>
                      <a:pt x="735648" y="28258"/>
                    </a:cubicBezTo>
                    <a:cubicBezTo>
                      <a:pt x="731520" y="23813"/>
                      <a:pt x="725805" y="21590"/>
                      <a:pt x="718820" y="21590"/>
                    </a:cubicBezTo>
                    <a:cubicBezTo>
                      <a:pt x="714058" y="21908"/>
                      <a:pt x="709930" y="23178"/>
                      <a:pt x="706120" y="25400"/>
                    </a:cubicBezTo>
                    <a:moveTo>
                      <a:pt x="669290" y="36195"/>
                    </a:moveTo>
                    <a:cubicBezTo>
                      <a:pt x="671513" y="39688"/>
                      <a:pt x="672465" y="44450"/>
                      <a:pt x="672465" y="50165"/>
                    </a:cubicBezTo>
                    <a:cubicBezTo>
                      <a:pt x="672465" y="56198"/>
                      <a:pt x="671513" y="60960"/>
                      <a:pt x="669290" y="64453"/>
                    </a:cubicBezTo>
                    <a:cubicBezTo>
                      <a:pt x="667067" y="67945"/>
                      <a:pt x="663892" y="69850"/>
                      <a:pt x="659448" y="69850"/>
                    </a:cubicBezTo>
                    <a:cubicBezTo>
                      <a:pt x="654050" y="69850"/>
                      <a:pt x="650240" y="68263"/>
                      <a:pt x="648335" y="64770"/>
                    </a:cubicBezTo>
                    <a:cubicBezTo>
                      <a:pt x="646430" y="61278"/>
                      <a:pt x="645160" y="56515"/>
                      <a:pt x="645160" y="50165"/>
                    </a:cubicBezTo>
                    <a:lnTo>
                      <a:pt x="645160" y="48578"/>
                    </a:lnTo>
                    <a:cubicBezTo>
                      <a:pt x="645160" y="42545"/>
                      <a:pt x="646430" y="38100"/>
                      <a:pt x="648335" y="35243"/>
                    </a:cubicBezTo>
                    <a:cubicBezTo>
                      <a:pt x="650558" y="32385"/>
                      <a:pt x="654050" y="30798"/>
                      <a:pt x="659130" y="30798"/>
                    </a:cubicBezTo>
                    <a:cubicBezTo>
                      <a:pt x="663892" y="30798"/>
                      <a:pt x="667067" y="32703"/>
                      <a:pt x="669290" y="36195"/>
                    </a:cubicBezTo>
                    <a:moveTo>
                      <a:pt x="651510" y="24448"/>
                    </a:moveTo>
                    <a:cubicBezTo>
                      <a:pt x="648970" y="26035"/>
                      <a:pt x="646748" y="27940"/>
                      <a:pt x="645160" y="30480"/>
                    </a:cubicBezTo>
                    <a:lnTo>
                      <a:pt x="644525" y="30480"/>
                    </a:lnTo>
                    <a:lnTo>
                      <a:pt x="642938" y="23178"/>
                    </a:lnTo>
                    <a:lnTo>
                      <a:pt x="634048" y="23178"/>
                    </a:lnTo>
                    <a:lnTo>
                      <a:pt x="634048" y="102235"/>
                    </a:lnTo>
                    <a:lnTo>
                      <a:pt x="644842" y="102235"/>
                    </a:lnTo>
                    <a:lnTo>
                      <a:pt x="644842" y="80010"/>
                    </a:lnTo>
                    <a:cubicBezTo>
                      <a:pt x="644842" y="78740"/>
                      <a:pt x="644842" y="77153"/>
                      <a:pt x="644525" y="75565"/>
                    </a:cubicBezTo>
                    <a:cubicBezTo>
                      <a:pt x="644208" y="73978"/>
                      <a:pt x="644208" y="72390"/>
                      <a:pt x="644208" y="71120"/>
                    </a:cubicBezTo>
                    <a:lnTo>
                      <a:pt x="644842" y="71120"/>
                    </a:lnTo>
                    <a:cubicBezTo>
                      <a:pt x="646430" y="73343"/>
                      <a:pt x="648652" y="74930"/>
                      <a:pt x="651192" y="76518"/>
                    </a:cubicBezTo>
                    <a:cubicBezTo>
                      <a:pt x="653733" y="78105"/>
                      <a:pt x="657225" y="78740"/>
                      <a:pt x="661352" y="78740"/>
                    </a:cubicBezTo>
                    <a:cubicBezTo>
                      <a:pt x="668020" y="78740"/>
                      <a:pt x="673100" y="76200"/>
                      <a:pt x="677227" y="71438"/>
                    </a:cubicBezTo>
                    <a:cubicBezTo>
                      <a:pt x="681355" y="66675"/>
                      <a:pt x="683260" y="59690"/>
                      <a:pt x="683260" y="50165"/>
                    </a:cubicBezTo>
                    <a:cubicBezTo>
                      <a:pt x="683260" y="40640"/>
                      <a:pt x="681355" y="33655"/>
                      <a:pt x="677227" y="28893"/>
                    </a:cubicBezTo>
                    <a:cubicBezTo>
                      <a:pt x="673100" y="24130"/>
                      <a:pt x="668020" y="21908"/>
                      <a:pt x="661352" y="21908"/>
                    </a:cubicBezTo>
                    <a:cubicBezTo>
                      <a:pt x="657542" y="21908"/>
                      <a:pt x="654050" y="22860"/>
                      <a:pt x="651510" y="24448"/>
                    </a:cubicBezTo>
                    <a:moveTo>
                      <a:pt x="589598" y="24130"/>
                    </a:moveTo>
                    <a:cubicBezTo>
                      <a:pt x="586423" y="25718"/>
                      <a:pt x="584200" y="27940"/>
                      <a:pt x="582295" y="30798"/>
                    </a:cubicBezTo>
                    <a:lnTo>
                      <a:pt x="581342" y="30798"/>
                    </a:lnTo>
                    <a:cubicBezTo>
                      <a:pt x="578485" y="24765"/>
                      <a:pt x="573088" y="21908"/>
                      <a:pt x="564833" y="21908"/>
                    </a:cubicBezTo>
                    <a:cubicBezTo>
                      <a:pt x="561658" y="21908"/>
                      <a:pt x="558483" y="22543"/>
                      <a:pt x="555625" y="23813"/>
                    </a:cubicBezTo>
                    <a:cubicBezTo>
                      <a:pt x="552767" y="25083"/>
                      <a:pt x="550545" y="27305"/>
                      <a:pt x="548640" y="30163"/>
                    </a:cubicBezTo>
                    <a:lnTo>
                      <a:pt x="548005" y="30163"/>
                    </a:lnTo>
                    <a:lnTo>
                      <a:pt x="546417" y="22860"/>
                    </a:lnTo>
                    <a:lnTo>
                      <a:pt x="537845" y="22860"/>
                    </a:lnTo>
                    <a:lnTo>
                      <a:pt x="537845" y="77470"/>
                    </a:lnTo>
                    <a:lnTo>
                      <a:pt x="548640" y="77470"/>
                    </a:lnTo>
                    <a:lnTo>
                      <a:pt x="548640" y="49848"/>
                    </a:lnTo>
                    <a:cubicBezTo>
                      <a:pt x="548640" y="43498"/>
                      <a:pt x="549592" y="38735"/>
                      <a:pt x="551498" y="35560"/>
                    </a:cubicBezTo>
                    <a:cubicBezTo>
                      <a:pt x="553402" y="32385"/>
                      <a:pt x="556895" y="30480"/>
                      <a:pt x="561975" y="30480"/>
                    </a:cubicBezTo>
                    <a:cubicBezTo>
                      <a:pt x="568960" y="30480"/>
                      <a:pt x="572452" y="34608"/>
                      <a:pt x="572452" y="43180"/>
                    </a:cubicBezTo>
                    <a:lnTo>
                      <a:pt x="572452" y="77470"/>
                    </a:lnTo>
                    <a:lnTo>
                      <a:pt x="583248" y="77470"/>
                    </a:lnTo>
                    <a:lnTo>
                      <a:pt x="583248" y="47943"/>
                    </a:lnTo>
                    <a:cubicBezTo>
                      <a:pt x="583248" y="42228"/>
                      <a:pt x="584200" y="38100"/>
                      <a:pt x="586423" y="34925"/>
                    </a:cubicBezTo>
                    <a:cubicBezTo>
                      <a:pt x="588645" y="32068"/>
                      <a:pt x="592138" y="30480"/>
                      <a:pt x="596900" y="30480"/>
                    </a:cubicBezTo>
                    <a:cubicBezTo>
                      <a:pt x="603885" y="30480"/>
                      <a:pt x="607060" y="34608"/>
                      <a:pt x="607060" y="43180"/>
                    </a:cubicBezTo>
                    <a:lnTo>
                      <a:pt x="607060" y="77470"/>
                    </a:lnTo>
                    <a:lnTo>
                      <a:pt x="617855" y="77470"/>
                    </a:lnTo>
                    <a:lnTo>
                      <a:pt x="617855" y="42228"/>
                    </a:lnTo>
                    <a:cubicBezTo>
                      <a:pt x="617855" y="35243"/>
                      <a:pt x="616267" y="30163"/>
                      <a:pt x="613092" y="26988"/>
                    </a:cubicBezTo>
                    <a:cubicBezTo>
                      <a:pt x="609917" y="23813"/>
                      <a:pt x="605473" y="22225"/>
                      <a:pt x="599123" y="22225"/>
                    </a:cubicBezTo>
                    <a:cubicBezTo>
                      <a:pt x="595948" y="21908"/>
                      <a:pt x="592773" y="22860"/>
                      <a:pt x="589598" y="24130"/>
                    </a:cubicBezTo>
                    <a:moveTo>
                      <a:pt x="487680" y="35878"/>
                    </a:moveTo>
                    <a:cubicBezTo>
                      <a:pt x="489902" y="32385"/>
                      <a:pt x="493713" y="30798"/>
                      <a:pt x="498792" y="30798"/>
                    </a:cubicBezTo>
                    <a:cubicBezTo>
                      <a:pt x="503873" y="30798"/>
                      <a:pt x="507683" y="32385"/>
                      <a:pt x="509905" y="35878"/>
                    </a:cubicBezTo>
                    <a:cubicBezTo>
                      <a:pt x="512127" y="39370"/>
                      <a:pt x="513398" y="44133"/>
                      <a:pt x="513398" y="50165"/>
                    </a:cubicBezTo>
                    <a:cubicBezTo>
                      <a:pt x="513398" y="56198"/>
                      <a:pt x="512127" y="61278"/>
                      <a:pt x="509905" y="64453"/>
                    </a:cubicBezTo>
                    <a:cubicBezTo>
                      <a:pt x="507683" y="67945"/>
                      <a:pt x="503873" y="69533"/>
                      <a:pt x="498792" y="69533"/>
                    </a:cubicBezTo>
                    <a:cubicBezTo>
                      <a:pt x="493713" y="69533"/>
                      <a:pt x="489902" y="67945"/>
                      <a:pt x="487680" y="64453"/>
                    </a:cubicBezTo>
                    <a:cubicBezTo>
                      <a:pt x="485458" y="60960"/>
                      <a:pt x="484188" y="56198"/>
                      <a:pt x="484188" y="50165"/>
                    </a:cubicBezTo>
                    <a:cubicBezTo>
                      <a:pt x="484188" y="44133"/>
                      <a:pt x="485458" y="39370"/>
                      <a:pt x="487680" y="35878"/>
                    </a:cubicBezTo>
                    <a:moveTo>
                      <a:pt x="521335" y="34925"/>
                    </a:moveTo>
                    <a:cubicBezTo>
                      <a:pt x="519113" y="30798"/>
                      <a:pt x="516255" y="27623"/>
                      <a:pt x="512445" y="25400"/>
                    </a:cubicBezTo>
                    <a:cubicBezTo>
                      <a:pt x="508635" y="23178"/>
                      <a:pt x="504190" y="22225"/>
                      <a:pt x="499110" y="22225"/>
                    </a:cubicBezTo>
                    <a:cubicBezTo>
                      <a:pt x="491173" y="22225"/>
                      <a:pt x="484823" y="24765"/>
                      <a:pt x="480060" y="29528"/>
                    </a:cubicBezTo>
                    <a:cubicBezTo>
                      <a:pt x="475615" y="34290"/>
                      <a:pt x="473075" y="41275"/>
                      <a:pt x="473075" y="50483"/>
                    </a:cubicBezTo>
                    <a:cubicBezTo>
                      <a:pt x="473075" y="56515"/>
                      <a:pt x="474027" y="61595"/>
                      <a:pt x="476250" y="66040"/>
                    </a:cubicBezTo>
                    <a:cubicBezTo>
                      <a:pt x="478473" y="70168"/>
                      <a:pt x="481330" y="73343"/>
                      <a:pt x="485140" y="75565"/>
                    </a:cubicBezTo>
                    <a:cubicBezTo>
                      <a:pt x="488950" y="77788"/>
                      <a:pt x="493395" y="78740"/>
                      <a:pt x="498158" y="78740"/>
                    </a:cubicBezTo>
                    <a:cubicBezTo>
                      <a:pt x="506095" y="78740"/>
                      <a:pt x="512445" y="76200"/>
                      <a:pt x="517208" y="71438"/>
                    </a:cubicBezTo>
                    <a:cubicBezTo>
                      <a:pt x="521970" y="66358"/>
                      <a:pt x="524192" y="59373"/>
                      <a:pt x="524192" y="50483"/>
                    </a:cubicBezTo>
                    <a:cubicBezTo>
                      <a:pt x="524510" y="44133"/>
                      <a:pt x="523240" y="39053"/>
                      <a:pt x="521335" y="34925"/>
                    </a:cubicBezTo>
                    <a:moveTo>
                      <a:pt x="456883" y="78105"/>
                    </a:moveTo>
                    <a:cubicBezTo>
                      <a:pt x="459105" y="77470"/>
                      <a:pt x="461327" y="76835"/>
                      <a:pt x="463233" y="75565"/>
                    </a:cubicBezTo>
                    <a:lnTo>
                      <a:pt x="463233" y="66358"/>
                    </a:lnTo>
                    <a:cubicBezTo>
                      <a:pt x="461327" y="67310"/>
                      <a:pt x="459105" y="68263"/>
                      <a:pt x="456883" y="68898"/>
                    </a:cubicBezTo>
                    <a:cubicBezTo>
                      <a:pt x="454660" y="69533"/>
                      <a:pt x="451802" y="69850"/>
                      <a:pt x="448945" y="69850"/>
                    </a:cubicBezTo>
                    <a:cubicBezTo>
                      <a:pt x="444183" y="69850"/>
                      <a:pt x="440690" y="68263"/>
                      <a:pt x="438150" y="65088"/>
                    </a:cubicBezTo>
                    <a:cubicBezTo>
                      <a:pt x="435610" y="61913"/>
                      <a:pt x="434340" y="57150"/>
                      <a:pt x="434340" y="50800"/>
                    </a:cubicBezTo>
                    <a:cubicBezTo>
                      <a:pt x="434340" y="37783"/>
                      <a:pt x="439420" y="31433"/>
                      <a:pt x="449263" y="31433"/>
                    </a:cubicBezTo>
                    <a:cubicBezTo>
                      <a:pt x="451167" y="31433"/>
                      <a:pt x="453390" y="31750"/>
                      <a:pt x="455295" y="32385"/>
                    </a:cubicBezTo>
                    <a:cubicBezTo>
                      <a:pt x="457517" y="33020"/>
                      <a:pt x="459423" y="33655"/>
                      <a:pt x="461327" y="34290"/>
                    </a:cubicBezTo>
                    <a:lnTo>
                      <a:pt x="464502" y="25400"/>
                    </a:lnTo>
                    <a:cubicBezTo>
                      <a:pt x="462598" y="24448"/>
                      <a:pt x="460375" y="23813"/>
                      <a:pt x="457835" y="23178"/>
                    </a:cubicBezTo>
                    <a:cubicBezTo>
                      <a:pt x="455295" y="22543"/>
                      <a:pt x="452438" y="22225"/>
                      <a:pt x="449263" y="22225"/>
                    </a:cubicBezTo>
                    <a:cubicBezTo>
                      <a:pt x="444183" y="22225"/>
                      <a:pt x="439738" y="23178"/>
                      <a:pt x="435927" y="25083"/>
                    </a:cubicBezTo>
                    <a:cubicBezTo>
                      <a:pt x="432117" y="26988"/>
                      <a:pt x="428942" y="30163"/>
                      <a:pt x="426720" y="34290"/>
                    </a:cubicBezTo>
                    <a:cubicBezTo>
                      <a:pt x="424498" y="38418"/>
                      <a:pt x="423227" y="44133"/>
                      <a:pt x="423227" y="50800"/>
                    </a:cubicBezTo>
                    <a:cubicBezTo>
                      <a:pt x="423227" y="60643"/>
                      <a:pt x="425450" y="67628"/>
                      <a:pt x="430213" y="72073"/>
                    </a:cubicBezTo>
                    <a:cubicBezTo>
                      <a:pt x="434975" y="76518"/>
                      <a:pt x="441008" y="78740"/>
                      <a:pt x="448627" y="78740"/>
                    </a:cubicBezTo>
                    <a:cubicBezTo>
                      <a:pt x="451802" y="78740"/>
                      <a:pt x="454660" y="78423"/>
                      <a:pt x="456883" y="78105"/>
                    </a:cubicBezTo>
                    <a:moveTo>
                      <a:pt x="369253" y="35560"/>
                    </a:moveTo>
                    <a:cubicBezTo>
                      <a:pt x="371475" y="38418"/>
                      <a:pt x="372745" y="43498"/>
                      <a:pt x="372745" y="50800"/>
                    </a:cubicBezTo>
                    <a:lnTo>
                      <a:pt x="372745" y="52705"/>
                    </a:lnTo>
                    <a:cubicBezTo>
                      <a:pt x="372745" y="59055"/>
                      <a:pt x="371475" y="63500"/>
                      <a:pt x="369253" y="66040"/>
                    </a:cubicBezTo>
                    <a:cubicBezTo>
                      <a:pt x="367030" y="68580"/>
                      <a:pt x="363220" y="70168"/>
                      <a:pt x="358140" y="70168"/>
                    </a:cubicBezTo>
                    <a:cubicBezTo>
                      <a:pt x="353695" y="70168"/>
                      <a:pt x="350520" y="68580"/>
                      <a:pt x="347980" y="65088"/>
                    </a:cubicBezTo>
                    <a:cubicBezTo>
                      <a:pt x="345758" y="61913"/>
                      <a:pt x="344488" y="56833"/>
                      <a:pt x="344488" y="50483"/>
                    </a:cubicBezTo>
                    <a:cubicBezTo>
                      <a:pt x="344488" y="44133"/>
                      <a:pt x="345758" y="39053"/>
                      <a:pt x="347980" y="35878"/>
                    </a:cubicBezTo>
                    <a:cubicBezTo>
                      <a:pt x="350203" y="32385"/>
                      <a:pt x="353378" y="30798"/>
                      <a:pt x="357823" y="30798"/>
                    </a:cubicBezTo>
                    <a:cubicBezTo>
                      <a:pt x="363220" y="31115"/>
                      <a:pt x="367030" y="32385"/>
                      <a:pt x="369253" y="35560"/>
                    </a:cubicBezTo>
                    <a:moveTo>
                      <a:pt x="339725" y="29845"/>
                    </a:moveTo>
                    <a:cubicBezTo>
                      <a:pt x="335915" y="34925"/>
                      <a:pt x="334010" y="41910"/>
                      <a:pt x="334010" y="50800"/>
                    </a:cubicBezTo>
                    <a:cubicBezTo>
                      <a:pt x="334010" y="59690"/>
                      <a:pt x="335915" y="66675"/>
                      <a:pt x="339725" y="71438"/>
                    </a:cubicBezTo>
                    <a:cubicBezTo>
                      <a:pt x="343535" y="76518"/>
                      <a:pt x="348933" y="79058"/>
                      <a:pt x="355917" y="79058"/>
                    </a:cubicBezTo>
                    <a:cubicBezTo>
                      <a:pt x="359410" y="79058"/>
                      <a:pt x="362585" y="78423"/>
                      <a:pt x="365442" y="77153"/>
                    </a:cubicBezTo>
                    <a:cubicBezTo>
                      <a:pt x="368300" y="75883"/>
                      <a:pt x="370523" y="73660"/>
                      <a:pt x="372428" y="70803"/>
                    </a:cubicBezTo>
                    <a:lnTo>
                      <a:pt x="372745" y="70803"/>
                    </a:lnTo>
                    <a:cubicBezTo>
                      <a:pt x="372745" y="71438"/>
                      <a:pt x="372745" y="72708"/>
                      <a:pt x="372428" y="73978"/>
                    </a:cubicBezTo>
                    <a:cubicBezTo>
                      <a:pt x="372428" y="75248"/>
                      <a:pt x="372428" y="76518"/>
                      <a:pt x="372428" y="77470"/>
                    </a:cubicBezTo>
                    <a:lnTo>
                      <a:pt x="372428" y="79375"/>
                    </a:lnTo>
                    <a:cubicBezTo>
                      <a:pt x="372428" y="84138"/>
                      <a:pt x="371158" y="87630"/>
                      <a:pt x="368617" y="90170"/>
                    </a:cubicBezTo>
                    <a:cubicBezTo>
                      <a:pt x="366078" y="92710"/>
                      <a:pt x="362585" y="93980"/>
                      <a:pt x="358458" y="93980"/>
                    </a:cubicBezTo>
                    <a:cubicBezTo>
                      <a:pt x="354648" y="93980"/>
                      <a:pt x="350838" y="93663"/>
                      <a:pt x="347345" y="93028"/>
                    </a:cubicBezTo>
                    <a:cubicBezTo>
                      <a:pt x="343853" y="92393"/>
                      <a:pt x="340678" y="91123"/>
                      <a:pt x="337820" y="89853"/>
                    </a:cubicBezTo>
                    <a:lnTo>
                      <a:pt x="337820" y="99378"/>
                    </a:lnTo>
                    <a:cubicBezTo>
                      <a:pt x="340678" y="100648"/>
                      <a:pt x="343535" y="101283"/>
                      <a:pt x="347028" y="101918"/>
                    </a:cubicBezTo>
                    <a:cubicBezTo>
                      <a:pt x="350203" y="102553"/>
                      <a:pt x="354013" y="102870"/>
                      <a:pt x="357823" y="102870"/>
                    </a:cubicBezTo>
                    <a:cubicBezTo>
                      <a:pt x="374650" y="102870"/>
                      <a:pt x="383223" y="94933"/>
                      <a:pt x="383223" y="79058"/>
                    </a:cubicBezTo>
                    <a:lnTo>
                      <a:pt x="383223" y="23178"/>
                    </a:lnTo>
                    <a:lnTo>
                      <a:pt x="374333" y="23178"/>
                    </a:lnTo>
                    <a:lnTo>
                      <a:pt x="373063" y="30480"/>
                    </a:lnTo>
                    <a:lnTo>
                      <a:pt x="372428" y="30480"/>
                    </a:lnTo>
                    <a:cubicBezTo>
                      <a:pt x="370523" y="27623"/>
                      <a:pt x="367983" y="25718"/>
                      <a:pt x="365125" y="24130"/>
                    </a:cubicBezTo>
                    <a:cubicBezTo>
                      <a:pt x="362267" y="22860"/>
                      <a:pt x="359092" y="22225"/>
                      <a:pt x="355600" y="22225"/>
                    </a:cubicBezTo>
                    <a:cubicBezTo>
                      <a:pt x="348933" y="21908"/>
                      <a:pt x="343535" y="24448"/>
                      <a:pt x="339725" y="29845"/>
                    </a:cubicBezTo>
                    <a:moveTo>
                      <a:pt x="290830" y="24130"/>
                    </a:moveTo>
                    <a:cubicBezTo>
                      <a:pt x="287655" y="25400"/>
                      <a:pt x="285433" y="27623"/>
                      <a:pt x="283528" y="30480"/>
                    </a:cubicBezTo>
                    <a:lnTo>
                      <a:pt x="282892" y="30480"/>
                    </a:lnTo>
                    <a:lnTo>
                      <a:pt x="281305" y="23178"/>
                    </a:lnTo>
                    <a:lnTo>
                      <a:pt x="272733" y="23178"/>
                    </a:lnTo>
                    <a:lnTo>
                      <a:pt x="272733" y="77788"/>
                    </a:lnTo>
                    <a:lnTo>
                      <a:pt x="283528" y="77788"/>
                    </a:lnTo>
                    <a:lnTo>
                      <a:pt x="283528" y="50165"/>
                    </a:lnTo>
                    <a:cubicBezTo>
                      <a:pt x="283528" y="43815"/>
                      <a:pt x="284480" y="39053"/>
                      <a:pt x="286703" y="35878"/>
                    </a:cubicBezTo>
                    <a:cubicBezTo>
                      <a:pt x="288925" y="32703"/>
                      <a:pt x="292735" y="30798"/>
                      <a:pt x="298133" y="30798"/>
                    </a:cubicBezTo>
                    <a:cubicBezTo>
                      <a:pt x="305753" y="30798"/>
                      <a:pt x="309563" y="34925"/>
                      <a:pt x="309563" y="43498"/>
                    </a:cubicBezTo>
                    <a:lnTo>
                      <a:pt x="309563" y="77788"/>
                    </a:lnTo>
                    <a:lnTo>
                      <a:pt x="320358" y="77788"/>
                    </a:lnTo>
                    <a:lnTo>
                      <a:pt x="320358" y="42228"/>
                    </a:lnTo>
                    <a:cubicBezTo>
                      <a:pt x="320358" y="35243"/>
                      <a:pt x="318770" y="30163"/>
                      <a:pt x="315278" y="26988"/>
                    </a:cubicBezTo>
                    <a:cubicBezTo>
                      <a:pt x="311785" y="23813"/>
                      <a:pt x="307023" y="22225"/>
                      <a:pt x="300673" y="22225"/>
                    </a:cubicBezTo>
                    <a:cubicBezTo>
                      <a:pt x="297180" y="21908"/>
                      <a:pt x="294005" y="22860"/>
                      <a:pt x="290830" y="24130"/>
                    </a:cubicBezTo>
                    <a:moveTo>
                      <a:pt x="245428" y="77788"/>
                    </a:moveTo>
                    <a:lnTo>
                      <a:pt x="256223" y="77788"/>
                    </a:lnTo>
                    <a:lnTo>
                      <a:pt x="256223" y="23178"/>
                    </a:lnTo>
                    <a:lnTo>
                      <a:pt x="245428" y="23178"/>
                    </a:lnTo>
                    <a:lnTo>
                      <a:pt x="245428" y="77788"/>
                    </a:lnTo>
                    <a:close/>
                    <a:moveTo>
                      <a:pt x="246380" y="3493"/>
                    </a:moveTo>
                    <a:cubicBezTo>
                      <a:pt x="245110" y="4445"/>
                      <a:pt x="244475" y="6033"/>
                      <a:pt x="244475" y="8255"/>
                    </a:cubicBezTo>
                    <a:cubicBezTo>
                      <a:pt x="244475" y="10478"/>
                      <a:pt x="245110" y="12065"/>
                      <a:pt x="246380" y="13018"/>
                    </a:cubicBezTo>
                    <a:cubicBezTo>
                      <a:pt x="247650" y="13970"/>
                      <a:pt x="248920" y="14605"/>
                      <a:pt x="250825" y="14605"/>
                    </a:cubicBezTo>
                    <a:cubicBezTo>
                      <a:pt x="252413" y="14605"/>
                      <a:pt x="254000" y="13970"/>
                      <a:pt x="254953" y="13018"/>
                    </a:cubicBezTo>
                    <a:cubicBezTo>
                      <a:pt x="255905" y="12065"/>
                      <a:pt x="256858" y="10478"/>
                      <a:pt x="256858" y="8255"/>
                    </a:cubicBezTo>
                    <a:cubicBezTo>
                      <a:pt x="256858" y="6033"/>
                      <a:pt x="256223" y="4445"/>
                      <a:pt x="254953" y="3493"/>
                    </a:cubicBezTo>
                    <a:cubicBezTo>
                      <a:pt x="253683" y="2540"/>
                      <a:pt x="252413" y="2223"/>
                      <a:pt x="250825" y="2223"/>
                    </a:cubicBezTo>
                    <a:cubicBezTo>
                      <a:pt x="249238" y="2223"/>
                      <a:pt x="247650" y="2540"/>
                      <a:pt x="246380" y="3493"/>
                    </a:cubicBezTo>
                    <a:moveTo>
                      <a:pt x="193675" y="65088"/>
                    </a:moveTo>
                    <a:cubicBezTo>
                      <a:pt x="191453" y="61913"/>
                      <a:pt x="190183" y="57150"/>
                      <a:pt x="190183" y="50800"/>
                    </a:cubicBezTo>
                    <a:cubicBezTo>
                      <a:pt x="190183" y="44450"/>
                      <a:pt x="191453" y="39688"/>
                      <a:pt x="193675" y="36195"/>
                    </a:cubicBezTo>
                    <a:cubicBezTo>
                      <a:pt x="195898" y="32703"/>
                      <a:pt x="199073" y="30798"/>
                      <a:pt x="203517" y="30798"/>
                    </a:cubicBezTo>
                    <a:cubicBezTo>
                      <a:pt x="208915" y="30798"/>
                      <a:pt x="212725" y="32385"/>
                      <a:pt x="214948" y="35878"/>
                    </a:cubicBezTo>
                    <a:cubicBezTo>
                      <a:pt x="216853" y="39370"/>
                      <a:pt x="218123" y="44133"/>
                      <a:pt x="218123" y="50483"/>
                    </a:cubicBezTo>
                    <a:lnTo>
                      <a:pt x="218123" y="52070"/>
                    </a:lnTo>
                    <a:cubicBezTo>
                      <a:pt x="218123" y="58103"/>
                      <a:pt x="216853" y="62548"/>
                      <a:pt x="214948" y="65405"/>
                    </a:cubicBezTo>
                    <a:cubicBezTo>
                      <a:pt x="213042" y="68263"/>
                      <a:pt x="209233" y="69850"/>
                      <a:pt x="203835" y="69850"/>
                    </a:cubicBezTo>
                    <a:cubicBezTo>
                      <a:pt x="199390" y="69850"/>
                      <a:pt x="195898" y="68263"/>
                      <a:pt x="193675" y="65088"/>
                    </a:cubicBezTo>
                    <a:moveTo>
                      <a:pt x="211455" y="76518"/>
                    </a:moveTo>
                    <a:cubicBezTo>
                      <a:pt x="213995" y="74930"/>
                      <a:pt x="216217" y="73025"/>
                      <a:pt x="217805" y="70485"/>
                    </a:cubicBezTo>
                    <a:lnTo>
                      <a:pt x="218440" y="70485"/>
                    </a:lnTo>
                    <a:lnTo>
                      <a:pt x="220345" y="77788"/>
                    </a:lnTo>
                    <a:lnTo>
                      <a:pt x="228917" y="77788"/>
                    </a:lnTo>
                    <a:lnTo>
                      <a:pt x="228917" y="635"/>
                    </a:lnTo>
                    <a:lnTo>
                      <a:pt x="218123" y="635"/>
                    </a:lnTo>
                    <a:lnTo>
                      <a:pt x="218123" y="21273"/>
                    </a:lnTo>
                    <a:cubicBezTo>
                      <a:pt x="218123" y="22543"/>
                      <a:pt x="218123" y="24130"/>
                      <a:pt x="218440" y="26035"/>
                    </a:cubicBezTo>
                    <a:cubicBezTo>
                      <a:pt x="218758" y="27940"/>
                      <a:pt x="218758" y="29210"/>
                      <a:pt x="219075" y="30163"/>
                    </a:cubicBezTo>
                    <a:lnTo>
                      <a:pt x="218440" y="30163"/>
                    </a:lnTo>
                    <a:cubicBezTo>
                      <a:pt x="216853" y="27940"/>
                      <a:pt x="214630" y="26035"/>
                      <a:pt x="212090" y="24448"/>
                    </a:cubicBezTo>
                    <a:cubicBezTo>
                      <a:pt x="209550" y="22860"/>
                      <a:pt x="206058" y="22225"/>
                      <a:pt x="201930" y="22225"/>
                    </a:cubicBezTo>
                    <a:cubicBezTo>
                      <a:pt x="195263" y="22225"/>
                      <a:pt x="189865" y="24765"/>
                      <a:pt x="185738" y="29528"/>
                    </a:cubicBezTo>
                    <a:cubicBezTo>
                      <a:pt x="181610" y="34290"/>
                      <a:pt x="179705" y="41593"/>
                      <a:pt x="179705" y="50800"/>
                    </a:cubicBezTo>
                    <a:cubicBezTo>
                      <a:pt x="179705" y="60008"/>
                      <a:pt x="181610" y="67310"/>
                      <a:pt x="185738" y="72073"/>
                    </a:cubicBezTo>
                    <a:cubicBezTo>
                      <a:pt x="189865" y="76835"/>
                      <a:pt x="194945" y="79058"/>
                      <a:pt x="201613" y="79058"/>
                    </a:cubicBezTo>
                    <a:cubicBezTo>
                      <a:pt x="205423" y="78740"/>
                      <a:pt x="208915" y="78105"/>
                      <a:pt x="211455" y="76518"/>
                    </a:cubicBezTo>
                    <a:moveTo>
                      <a:pt x="165417" y="635"/>
                    </a:moveTo>
                    <a:lnTo>
                      <a:pt x="154623" y="635"/>
                    </a:lnTo>
                    <a:lnTo>
                      <a:pt x="154623" y="77788"/>
                    </a:lnTo>
                    <a:lnTo>
                      <a:pt x="165417" y="77788"/>
                    </a:lnTo>
                    <a:lnTo>
                      <a:pt x="165417" y="635"/>
                    </a:lnTo>
                    <a:close/>
                    <a:moveTo>
                      <a:pt x="127000" y="77788"/>
                    </a:moveTo>
                    <a:lnTo>
                      <a:pt x="137795" y="77788"/>
                    </a:lnTo>
                    <a:lnTo>
                      <a:pt x="137795" y="23178"/>
                    </a:lnTo>
                    <a:lnTo>
                      <a:pt x="127000" y="23178"/>
                    </a:lnTo>
                    <a:lnTo>
                      <a:pt x="127000" y="77788"/>
                    </a:lnTo>
                    <a:close/>
                    <a:moveTo>
                      <a:pt x="128270" y="3493"/>
                    </a:moveTo>
                    <a:cubicBezTo>
                      <a:pt x="127000" y="4445"/>
                      <a:pt x="126365" y="6033"/>
                      <a:pt x="126365" y="8255"/>
                    </a:cubicBezTo>
                    <a:cubicBezTo>
                      <a:pt x="126365" y="10478"/>
                      <a:pt x="127000" y="12065"/>
                      <a:pt x="128270" y="13018"/>
                    </a:cubicBezTo>
                    <a:cubicBezTo>
                      <a:pt x="129540" y="13970"/>
                      <a:pt x="130810" y="14605"/>
                      <a:pt x="132715" y="14605"/>
                    </a:cubicBezTo>
                    <a:cubicBezTo>
                      <a:pt x="134303" y="14605"/>
                      <a:pt x="135890" y="13970"/>
                      <a:pt x="136842" y="13018"/>
                    </a:cubicBezTo>
                    <a:cubicBezTo>
                      <a:pt x="138113" y="12065"/>
                      <a:pt x="138748" y="10478"/>
                      <a:pt x="138748" y="8255"/>
                    </a:cubicBezTo>
                    <a:cubicBezTo>
                      <a:pt x="138748" y="6033"/>
                      <a:pt x="138113" y="4445"/>
                      <a:pt x="136842" y="3493"/>
                    </a:cubicBezTo>
                    <a:cubicBezTo>
                      <a:pt x="135573" y="2540"/>
                      <a:pt x="134303" y="2223"/>
                      <a:pt x="132715" y="2223"/>
                    </a:cubicBezTo>
                    <a:cubicBezTo>
                      <a:pt x="130810" y="2223"/>
                      <a:pt x="129540" y="2540"/>
                      <a:pt x="128270" y="3493"/>
                    </a:cubicBezTo>
                    <a:moveTo>
                      <a:pt x="99378" y="23178"/>
                    </a:moveTo>
                    <a:lnTo>
                      <a:pt x="99378" y="50800"/>
                    </a:lnTo>
                    <a:cubicBezTo>
                      <a:pt x="99378" y="57150"/>
                      <a:pt x="98425" y="61913"/>
                      <a:pt x="96203" y="65088"/>
                    </a:cubicBezTo>
                    <a:cubicBezTo>
                      <a:pt x="93980" y="68263"/>
                      <a:pt x="90170" y="70168"/>
                      <a:pt x="84455" y="70168"/>
                    </a:cubicBezTo>
                    <a:cubicBezTo>
                      <a:pt x="80645" y="70168"/>
                      <a:pt x="77788" y="69215"/>
                      <a:pt x="76200" y="66993"/>
                    </a:cubicBezTo>
                    <a:cubicBezTo>
                      <a:pt x="74295" y="64770"/>
                      <a:pt x="73660" y="61595"/>
                      <a:pt x="73660" y="57468"/>
                    </a:cubicBezTo>
                    <a:lnTo>
                      <a:pt x="73660" y="23178"/>
                    </a:lnTo>
                    <a:lnTo>
                      <a:pt x="62865" y="23178"/>
                    </a:lnTo>
                    <a:lnTo>
                      <a:pt x="62865" y="59055"/>
                    </a:lnTo>
                    <a:cubicBezTo>
                      <a:pt x="62865" y="66040"/>
                      <a:pt x="64453" y="71120"/>
                      <a:pt x="67945" y="74295"/>
                    </a:cubicBezTo>
                    <a:cubicBezTo>
                      <a:pt x="71438" y="77470"/>
                      <a:pt x="76200" y="79058"/>
                      <a:pt x="82550" y="79058"/>
                    </a:cubicBezTo>
                    <a:cubicBezTo>
                      <a:pt x="86042" y="79058"/>
                      <a:pt x="89217" y="78423"/>
                      <a:pt x="92392" y="77153"/>
                    </a:cubicBezTo>
                    <a:cubicBezTo>
                      <a:pt x="95567" y="75883"/>
                      <a:pt x="97790" y="73660"/>
                      <a:pt x="99695" y="70803"/>
                    </a:cubicBezTo>
                    <a:lnTo>
                      <a:pt x="100330" y="70803"/>
                    </a:lnTo>
                    <a:lnTo>
                      <a:pt x="101917" y="78105"/>
                    </a:lnTo>
                    <a:lnTo>
                      <a:pt x="110490" y="78105"/>
                    </a:lnTo>
                    <a:lnTo>
                      <a:pt x="110490" y="23178"/>
                    </a:lnTo>
                    <a:lnTo>
                      <a:pt x="99378" y="23178"/>
                    </a:lnTo>
                    <a:close/>
                    <a:moveTo>
                      <a:pt x="38417" y="50165"/>
                    </a:moveTo>
                    <a:cubicBezTo>
                      <a:pt x="38417" y="56515"/>
                      <a:pt x="37465" y="61278"/>
                      <a:pt x="35242" y="64770"/>
                    </a:cubicBezTo>
                    <a:cubicBezTo>
                      <a:pt x="33020" y="68263"/>
                      <a:pt x="29845" y="69850"/>
                      <a:pt x="25400" y="69850"/>
                    </a:cubicBezTo>
                    <a:cubicBezTo>
                      <a:pt x="20003" y="69850"/>
                      <a:pt x="16192" y="68263"/>
                      <a:pt x="14288" y="64770"/>
                    </a:cubicBezTo>
                    <a:cubicBezTo>
                      <a:pt x="12383" y="61278"/>
                      <a:pt x="11430" y="56515"/>
                      <a:pt x="11430" y="50165"/>
                    </a:cubicBezTo>
                    <a:lnTo>
                      <a:pt x="11430" y="49213"/>
                    </a:lnTo>
                    <a:cubicBezTo>
                      <a:pt x="11430" y="42863"/>
                      <a:pt x="12700" y="38100"/>
                      <a:pt x="14605" y="34925"/>
                    </a:cubicBezTo>
                    <a:cubicBezTo>
                      <a:pt x="16510" y="31750"/>
                      <a:pt x="20320" y="30163"/>
                      <a:pt x="25400" y="30163"/>
                    </a:cubicBezTo>
                    <a:cubicBezTo>
                      <a:pt x="33973" y="30798"/>
                      <a:pt x="38417" y="37465"/>
                      <a:pt x="38417" y="50165"/>
                    </a:cubicBezTo>
                    <a:moveTo>
                      <a:pt x="0" y="635"/>
                    </a:moveTo>
                    <a:lnTo>
                      <a:pt x="0" y="77788"/>
                    </a:lnTo>
                    <a:lnTo>
                      <a:pt x="7938" y="77788"/>
                    </a:lnTo>
                    <a:lnTo>
                      <a:pt x="9842" y="71120"/>
                    </a:lnTo>
                    <a:lnTo>
                      <a:pt x="10795" y="71120"/>
                    </a:lnTo>
                    <a:cubicBezTo>
                      <a:pt x="12383" y="73343"/>
                      <a:pt x="14288" y="74930"/>
                      <a:pt x="17145" y="76518"/>
                    </a:cubicBezTo>
                    <a:cubicBezTo>
                      <a:pt x="19685" y="78105"/>
                      <a:pt x="23178" y="78740"/>
                      <a:pt x="27305" y="78740"/>
                    </a:cubicBezTo>
                    <a:cubicBezTo>
                      <a:pt x="33973" y="78740"/>
                      <a:pt x="39053" y="76200"/>
                      <a:pt x="43180" y="71438"/>
                    </a:cubicBezTo>
                    <a:cubicBezTo>
                      <a:pt x="47308" y="66675"/>
                      <a:pt x="49213" y="59690"/>
                      <a:pt x="49213" y="50165"/>
                    </a:cubicBezTo>
                    <a:cubicBezTo>
                      <a:pt x="49213" y="40958"/>
                      <a:pt x="47308" y="33655"/>
                      <a:pt x="43180" y="28893"/>
                    </a:cubicBezTo>
                    <a:cubicBezTo>
                      <a:pt x="39053" y="24130"/>
                      <a:pt x="33973" y="21908"/>
                      <a:pt x="27305" y="21908"/>
                    </a:cubicBezTo>
                    <a:cubicBezTo>
                      <a:pt x="23178" y="21908"/>
                      <a:pt x="19685" y="22543"/>
                      <a:pt x="17145" y="24130"/>
                    </a:cubicBezTo>
                    <a:cubicBezTo>
                      <a:pt x="14605" y="25718"/>
                      <a:pt x="12383" y="27623"/>
                      <a:pt x="10795" y="29845"/>
                    </a:cubicBezTo>
                    <a:lnTo>
                      <a:pt x="10160" y="29845"/>
                    </a:lnTo>
                    <a:cubicBezTo>
                      <a:pt x="10160" y="28893"/>
                      <a:pt x="10478" y="27305"/>
                      <a:pt x="10478" y="25083"/>
                    </a:cubicBezTo>
                    <a:cubicBezTo>
                      <a:pt x="10478" y="22860"/>
                      <a:pt x="10478" y="20955"/>
                      <a:pt x="10478" y="18733"/>
                    </a:cubicBezTo>
                    <a:lnTo>
                      <a:pt x="10478" y="0"/>
                    </a:lnTo>
                    <a:lnTo>
                      <a:pt x="0" y="0"/>
                    </a:lnTo>
                    <a:close/>
                  </a:path>
                </a:pathLst>
              </a:custGeom>
              <a:grpFill/>
              <a:ln w="3175" cap="flat">
                <a:noFill/>
                <a:prstDash val="solid"/>
                <a:miter/>
              </a:ln>
            </p:spPr>
            <p:txBody>
              <a:bodyPr rtlCol="0" anchor="ctr"/>
              <a:lstStyle/>
              <a:p>
                <a:endParaRPr lang="en-GB">
                  <a:solidFill>
                    <a:srgbClr val="000000"/>
                  </a:solidFill>
                  <a:latin typeface="Verdana"/>
                </a:endParaRPr>
              </a:p>
            </p:txBody>
          </p:sp>
          <p:sp>
            <p:nvSpPr>
              <p:cNvPr id="41" name="Freeform: Shape 40">
                <a:extLst>
                  <a:ext uri="{FF2B5EF4-FFF2-40B4-BE49-F238E27FC236}">
                    <a16:creationId xmlns:a16="http://schemas.microsoft.com/office/drawing/2014/main" id="{0A7B9021-91F0-412F-862B-7F3DBA7491E5}"/>
                  </a:ext>
                </a:extLst>
              </p:cNvPr>
              <p:cNvSpPr/>
              <p:nvPr/>
            </p:nvSpPr>
            <p:spPr>
              <a:xfrm>
                <a:off x="6093778" y="3461703"/>
                <a:ext cx="1069975" cy="101600"/>
              </a:xfrm>
              <a:custGeom>
                <a:avLst/>
                <a:gdLst>
                  <a:gd name="connsiteX0" fmla="*/ 1041400 w 1069975"/>
                  <a:gd name="connsiteY0" fmla="*/ 77788 h 101600"/>
                  <a:gd name="connsiteX1" fmla="*/ 1039178 w 1069975"/>
                  <a:gd name="connsiteY1" fmla="*/ 83820 h 101600"/>
                  <a:gd name="connsiteX2" fmla="*/ 1034732 w 1069975"/>
                  <a:gd name="connsiteY2" fmla="*/ 90805 h 101600"/>
                  <a:gd name="connsiteX3" fmla="*/ 1027113 w 1069975"/>
                  <a:gd name="connsiteY3" fmla="*/ 93345 h 101600"/>
                  <a:gd name="connsiteX4" fmla="*/ 1023620 w 1069975"/>
                  <a:gd name="connsiteY4" fmla="*/ 93027 h 101600"/>
                  <a:gd name="connsiteX5" fmla="*/ 1021080 w 1069975"/>
                  <a:gd name="connsiteY5" fmla="*/ 92710 h 101600"/>
                  <a:gd name="connsiteX6" fmla="*/ 1021080 w 1069975"/>
                  <a:gd name="connsiteY6" fmla="*/ 101282 h 101600"/>
                  <a:gd name="connsiteX7" fmla="*/ 1024255 w 1069975"/>
                  <a:gd name="connsiteY7" fmla="*/ 101917 h 101600"/>
                  <a:gd name="connsiteX8" fmla="*/ 1028700 w 1069975"/>
                  <a:gd name="connsiteY8" fmla="*/ 102235 h 101600"/>
                  <a:gd name="connsiteX9" fmla="*/ 1041400 w 1069975"/>
                  <a:gd name="connsiteY9" fmla="*/ 97790 h 101600"/>
                  <a:gd name="connsiteX10" fmla="*/ 1049338 w 1069975"/>
                  <a:gd name="connsiteY10" fmla="*/ 85407 h 101600"/>
                  <a:gd name="connsiteX11" fmla="*/ 1072832 w 1069975"/>
                  <a:gd name="connsiteY11" fmla="*/ 23177 h 101600"/>
                  <a:gd name="connsiteX12" fmla="*/ 1061403 w 1069975"/>
                  <a:gd name="connsiteY12" fmla="*/ 23177 h 101600"/>
                  <a:gd name="connsiteX13" fmla="*/ 1050607 w 1069975"/>
                  <a:gd name="connsiteY13" fmla="*/ 54292 h 101600"/>
                  <a:gd name="connsiteX14" fmla="*/ 1048067 w 1069975"/>
                  <a:gd name="connsiteY14" fmla="*/ 61595 h 101600"/>
                  <a:gd name="connsiteX15" fmla="*/ 1046480 w 1069975"/>
                  <a:gd name="connsiteY15" fmla="*/ 67945 h 101600"/>
                  <a:gd name="connsiteX16" fmla="*/ 1046163 w 1069975"/>
                  <a:gd name="connsiteY16" fmla="*/ 67945 h 101600"/>
                  <a:gd name="connsiteX17" fmla="*/ 1044892 w 1069975"/>
                  <a:gd name="connsiteY17" fmla="*/ 61595 h 101600"/>
                  <a:gd name="connsiteX18" fmla="*/ 1042670 w 1069975"/>
                  <a:gd name="connsiteY18" fmla="*/ 54927 h 101600"/>
                  <a:gd name="connsiteX19" fmla="*/ 1031240 w 1069975"/>
                  <a:gd name="connsiteY19" fmla="*/ 23813 h 101600"/>
                  <a:gd name="connsiteX20" fmla="*/ 1019810 w 1069975"/>
                  <a:gd name="connsiteY20" fmla="*/ 23813 h 101600"/>
                  <a:gd name="connsiteX21" fmla="*/ 1041400 w 1069975"/>
                  <a:gd name="connsiteY21" fmla="*/ 77788 h 101600"/>
                  <a:gd name="connsiteX22" fmla="*/ 1004888 w 1069975"/>
                  <a:gd name="connsiteY22" fmla="*/ 50165 h 101600"/>
                  <a:gd name="connsiteX23" fmla="*/ 1001713 w 1069975"/>
                  <a:gd name="connsiteY23" fmla="*/ 64770 h 101600"/>
                  <a:gd name="connsiteX24" fmla="*/ 991870 w 1069975"/>
                  <a:gd name="connsiteY24" fmla="*/ 69850 h 101600"/>
                  <a:gd name="connsiteX25" fmla="*/ 980757 w 1069975"/>
                  <a:gd name="connsiteY25" fmla="*/ 64770 h 101600"/>
                  <a:gd name="connsiteX26" fmla="*/ 977900 w 1069975"/>
                  <a:gd name="connsiteY26" fmla="*/ 50165 h 101600"/>
                  <a:gd name="connsiteX27" fmla="*/ 977900 w 1069975"/>
                  <a:gd name="connsiteY27" fmla="*/ 49213 h 101600"/>
                  <a:gd name="connsiteX28" fmla="*/ 981075 w 1069975"/>
                  <a:gd name="connsiteY28" fmla="*/ 34925 h 101600"/>
                  <a:gd name="connsiteX29" fmla="*/ 991870 w 1069975"/>
                  <a:gd name="connsiteY29" fmla="*/ 30163 h 101600"/>
                  <a:gd name="connsiteX30" fmla="*/ 1004888 w 1069975"/>
                  <a:gd name="connsiteY30" fmla="*/ 50165 h 101600"/>
                  <a:gd name="connsiteX31" fmla="*/ 966788 w 1069975"/>
                  <a:gd name="connsiteY31" fmla="*/ 635 h 101600"/>
                  <a:gd name="connsiteX32" fmla="*/ 966788 w 1069975"/>
                  <a:gd name="connsiteY32" fmla="*/ 77788 h 101600"/>
                  <a:gd name="connsiteX33" fmla="*/ 974725 w 1069975"/>
                  <a:gd name="connsiteY33" fmla="*/ 77788 h 101600"/>
                  <a:gd name="connsiteX34" fmla="*/ 976630 w 1069975"/>
                  <a:gd name="connsiteY34" fmla="*/ 71120 h 101600"/>
                  <a:gd name="connsiteX35" fmla="*/ 977582 w 1069975"/>
                  <a:gd name="connsiteY35" fmla="*/ 71120 h 101600"/>
                  <a:gd name="connsiteX36" fmla="*/ 983932 w 1069975"/>
                  <a:gd name="connsiteY36" fmla="*/ 76517 h 101600"/>
                  <a:gd name="connsiteX37" fmla="*/ 994092 w 1069975"/>
                  <a:gd name="connsiteY37" fmla="*/ 78740 h 101600"/>
                  <a:gd name="connsiteX38" fmla="*/ 1009967 w 1069975"/>
                  <a:gd name="connsiteY38" fmla="*/ 71438 h 101600"/>
                  <a:gd name="connsiteX39" fmla="*/ 1016000 w 1069975"/>
                  <a:gd name="connsiteY39" fmla="*/ 50165 h 101600"/>
                  <a:gd name="connsiteX40" fmla="*/ 1009967 w 1069975"/>
                  <a:gd name="connsiteY40" fmla="*/ 28892 h 101600"/>
                  <a:gd name="connsiteX41" fmla="*/ 994092 w 1069975"/>
                  <a:gd name="connsiteY41" fmla="*/ 21907 h 101600"/>
                  <a:gd name="connsiteX42" fmla="*/ 983932 w 1069975"/>
                  <a:gd name="connsiteY42" fmla="*/ 24130 h 101600"/>
                  <a:gd name="connsiteX43" fmla="*/ 977582 w 1069975"/>
                  <a:gd name="connsiteY43" fmla="*/ 29845 h 101600"/>
                  <a:gd name="connsiteX44" fmla="*/ 976947 w 1069975"/>
                  <a:gd name="connsiteY44" fmla="*/ 29845 h 101600"/>
                  <a:gd name="connsiteX45" fmla="*/ 977265 w 1069975"/>
                  <a:gd name="connsiteY45" fmla="*/ 25082 h 101600"/>
                  <a:gd name="connsiteX46" fmla="*/ 977265 w 1069975"/>
                  <a:gd name="connsiteY46" fmla="*/ 18732 h 101600"/>
                  <a:gd name="connsiteX47" fmla="*/ 977265 w 1069975"/>
                  <a:gd name="connsiteY47" fmla="*/ 0 h 101600"/>
                  <a:gd name="connsiteX48" fmla="*/ 966788 w 1069975"/>
                  <a:gd name="connsiteY48" fmla="*/ 0 h 101600"/>
                  <a:gd name="connsiteX49" fmla="*/ 910590 w 1069975"/>
                  <a:gd name="connsiteY49" fmla="*/ 35560 h 101600"/>
                  <a:gd name="connsiteX50" fmla="*/ 913130 w 1069975"/>
                  <a:gd name="connsiteY50" fmla="*/ 43815 h 101600"/>
                  <a:gd name="connsiteX51" fmla="*/ 891857 w 1069975"/>
                  <a:gd name="connsiteY51" fmla="*/ 43815 h 101600"/>
                  <a:gd name="connsiteX52" fmla="*/ 895350 w 1069975"/>
                  <a:gd name="connsiteY52" fmla="*/ 34925 h 101600"/>
                  <a:gd name="connsiteX53" fmla="*/ 902653 w 1069975"/>
                  <a:gd name="connsiteY53" fmla="*/ 32067 h 101600"/>
                  <a:gd name="connsiteX54" fmla="*/ 910590 w 1069975"/>
                  <a:gd name="connsiteY54" fmla="*/ 35560 h 101600"/>
                  <a:gd name="connsiteX55" fmla="*/ 889000 w 1069975"/>
                  <a:gd name="connsiteY55" fmla="*/ 24447 h 101600"/>
                  <a:gd name="connsiteX56" fmla="*/ 879792 w 1069975"/>
                  <a:gd name="connsiteY56" fmla="*/ 34290 h 101600"/>
                  <a:gd name="connsiteX57" fmla="*/ 876617 w 1069975"/>
                  <a:gd name="connsiteY57" fmla="*/ 50482 h 101600"/>
                  <a:gd name="connsiteX58" fmla="*/ 880428 w 1069975"/>
                  <a:gd name="connsiteY58" fmla="*/ 66357 h 101600"/>
                  <a:gd name="connsiteX59" fmla="*/ 890588 w 1069975"/>
                  <a:gd name="connsiteY59" fmla="*/ 75565 h 101600"/>
                  <a:gd name="connsiteX60" fmla="*/ 905192 w 1069975"/>
                  <a:gd name="connsiteY60" fmla="*/ 78740 h 101600"/>
                  <a:gd name="connsiteX61" fmla="*/ 915988 w 1069975"/>
                  <a:gd name="connsiteY61" fmla="*/ 77788 h 101600"/>
                  <a:gd name="connsiteX62" fmla="*/ 924560 w 1069975"/>
                  <a:gd name="connsiteY62" fmla="*/ 74930 h 101600"/>
                  <a:gd name="connsiteX63" fmla="*/ 924560 w 1069975"/>
                  <a:gd name="connsiteY63" fmla="*/ 63182 h 101600"/>
                  <a:gd name="connsiteX64" fmla="*/ 915353 w 1069975"/>
                  <a:gd name="connsiteY64" fmla="*/ 66357 h 101600"/>
                  <a:gd name="connsiteX65" fmla="*/ 905510 w 1069975"/>
                  <a:gd name="connsiteY65" fmla="*/ 67310 h 101600"/>
                  <a:gd name="connsiteX66" fmla="*/ 895350 w 1069975"/>
                  <a:gd name="connsiteY66" fmla="*/ 63500 h 101600"/>
                  <a:gd name="connsiteX67" fmla="*/ 891540 w 1069975"/>
                  <a:gd name="connsiteY67" fmla="*/ 53340 h 101600"/>
                  <a:gd name="connsiteX68" fmla="*/ 927417 w 1069975"/>
                  <a:gd name="connsiteY68" fmla="*/ 53340 h 101600"/>
                  <a:gd name="connsiteX69" fmla="*/ 927417 w 1069975"/>
                  <a:gd name="connsiteY69" fmla="*/ 46038 h 101600"/>
                  <a:gd name="connsiteX70" fmla="*/ 920750 w 1069975"/>
                  <a:gd name="connsiteY70" fmla="*/ 27305 h 101600"/>
                  <a:gd name="connsiteX71" fmla="*/ 902653 w 1069975"/>
                  <a:gd name="connsiteY71" fmla="*/ 20638 h 101600"/>
                  <a:gd name="connsiteX72" fmla="*/ 889000 w 1069975"/>
                  <a:gd name="connsiteY72" fmla="*/ 24447 h 101600"/>
                  <a:gd name="connsiteX73" fmla="*/ 859790 w 1069975"/>
                  <a:gd name="connsiteY73" fmla="*/ 77788 h 101600"/>
                  <a:gd name="connsiteX74" fmla="*/ 867092 w 1069975"/>
                  <a:gd name="connsiteY74" fmla="*/ 74613 h 101600"/>
                  <a:gd name="connsiteX75" fmla="*/ 867092 w 1069975"/>
                  <a:gd name="connsiteY75" fmla="*/ 61595 h 101600"/>
                  <a:gd name="connsiteX76" fmla="*/ 860107 w 1069975"/>
                  <a:gd name="connsiteY76" fmla="*/ 65088 h 101600"/>
                  <a:gd name="connsiteX77" fmla="*/ 851535 w 1069975"/>
                  <a:gd name="connsiteY77" fmla="*/ 66357 h 101600"/>
                  <a:gd name="connsiteX78" fmla="*/ 842963 w 1069975"/>
                  <a:gd name="connsiteY78" fmla="*/ 62547 h 101600"/>
                  <a:gd name="connsiteX79" fmla="*/ 839788 w 1069975"/>
                  <a:gd name="connsiteY79" fmla="*/ 50165 h 101600"/>
                  <a:gd name="connsiteX80" fmla="*/ 851535 w 1069975"/>
                  <a:gd name="connsiteY80" fmla="*/ 33338 h 101600"/>
                  <a:gd name="connsiteX81" fmla="*/ 857567 w 1069975"/>
                  <a:gd name="connsiteY81" fmla="*/ 34290 h 101600"/>
                  <a:gd name="connsiteX82" fmla="*/ 864235 w 1069975"/>
                  <a:gd name="connsiteY82" fmla="*/ 36513 h 101600"/>
                  <a:gd name="connsiteX83" fmla="*/ 868680 w 1069975"/>
                  <a:gd name="connsiteY83" fmla="*/ 24765 h 101600"/>
                  <a:gd name="connsiteX84" fmla="*/ 861378 w 1069975"/>
                  <a:gd name="connsiteY84" fmla="*/ 22225 h 101600"/>
                  <a:gd name="connsiteX85" fmla="*/ 851535 w 1069975"/>
                  <a:gd name="connsiteY85" fmla="*/ 20955 h 101600"/>
                  <a:gd name="connsiteX86" fmla="*/ 837247 w 1069975"/>
                  <a:gd name="connsiteY86" fmla="*/ 24130 h 101600"/>
                  <a:gd name="connsiteX87" fmla="*/ 827722 w 1069975"/>
                  <a:gd name="connsiteY87" fmla="*/ 33655 h 101600"/>
                  <a:gd name="connsiteX88" fmla="*/ 824230 w 1069975"/>
                  <a:gd name="connsiteY88" fmla="*/ 50165 h 101600"/>
                  <a:gd name="connsiteX89" fmla="*/ 830897 w 1069975"/>
                  <a:gd name="connsiteY89" fmla="*/ 71755 h 101600"/>
                  <a:gd name="connsiteX90" fmla="*/ 849947 w 1069975"/>
                  <a:gd name="connsiteY90" fmla="*/ 78422 h 101600"/>
                  <a:gd name="connsiteX91" fmla="*/ 859790 w 1069975"/>
                  <a:gd name="connsiteY91" fmla="*/ 77788 h 101600"/>
                  <a:gd name="connsiteX92" fmla="*/ 782320 w 1069975"/>
                  <a:gd name="connsiteY92" fmla="*/ 23177 h 101600"/>
                  <a:gd name="connsiteX93" fmla="*/ 775017 w 1069975"/>
                  <a:gd name="connsiteY93" fmla="*/ 29527 h 101600"/>
                  <a:gd name="connsiteX94" fmla="*/ 774065 w 1069975"/>
                  <a:gd name="connsiteY94" fmla="*/ 29527 h 101600"/>
                  <a:gd name="connsiteX95" fmla="*/ 772160 w 1069975"/>
                  <a:gd name="connsiteY95" fmla="*/ 22542 h 101600"/>
                  <a:gd name="connsiteX96" fmla="*/ 760730 w 1069975"/>
                  <a:gd name="connsiteY96" fmla="*/ 22542 h 101600"/>
                  <a:gd name="connsiteX97" fmla="*/ 760730 w 1069975"/>
                  <a:gd name="connsiteY97" fmla="*/ 78105 h 101600"/>
                  <a:gd name="connsiteX98" fmla="*/ 775970 w 1069975"/>
                  <a:gd name="connsiteY98" fmla="*/ 78105 h 101600"/>
                  <a:gd name="connsiteX99" fmla="*/ 775970 w 1069975"/>
                  <a:gd name="connsiteY99" fmla="*/ 52070 h 101600"/>
                  <a:gd name="connsiteX100" fmla="*/ 778510 w 1069975"/>
                  <a:gd name="connsiteY100" fmla="*/ 38417 h 101600"/>
                  <a:gd name="connsiteX101" fmla="*/ 788035 w 1069975"/>
                  <a:gd name="connsiteY101" fmla="*/ 33655 h 101600"/>
                  <a:gd name="connsiteX102" fmla="*/ 794703 w 1069975"/>
                  <a:gd name="connsiteY102" fmla="*/ 36513 h 101600"/>
                  <a:gd name="connsiteX103" fmla="*/ 796925 w 1069975"/>
                  <a:gd name="connsiteY103" fmla="*/ 45402 h 101600"/>
                  <a:gd name="connsiteX104" fmla="*/ 796925 w 1069975"/>
                  <a:gd name="connsiteY104" fmla="*/ 77788 h 101600"/>
                  <a:gd name="connsiteX105" fmla="*/ 812165 w 1069975"/>
                  <a:gd name="connsiteY105" fmla="*/ 77788 h 101600"/>
                  <a:gd name="connsiteX106" fmla="*/ 812165 w 1069975"/>
                  <a:gd name="connsiteY106" fmla="*/ 41592 h 101600"/>
                  <a:gd name="connsiteX107" fmla="*/ 806767 w 1069975"/>
                  <a:gd name="connsiteY107" fmla="*/ 26035 h 101600"/>
                  <a:gd name="connsiteX108" fmla="*/ 792480 w 1069975"/>
                  <a:gd name="connsiteY108" fmla="*/ 21272 h 101600"/>
                  <a:gd name="connsiteX109" fmla="*/ 782320 w 1069975"/>
                  <a:gd name="connsiteY109" fmla="*/ 23177 h 101600"/>
                  <a:gd name="connsiteX110" fmla="*/ 731520 w 1069975"/>
                  <a:gd name="connsiteY110" fmla="*/ 35560 h 101600"/>
                  <a:gd name="connsiteX111" fmla="*/ 734060 w 1069975"/>
                  <a:gd name="connsiteY111" fmla="*/ 43815 h 101600"/>
                  <a:gd name="connsiteX112" fmla="*/ 712788 w 1069975"/>
                  <a:gd name="connsiteY112" fmla="*/ 43815 h 101600"/>
                  <a:gd name="connsiteX113" fmla="*/ 716280 w 1069975"/>
                  <a:gd name="connsiteY113" fmla="*/ 34925 h 101600"/>
                  <a:gd name="connsiteX114" fmla="*/ 723582 w 1069975"/>
                  <a:gd name="connsiteY114" fmla="*/ 32067 h 101600"/>
                  <a:gd name="connsiteX115" fmla="*/ 731520 w 1069975"/>
                  <a:gd name="connsiteY115" fmla="*/ 35560 h 101600"/>
                  <a:gd name="connsiteX116" fmla="*/ 709930 w 1069975"/>
                  <a:gd name="connsiteY116" fmla="*/ 24447 h 101600"/>
                  <a:gd name="connsiteX117" fmla="*/ 700722 w 1069975"/>
                  <a:gd name="connsiteY117" fmla="*/ 34290 h 101600"/>
                  <a:gd name="connsiteX118" fmla="*/ 697547 w 1069975"/>
                  <a:gd name="connsiteY118" fmla="*/ 50482 h 101600"/>
                  <a:gd name="connsiteX119" fmla="*/ 701357 w 1069975"/>
                  <a:gd name="connsiteY119" fmla="*/ 66357 h 101600"/>
                  <a:gd name="connsiteX120" fmla="*/ 711517 w 1069975"/>
                  <a:gd name="connsiteY120" fmla="*/ 75565 h 101600"/>
                  <a:gd name="connsiteX121" fmla="*/ 726122 w 1069975"/>
                  <a:gd name="connsiteY121" fmla="*/ 78740 h 101600"/>
                  <a:gd name="connsiteX122" fmla="*/ 736917 w 1069975"/>
                  <a:gd name="connsiteY122" fmla="*/ 77788 h 101600"/>
                  <a:gd name="connsiteX123" fmla="*/ 745490 w 1069975"/>
                  <a:gd name="connsiteY123" fmla="*/ 74930 h 101600"/>
                  <a:gd name="connsiteX124" fmla="*/ 745490 w 1069975"/>
                  <a:gd name="connsiteY124" fmla="*/ 63182 h 101600"/>
                  <a:gd name="connsiteX125" fmla="*/ 736282 w 1069975"/>
                  <a:gd name="connsiteY125" fmla="*/ 66357 h 101600"/>
                  <a:gd name="connsiteX126" fmla="*/ 726440 w 1069975"/>
                  <a:gd name="connsiteY126" fmla="*/ 67310 h 101600"/>
                  <a:gd name="connsiteX127" fmla="*/ 716280 w 1069975"/>
                  <a:gd name="connsiteY127" fmla="*/ 63500 h 101600"/>
                  <a:gd name="connsiteX128" fmla="*/ 712470 w 1069975"/>
                  <a:gd name="connsiteY128" fmla="*/ 53340 h 101600"/>
                  <a:gd name="connsiteX129" fmla="*/ 748347 w 1069975"/>
                  <a:gd name="connsiteY129" fmla="*/ 53340 h 101600"/>
                  <a:gd name="connsiteX130" fmla="*/ 748347 w 1069975"/>
                  <a:gd name="connsiteY130" fmla="*/ 46038 h 101600"/>
                  <a:gd name="connsiteX131" fmla="*/ 741680 w 1069975"/>
                  <a:gd name="connsiteY131" fmla="*/ 27305 h 101600"/>
                  <a:gd name="connsiteX132" fmla="*/ 723582 w 1069975"/>
                  <a:gd name="connsiteY132" fmla="*/ 20638 h 101600"/>
                  <a:gd name="connsiteX133" fmla="*/ 709930 w 1069975"/>
                  <a:gd name="connsiteY133" fmla="*/ 24447 h 101600"/>
                  <a:gd name="connsiteX134" fmla="*/ 687070 w 1069975"/>
                  <a:gd name="connsiteY134" fmla="*/ 53340 h 101600"/>
                  <a:gd name="connsiteX135" fmla="*/ 681672 w 1069975"/>
                  <a:gd name="connsiteY135" fmla="*/ 48260 h 101600"/>
                  <a:gd name="connsiteX136" fmla="*/ 673417 w 1069975"/>
                  <a:gd name="connsiteY136" fmla="*/ 44132 h 101600"/>
                  <a:gd name="connsiteX137" fmla="*/ 666115 w 1069975"/>
                  <a:gd name="connsiteY137" fmla="*/ 40957 h 101600"/>
                  <a:gd name="connsiteX138" fmla="*/ 662622 w 1069975"/>
                  <a:gd name="connsiteY138" fmla="*/ 38735 h 101600"/>
                  <a:gd name="connsiteX139" fmla="*/ 661670 w 1069975"/>
                  <a:gd name="connsiteY139" fmla="*/ 36195 h 101600"/>
                  <a:gd name="connsiteX140" fmla="*/ 668338 w 1069975"/>
                  <a:gd name="connsiteY140" fmla="*/ 32385 h 101600"/>
                  <a:gd name="connsiteX141" fmla="*/ 675640 w 1069975"/>
                  <a:gd name="connsiteY141" fmla="*/ 33655 h 101600"/>
                  <a:gd name="connsiteX142" fmla="*/ 683260 w 1069975"/>
                  <a:gd name="connsiteY142" fmla="*/ 36513 h 101600"/>
                  <a:gd name="connsiteX143" fmla="*/ 687705 w 1069975"/>
                  <a:gd name="connsiteY143" fmla="*/ 25717 h 101600"/>
                  <a:gd name="connsiteX144" fmla="*/ 678180 w 1069975"/>
                  <a:gd name="connsiteY144" fmla="*/ 22225 h 101600"/>
                  <a:gd name="connsiteX145" fmla="*/ 668338 w 1069975"/>
                  <a:gd name="connsiteY145" fmla="*/ 21272 h 101600"/>
                  <a:gd name="connsiteX146" fmla="*/ 652463 w 1069975"/>
                  <a:gd name="connsiteY146" fmla="*/ 25082 h 101600"/>
                  <a:gd name="connsiteX147" fmla="*/ 646430 w 1069975"/>
                  <a:gd name="connsiteY147" fmla="*/ 36513 h 101600"/>
                  <a:gd name="connsiteX148" fmla="*/ 648017 w 1069975"/>
                  <a:gd name="connsiteY148" fmla="*/ 44132 h 101600"/>
                  <a:gd name="connsiteX149" fmla="*/ 653097 w 1069975"/>
                  <a:gd name="connsiteY149" fmla="*/ 49530 h 101600"/>
                  <a:gd name="connsiteX150" fmla="*/ 661670 w 1069975"/>
                  <a:gd name="connsiteY150" fmla="*/ 53975 h 101600"/>
                  <a:gd name="connsiteX151" fmla="*/ 669607 w 1069975"/>
                  <a:gd name="connsiteY151" fmla="*/ 57785 h 101600"/>
                  <a:gd name="connsiteX152" fmla="*/ 672782 w 1069975"/>
                  <a:gd name="connsiteY152" fmla="*/ 60325 h 101600"/>
                  <a:gd name="connsiteX153" fmla="*/ 673417 w 1069975"/>
                  <a:gd name="connsiteY153" fmla="*/ 62865 h 101600"/>
                  <a:gd name="connsiteX154" fmla="*/ 671513 w 1069975"/>
                  <a:gd name="connsiteY154" fmla="*/ 66357 h 101600"/>
                  <a:gd name="connsiteX155" fmla="*/ 665163 w 1069975"/>
                  <a:gd name="connsiteY155" fmla="*/ 67627 h 101600"/>
                  <a:gd name="connsiteX156" fmla="*/ 655955 w 1069975"/>
                  <a:gd name="connsiteY156" fmla="*/ 66357 h 101600"/>
                  <a:gd name="connsiteX157" fmla="*/ 646430 w 1069975"/>
                  <a:gd name="connsiteY157" fmla="*/ 62865 h 101600"/>
                  <a:gd name="connsiteX158" fmla="*/ 646430 w 1069975"/>
                  <a:gd name="connsiteY158" fmla="*/ 75247 h 101600"/>
                  <a:gd name="connsiteX159" fmla="*/ 654685 w 1069975"/>
                  <a:gd name="connsiteY159" fmla="*/ 77788 h 101600"/>
                  <a:gd name="connsiteX160" fmla="*/ 664528 w 1069975"/>
                  <a:gd name="connsiteY160" fmla="*/ 78422 h 101600"/>
                  <a:gd name="connsiteX161" fmla="*/ 682307 w 1069975"/>
                  <a:gd name="connsiteY161" fmla="*/ 73977 h 101600"/>
                  <a:gd name="connsiteX162" fmla="*/ 688340 w 1069975"/>
                  <a:gd name="connsiteY162" fmla="*/ 60960 h 101600"/>
                  <a:gd name="connsiteX163" fmla="*/ 687070 w 1069975"/>
                  <a:gd name="connsiteY163" fmla="*/ 53340 h 101600"/>
                  <a:gd name="connsiteX164" fmla="*/ 621030 w 1069975"/>
                  <a:gd name="connsiteY164" fmla="*/ 35560 h 101600"/>
                  <a:gd name="connsiteX165" fmla="*/ 623570 w 1069975"/>
                  <a:gd name="connsiteY165" fmla="*/ 43815 h 101600"/>
                  <a:gd name="connsiteX166" fmla="*/ 602297 w 1069975"/>
                  <a:gd name="connsiteY166" fmla="*/ 43815 h 101600"/>
                  <a:gd name="connsiteX167" fmla="*/ 605790 w 1069975"/>
                  <a:gd name="connsiteY167" fmla="*/ 34925 h 101600"/>
                  <a:gd name="connsiteX168" fmla="*/ 613092 w 1069975"/>
                  <a:gd name="connsiteY168" fmla="*/ 32067 h 101600"/>
                  <a:gd name="connsiteX169" fmla="*/ 621030 w 1069975"/>
                  <a:gd name="connsiteY169" fmla="*/ 35560 h 101600"/>
                  <a:gd name="connsiteX170" fmla="*/ 599440 w 1069975"/>
                  <a:gd name="connsiteY170" fmla="*/ 24447 h 101600"/>
                  <a:gd name="connsiteX171" fmla="*/ 590232 w 1069975"/>
                  <a:gd name="connsiteY171" fmla="*/ 34290 h 101600"/>
                  <a:gd name="connsiteX172" fmla="*/ 587057 w 1069975"/>
                  <a:gd name="connsiteY172" fmla="*/ 50482 h 101600"/>
                  <a:gd name="connsiteX173" fmla="*/ 590867 w 1069975"/>
                  <a:gd name="connsiteY173" fmla="*/ 66357 h 101600"/>
                  <a:gd name="connsiteX174" fmla="*/ 601028 w 1069975"/>
                  <a:gd name="connsiteY174" fmla="*/ 75565 h 101600"/>
                  <a:gd name="connsiteX175" fmla="*/ 615632 w 1069975"/>
                  <a:gd name="connsiteY175" fmla="*/ 78740 h 101600"/>
                  <a:gd name="connsiteX176" fmla="*/ 626428 w 1069975"/>
                  <a:gd name="connsiteY176" fmla="*/ 77788 h 101600"/>
                  <a:gd name="connsiteX177" fmla="*/ 635000 w 1069975"/>
                  <a:gd name="connsiteY177" fmla="*/ 74930 h 101600"/>
                  <a:gd name="connsiteX178" fmla="*/ 635000 w 1069975"/>
                  <a:gd name="connsiteY178" fmla="*/ 63182 h 101600"/>
                  <a:gd name="connsiteX179" fmla="*/ 625792 w 1069975"/>
                  <a:gd name="connsiteY179" fmla="*/ 66357 h 101600"/>
                  <a:gd name="connsiteX180" fmla="*/ 615950 w 1069975"/>
                  <a:gd name="connsiteY180" fmla="*/ 67310 h 101600"/>
                  <a:gd name="connsiteX181" fmla="*/ 605790 w 1069975"/>
                  <a:gd name="connsiteY181" fmla="*/ 63500 h 101600"/>
                  <a:gd name="connsiteX182" fmla="*/ 601980 w 1069975"/>
                  <a:gd name="connsiteY182" fmla="*/ 53340 h 101600"/>
                  <a:gd name="connsiteX183" fmla="*/ 637857 w 1069975"/>
                  <a:gd name="connsiteY183" fmla="*/ 53340 h 101600"/>
                  <a:gd name="connsiteX184" fmla="*/ 637857 w 1069975"/>
                  <a:gd name="connsiteY184" fmla="*/ 46038 h 101600"/>
                  <a:gd name="connsiteX185" fmla="*/ 631190 w 1069975"/>
                  <a:gd name="connsiteY185" fmla="*/ 27305 h 101600"/>
                  <a:gd name="connsiteX186" fmla="*/ 613092 w 1069975"/>
                  <a:gd name="connsiteY186" fmla="*/ 20638 h 101600"/>
                  <a:gd name="connsiteX187" fmla="*/ 599440 w 1069975"/>
                  <a:gd name="connsiteY187" fmla="*/ 24447 h 101600"/>
                  <a:gd name="connsiteX188" fmla="*/ 567372 w 1069975"/>
                  <a:gd name="connsiteY188" fmla="*/ 24447 h 101600"/>
                  <a:gd name="connsiteX189" fmla="*/ 560705 w 1069975"/>
                  <a:gd name="connsiteY189" fmla="*/ 31750 h 101600"/>
                  <a:gd name="connsiteX190" fmla="*/ 560070 w 1069975"/>
                  <a:gd name="connsiteY190" fmla="*/ 31750 h 101600"/>
                  <a:gd name="connsiteX191" fmla="*/ 557847 w 1069975"/>
                  <a:gd name="connsiteY191" fmla="*/ 22542 h 101600"/>
                  <a:gd name="connsiteX192" fmla="*/ 546417 w 1069975"/>
                  <a:gd name="connsiteY192" fmla="*/ 22542 h 101600"/>
                  <a:gd name="connsiteX193" fmla="*/ 546417 w 1069975"/>
                  <a:gd name="connsiteY193" fmla="*/ 78105 h 101600"/>
                  <a:gd name="connsiteX194" fmla="*/ 561657 w 1069975"/>
                  <a:gd name="connsiteY194" fmla="*/ 78105 h 101600"/>
                  <a:gd name="connsiteX195" fmla="*/ 561657 w 1069975"/>
                  <a:gd name="connsiteY195" fmla="*/ 49847 h 101600"/>
                  <a:gd name="connsiteX196" fmla="*/ 563880 w 1069975"/>
                  <a:gd name="connsiteY196" fmla="*/ 41592 h 101600"/>
                  <a:gd name="connsiteX197" fmla="*/ 569595 w 1069975"/>
                  <a:gd name="connsiteY197" fmla="*/ 37147 h 101600"/>
                  <a:gd name="connsiteX198" fmla="*/ 576897 w 1069975"/>
                  <a:gd name="connsiteY198" fmla="*/ 35877 h 101600"/>
                  <a:gd name="connsiteX199" fmla="*/ 579120 w 1069975"/>
                  <a:gd name="connsiteY199" fmla="*/ 35877 h 101600"/>
                  <a:gd name="connsiteX200" fmla="*/ 581342 w 1069975"/>
                  <a:gd name="connsiteY200" fmla="*/ 36195 h 101600"/>
                  <a:gd name="connsiteX201" fmla="*/ 582613 w 1069975"/>
                  <a:gd name="connsiteY201" fmla="*/ 21907 h 101600"/>
                  <a:gd name="connsiteX202" fmla="*/ 580072 w 1069975"/>
                  <a:gd name="connsiteY202" fmla="*/ 21590 h 101600"/>
                  <a:gd name="connsiteX203" fmla="*/ 577532 w 1069975"/>
                  <a:gd name="connsiteY203" fmla="*/ 21590 h 101600"/>
                  <a:gd name="connsiteX204" fmla="*/ 567372 w 1069975"/>
                  <a:gd name="connsiteY204" fmla="*/ 24447 h 101600"/>
                  <a:gd name="connsiteX205" fmla="*/ 518160 w 1069975"/>
                  <a:gd name="connsiteY205" fmla="*/ 49847 h 101600"/>
                  <a:gd name="connsiteX206" fmla="*/ 515620 w 1069975"/>
                  <a:gd name="connsiteY206" fmla="*/ 62230 h 101600"/>
                  <a:gd name="connsiteX207" fmla="*/ 508000 w 1069975"/>
                  <a:gd name="connsiteY207" fmla="*/ 66675 h 101600"/>
                  <a:gd name="connsiteX208" fmla="*/ 499428 w 1069975"/>
                  <a:gd name="connsiteY208" fmla="*/ 62230 h 101600"/>
                  <a:gd name="connsiteX209" fmla="*/ 496888 w 1069975"/>
                  <a:gd name="connsiteY209" fmla="*/ 49847 h 101600"/>
                  <a:gd name="connsiteX210" fmla="*/ 496888 w 1069975"/>
                  <a:gd name="connsiteY210" fmla="*/ 48260 h 101600"/>
                  <a:gd name="connsiteX211" fmla="*/ 499428 w 1069975"/>
                  <a:gd name="connsiteY211" fmla="*/ 37147 h 101600"/>
                  <a:gd name="connsiteX212" fmla="*/ 507682 w 1069975"/>
                  <a:gd name="connsiteY212" fmla="*/ 33338 h 101600"/>
                  <a:gd name="connsiteX213" fmla="*/ 518160 w 1069975"/>
                  <a:gd name="connsiteY213" fmla="*/ 49847 h 101600"/>
                  <a:gd name="connsiteX214" fmla="*/ 502920 w 1069975"/>
                  <a:gd name="connsiteY214" fmla="*/ 23813 h 101600"/>
                  <a:gd name="connsiteX215" fmla="*/ 496888 w 1069975"/>
                  <a:gd name="connsiteY215" fmla="*/ 29527 h 101600"/>
                  <a:gd name="connsiteX216" fmla="*/ 496253 w 1069975"/>
                  <a:gd name="connsiteY216" fmla="*/ 29527 h 101600"/>
                  <a:gd name="connsiteX217" fmla="*/ 494030 w 1069975"/>
                  <a:gd name="connsiteY217" fmla="*/ 22225 h 101600"/>
                  <a:gd name="connsiteX218" fmla="*/ 481647 w 1069975"/>
                  <a:gd name="connsiteY218" fmla="*/ 22225 h 101600"/>
                  <a:gd name="connsiteX219" fmla="*/ 481647 w 1069975"/>
                  <a:gd name="connsiteY219" fmla="*/ 102235 h 101600"/>
                  <a:gd name="connsiteX220" fmla="*/ 496888 w 1069975"/>
                  <a:gd name="connsiteY220" fmla="*/ 102235 h 101600"/>
                  <a:gd name="connsiteX221" fmla="*/ 496888 w 1069975"/>
                  <a:gd name="connsiteY221" fmla="*/ 80010 h 101600"/>
                  <a:gd name="connsiteX222" fmla="*/ 495935 w 1069975"/>
                  <a:gd name="connsiteY222" fmla="*/ 71755 h 101600"/>
                  <a:gd name="connsiteX223" fmla="*/ 496888 w 1069975"/>
                  <a:gd name="connsiteY223" fmla="*/ 71755 h 101600"/>
                  <a:gd name="connsiteX224" fmla="*/ 502603 w 1069975"/>
                  <a:gd name="connsiteY224" fmla="*/ 76835 h 101600"/>
                  <a:gd name="connsiteX225" fmla="*/ 512128 w 1069975"/>
                  <a:gd name="connsiteY225" fmla="*/ 79057 h 101600"/>
                  <a:gd name="connsiteX226" fmla="*/ 527367 w 1069975"/>
                  <a:gd name="connsiteY226" fmla="*/ 71755 h 101600"/>
                  <a:gd name="connsiteX227" fmla="*/ 533400 w 1069975"/>
                  <a:gd name="connsiteY227" fmla="*/ 50165 h 101600"/>
                  <a:gd name="connsiteX228" fmla="*/ 527685 w 1069975"/>
                  <a:gd name="connsiteY228" fmla="*/ 28892 h 101600"/>
                  <a:gd name="connsiteX229" fmla="*/ 512445 w 1069975"/>
                  <a:gd name="connsiteY229" fmla="*/ 21590 h 101600"/>
                  <a:gd name="connsiteX230" fmla="*/ 502920 w 1069975"/>
                  <a:gd name="connsiteY230" fmla="*/ 23813 h 101600"/>
                  <a:gd name="connsiteX231" fmla="*/ 388620 w 1069975"/>
                  <a:gd name="connsiteY231" fmla="*/ 635 h 101600"/>
                  <a:gd name="connsiteX232" fmla="*/ 388620 w 1069975"/>
                  <a:gd name="connsiteY232" fmla="*/ 77788 h 101600"/>
                  <a:gd name="connsiteX233" fmla="*/ 403860 w 1069975"/>
                  <a:gd name="connsiteY233" fmla="*/ 77788 h 101600"/>
                  <a:gd name="connsiteX234" fmla="*/ 403860 w 1069975"/>
                  <a:gd name="connsiteY234" fmla="*/ 51752 h 101600"/>
                  <a:gd name="connsiteX235" fmla="*/ 406400 w 1069975"/>
                  <a:gd name="connsiteY235" fmla="*/ 38100 h 101600"/>
                  <a:gd name="connsiteX236" fmla="*/ 415925 w 1069975"/>
                  <a:gd name="connsiteY236" fmla="*/ 33338 h 101600"/>
                  <a:gd name="connsiteX237" fmla="*/ 424815 w 1069975"/>
                  <a:gd name="connsiteY237" fmla="*/ 45402 h 101600"/>
                  <a:gd name="connsiteX238" fmla="*/ 424815 w 1069975"/>
                  <a:gd name="connsiteY238" fmla="*/ 77788 h 101600"/>
                  <a:gd name="connsiteX239" fmla="*/ 440055 w 1069975"/>
                  <a:gd name="connsiteY239" fmla="*/ 77788 h 101600"/>
                  <a:gd name="connsiteX240" fmla="*/ 440055 w 1069975"/>
                  <a:gd name="connsiteY240" fmla="*/ 41592 h 101600"/>
                  <a:gd name="connsiteX241" fmla="*/ 434657 w 1069975"/>
                  <a:gd name="connsiteY241" fmla="*/ 26035 h 101600"/>
                  <a:gd name="connsiteX242" fmla="*/ 420370 w 1069975"/>
                  <a:gd name="connsiteY242" fmla="*/ 21272 h 101600"/>
                  <a:gd name="connsiteX243" fmla="*/ 411163 w 1069975"/>
                  <a:gd name="connsiteY243" fmla="*/ 23177 h 101600"/>
                  <a:gd name="connsiteX244" fmla="*/ 404495 w 1069975"/>
                  <a:gd name="connsiteY244" fmla="*/ 29527 h 101600"/>
                  <a:gd name="connsiteX245" fmla="*/ 403542 w 1069975"/>
                  <a:gd name="connsiteY245" fmla="*/ 29527 h 101600"/>
                  <a:gd name="connsiteX246" fmla="*/ 403860 w 1069975"/>
                  <a:gd name="connsiteY246" fmla="*/ 24447 h 101600"/>
                  <a:gd name="connsiteX247" fmla="*/ 404177 w 1069975"/>
                  <a:gd name="connsiteY247" fmla="*/ 16510 h 101600"/>
                  <a:gd name="connsiteX248" fmla="*/ 404177 w 1069975"/>
                  <a:gd name="connsiteY248" fmla="*/ 635 h 101600"/>
                  <a:gd name="connsiteX249" fmla="*/ 388620 w 1069975"/>
                  <a:gd name="connsiteY249" fmla="*/ 635 h 101600"/>
                  <a:gd name="connsiteX250" fmla="*/ 374967 w 1069975"/>
                  <a:gd name="connsiteY250" fmla="*/ 53340 h 101600"/>
                  <a:gd name="connsiteX251" fmla="*/ 369570 w 1069975"/>
                  <a:gd name="connsiteY251" fmla="*/ 48260 h 101600"/>
                  <a:gd name="connsiteX252" fmla="*/ 361315 w 1069975"/>
                  <a:gd name="connsiteY252" fmla="*/ 44132 h 101600"/>
                  <a:gd name="connsiteX253" fmla="*/ 354013 w 1069975"/>
                  <a:gd name="connsiteY253" fmla="*/ 40957 h 101600"/>
                  <a:gd name="connsiteX254" fmla="*/ 350520 w 1069975"/>
                  <a:gd name="connsiteY254" fmla="*/ 38735 h 101600"/>
                  <a:gd name="connsiteX255" fmla="*/ 349567 w 1069975"/>
                  <a:gd name="connsiteY255" fmla="*/ 36195 h 101600"/>
                  <a:gd name="connsiteX256" fmla="*/ 356235 w 1069975"/>
                  <a:gd name="connsiteY256" fmla="*/ 32385 h 101600"/>
                  <a:gd name="connsiteX257" fmla="*/ 363538 w 1069975"/>
                  <a:gd name="connsiteY257" fmla="*/ 33655 h 101600"/>
                  <a:gd name="connsiteX258" fmla="*/ 371157 w 1069975"/>
                  <a:gd name="connsiteY258" fmla="*/ 36513 h 101600"/>
                  <a:gd name="connsiteX259" fmla="*/ 375602 w 1069975"/>
                  <a:gd name="connsiteY259" fmla="*/ 25717 h 101600"/>
                  <a:gd name="connsiteX260" fmla="*/ 366077 w 1069975"/>
                  <a:gd name="connsiteY260" fmla="*/ 22225 h 101600"/>
                  <a:gd name="connsiteX261" fmla="*/ 356235 w 1069975"/>
                  <a:gd name="connsiteY261" fmla="*/ 21272 h 101600"/>
                  <a:gd name="connsiteX262" fmla="*/ 340360 w 1069975"/>
                  <a:gd name="connsiteY262" fmla="*/ 25082 h 101600"/>
                  <a:gd name="connsiteX263" fmla="*/ 334327 w 1069975"/>
                  <a:gd name="connsiteY263" fmla="*/ 36513 h 101600"/>
                  <a:gd name="connsiteX264" fmla="*/ 335915 w 1069975"/>
                  <a:gd name="connsiteY264" fmla="*/ 44132 h 101600"/>
                  <a:gd name="connsiteX265" fmla="*/ 340995 w 1069975"/>
                  <a:gd name="connsiteY265" fmla="*/ 49530 h 101600"/>
                  <a:gd name="connsiteX266" fmla="*/ 349567 w 1069975"/>
                  <a:gd name="connsiteY266" fmla="*/ 53975 h 101600"/>
                  <a:gd name="connsiteX267" fmla="*/ 357505 w 1069975"/>
                  <a:gd name="connsiteY267" fmla="*/ 57785 h 101600"/>
                  <a:gd name="connsiteX268" fmla="*/ 360680 w 1069975"/>
                  <a:gd name="connsiteY268" fmla="*/ 60325 h 101600"/>
                  <a:gd name="connsiteX269" fmla="*/ 361315 w 1069975"/>
                  <a:gd name="connsiteY269" fmla="*/ 62865 h 101600"/>
                  <a:gd name="connsiteX270" fmla="*/ 359410 w 1069975"/>
                  <a:gd name="connsiteY270" fmla="*/ 66357 h 101600"/>
                  <a:gd name="connsiteX271" fmla="*/ 353060 w 1069975"/>
                  <a:gd name="connsiteY271" fmla="*/ 67627 h 101600"/>
                  <a:gd name="connsiteX272" fmla="*/ 343852 w 1069975"/>
                  <a:gd name="connsiteY272" fmla="*/ 66357 h 101600"/>
                  <a:gd name="connsiteX273" fmla="*/ 334327 w 1069975"/>
                  <a:gd name="connsiteY273" fmla="*/ 62865 h 101600"/>
                  <a:gd name="connsiteX274" fmla="*/ 334327 w 1069975"/>
                  <a:gd name="connsiteY274" fmla="*/ 75247 h 101600"/>
                  <a:gd name="connsiteX275" fmla="*/ 342582 w 1069975"/>
                  <a:gd name="connsiteY275" fmla="*/ 77788 h 101600"/>
                  <a:gd name="connsiteX276" fmla="*/ 352425 w 1069975"/>
                  <a:gd name="connsiteY276" fmla="*/ 78422 h 101600"/>
                  <a:gd name="connsiteX277" fmla="*/ 370205 w 1069975"/>
                  <a:gd name="connsiteY277" fmla="*/ 73977 h 101600"/>
                  <a:gd name="connsiteX278" fmla="*/ 376238 w 1069975"/>
                  <a:gd name="connsiteY278" fmla="*/ 60960 h 101600"/>
                  <a:gd name="connsiteX279" fmla="*/ 374967 w 1069975"/>
                  <a:gd name="connsiteY279" fmla="*/ 53340 h 101600"/>
                  <a:gd name="connsiteX280" fmla="*/ 307022 w 1069975"/>
                  <a:gd name="connsiteY280" fmla="*/ 77788 h 101600"/>
                  <a:gd name="connsiteX281" fmla="*/ 322263 w 1069975"/>
                  <a:gd name="connsiteY281" fmla="*/ 77788 h 101600"/>
                  <a:gd name="connsiteX282" fmla="*/ 322263 w 1069975"/>
                  <a:gd name="connsiteY282" fmla="*/ 22225 h 101600"/>
                  <a:gd name="connsiteX283" fmla="*/ 307022 w 1069975"/>
                  <a:gd name="connsiteY283" fmla="*/ 22225 h 101600"/>
                  <a:gd name="connsiteX284" fmla="*/ 307022 w 1069975"/>
                  <a:gd name="connsiteY284" fmla="*/ 77788 h 101600"/>
                  <a:gd name="connsiteX285" fmla="*/ 308927 w 1069975"/>
                  <a:gd name="connsiteY285" fmla="*/ 2222 h 101600"/>
                  <a:gd name="connsiteX286" fmla="*/ 306388 w 1069975"/>
                  <a:gd name="connsiteY286" fmla="*/ 7938 h 101600"/>
                  <a:gd name="connsiteX287" fmla="*/ 308927 w 1069975"/>
                  <a:gd name="connsiteY287" fmla="*/ 13652 h 101600"/>
                  <a:gd name="connsiteX288" fmla="*/ 314642 w 1069975"/>
                  <a:gd name="connsiteY288" fmla="*/ 15240 h 101600"/>
                  <a:gd name="connsiteX289" fmla="*/ 320357 w 1069975"/>
                  <a:gd name="connsiteY289" fmla="*/ 13652 h 101600"/>
                  <a:gd name="connsiteX290" fmla="*/ 322897 w 1069975"/>
                  <a:gd name="connsiteY290" fmla="*/ 7938 h 101600"/>
                  <a:gd name="connsiteX291" fmla="*/ 320357 w 1069975"/>
                  <a:gd name="connsiteY291" fmla="*/ 2222 h 101600"/>
                  <a:gd name="connsiteX292" fmla="*/ 314642 w 1069975"/>
                  <a:gd name="connsiteY292" fmla="*/ 635 h 101600"/>
                  <a:gd name="connsiteX293" fmla="*/ 308927 w 1069975"/>
                  <a:gd name="connsiteY293" fmla="*/ 2222 h 101600"/>
                  <a:gd name="connsiteX294" fmla="*/ 291147 w 1069975"/>
                  <a:gd name="connsiteY294" fmla="*/ 635 h 101600"/>
                  <a:gd name="connsiteX295" fmla="*/ 275907 w 1069975"/>
                  <a:gd name="connsiteY295" fmla="*/ 635 h 101600"/>
                  <a:gd name="connsiteX296" fmla="*/ 275907 w 1069975"/>
                  <a:gd name="connsiteY296" fmla="*/ 77788 h 101600"/>
                  <a:gd name="connsiteX297" fmla="*/ 291147 w 1069975"/>
                  <a:gd name="connsiteY297" fmla="*/ 77788 h 101600"/>
                  <a:gd name="connsiteX298" fmla="*/ 291147 w 1069975"/>
                  <a:gd name="connsiteY298" fmla="*/ 635 h 101600"/>
                  <a:gd name="connsiteX299" fmla="*/ 245427 w 1069975"/>
                  <a:gd name="connsiteY299" fmla="*/ 37465 h 101600"/>
                  <a:gd name="connsiteX300" fmla="*/ 248285 w 1069975"/>
                  <a:gd name="connsiteY300" fmla="*/ 49847 h 101600"/>
                  <a:gd name="connsiteX301" fmla="*/ 245427 w 1069975"/>
                  <a:gd name="connsiteY301" fmla="*/ 62230 h 101600"/>
                  <a:gd name="connsiteX302" fmla="*/ 238125 w 1069975"/>
                  <a:gd name="connsiteY302" fmla="*/ 66675 h 101600"/>
                  <a:gd name="connsiteX303" fmla="*/ 229552 w 1069975"/>
                  <a:gd name="connsiteY303" fmla="*/ 62230 h 101600"/>
                  <a:gd name="connsiteX304" fmla="*/ 227013 w 1069975"/>
                  <a:gd name="connsiteY304" fmla="*/ 49847 h 101600"/>
                  <a:gd name="connsiteX305" fmla="*/ 227013 w 1069975"/>
                  <a:gd name="connsiteY305" fmla="*/ 48260 h 101600"/>
                  <a:gd name="connsiteX306" fmla="*/ 229552 w 1069975"/>
                  <a:gd name="connsiteY306" fmla="*/ 37147 h 101600"/>
                  <a:gd name="connsiteX307" fmla="*/ 237807 w 1069975"/>
                  <a:gd name="connsiteY307" fmla="*/ 33338 h 101600"/>
                  <a:gd name="connsiteX308" fmla="*/ 245427 w 1069975"/>
                  <a:gd name="connsiteY308" fmla="*/ 37465 h 101600"/>
                  <a:gd name="connsiteX309" fmla="*/ 211772 w 1069975"/>
                  <a:gd name="connsiteY309" fmla="*/ 635 h 101600"/>
                  <a:gd name="connsiteX310" fmla="*/ 211772 w 1069975"/>
                  <a:gd name="connsiteY310" fmla="*/ 77788 h 101600"/>
                  <a:gd name="connsiteX311" fmla="*/ 223202 w 1069975"/>
                  <a:gd name="connsiteY311" fmla="*/ 77788 h 101600"/>
                  <a:gd name="connsiteX312" fmla="*/ 225742 w 1069975"/>
                  <a:gd name="connsiteY312" fmla="*/ 71755 h 101600"/>
                  <a:gd name="connsiteX313" fmla="*/ 226695 w 1069975"/>
                  <a:gd name="connsiteY313" fmla="*/ 71755 h 101600"/>
                  <a:gd name="connsiteX314" fmla="*/ 232410 w 1069975"/>
                  <a:gd name="connsiteY314" fmla="*/ 76835 h 101600"/>
                  <a:gd name="connsiteX315" fmla="*/ 241935 w 1069975"/>
                  <a:gd name="connsiteY315" fmla="*/ 79057 h 101600"/>
                  <a:gd name="connsiteX316" fmla="*/ 257492 w 1069975"/>
                  <a:gd name="connsiteY316" fmla="*/ 71755 h 101600"/>
                  <a:gd name="connsiteX317" fmla="*/ 263525 w 1069975"/>
                  <a:gd name="connsiteY317" fmla="*/ 50165 h 101600"/>
                  <a:gd name="connsiteX318" fmla="*/ 257810 w 1069975"/>
                  <a:gd name="connsiteY318" fmla="*/ 28892 h 101600"/>
                  <a:gd name="connsiteX319" fmla="*/ 242570 w 1069975"/>
                  <a:gd name="connsiteY319" fmla="*/ 21590 h 101600"/>
                  <a:gd name="connsiteX320" fmla="*/ 232727 w 1069975"/>
                  <a:gd name="connsiteY320" fmla="*/ 24130 h 101600"/>
                  <a:gd name="connsiteX321" fmla="*/ 226695 w 1069975"/>
                  <a:gd name="connsiteY321" fmla="*/ 29845 h 101600"/>
                  <a:gd name="connsiteX322" fmla="*/ 226060 w 1069975"/>
                  <a:gd name="connsiteY322" fmla="*/ 29845 h 101600"/>
                  <a:gd name="connsiteX323" fmla="*/ 226377 w 1069975"/>
                  <a:gd name="connsiteY323" fmla="*/ 25082 h 101600"/>
                  <a:gd name="connsiteX324" fmla="*/ 226695 w 1069975"/>
                  <a:gd name="connsiteY324" fmla="*/ 18732 h 101600"/>
                  <a:gd name="connsiteX325" fmla="*/ 226695 w 1069975"/>
                  <a:gd name="connsiteY325" fmla="*/ 635 h 101600"/>
                  <a:gd name="connsiteX326" fmla="*/ 211772 w 1069975"/>
                  <a:gd name="connsiteY326" fmla="*/ 635 h 101600"/>
                  <a:gd name="connsiteX327" fmla="*/ 181292 w 1069975"/>
                  <a:gd name="connsiteY327" fmla="*/ 56832 h 101600"/>
                  <a:gd name="connsiteX328" fmla="*/ 177800 w 1069975"/>
                  <a:gd name="connsiteY328" fmla="*/ 65088 h 101600"/>
                  <a:gd name="connsiteX329" fmla="*/ 169545 w 1069975"/>
                  <a:gd name="connsiteY329" fmla="*/ 67945 h 101600"/>
                  <a:gd name="connsiteX330" fmla="*/ 164147 w 1069975"/>
                  <a:gd name="connsiteY330" fmla="*/ 66357 h 101600"/>
                  <a:gd name="connsiteX331" fmla="*/ 162242 w 1069975"/>
                  <a:gd name="connsiteY331" fmla="*/ 61277 h 101600"/>
                  <a:gd name="connsiteX332" fmla="*/ 165100 w 1069975"/>
                  <a:gd name="connsiteY332" fmla="*/ 54927 h 101600"/>
                  <a:gd name="connsiteX333" fmla="*/ 175260 w 1069975"/>
                  <a:gd name="connsiteY333" fmla="*/ 52388 h 101600"/>
                  <a:gd name="connsiteX334" fmla="*/ 181292 w 1069975"/>
                  <a:gd name="connsiteY334" fmla="*/ 52070 h 101600"/>
                  <a:gd name="connsiteX335" fmla="*/ 181292 w 1069975"/>
                  <a:gd name="connsiteY335" fmla="*/ 56832 h 101600"/>
                  <a:gd name="connsiteX336" fmla="*/ 161925 w 1069975"/>
                  <a:gd name="connsiteY336" fmla="*/ 22542 h 101600"/>
                  <a:gd name="connsiteX337" fmla="*/ 152082 w 1069975"/>
                  <a:gd name="connsiteY337" fmla="*/ 26035 h 101600"/>
                  <a:gd name="connsiteX338" fmla="*/ 157163 w 1069975"/>
                  <a:gd name="connsiteY338" fmla="*/ 36195 h 101600"/>
                  <a:gd name="connsiteX339" fmla="*/ 164782 w 1069975"/>
                  <a:gd name="connsiteY339" fmla="*/ 33338 h 101600"/>
                  <a:gd name="connsiteX340" fmla="*/ 172720 w 1069975"/>
                  <a:gd name="connsiteY340" fmla="*/ 32067 h 101600"/>
                  <a:gd name="connsiteX341" fmla="*/ 179070 w 1069975"/>
                  <a:gd name="connsiteY341" fmla="*/ 33972 h 101600"/>
                  <a:gd name="connsiteX342" fmla="*/ 181292 w 1069975"/>
                  <a:gd name="connsiteY342" fmla="*/ 40322 h 101600"/>
                  <a:gd name="connsiteX343" fmla="*/ 181292 w 1069975"/>
                  <a:gd name="connsiteY343" fmla="*/ 42863 h 101600"/>
                  <a:gd name="connsiteX344" fmla="*/ 171767 w 1069975"/>
                  <a:gd name="connsiteY344" fmla="*/ 43180 h 101600"/>
                  <a:gd name="connsiteX345" fmla="*/ 153035 w 1069975"/>
                  <a:gd name="connsiteY345" fmla="*/ 47942 h 101600"/>
                  <a:gd name="connsiteX346" fmla="*/ 146685 w 1069975"/>
                  <a:gd name="connsiteY346" fmla="*/ 60960 h 101600"/>
                  <a:gd name="connsiteX347" fmla="*/ 151447 w 1069975"/>
                  <a:gd name="connsiteY347" fmla="*/ 74295 h 101600"/>
                  <a:gd name="connsiteX348" fmla="*/ 163830 w 1069975"/>
                  <a:gd name="connsiteY348" fmla="*/ 78422 h 101600"/>
                  <a:gd name="connsiteX349" fmla="*/ 174625 w 1069975"/>
                  <a:gd name="connsiteY349" fmla="*/ 76517 h 101600"/>
                  <a:gd name="connsiteX350" fmla="*/ 182245 w 1069975"/>
                  <a:gd name="connsiteY350" fmla="*/ 70167 h 101600"/>
                  <a:gd name="connsiteX351" fmla="*/ 182563 w 1069975"/>
                  <a:gd name="connsiteY351" fmla="*/ 70167 h 101600"/>
                  <a:gd name="connsiteX352" fmla="*/ 185420 w 1069975"/>
                  <a:gd name="connsiteY352" fmla="*/ 77788 h 101600"/>
                  <a:gd name="connsiteX353" fmla="*/ 195897 w 1069975"/>
                  <a:gd name="connsiteY353" fmla="*/ 77788 h 101600"/>
                  <a:gd name="connsiteX354" fmla="*/ 195897 w 1069975"/>
                  <a:gd name="connsiteY354" fmla="*/ 40957 h 101600"/>
                  <a:gd name="connsiteX355" fmla="*/ 189865 w 1069975"/>
                  <a:gd name="connsiteY355" fmla="*/ 26035 h 101600"/>
                  <a:gd name="connsiteX356" fmla="*/ 172720 w 1069975"/>
                  <a:gd name="connsiteY356" fmla="*/ 21272 h 101600"/>
                  <a:gd name="connsiteX357" fmla="*/ 161925 w 1069975"/>
                  <a:gd name="connsiteY357" fmla="*/ 22542 h 101600"/>
                  <a:gd name="connsiteX358" fmla="*/ 125095 w 1069975"/>
                  <a:gd name="connsiteY358" fmla="*/ 65088 h 101600"/>
                  <a:gd name="connsiteX359" fmla="*/ 123190 w 1069975"/>
                  <a:gd name="connsiteY359" fmla="*/ 60325 h 101600"/>
                  <a:gd name="connsiteX360" fmla="*/ 123190 w 1069975"/>
                  <a:gd name="connsiteY360" fmla="*/ 33655 h 101600"/>
                  <a:gd name="connsiteX361" fmla="*/ 138747 w 1069975"/>
                  <a:gd name="connsiteY361" fmla="*/ 33655 h 101600"/>
                  <a:gd name="connsiteX362" fmla="*/ 138747 w 1069975"/>
                  <a:gd name="connsiteY362" fmla="*/ 22225 h 101600"/>
                  <a:gd name="connsiteX363" fmla="*/ 123190 w 1069975"/>
                  <a:gd name="connsiteY363" fmla="*/ 22225 h 101600"/>
                  <a:gd name="connsiteX364" fmla="*/ 123190 w 1069975"/>
                  <a:gd name="connsiteY364" fmla="*/ 10477 h 101600"/>
                  <a:gd name="connsiteX365" fmla="*/ 113665 w 1069975"/>
                  <a:gd name="connsiteY365" fmla="*/ 10477 h 101600"/>
                  <a:gd name="connsiteX366" fmla="*/ 109220 w 1069975"/>
                  <a:gd name="connsiteY366" fmla="*/ 22225 h 101600"/>
                  <a:gd name="connsiteX367" fmla="*/ 100965 w 1069975"/>
                  <a:gd name="connsiteY367" fmla="*/ 27305 h 101600"/>
                  <a:gd name="connsiteX368" fmla="*/ 100965 w 1069975"/>
                  <a:gd name="connsiteY368" fmla="*/ 33655 h 101600"/>
                  <a:gd name="connsiteX369" fmla="*/ 108267 w 1069975"/>
                  <a:gd name="connsiteY369" fmla="*/ 33655 h 101600"/>
                  <a:gd name="connsiteX370" fmla="*/ 108267 w 1069975"/>
                  <a:gd name="connsiteY370" fmla="*/ 60325 h 101600"/>
                  <a:gd name="connsiteX371" fmla="*/ 110490 w 1069975"/>
                  <a:gd name="connsiteY371" fmla="*/ 71438 h 101600"/>
                  <a:gd name="connsiteX372" fmla="*/ 116840 w 1069975"/>
                  <a:gd name="connsiteY372" fmla="*/ 77152 h 101600"/>
                  <a:gd name="connsiteX373" fmla="*/ 125730 w 1069975"/>
                  <a:gd name="connsiteY373" fmla="*/ 78740 h 101600"/>
                  <a:gd name="connsiteX374" fmla="*/ 133667 w 1069975"/>
                  <a:gd name="connsiteY374" fmla="*/ 78105 h 101600"/>
                  <a:gd name="connsiteX375" fmla="*/ 139700 w 1069975"/>
                  <a:gd name="connsiteY375" fmla="*/ 76200 h 101600"/>
                  <a:gd name="connsiteX376" fmla="*/ 139700 w 1069975"/>
                  <a:gd name="connsiteY376" fmla="*/ 64770 h 101600"/>
                  <a:gd name="connsiteX377" fmla="*/ 134938 w 1069975"/>
                  <a:gd name="connsiteY377" fmla="*/ 66040 h 101600"/>
                  <a:gd name="connsiteX378" fmla="*/ 130175 w 1069975"/>
                  <a:gd name="connsiteY378" fmla="*/ 66357 h 101600"/>
                  <a:gd name="connsiteX379" fmla="*/ 125095 w 1069975"/>
                  <a:gd name="connsiteY379" fmla="*/ 65088 h 101600"/>
                  <a:gd name="connsiteX380" fmla="*/ 92710 w 1069975"/>
                  <a:gd name="connsiteY380" fmla="*/ 53340 h 101600"/>
                  <a:gd name="connsiteX381" fmla="*/ 87313 w 1069975"/>
                  <a:gd name="connsiteY381" fmla="*/ 48260 h 101600"/>
                  <a:gd name="connsiteX382" fmla="*/ 79057 w 1069975"/>
                  <a:gd name="connsiteY382" fmla="*/ 44132 h 101600"/>
                  <a:gd name="connsiteX383" fmla="*/ 71755 w 1069975"/>
                  <a:gd name="connsiteY383" fmla="*/ 40957 h 101600"/>
                  <a:gd name="connsiteX384" fmla="*/ 68263 w 1069975"/>
                  <a:gd name="connsiteY384" fmla="*/ 38735 h 101600"/>
                  <a:gd name="connsiteX385" fmla="*/ 67310 w 1069975"/>
                  <a:gd name="connsiteY385" fmla="*/ 36195 h 101600"/>
                  <a:gd name="connsiteX386" fmla="*/ 73977 w 1069975"/>
                  <a:gd name="connsiteY386" fmla="*/ 32385 h 101600"/>
                  <a:gd name="connsiteX387" fmla="*/ 81280 w 1069975"/>
                  <a:gd name="connsiteY387" fmla="*/ 33655 h 101600"/>
                  <a:gd name="connsiteX388" fmla="*/ 88900 w 1069975"/>
                  <a:gd name="connsiteY388" fmla="*/ 36513 h 101600"/>
                  <a:gd name="connsiteX389" fmla="*/ 93345 w 1069975"/>
                  <a:gd name="connsiteY389" fmla="*/ 25717 h 101600"/>
                  <a:gd name="connsiteX390" fmla="*/ 83820 w 1069975"/>
                  <a:gd name="connsiteY390" fmla="*/ 22225 h 101600"/>
                  <a:gd name="connsiteX391" fmla="*/ 73977 w 1069975"/>
                  <a:gd name="connsiteY391" fmla="*/ 21272 h 101600"/>
                  <a:gd name="connsiteX392" fmla="*/ 58102 w 1069975"/>
                  <a:gd name="connsiteY392" fmla="*/ 25082 h 101600"/>
                  <a:gd name="connsiteX393" fmla="*/ 52070 w 1069975"/>
                  <a:gd name="connsiteY393" fmla="*/ 36513 h 101600"/>
                  <a:gd name="connsiteX394" fmla="*/ 53657 w 1069975"/>
                  <a:gd name="connsiteY394" fmla="*/ 44132 h 101600"/>
                  <a:gd name="connsiteX395" fmla="*/ 58738 w 1069975"/>
                  <a:gd name="connsiteY395" fmla="*/ 49530 h 101600"/>
                  <a:gd name="connsiteX396" fmla="*/ 67310 w 1069975"/>
                  <a:gd name="connsiteY396" fmla="*/ 53975 h 101600"/>
                  <a:gd name="connsiteX397" fmla="*/ 75247 w 1069975"/>
                  <a:gd name="connsiteY397" fmla="*/ 57785 h 101600"/>
                  <a:gd name="connsiteX398" fmla="*/ 78422 w 1069975"/>
                  <a:gd name="connsiteY398" fmla="*/ 60325 h 101600"/>
                  <a:gd name="connsiteX399" fmla="*/ 79057 w 1069975"/>
                  <a:gd name="connsiteY399" fmla="*/ 62865 h 101600"/>
                  <a:gd name="connsiteX400" fmla="*/ 77152 w 1069975"/>
                  <a:gd name="connsiteY400" fmla="*/ 66357 h 101600"/>
                  <a:gd name="connsiteX401" fmla="*/ 70802 w 1069975"/>
                  <a:gd name="connsiteY401" fmla="*/ 67627 h 101600"/>
                  <a:gd name="connsiteX402" fmla="*/ 61595 w 1069975"/>
                  <a:gd name="connsiteY402" fmla="*/ 66357 h 101600"/>
                  <a:gd name="connsiteX403" fmla="*/ 52070 w 1069975"/>
                  <a:gd name="connsiteY403" fmla="*/ 62865 h 101600"/>
                  <a:gd name="connsiteX404" fmla="*/ 52070 w 1069975"/>
                  <a:gd name="connsiteY404" fmla="*/ 75247 h 101600"/>
                  <a:gd name="connsiteX405" fmla="*/ 60325 w 1069975"/>
                  <a:gd name="connsiteY405" fmla="*/ 77788 h 101600"/>
                  <a:gd name="connsiteX406" fmla="*/ 70167 w 1069975"/>
                  <a:gd name="connsiteY406" fmla="*/ 78422 h 101600"/>
                  <a:gd name="connsiteX407" fmla="*/ 87947 w 1069975"/>
                  <a:gd name="connsiteY407" fmla="*/ 73977 h 101600"/>
                  <a:gd name="connsiteX408" fmla="*/ 93980 w 1069975"/>
                  <a:gd name="connsiteY408" fmla="*/ 60960 h 101600"/>
                  <a:gd name="connsiteX409" fmla="*/ 92710 w 1069975"/>
                  <a:gd name="connsiteY409" fmla="*/ 53340 h 101600"/>
                  <a:gd name="connsiteX410" fmla="*/ 41910 w 1069975"/>
                  <a:gd name="connsiteY410" fmla="*/ 65088 h 101600"/>
                  <a:gd name="connsiteX411" fmla="*/ 15557 w 1069975"/>
                  <a:gd name="connsiteY411" fmla="*/ 65088 h 101600"/>
                  <a:gd name="connsiteX412" fmla="*/ 15557 w 1069975"/>
                  <a:gd name="connsiteY412" fmla="*/ 46355 h 101600"/>
                  <a:gd name="connsiteX413" fmla="*/ 40005 w 1069975"/>
                  <a:gd name="connsiteY413" fmla="*/ 46355 h 101600"/>
                  <a:gd name="connsiteX414" fmla="*/ 40005 w 1069975"/>
                  <a:gd name="connsiteY414" fmla="*/ 33655 h 101600"/>
                  <a:gd name="connsiteX415" fmla="*/ 15557 w 1069975"/>
                  <a:gd name="connsiteY415" fmla="*/ 33655 h 101600"/>
                  <a:gd name="connsiteX416" fmla="*/ 15557 w 1069975"/>
                  <a:gd name="connsiteY416" fmla="*/ 17780 h 101600"/>
                  <a:gd name="connsiteX417" fmla="*/ 41910 w 1069975"/>
                  <a:gd name="connsiteY417" fmla="*/ 17780 h 101600"/>
                  <a:gd name="connsiteX418" fmla="*/ 41910 w 1069975"/>
                  <a:gd name="connsiteY418" fmla="*/ 5080 h 101600"/>
                  <a:gd name="connsiteX419" fmla="*/ 0 w 1069975"/>
                  <a:gd name="connsiteY419" fmla="*/ 5080 h 101600"/>
                  <a:gd name="connsiteX420" fmla="*/ 0 w 1069975"/>
                  <a:gd name="connsiteY420" fmla="*/ 77470 h 101600"/>
                  <a:gd name="connsiteX421" fmla="*/ 41910 w 1069975"/>
                  <a:gd name="connsiteY421" fmla="*/ 77470 h 101600"/>
                  <a:gd name="connsiteX422" fmla="*/ 41910 w 1069975"/>
                  <a:gd name="connsiteY422" fmla="*/ 65088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Lst>
                <a:rect l="l" t="t" r="r" b="b"/>
                <a:pathLst>
                  <a:path w="1069975" h="101600">
                    <a:moveTo>
                      <a:pt x="1041400" y="77788"/>
                    </a:moveTo>
                    <a:lnTo>
                      <a:pt x="1039178" y="83820"/>
                    </a:lnTo>
                    <a:cubicBezTo>
                      <a:pt x="1038225" y="86677"/>
                      <a:pt x="1036638" y="89217"/>
                      <a:pt x="1034732" y="90805"/>
                    </a:cubicBezTo>
                    <a:cubicBezTo>
                      <a:pt x="1032828" y="92710"/>
                      <a:pt x="1030288" y="93345"/>
                      <a:pt x="1027113" y="93345"/>
                    </a:cubicBezTo>
                    <a:cubicBezTo>
                      <a:pt x="1025842" y="93345"/>
                      <a:pt x="1024890" y="93345"/>
                      <a:pt x="1023620" y="93027"/>
                    </a:cubicBezTo>
                    <a:cubicBezTo>
                      <a:pt x="1022667" y="93027"/>
                      <a:pt x="1021715" y="92710"/>
                      <a:pt x="1021080" y="92710"/>
                    </a:cubicBezTo>
                    <a:lnTo>
                      <a:pt x="1021080" y="101282"/>
                    </a:lnTo>
                    <a:cubicBezTo>
                      <a:pt x="1022032" y="101600"/>
                      <a:pt x="1022985" y="101600"/>
                      <a:pt x="1024255" y="101917"/>
                    </a:cubicBezTo>
                    <a:cubicBezTo>
                      <a:pt x="1025525" y="102235"/>
                      <a:pt x="1026795" y="102235"/>
                      <a:pt x="1028700" y="102235"/>
                    </a:cubicBezTo>
                    <a:cubicBezTo>
                      <a:pt x="1034097" y="102235"/>
                      <a:pt x="1038225" y="100647"/>
                      <a:pt x="1041400" y="97790"/>
                    </a:cubicBezTo>
                    <a:cubicBezTo>
                      <a:pt x="1044575" y="94932"/>
                      <a:pt x="1047432" y="90488"/>
                      <a:pt x="1049338" y="85407"/>
                    </a:cubicBezTo>
                    <a:lnTo>
                      <a:pt x="1072832" y="23177"/>
                    </a:lnTo>
                    <a:lnTo>
                      <a:pt x="1061403" y="23177"/>
                    </a:lnTo>
                    <a:lnTo>
                      <a:pt x="1050607" y="54292"/>
                    </a:lnTo>
                    <a:cubicBezTo>
                      <a:pt x="1049655" y="56832"/>
                      <a:pt x="1049020" y="59055"/>
                      <a:pt x="1048067" y="61595"/>
                    </a:cubicBezTo>
                    <a:cubicBezTo>
                      <a:pt x="1047432" y="63817"/>
                      <a:pt x="1046797" y="66040"/>
                      <a:pt x="1046480" y="67945"/>
                    </a:cubicBezTo>
                    <a:lnTo>
                      <a:pt x="1046163" y="67945"/>
                    </a:lnTo>
                    <a:cubicBezTo>
                      <a:pt x="1045845" y="65722"/>
                      <a:pt x="1045528" y="63500"/>
                      <a:pt x="1044892" y="61595"/>
                    </a:cubicBezTo>
                    <a:cubicBezTo>
                      <a:pt x="1044257" y="59372"/>
                      <a:pt x="1043305" y="57150"/>
                      <a:pt x="1042670" y="54927"/>
                    </a:cubicBezTo>
                    <a:lnTo>
                      <a:pt x="1031240" y="23813"/>
                    </a:lnTo>
                    <a:lnTo>
                      <a:pt x="1019810" y="23813"/>
                    </a:lnTo>
                    <a:lnTo>
                      <a:pt x="1041400" y="77788"/>
                    </a:lnTo>
                    <a:close/>
                    <a:moveTo>
                      <a:pt x="1004888" y="50165"/>
                    </a:moveTo>
                    <a:cubicBezTo>
                      <a:pt x="1004888" y="56515"/>
                      <a:pt x="1003935" y="61277"/>
                      <a:pt x="1001713" y="64770"/>
                    </a:cubicBezTo>
                    <a:cubicBezTo>
                      <a:pt x="999490" y="68263"/>
                      <a:pt x="996315" y="69850"/>
                      <a:pt x="991870" y="69850"/>
                    </a:cubicBezTo>
                    <a:cubicBezTo>
                      <a:pt x="986472" y="69850"/>
                      <a:pt x="982663" y="68263"/>
                      <a:pt x="980757" y="64770"/>
                    </a:cubicBezTo>
                    <a:cubicBezTo>
                      <a:pt x="978853" y="61277"/>
                      <a:pt x="977900" y="56515"/>
                      <a:pt x="977900" y="50165"/>
                    </a:cubicBezTo>
                    <a:lnTo>
                      <a:pt x="977900" y="49213"/>
                    </a:lnTo>
                    <a:cubicBezTo>
                      <a:pt x="977900" y="42863"/>
                      <a:pt x="979170" y="38100"/>
                      <a:pt x="981075" y="34925"/>
                    </a:cubicBezTo>
                    <a:cubicBezTo>
                      <a:pt x="982980" y="31750"/>
                      <a:pt x="986790" y="30163"/>
                      <a:pt x="991870" y="30163"/>
                    </a:cubicBezTo>
                    <a:cubicBezTo>
                      <a:pt x="1000442" y="30797"/>
                      <a:pt x="1004888" y="37465"/>
                      <a:pt x="1004888" y="50165"/>
                    </a:cubicBezTo>
                    <a:moveTo>
                      <a:pt x="966788" y="635"/>
                    </a:moveTo>
                    <a:lnTo>
                      <a:pt x="966788" y="77788"/>
                    </a:lnTo>
                    <a:lnTo>
                      <a:pt x="974725" y="77788"/>
                    </a:lnTo>
                    <a:lnTo>
                      <a:pt x="976630" y="71120"/>
                    </a:lnTo>
                    <a:lnTo>
                      <a:pt x="977582" y="71120"/>
                    </a:lnTo>
                    <a:cubicBezTo>
                      <a:pt x="979170" y="73342"/>
                      <a:pt x="981075" y="74930"/>
                      <a:pt x="983932" y="76517"/>
                    </a:cubicBezTo>
                    <a:cubicBezTo>
                      <a:pt x="986472" y="78105"/>
                      <a:pt x="989965" y="78740"/>
                      <a:pt x="994092" y="78740"/>
                    </a:cubicBezTo>
                    <a:cubicBezTo>
                      <a:pt x="1000760" y="78740"/>
                      <a:pt x="1005840" y="76200"/>
                      <a:pt x="1009967" y="71438"/>
                    </a:cubicBezTo>
                    <a:cubicBezTo>
                      <a:pt x="1014095" y="66675"/>
                      <a:pt x="1016000" y="59690"/>
                      <a:pt x="1016000" y="50165"/>
                    </a:cubicBezTo>
                    <a:cubicBezTo>
                      <a:pt x="1016000" y="40957"/>
                      <a:pt x="1014095" y="33655"/>
                      <a:pt x="1009967" y="28892"/>
                    </a:cubicBezTo>
                    <a:cubicBezTo>
                      <a:pt x="1005840" y="24130"/>
                      <a:pt x="1000760" y="21907"/>
                      <a:pt x="994092" y="21907"/>
                    </a:cubicBezTo>
                    <a:cubicBezTo>
                      <a:pt x="989965" y="21907"/>
                      <a:pt x="986472" y="22542"/>
                      <a:pt x="983932" y="24130"/>
                    </a:cubicBezTo>
                    <a:cubicBezTo>
                      <a:pt x="981392" y="25717"/>
                      <a:pt x="979170" y="27622"/>
                      <a:pt x="977582" y="29845"/>
                    </a:cubicBezTo>
                    <a:lnTo>
                      <a:pt x="976947" y="29845"/>
                    </a:lnTo>
                    <a:cubicBezTo>
                      <a:pt x="976947" y="28892"/>
                      <a:pt x="977265" y="27305"/>
                      <a:pt x="977265" y="25082"/>
                    </a:cubicBezTo>
                    <a:cubicBezTo>
                      <a:pt x="977265" y="22860"/>
                      <a:pt x="977265" y="20955"/>
                      <a:pt x="977265" y="18732"/>
                    </a:cubicBezTo>
                    <a:lnTo>
                      <a:pt x="977265" y="0"/>
                    </a:lnTo>
                    <a:lnTo>
                      <a:pt x="966788" y="0"/>
                    </a:lnTo>
                    <a:close/>
                    <a:moveTo>
                      <a:pt x="910590" y="35560"/>
                    </a:moveTo>
                    <a:cubicBezTo>
                      <a:pt x="912178" y="37782"/>
                      <a:pt x="913130" y="40640"/>
                      <a:pt x="913130" y="43815"/>
                    </a:cubicBezTo>
                    <a:lnTo>
                      <a:pt x="891857" y="43815"/>
                    </a:lnTo>
                    <a:cubicBezTo>
                      <a:pt x="892175" y="39688"/>
                      <a:pt x="893445" y="36830"/>
                      <a:pt x="895350" y="34925"/>
                    </a:cubicBezTo>
                    <a:cubicBezTo>
                      <a:pt x="897255" y="33020"/>
                      <a:pt x="899795" y="32067"/>
                      <a:pt x="902653" y="32067"/>
                    </a:cubicBezTo>
                    <a:cubicBezTo>
                      <a:pt x="906145" y="32067"/>
                      <a:pt x="909003" y="33338"/>
                      <a:pt x="910590" y="35560"/>
                    </a:cubicBezTo>
                    <a:moveTo>
                      <a:pt x="889000" y="24447"/>
                    </a:moveTo>
                    <a:cubicBezTo>
                      <a:pt x="885190" y="26670"/>
                      <a:pt x="882015" y="29845"/>
                      <a:pt x="879792" y="34290"/>
                    </a:cubicBezTo>
                    <a:cubicBezTo>
                      <a:pt x="877570" y="38735"/>
                      <a:pt x="876617" y="44132"/>
                      <a:pt x="876617" y="50482"/>
                    </a:cubicBezTo>
                    <a:cubicBezTo>
                      <a:pt x="876617" y="56832"/>
                      <a:pt x="877888" y="62230"/>
                      <a:pt x="880428" y="66357"/>
                    </a:cubicBezTo>
                    <a:cubicBezTo>
                      <a:pt x="882967" y="70485"/>
                      <a:pt x="886142" y="73660"/>
                      <a:pt x="890588" y="75565"/>
                    </a:cubicBezTo>
                    <a:cubicBezTo>
                      <a:pt x="895032" y="77470"/>
                      <a:pt x="899795" y="78740"/>
                      <a:pt x="905192" y="78740"/>
                    </a:cubicBezTo>
                    <a:cubicBezTo>
                      <a:pt x="909320" y="78740"/>
                      <a:pt x="913130" y="78422"/>
                      <a:pt x="915988" y="77788"/>
                    </a:cubicBezTo>
                    <a:cubicBezTo>
                      <a:pt x="918845" y="77152"/>
                      <a:pt x="921703" y="76200"/>
                      <a:pt x="924560" y="74930"/>
                    </a:cubicBezTo>
                    <a:lnTo>
                      <a:pt x="924560" y="63182"/>
                    </a:lnTo>
                    <a:cubicBezTo>
                      <a:pt x="921385" y="64770"/>
                      <a:pt x="918528" y="65722"/>
                      <a:pt x="915353" y="66357"/>
                    </a:cubicBezTo>
                    <a:cubicBezTo>
                      <a:pt x="912178" y="66992"/>
                      <a:pt x="909320" y="67310"/>
                      <a:pt x="905510" y="67310"/>
                    </a:cubicBezTo>
                    <a:cubicBezTo>
                      <a:pt x="901382" y="67310"/>
                      <a:pt x="897890" y="66040"/>
                      <a:pt x="895350" y="63500"/>
                    </a:cubicBezTo>
                    <a:cubicBezTo>
                      <a:pt x="892810" y="60960"/>
                      <a:pt x="891540" y="57785"/>
                      <a:pt x="891540" y="53340"/>
                    </a:cubicBezTo>
                    <a:lnTo>
                      <a:pt x="927417" y="53340"/>
                    </a:lnTo>
                    <a:lnTo>
                      <a:pt x="927417" y="46038"/>
                    </a:lnTo>
                    <a:cubicBezTo>
                      <a:pt x="927417" y="38100"/>
                      <a:pt x="925195" y="31750"/>
                      <a:pt x="920750" y="27305"/>
                    </a:cubicBezTo>
                    <a:cubicBezTo>
                      <a:pt x="916305" y="22860"/>
                      <a:pt x="910272" y="20638"/>
                      <a:pt x="902653" y="20638"/>
                    </a:cubicBezTo>
                    <a:cubicBezTo>
                      <a:pt x="897255" y="21272"/>
                      <a:pt x="892810" y="22542"/>
                      <a:pt x="889000" y="24447"/>
                    </a:cubicBezTo>
                    <a:moveTo>
                      <a:pt x="859790" y="77788"/>
                    </a:moveTo>
                    <a:cubicBezTo>
                      <a:pt x="862330" y="77152"/>
                      <a:pt x="864870" y="76200"/>
                      <a:pt x="867092" y="74613"/>
                    </a:cubicBezTo>
                    <a:lnTo>
                      <a:pt x="867092" y="61595"/>
                    </a:lnTo>
                    <a:cubicBezTo>
                      <a:pt x="864870" y="63182"/>
                      <a:pt x="862330" y="64135"/>
                      <a:pt x="860107" y="65088"/>
                    </a:cubicBezTo>
                    <a:cubicBezTo>
                      <a:pt x="857567" y="66040"/>
                      <a:pt x="854710" y="66357"/>
                      <a:pt x="851535" y="66357"/>
                    </a:cubicBezTo>
                    <a:cubicBezTo>
                      <a:pt x="847725" y="66357"/>
                      <a:pt x="844867" y="65088"/>
                      <a:pt x="842963" y="62547"/>
                    </a:cubicBezTo>
                    <a:cubicBezTo>
                      <a:pt x="840740" y="60007"/>
                      <a:pt x="839788" y="55880"/>
                      <a:pt x="839788" y="50165"/>
                    </a:cubicBezTo>
                    <a:cubicBezTo>
                      <a:pt x="839788" y="39052"/>
                      <a:pt x="843597" y="33338"/>
                      <a:pt x="851535" y="33338"/>
                    </a:cubicBezTo>
                    <a:cubicBezTo>
                      <a:pt x="853440" y="33338"/>
                      <a:pt x="855663" y="33655"/>
                      <a:pt x="857567" y="34290"/>
                    </a:cubicBezTo>
                    <a:cubicBezTo>
                      <a:pt x="859790" y="34925"/>
                      <a:pt x="862013" y="35560"/>
                      <a:pt x="864235" y="36513"/>
                    </a:cubicBezTo>
                    <a:lnTo>
                      <a:pt x="868680" y="24765"/>
                    </a:lnTo>
                    <a:cubicBezTo>
                      <a:pt x="866457" y="23813"/>
                      <a:pt x="864235" y="22860"/>
                      <a:pt x="861378" y="22225"/>
                    </a:cubicBezTo>
                    <a:cubicBezTo>
                      <a:pt x="858520" y="21590"/>
                      <a:pt x="855345" y="20955"/>
                      <a:pt x="851535" y="20955"/>
                    </a:cubicBezTo>
                    <a:cubicBezTo>
                      <a:pt x="846138" y="20955"/>
                      <a:pt x="841375" y="21907"/>
                      <a:pt x="837247" y="24130"/>
                    </a:cubicBezTo>
                    <a:cubicBezTo>
                      <a:pt x="833120" y="26035"/>
                      <a:pt x="829945" y="29210"/>
                      <a:pt x="827722" y="33655"/>
                    </a:cubicBezTo>
                    <a:cubicBezTo>
                      <a:pt x="825500" y="37782"/>
                      <a:pt x="824230" y="43497"/>
                      <a:pt x="824230" y="50165"/>
                    </a:cubicBezTo>
                    <a:cubicBezTo>
                      <a:pt x="824230" y="60007"/>
                      <a:pt x="826453" y="67310"/>
                      <a:pt x="830897" y="71755"/>
                    </a:cubicBezTo>
                    <a:cubicBezTo>
                      <a:pt x="835342" y="76200"/>
                      <a:pt x="841692" y="78422"/>
                      <a:pt x="849947" y="78422"/>
                    </a:cubicBezTo>
                    <a:cubicBezTo>
                      <a:pt x="854075" y="78740"/>
                      <a:pt x="857250" y="78422"/>
                      <a:pt x="859790" y="77788"/>
                    </a:cubicBezTo>
                    <a:moveTo>
                      <a:pt x="782320" y="23177"/>
                    </a:moveTo>
                    <a:cubicBezTo>
                      <a:pt x="779145" y="24447"/>
                      <a:pt x="776922" y="26670"/>
                      <a:pt x="775017" y="29527"/>
                    </a:cubicBezTo>
                    <a:lnTo>
                      <a:pt x="774065" y="29527"/>
                    </a:lnTo>
                    <a:lnTo>
                      <a:pt x="772160" y="22542"/>
                    </a:lnTo>
                    <a:lnTo>
                      <a:pt x="760730" y="22542"/>
                    </a:lnTo>
                    <a:lnTo>
                      <a:pt x="760730" y="78105"/>
                    </a:lnTo>
                    <a:lnTo>
                      <a:pt x="775970" y="78105"/>
                    </a:lnTo>
                    <a:lnTo>
                      <a:pt x="775970" y="52070"/>
                    </a:lnTo>
                    <a:cubicBezTo>
                      <a:pt x="775970" y="46038"/>
                      <a:pt x="776922" y="41592"/>
                      <a:pt x="778510" y="38417"/>
                    </a:cubicBezTo>
                    <a:cubicBezTo>
                      <a:pt x="780097" y="35242"/>
                      <a:pt x="783272" y="33655"/>
                      <a:pt x="788035" y="33655"/>
                    </a:cubicBezTo>
                    <a:cubicBezTo>
                      <a:pt x="791210" y="33655"/>
                      <a:pt x="793432" y="34607"/>
                      <a:pt x="794703" y="36513"/>
                    </a:cubicBezTo>
                    <a:cubicBezTo>
                      <a:pt x="795972" y="38417"/>
                      <a:pt x="796925" y="41592"/>
                      <a:pt x="796925" y="45402"/>
                    </a:cubicBezTo>
                    <a:lnTo>
                      <a:pt x="796925" y="77788"/>
                    </a:lnTo>
                    <a:lnTo>
                      <a:pt x="812165" y="77788"/>
                    </a:lnTo>
                    <a:lnTo>
                      <a:pt x="812165" y="41592"/>
                    </a:lnTo>
                    <a:cubicBezTo>
                      <a:pt x="812165" y="34607"/>
                      <a:pt x="810260" y="29210"/>
                      <a:pt x="806767" y="26035"/>
                    </a:cubicBezTo>
                    <a:cubicBezTo>
                      <a:pt x="803275" y="22860"/>
                      <a:pt x="798513" y="21272"/>
                      <a:pt x="792480" y="21272"/>
                    </a:cubicBezTo>
                    <a:cubicBezTo>
                      <a:pt x="788670" y="21272"/>
                      <a:pt x="785495" y="21907"/>
                      <a:pt x="782320" y="23177"/>
                    </a:cubicBezTo>
                    <a:moveTo>
                      <a:pt x="731520" y="35560"/>
                    </a:moveTo>
                    <a:cubicBezTo>
                      <a:pt x="733107" y="37782"/>
                      <a:pt x="734060" y="40640"/>
                      <a:pt x="734060" y="43815"/>
                    </a:cubicBezTo>
                    <a:lnTo>
                      <a:pt x="712788" y="43815"/>
                    </a:lnTo>
                    <a:cubicBezTo>
                      <a:pt x="713105" y="39688"/>
                      <a:pt x="714375" y="36830"/>
                      <a:pt x="716280" y="34925"/>
                    </a:cubicBezTo>
                    <a:cubicBezTo>
                      <a:pt x="718185" y="33020"/>
                      <a:pt x="720725" y="32067"/>
                      <a:pt x="723582" y="32067"/>
                    </a:cubicBezTo>
                    <a:cubicBezTo>
                      <a:pt x="727075" y="32067"/>
                      <a:pt x="729932" y="33338"/>
                      <a:pt x="731520" y="35560"/>
                    </a:cubicBezTo>
                    <a:moveTo>
                      <a:pt x="709930" y="24447"/>
                    </a:moveTo>
                    <a:cubicBezTo>
                      <a:pt x="706120" y="26670"/>
                      <a:pt x="702945" y="29845"/>
                      <a:pt x="700722" y="34290"/>
                    </a:cubicBezTo>
                    <a:cubicBezTo>
                      <a:pt x="698500" y="38735"/>
                      <a:pt x="697547" y="44132"/>
                      <a:pt x="697547" y="50482"/>
                    </a:cubicBezTo>
                    <a:cubicBezTo>
                      <a:pt x="697547" y="56832"/>
                      <a:pt x="698817" y="62230"/>
                      <a:pt x="701357" y="66357"/>
                    </a:cubicBezTo>
                    <a:cubicBezTo>
                      <a:pt x="703897" y="70485"/>
                      <a:pt x="707072" y="73660"/>
                      <a:pt x="711517" y="75565"/>
                    </a:cubicBezTo>
                    <a:cubicBezTo>
                      <a:pt x="715963" y="77470"/>
                      <a:pt x="720725" y="78740"/>
                      <a:pt x="726122" y="78740"/>
                    </a:cubicBezTo>
                    <a:cubicBezTo>
                      <a:pt x="730250" y="78740"/>
                      <a:pt x="734060" y="78422"/>
                      <a:pt x="736917" y="77788"/>
                    </a:cubicBezTo>
                    <a:cubicBezTo>
                      <a:pt x="739775" y="77152"/>
                      <a:pt x="742632" y="76200"/>
                      <a:pt x="745490" y="74930"/>
                    </a:cubicBezTo>
                    <a:lnTo>
                      <a:pt x="745490" y="63182"/>
                    </a:lnTo>
                    <a:cubicBezTo>
                      <a:pt x="742315" y="64770"/>
                      <a:pt x="739457" y="65722"/>
                      <a:pt x="736282" y="66357"/>
                    </a:cubicBezTo>
                    <a:cubicBezTo>
                      <a:pt x="733107" y="66992"/>
                      <a:pt x="730250" y="67310"/>
                      <a:pt x="726440" y="67310"/>
                    </a:cubicBezTo>
                    <a:cubicBezTo>
                      <a:pt x="722313" y="67310"/>
                      <a:pt x="718820" y="66040"/>
                      <a:pt x="716280" y="63500"/>
                    </a:cubicBezTo>
                    <a:cubicBezTo>
                      <a:pt x="713740" y="60960"/>
                      <a:pt x="712470" y="57785"/>
                      <a:pt x="712470" y="53340"/>
                    </a:cubicBezTo>
                    <a:lnTo>
                      <a:pt x="748347" y="53340"/>
                    </a:lnTo>
                    <a:lnTo>
                      <a:pt x="748347" y="46038"/>
                    </a:lnTo>
                    <a:cubicBezTo>
                      <a:pt x="748347" y="38100"/>
                      <a:pt x="746125" y="31750"/>
                      <a:pt x="741680" y="27305"/>
                    </a:cubicBezTo>
                    <a:cubicBezTo>
                      <a:pt x="737235" y="22860"/>
                      <a:pt x="731203" y="20638"/>
                      <a:pt x="723582" y="20638"/>
                    </a:cubicBezTo>
                    <a:cubicBezTo>
                      <a:pt x="718503" y="21272"/>
                      <a:pt x="713740" y="22542"/>
                      <a:pt x="709930" y="24447"/>
                    </a:cubicBezTo>
                    <a:moveTo>
                      <a:pt x="687070" y="53340"/>
                    </a:moveTo>
                    <a:cubicBezTo>
                      <a:pt x="685800" y="51117"/>
                      <a:pt x="683895" y="49530"/>
                      <a:pt x="681672" y="48260"/>
                    </a:cubicBezTo>
                    <a:cubicBezTo>
                      <a:pt x="679450" y="46990"/>
                      <a:pt x="676592" y="45402"/>
                      <a:pt x="673417" y="44132"/>
                    </a:cubicBezTo>
                    <a:cubicBezTo>
                      <a:pt x="670242" y="42863"/>
                      <a:pt x="667703" y="41592"/>
                      <a:pt x="666115" y="40957"/>
                    </a:cubicBezTo>
                    <a:cubicBezTo>
                      <a:pt x="664528" y="40005"/>
                      <a:pt x="663257" y="39370"/>
                      <a:pt x="662622" y="38735"/>
                    </a:cubicBezTo>
                    <a:cubicBezTo>
                      <a:pt x="661988" y="38100"/>
                      <a:pt x="661670" y="37147"/>
                      <a:pt x="661670" y="36195"/>
                    </a:cubicBezTo>
                    <a:cubicBezTo>
                      <a:pt x="661670" y="33655"/>
                      <a:pt x="663892" y="32385"/>
                      <a:pt x="668338" y="32385"/>
                    </a:cubicBezTo>
                    <a:cubicBezTo>
                      <a:pt x="670878" y="32385"/>
                      <a:pt x="673417" y="32702"/>
                      <a:pt x="675640" y="33655"/>
                    </a:cubicBezTo>
                    <a:cubicBezTo>
                      <a:pt x="678180" y="34290"/>
                      <a:pt x="680720" y="35242"/>
                      <a:pt x="683260" y="36513"/>
                    </a:cubicBezTo>
                    <a:lnTo>
                      <a:pt x="687705" y="25717"/>
                    </a:lnTo>
                    <a:cubicBezTo>
                      <a:pt x="684530" y="24130"/>
                      <a:pt x="681038" y="23177"/>
                      <a:pt x="678180" y="22225"/>
                    </a:cubicBezTo>
                    <a:cubicBezTo>
                      <a:pt x="675005" y="21590"/>
                      <a:pt x="671830" y="21272"/>
                      <a:pt x="668338" y="21272"/>
                    </a:cubicBezTo>
                    <a:cubicBezTo>
                      <a:pt x="661670" y="21272"/>
                      <a:pt x="656272" y="22542"/>
                      <a:pt x="652463" y="25082"/>
                    </a:cubicBezTo>
                    <a:cubicBezTo>
                      <a:pt x="648335" y="27622"/>
                      <a:pt x="646430" y="31432"/>
                      <a:pt x="646430" y="36513"/>
                    </a:cubicBezTo>
                    <a:cubicBezTo>
                      <a:pt x="646430" y="39688"/>
                      <a:pt x="647065" y="42227"/>
                      <a:pt x="648017" y="44132"/>
                    </a:cubicBezTo>
                    <a:cubicBezTo>
                      <a:pt x="648970" y="46355"/>
                      <a:pt x="650875" y="47942"/>
                      <a:pt x="653097" y="49530"/>
                    </a:cubicBezTo>
                    <a:cubicBezTo>
                      <a:pt x="655320" y="51117"/>
                      <a:pt x="658178" y="52388"/>
                      <a:pt x="661670" y="53975"/>
                    </a:cubicBezTo>
                    <a:cubicBezTo>
                      <a:pt x="665163" y="55563"/>
                      <a:pt x="668020" y="56832"/>
                      <a:pt x="669607" y="57785"/>
                    </a:cubicBezTo>
                    <a:cubicBezTo>
                      <a:pt x="671195" y="58738"/>
                      <a:pt x="672465" y="59690"/>
                      <a:pt x="672782" y="60325"/>
                    </a:cubicBezTo>
                    <a:cubicBezTo>
                      <a:pt x="673417" y="60960"/>
                      <a:pt x="673417" y="61913"/>
                      <a:pt x="673417" y="62865"/>
                    </a:cubicBezTo>
                    <a:cubicBezTo>
                      <a:pt x="673417" y="64135"/>
                      <a:pt x="672782" y="65405"/>
                      <a:pt x="671513" y="66357"/>
                    </a:cubicBezTo>
                    <a:cubicBezTo>
                      <a:pt x="670242" y="67310"/>
                      <a:pt x="668020" y="67627"/>
                      <a:pt x="665163" y="67627"/>
                    </a:cubicBezTo>
                    <a:cubicBezTo>
                      <a:pt x="662622" y="67627"/>
                      <a:pt x="659447" y="67310"/>
                      <a:pt x="655955" y="66357"/>
                    </a:cubicBezTo>
                    <a:cubicBezTo>
                      <a:pt x="652463" y="65405"/>
                      <a:pt x="649288" y="64452"/>
                      <a:pt x="646430" y="62865"/>
                    </a:cubicBezTo>
                    <a:lnTo>
                      <a:pt x="646430" y="75247"/>
                    </a:lnTo>
                    <a:cubicBezTo>
                      <a:pt x="649288" y="76517"/>
                      <a:pt x="652145" y="77152"/>
                      <a:pt x="654685" y="77788"/>
                    </a:cubicBezTo>
                    <a:cubicBezTo>
                      <a:pt x="657542" y="78422"/>
                      <a:pt x="660717" y="78422"/>
                      <a:pt x="664528" y="78422"/>
                    </a:cubicBezTo>
                    <a:cubicBezTo>
                      <a:pt x="672465" y="78422"/>
                      <a:pt x="678180" y="76835"/>
                      <a:pt x="682307" y="73977"/>
                    </a:cubicBezTo>
                    <a:cubicBezTo>
                      <a:pt x="686117" y="71120"/>
                      <a:pt x="688340" y="66675"/>
                      <a:pt x="688340" y="60960"/>
                    </a:cubicBezTo>
                    <a:cubicBezTo>
                      <a:pt x="688975" y="58102"/>
                      <a:pt x="688340" y="55563"/>
                      <a:pt x="687070" y="53340"/>
                    </a:cubicBezTo>
                    <a:moveTo>
                      <a:pt x="621030" y="35560"/>
                    </a:moveTo>
                    <a:cubicBezTo>
                      <a:pt x="622617" y="37782"/>
                      <a:pt x="623570" y="40640"/>
                      <a:pt x="623570" y="43815"/>
                    </a:cubicBezTo>
                    <a:lnTo>
                      <a:pt x="602297" y="43815"/>
                    </a:lnTo>
                    <a:cubicBezTo>
                      <a:pt x="602615" y="39688"/>
                      <a:pt x="603885" y="36830"/>
                      <a:pt x="605790" y="34925"/>
                    </a:cubicBezTo>
                    <a:cubicBezTo>
                      <a:pt x="607695" y="33020"/>
                      <a:pt x="610235" y="32067"/>
                      <a:pt x="613092" y="32067"/>
                    </a:cubicBezTo>
                    <a:cubicBezTo>
                      <a:pt x="616585" y="32067"/>
                      <a:pt x="619442" y="33338"/>
                      <a:pt x="621030" y="35560"/>
                    </a:cubicBezTo>
                    <a:moveTo>
                      <a:pt x="599440" y="24447"/>
                    </a:moveTo>
                    <a:cubicBezTo>
                      <a:pt x="595630" y="26670"/>
                      <a:pt x="592455" y="29845"/>
                      <a:pt x="590232" y="34290"/>
                    </a:cubicBezTo>
                    <a:cubicBezTo>
                      <a:pt x="588010" y="38735"/>
                      <a:pt x="587057" y="44132"/>
                      <a:pt x="587057" y="50482"/>
                    </a:cubicBezTo>
                    <a:cubicBezTo>
                      <a:pt x="587057" y="56832"/>
                      <a:pt x="588328" y="62230"/>
                      <a:pt x="590867" y="66357"/>
                    </a:cubicBezTo>
                    <a:cubicBezTo>
                      <a:pt x="593407" y="70485"/>
                      <a:pt x="596582" y="73660"/>
                      <a:pt x="601028" y="75565"/>
                    </a:cubicBezTo>
                    <a:cubicBezTo>
                      <a:pt x="605472" y="77470"/>
                      <a:pt x="610235" y="78740"/>
                      <a:pt x="615632" y="78740"/>
                    </a:cubicBezTo>
                    <a:cubicBezTo>
                      <a:pt x="619760" y="78740"/>
                      <a:pt x="623570" y="78422"/>
                      <a:pt x="626428" y="77788"/>
                    </a:cubicBezTo>
                    <a:cubicBezTo>
                      <a:pt x="629285" y="77152"/>
                      <a:pt x="632142" y="76200"/>
                      <a:pt x="635000" y="74930"/>
                    </a:cubicBezTo>
                    <a:lnTo>
                      <a:pt x="635000" y="63182"/>
                    </a:lnTo>
                    <a:cubicBezTo>
                      <a:pt x="631825" y="64770"/>
                      <a:pt x="628967" y="65722"/>
                      <a:pt x="625792" y="66357"/>
                    </a:cubicBezTo>
                    <a:cubicBezTo>
                      <a:pt x="622935" y="66992"/>
                      <a:pt x="619760" y="67310"/>
                      <a:pt x="615950" y="67310"/>
                    </a:cubicBezTo>
                    <a:cubicBezTo>
                      <a:pt x="611822" y="67310"/>
                      <a:pt x="608330" y="66040"/>
                      <a:pt x="605790" y="63500"/>
                    </a:cubicBezTo>
                    <a:cubicBezTo>
                      <a:pt x="603250" y="60960"/>
                      <a:pt x="601980" y="57785"/>
                      <a:pt x="601980" y="53340"/>
                    </a:cubicBezTo>
                    <a:lnTo>
                      <a:pt x="637857" y="53340"/>
                    </a:lnTo>
                    <a:lnTo>
                      <a:pt x="637857" y="46038"/>
                    </a:lnTo>
                    <a:cubicBezTo>
                      <a:pt x="637857" y="38100"/>
                      <a:pt x="635635" y="31750"/>
                      <a:pt x="631190" y="27305"/>
                    </a:cubicBezTo>
                    <a:cubicBezTo>
                      <a:pt x="626745" y="22860"/>
                      <a:pt x="620713" y="20638"/>
                      <a:pt x="613092" y="20638"/>
                    </a:cubicBezTo>
                    <a:cubicBezTo>
                      <a:pt x="607695" y="21272"/>
                      <a:pt x="603250" y="22542"/>
                      <a:pt x="599440" y="24447"/>
                    </a:cubicBezTo>
                    <a:moveTo>
                      <a:pt x="567372" y="24447"/>
                    </a:moveTo>
                    <a:cubicBezTo>
                      <a:pt x="564515" y="26352"/>
                      <a:pt x="562292" y="28892"/>
                      <a:pt x="560705" y="31750"/>
                    </a:cubicBezTo>
                    <a:lnTo>
                      <a:pt x="560070" y="31750"/>
                    </a:lnTo>
                    <a:lnTo>
                      <a:pt x="557847" y="22542"/>
                    </a:lnTo>
                    <a:lnTo>
                      <a:pt x="546417" y="22542"/>
                    </a:lnTo>
                    <a:lnTo>
                      <a:pt x="546417" y="78105"/>
                    </a:lnTo>
                    <a:lnTo>
                      <a:pt x="561657" y="78105"/>
                    </a:lnTo>
                    <a:lnTo>
                      <a:pt x="561657" y="49847"/>
                    </a:lnTo>
                    <a:cubicBezTo>
                      <a:pt x="561657" y="46355"/>
                      <a:pt x="562292" y="43497"/>
                      <a:pt x="563880" y="41592"/>
                    </a:cubicBezTo>
                    <a:cubicBezTo>
                      <a:pt x="565467" y="39688"/>
                      <a:pt x="567372" y="38100"/>
                      <a:pt x="569595" y="37147"/>
                    </a:cubicBezTo>
                    <a:cubicBezTo>
                      <a:pt x="571817" y="36195"/>
                      <a:pt x="574357" y="35877"/>
                      <a:pt x="576897" y="35877"/>
                    </a:cubicBezTo>
                    <a:cubicBezTo>
                      <a:pt x="577532" y="35877"/>
                      <a:pt x="578485" y="35877"/>
                      <a:pt x="579120" y="35877"/>
                    </a:cubicBezTo>
                    <a:cubicBezTo>
                      <a:pt x="580072" y="35877"/>
                      <a:pt x="580707" y="36195"/>
                      <a:pt x="581342" y="36195"/>
                    </a:cubicBezTo>
                    <a:lnTo>
                      <a:pt x="582613" y="21907"/>
                    </a:lnTo>
                    <a:cubicBezTo>
                      <a:pt x="581978" y="21907"/>
                      <a:pt x="581342" y="21590"/>
                      <a:pt x="580072" y="21590"/>
                    </a:cubicBezTo>
                    <a:cubicBezTo>
                      <a:pt x="579120" y="21590"/>
                      <a:pt x="578167" y="21590"/>
                      <a:pt x="577532" y="21590"/>
                    </a:cubicBezTo>
                    <a:cubicBezTo>
                      <a:pt x="573405" y="21272"/>
                      <a:pt x="570230" y="22225"/>
                      <a:pt x="567372" y="24447"/>
                    </a:cubicBezTo>
                    <a:moveTo>
                      <a:pt x="518160" y="49847"/>
                    </a:moveTo>
                    <a:cubicBezTo>
                      <a:pt x="518160" y="55245"/>
                      <a:pt x="517207" y="59372"/>
                      <a:pt x="515620" y="62230"/>
                    </a:cubicBezTo>
                    <a:cubicBezTo>
                      <a:pt x="514032" y="65088"/>
                      <a:pt x="511492" y="66675"/>
                      <a:pt x="508000" y="66675"/>
                    </a:cubicBezTo>
                    <a:cubicBezTo>
                      <a:pt x="503872" y="66675"/>
                      <a:pt x="501015" y="65088"/>
                      <a:pt x="499428" y="62230"/>
                    </a:cubicBezTo>
                    <a:cubicBezTo>
                      <a:pt x="497840" y="59372"/>
                      <a:pt x="496888" y="55245"/>
                      <a:pt x="496888" y="49847"/>
                    </a:cubicBezTo>
                    <a:lnTo>
                      <a:pt x="496888" y="48260"/>
                    </a:lnTo>
                    <a:cubicBezTo>
                      <a:pt x="496888" y="43180"/>
                      <a:pt x="497840" y="39688"/>
                      <a:pt x="499428" y="37147"/>
                    </a:cubicBezTo>
                    <a:cubicBezTo>
                      <a:pt x="501015" y="34607"/>
                      <a:pt x="503872" y="33338"/>
                      <a:pt x="507682" y="33338"/>
                    </a:cubicBezTo>
                    <a:cubicBezTo>
                      <a:pt x="514667" y="33338"/>
                      <a:pt x="518160" y="38735"/>
                      <a:pt x="518160" y="49847"/>
                    </a:cubicBezTo>
                    <a:moveTo>
                      <a:pt x="502920" y="23813"/>
                    </a:moveTo>
                    <a:cubicBezTo>
                      <a:pt x="500380" y="25400"/>
                      <a:pt x="498475" y="27305"/>
                      <a:pt x="496888" y="29527"/>
                    </a:cubicBezTo>
                    <a:lnTo>
                      <a:pt x="496253" y="29527"/>
                    </a:lnTo>
                    <a:lnTo>
                      <a:pt x="494030" y="22225"/>
                    </a:lnTo>
                    <a:lnTo>
                      <a:pt x="481647" y="22225"/>
                    </a:lnTo>
                    <a:lnTo>
                      <a:pt x="481647" y="102235"/>
                    </a:lnTo>
                    <a:lnTo>
                      <a:pt x="496888" y="102235"/>
                    </a:lnTo>
                    <a:lnTo>
                      <a:pt x="496888" y="80010"/>
                    </a:lnTo>
                    <a:cubicBezTo>
                      <a:pt x="496888" y="77470"/>
                      <a:pt x="496570" y="74613"/>
                      <a:pt x="495935" y="71755"/>
                    </a:cubicBezTo>
                    <a:lnTo>
                      <a:pt x="496888" y="71755"/>
                    </a:lnTo>
                    <a:cubicBezTo>
                      <a:pt x="498475" y="73660"/>
                      <a:pt x="500380" y="75247"/>
                      <a:pt x="502603" y="76835"/>
                    </a:cubicBezTo>
                    <a:cubicBezTo>
                      <a:pt x="504825" y="78422"/>
                      <a:pt x="508317" y="79057"/>
                      <a:pt x="512128" y="79057"/>
                    </a:cubicBezTo>
                    <a:cubicBezTo>
                      <a:pt x="518478" y="79057"/>
                      <a:pt x="523557" y="76517"/>
                      <a:pt x="527367" y="71755"/>
                    </a:cubicBezTo>
                    <a:cubicBezTo>
                      <a:pt x="531495" y="66992"/>
                      <a:pt x="533400" y="59690"/>
                      <a:pt x="533400" y="50165"/>
                    </a:cubicBezTo>
                    <a:cubicBezTo>
                      <a:pt x="533400" y="40640"/>
                      <a:pt x="531495" y="33655"/>
                      <a:pt x="527685" y="28892"/>
                    </a:cubicBezTo>
                    <a:cubicBezTo>
                      <a:pt x="523875" y="24130"/>
                      <a:pt x="518795" y="21590"/>
                      <a:pt x="512445" y="21590"/>
                    </a:cubicBezTo>
                    <a:cubicBezTo>
                      <a:pt x="508635" y="21272"/>
                      <a:pt x="505460" y="22225"/>
                      <a:pt x="502920" y="23813"/>
                    </a:cubicBezTo>
                    <a:moveTo>
                      <a:pt x="388620" y="635"/>
                    </a:moveTo>
                    <a:lnTo>
                      <a:pt x="388620" y="77788"/>
                    </a:lnTo>
                    <a:lnTo>
                      <a:pt x="403860" y="77788"/>
                    </a:lnTo>
                    <a:lnTo>
                      <a:pt x="403860" y="51752"/>
                    </a:lnTo>
                    <a:cubicBezTo>
                      <a:pt x="403860" y="45720"/>
                      <a:pt x="404813" y="41275"/>
                      <a:pt x="406400" y="38100"/>
                    </a:cubicBezTo>
                    <a:cubicBezTo>
                      <a:pt x="407988" y="34925"/>
                      <a:pt x="411163" y="33338"/>
                      <a:pt x="415925" y="33338"/>
                    </a:cubicBezTo>
                    <a:cubicBezTo>
                      <a:pt x="421957" y="33338"/>
                      <a:pt x="424815" y="37465"/>
                      <a:pt x="424815" y="45402"/>
                    </a:cubicBezTo>
                    <a:lnTo>
                      <a:pt x="424815" y="77788"/>
                    </a:lnTo>
                    <a:lnTo>
                      <a:pt x="440055" y="77788"/>
                    </a:lnTo>
                    <a:lnTo>
                      <a:pt x="440055" y="41592"/>
                    </a:lnTo>
                    <a:cubicBezTo>
                      <a:pt x="440055" y="34607"/>
                      <a:pt x="438150" y="29210"/>
                      <a:pt x="434657" y="26035"/>
                    </a:cubicBezTo>
                    <a:cubicBezTo>
                      <a:pt x="431165" y="22860"/>
                      <a:pt x="426085" y="21272"/>
                      <a:pt x="420370" y="21272"/>
                    </a:cubicBezTo>
                    <a:cubicBezTo>
                      <a:pt x="416878" y="21272"/>
                      <a:pt x="414020" y="21907"/>
                      <a:pt x="411163" y="23177"/>
                    </a:cubicBezTo>
                    <a:cubicBezTo>
                      <a:pt x="408305" y="24447"/>
                      <a:pt x="406082" y="26670"/>
                      <a:pt x="404495" y="29527"/>
                    </a:cubicBezTo>
                    <a:lnTo>
                      <a:pt x="403542" y="29527"/>
                    </a:lnTo>
                    <a:cubicBezTo>
                      <a:pt x="403542" y="28575"/>
                      <a:pt x="403860" y="26670"/>
                      <a:pt x="403860" y="24447"/>
                    </a:cubicBezTo>
                    <a:cubicBezTo>
                      <a:pt x="404177" y="21907"/>
                      <a:pt x="404177" y="19367"/>
                      <a:pt x="404177" y="16510"/>
                    </a:cubicBezTo>
                    <a:lnTo>
                      <a:pt x="404177" y="635"/>
                    </a:lnTo>
                    <a:lnTo>
                      <a:pt x="388620" y="635"/>
                    </a:lnTo>
                    <a:close/>
                    <a:moveTo>
                      <a:pt x="374967" y="53340"/>
                    </a:moveTo>
                    <a:cubicBezTo>
                      <a:pt x="373697" y="51117"/>
                      <a:pt x="371792" y="49530"/>
                      <a:pt x="369570" y="48260"/>
                    </a:cubicBezTo>
                    <a:cubicBezTo>
                      <a:pt x="367347" y="46990"/>
                      <a:pt x="364490" y="45402"/>
                      <a:pt x="361315" y="44132"/>
                    </a:cubicBezTo>
                    <a:cubicBezTo>
                      <a:pt x="358140" y="42863"/>
                      <a:pt x="355600" y="41592"/>
                      <a:pt x="354013" y="40957"/>
                    </a:cubicBezTo>
                    <a:cubicBezTo>
                      <a:pt x="352425" y="40005"/>
                      <a:pt x="351155" y="39370"/>
                      <a:pt x="350520" y="38735"/>
                    </a:cubicBezTo>
                    <a:cubicBezTo>
                      <a:pt x="349885" y="38100"/>
                      <a:pt x="349567" y="37147"/>
                      <a:pt x="349567" y="36195"/>
                    </a:cubicBezTo>
                    <a:cubicBezTo>
                      <a:pt x="349567" y="33655"/>
                      <a:pt x="351790" y="32385"/>
                      <a:pt x="356235" y="32385"/>
                    </a:cubicBezTo>
                    <a:cubicBezTo>
                      <a:pt x="358775" y="32385"/>
                      <a:pt x="361315" y="32702"/>
                      <a:pt x="363538" y="33655"/>
                    </a:cubicBezTo>
                    <a:cubicBezTo>
                      <a:pt x="366077" y="34290"/>
                      <a:pt x="368617" y="35242"/>
                      <a:pt x="371157" y="36513"/>
                    </a:cubicBezTo>
                    <a:lnTo>
                      <a:pt x="375602" y="25717"/>
                    </a:lnTo>
                    <a:cubicBezTo>
                      <a:pt x="372427" y="24130"/>
                      <a:pt x="368935" y="23177"/>
                      <a:pt x="366077" y="22225"/>
                    </a:cubicBezTo>
                    <a:cubicBezTo>
                      <a:pt x="362902" y="21590"/>
                      <a:pt x="359727" y="21272"/>
                      <a:pt x="356235" y="21272"/>
                    </a:cubicBezTo>
                    <a:cubicBezTo>
                      <a:pt x="349567" y="21272"/>
                      <a:pt x="344170" y="22542"/>
                      <a:pt x="340360" y="25082"/>
                    </a:cubicBezTo>
                    <a:cubicBezTo>
                      <a:pt x="336232" y="27622"/>
                      <a:pt x="334327" y="31432"/>
                      <a:pt x="334327" y="36513"/>
                    </a:cubicBezTo>
                    <a:cubicBezTo>
                      <a:pt x="334327" y="39688"/>
                      <a:pt x="334963" y="42227"/>
                      <a:pt x="335915" y="44132"/>
                    </a:cubicBezTo>
                    <a:cubicBezTo>
                      <a:pt x="336867" y="46355"/>
                      <a:pt x="338772" y="47942"/>
                      <a:pt x="340995" y="49530"/>
                    </a:cubicBezTo>
                    <a:cubicBezTo>
                      <a:pt x="343217" y="51117"/>
                      <a:pt x="346075" y="52388"/>
                      <a:pt x="349567" y="53975"/>
                    </a:cubicBezTo>
                    <a:cubicBezTo>
                      <a:pt x="353060" y="55563"/>
                      <a:pt x="355917" y="56832"/>
                      <a:pt x="357505" y="57785"/>
                    </a:cubicBezTo>
                    <a:cubicBezTo>
                      <a:pt x="359092" y="58738"/>
                      <a:pt x="360363" y="59690"/>
                      <a:pt x="360680" y="60325"/>
                    </a:cubicBezTo>
                    <a:cubicBezTo>
                      <a:pt x="360997" y="60960"/>
                      <a:pt x="361315" y="61913"/>
                      <a:pt x="361315" y="62865"/>
                    </a:cubicBezTo>
                    <a:cubicBezTo>
                      <a:pt x="361315" y="64135"/>
                      <a:pt x="360680" y="65405"/>
                      <a:pt x="359410" y="66357"/>
                    </a:cubicBezTo>
                    <a:cubicBezTo>
                      <a:pt x="358140" y="67310"/>
                      <a:pt x="355917" y="67627"/>
                      <a:pt x="353060" y="67627"/>
                    </a:cubicBezTo>
                    <a:cubicBezTo>
                      <a:pt x="350520" y="67627"/>
                      <a:pt x="347345" y="67310"/>
                      <a:pt x="343852" y="66357"/>
                    </a:cubicBezTo>
                    <a:cubicBezTo>
                      <a:pt x="340360" y="65405"/>
                      <a:pt x="337185" y="64452"/>
                      <a:pt x="334327" y="62865"/>
                    </a:cubicBezTo>
                    <a:lnTo>
                      <a:pt x="334327" y="75247"/>
                    </a:lnTo>
                    <a:cubicBezTo>
                      <a:pt x="337185" y="76517"/>
                      <a:pt x="339725" y="77152"/>
                      <a:pt x="342582" y="77788"/>
                    </a:cubicBezTo>
                    <a:cubicBezTo>
                      <a:pt x="345440" y="78422"/>
                      <a:pt x="348615" y="78422"/>
                      <a:pt x="352425" y="78422"/>
                    </a:cubicBezTo>
                    <a:cubicBezTo>
                      <a:pt x="360363" y="78422"/>
                      <a:pt x="366077" y="76835"/>
                      <a:pt x="370205" y="73977"/>
                    </a:cubicBezTo>
                    <a:cubicBezTo>
                      <a:pt x="374015" y="71120"/>
                      <a:pt x="376238" y="66675"/>
                      <a:pt x="376238" y="60960"/>
                    </a:cubicBezTo>
                    <a:cubicBezTo>
                      <a:pt x="376872" y="58102"/>
                      <a:pt x="376238" y="55563"/>
                      <a:pt x="374967" y="53340"/>
                    </a:cubicBezTo>
                    <a:moveTo>
                      <a:pt x="307022" y="77788"/>
                    </a:moveTo>
                    <a:lnTo>
                      <a:pt x="322263" y="77788"/>
                    </a:lnTo>
                    <a:lnTo>
                      <a:pt x="322263" y="22225"/>
                    </a:lnTo>
                    <a:lnTo>
                      <a:pt x="307022" y="22225"/>
                    </a:lnTo>
                    <a:lnTo>
                      <a:pt x="307022" y="77788"/>
                    </a:lnTo>
                    <a:close/>
                    <a:moveTo>
                      <a:pt x="308927" y="2222"/>
                    </a:moveTo>
                    <a:cubicBezTo>
                      <a:pt x="307340" y="3175"/>
                      <a:pt x="306388" y="5080"/>
                      <a:pt x="306388" y="7938"/>
                    </a:cubicBezTo>
                    <a:cubicBezTo>
                      <a:pt x="306388" y="10795"/>
                      <a:pt x="307022" y="12700"/>
                      <a:pt x="308927" y="13652"/>
                    </a:cubicBezTo>
                    <a:cubicBezTo>
                      <a:pt x="310515" y="14605"/>
                      <a:pt x="312420" y="15240"/>
                      <a:pt x="314642" y="15240"/>
                    </a:cubicBezTo>
                    <a:cubicBezTo>
                      <a:pt x="316865" y="15240"/>
                      <a:pt x="318770" y="14605"/>
                      <a:pt x="320357" y="13652"/>
                    </a:cubicBezTo>
                    <a:cubicBezTo>
                      <a:pt x="321945" y="12700"/>
                      <a:pt x="322897" y="10795"/>
                      <a:pt x="322897" y="7938"/>
                    </a:cubicBezTo>
                    <a:cubicBezTo>
                      <a:pt x="322897" y="5080"/>
                      <a:pt x="321945" y="3175"/>
                      <a:pt x="320357" y="2222"/>
                    </a:cubicBezTo>
                    <a:cubicBezTo>
                      <a:pt x="318770" y="1270"/>
                      <a:pt x="316865" y="635"/>
                      <a:pt x="314642" y="635"/>
                    </a:cubicBezTo>
                    <a:cubicBezTo>
                      <a:pt x="312420" y="635"/>
                      <a:pt x="310515" y="1270"/>
                      <a:pt x="308927" y="2222"/>
                    </a:cubicBezTo>
                    <a:moveTo>
                      <a:pt x="291147" y="635"/>
                    </a:moveTo>
                    <a:lnTo>
                      <a:pt x="275907" y="635"/>
                    </a:lnTo>
                    <a:lnTo>
                      <a:pt x="275907" y="77788"/>
                    </a:lnTo>
                    <a:lnTo>
                      <a:pt x="291147" y="77788"/>
                    </a:lnTo>
                    <a:lnTo>
                      <a:pt x="291147" y="635"/>
                    </a:lnTo>
                    <a:close/>
                    <a:moveTo>
                      <a:pt x="245427" y="37465"/>
                    </a:moveTo>
                    <a:cubicBezTo>
                      <a:pt x="247332" y="40322"/>
                      <a:pt x="248285" y="44132"/>
                      <a:pt x="248285" y="49847"/>
                    </a:cubicBezTo>
                    <a:cubicBezTo>
                      <a:pt x="248285" y="55563"/>
                      <a:pt x="247332" y="59372"/>
                      <a:pt x="245427" y="62230"/>
                    </a:cubicBezTo>
                    <a:cubicBezTo>
                      <a:pt x="243522" y="65088"/>
                      <a:pt x="240982" y="66675"/>
                      <a:pt x="238125" y="66675"/>
                    </a:cubicBezTo>
                    <a:cubicBezTo>
                      <a:pt x="233997" y="66675"/>
                      <a:pt x="231140" y="65088"/>
                      <a:pt x="229552" y="62230"/>
                    </a:cubicBezTo>
                    <a:cubicBezTo>
                      <a:pt x="227965" y="59372"/>
                      <a:pt x="227013" y="55245"/>
                      <a:pt x="227013" y="49847"/>
                    </a:cubicBezTo>
                    <a:lnTo>
                      <a:pt x="227013" y="48260"/>
                    </a:lnTo>
                    <a:cubicBezTo>
                      <a:pt x="227013" y="43180"/>
                      <a:pt x="227965" y="39688"/>
                      <a:pt x="229552" y="37147"/>
                    </a:cubicBezTo>
                    <a:cubicBezTo>
                      <a:pt x="231140" y="34607"/>
                      <a:pt x="233997" y="33338"/>
                      <a:pt x="237807" y="33338"/>
                    </a:cubicBezTo>
                    <a:cubicBezTo>
                      <a:pt x="240982" y="33338"/>
                      <a:pt x="243522" y="34925"/>
                      <a:pt x="245427" y="37465"/>
                    </a:cubicBezTo>
                    <a:moveTo>
                      <a:pt x="211772" y="635"/>
                    </a:moveTo>
                    <a:lnTo>
                      <a:pt x="211772" y="77788"/>
                    </a:lnTo>
                    <a:lnTo>
                      <a:pt x="223202" y="77788"/>
                    </a:lnTo>
                    <a:lnTo>
                      <a:pt x="225742" y="71755"/>
                    </a:lnTo>
                    <a:lnTo>
                      <a:pt x="226695" y="71755"/>
                    </a:lnTo>
                    <a:cubicBezTo>
                      <a:pt x="228282" y="73660"/>
                      <a:pt x="230188" y="75247"/>
                      <a:pt x="232410" y="76835"/>
                    </a:cubicBezTo>
                    <a:cubicBezTo>
                      <a:pt x="234632" y="78422"/>
                      <a:pt x="237807" y="79057"/>
                      <a:pt x="241935" y="79057"/>
                    </a:cubicBezTo>
                    <a:cubicBezTo>
                      <a:pt x="248285" y="79057"/>
                      <a:pt x="253365" y="76517"/>
                      <a:pt x="257492" y="71755"/>
                    </a:cubicBezTo>
                    <a:cubicBezTo>
                      <a:pt x="261302" y="66992"/>
                      <a:pt x="263525" y="59690"/>
                      <a:pt x="263525" y="50165"/>
                    </a:cubicBezTo>
                    <a:cubicBezTo>
                      <a:pt x="263525" y="40640"/>
                      <a:pt x="261620" y="33655"/>
                      <a:pt x="257810" y="28892"/>
                    </a:cubicBezTo>
                    <a:cubicBezTo>
                      <a:pt x="254000" y="24130"/>
                      <a:pt x="248920" y="21590"/>
                      <a:pt x="242570" y="21590"/>
                    </a:cubicBezTo>
                    <a:cubicBezTo>
                      <a:pt x="238442" y="21590"/>
                      <a:pt x="235267" y="22542"/>
                      <a:pt x="232727" y="24130"/>
                    </a:cubicBezTo>
                    <a:cubicBezTo>
                      <a:pt x="230188" y="25717"/>
                      <a:pt x="228282" y="27622"/>
                      <a:pt x="226695" y="29845"/>
                    </a:cubicBezTo>
                    <a:lnTo>
                      <a:pt x="226060" y="29845"/>
                    </a:lnTo>
                    <a:cubicBezTo>
                      <a:pt x="226060" y="28575"/>
                      <a:pt x="226377" y="26988"/>
                      <a:pt x="226377" y="25082"/>
                    </a:cubicBezTo>
                    <a:cubicBezTo>
                      <a:pt x="226377" y="23177"/>
                      <a:pt x="226695" y="20955"/>
                      <a:pt x="226695" y="18732"/>
                    </a:cubicBezTo>
                    <a:lnTo>
                      <a:pt x="226695" y="635"/>
                    </a:lnTo>
                    <a:lnTo>
                      <a:pt x="211772" y="635"/>
                    </a:lnTo>
                    <a:close/>
                    <a:moveTo>
                      <a:pt x="181292" y="56832"/>
                    </a:moveTo>
                    <a:cubicBezTo>
                      <a:pt x="181292" y="60325"/>
                      <a:pt x="180022" y="63182"/>
                      <a:pt x="177800" y="65088"/>
                    </a:cubicBezTo>
                    <a:cubicBezTo>
                      <a:pt x="175577" y="66992"/>
                      <a:pt x="172720" y="67945"/>
                      <a:pt x="169545" y="67945"/>
                    </a:cubicBezTo>
                    <a:cubicBezTo>
                      <a:pt x="167322" y="67945"/>
                      <a:pt x="165735" y="67310"/>
                      <a:pt x="164147" y="66357"/>
                    </a:cubicBezTo>
                    <a:cubicBezTo>
                      <a:pt x="162877" y="65405"/>
                      <a:pt x="162242" y="63817"/>
                      <a:pt x="162242" y="61277"/>
                    </a:cubicBezTo>
                    <a:cubicBezTo>
                      <a:pt x="162242" y="58738"/>
                      <a:pt x="163195" y="56515"/>
                      <a:pt x="165100" y="54927"/>
                    </a:cubicBezTo>
                    <a:cubicBezTo>
                      <a:pt x="167005" y="53340"/>
                      <a:pt x="170497" y="52388"/>
                      <a:pt x="175260" y="52388"/>
                    </a:cubicBezTo>
                    <a:lnTo>
                      <a:pt x="181292" y="52070"/>
                    </a:lnTo>
                    <a:lnTo>
                      <a:pt x="181292" y="56832"/>
                    </a:lnTo>
                    <a:close/>
                    <a:moveTo>
                      <a:pt x="161925" y="22542"/>
                    </a:moveTo>
                    <a:cubicBezTo>
                      <a:pt x="158115" y="23495"/>
                      <a:pt x="154940" y="24765"/>
                      <a:pt x="152082" y="26035"/>
                    </a:cubicBezTo>
                    <a:lnTo>
                      <a:pt x="157163" y="36195"/>
                    </a:lnTo>
                    <a:cubicBezTo>
                      <a:pt x="159702" y="34925"/>
                      <a:pt x="162242" y="33972"/>
                      <a:pt x="164782" y="33338"/>
                    </a:cubicBezTo>
                    <a:cubicBezTo>
                      <a:pt x="167322" y="32702"/>
                      <a:pt x="169863" y="32067"/>
                      <a:pt x="172720" y="32067"/>
                    </a:cubicBezTo>
                    <a:cubicBezTo>
                      <a:pt x="175577" y="32067"/>
                      <a:pt x="177482" y="32702"/>
                      <a:pt x="179070" y="33972"/>
                    </a:cubicBezTo>
                    <a:cubicBezTo>
                      <a:pt x="180657" y="35242"/>
                      <a:pt x="181292" y="37465"/>
                      <a:pt x="181292" y="40322"/>
                    </a:cubicBezTo>
                    <a:lnTo>
                      <a:pt x="181292" y="42863"/>
                    </a:lnTo>
                    <a:lnTo>
                      <a:pt x="171767" y="43180"/>
                    </a:lnTo>
                    <a:cubicBezTo>
                      <a:pt x="163513" y="43497"/>
                      <a:pt x="157163" y="45085"/>
                      <a:pt x="153035" y="47942"/>
                    </a:cubicBezTo>
                    <a:cubicBezTo>
                      <a:pt x="148907" y="50800"/>
                      <a:pt x="146685" y="54927"/>
                      <a:pt x="146685" y="60960"/>
                    </a:cubicBezTo>
                    <a:cubicBezTo>
                      <a:pt x="146685" y="66992"/>
                      <a:pt x="148272" y="71438"/>
                      <a:pt x="151447" y="74295"/>
                    </a:cubicBezTo>
                    <a:cubicBezTo>
                      <a:pt x="154622" y="77152"/>
                      <a:pt x="158750" y="78422"/>
                      <a:pt x="163830" y="78422"/>
                    </a:cubicBezTo>
                    <a:cubicBezTo>
                      <a:pt x="168275" y="78422"/>
                      <a:pt x="172085" y="77788"/>
                      <a:pt x="174625" y="76517"/>
                    </a:cubicBezTo>
                    <a:cubicBezTo>
                      <a:pt x="177165" y="75247"/>
                      <a:pt x="179705" y="73025"/>
                      <a:pt x="182245" y="70167"/>
                    </a:cubicBezTo>
                    <a:lnTo>
                      <a:pt x="182563" y="70167"/>
                    </a:lnTo>
                    <a:lnTo>
                      <a:pt x="185420" y="77788"/>
                    </a:lnTo>
                    <a:lnTo>
                      <a:pt x="195897" y="77788"/>
                    </a:lnTo>
                    <a:lnTo>
                      <a:pt x="195897" y="40957"/>
                    </a:lnTo>
                    <a:cubicBezTo>
                      <a:pt x="195897" y="34290"/>
                      <a:pt x="193992" y="29527"/>
                      <a:pt x="189865" y="26035"/>
                    </a:cubicBezTo>
                    <a:cubicBezTo>
                      <a:pt x="186055" y="22860"/>
                      <a:pt x="180340" y="21272"/>
                      <a:pt x="172720" y="21272"/>
                    </a:cubicBezTo>
                    <a:cubicBezTo>
                      <a:pt x="169227" y="21272"/>
                      <a:pt x="165417" y="21590"/>
                      <a:pt x="161925" y="22542"/>
                    </a:cubicBezTo>
                    <a:moveTo>
                      <a:pt x="125095" y="65088"/>
                    </a:moveTo>
                    <a:cubicBezTo>
                      <a:pt x="123825" y="64135"/>
                      <a:pt x="123190" y="62547"/>
                      <a:pt x="123190" y="60325"/>
                    </a:cubicBezTo>
                    <a:lnTo>
                      <a:pt x="123190" y="33655"/>
                    </a:lnTo>
                    <a:lnTo>
                      <a:pt x="138747" y="33655"/>
                    </a:lnTo>
                    <a:lnTo>
                      <a:pt x="138747" y="22225"/>
                    </a:lnTo>
                    <a:lnTo>
                      <a:pt x="123190" y="22225"/>
                    </a:lnTo>
                    <a:lnTo>
                      <a:pt x="123190" y="10477"/>
                    </a:lnTo>
                    <a:lnTo>
                      <a:pt x="113665" y="10477"/>
                    </a:lnTo>
                    <a:lnTo>
                      <a:pt x="109220" y="22225"/>
                    </a:lnTo>
                    <a:lnTo>
                      <a:pt x="100965" y="27305"/>
                    </a:lnTo>
                    <a:lnTo>
                      <a:pt x="100965" y="33655"/>
                    </a:lnTo>
                    <a:lnTo>
                      <a:pt x="108267" y="33655"/>
                    </a:lnTo>
                    <a:lnTo>
                      <a:pt x="108267" y="60325"/>
                    </a:lnTo>
                    <a:cubicBezTo>
                      <a:pt x="108267" y="65088"/>
                      <a:pt x="108902" y="68897"/>
                      <a:pt x="110490" y="71438"/>
                    </a:cubicBezTo>
                    <a:cubicBezTo>
                      <a:pt x="112077" y="73977"/>
                      <a:pt x="113982" y="75882"/>
                      <a:pt x="116840" y="77152"/>
                    </a:cubicBezTo>
                    <a:cubicBezTo>
                      <a:pt x="119380" y="78105"/>
                      <a:pt x="122555" y="78740"/>
                      <a:pt x="125730" y="78740"/>
                    </a:cubicBezTo>
                    <a:cubicBezTo>
                      <a:pt x="128588" y="78740"/>
                      <a:pt x="131127" y="78422"/>
                      <a:pt x="133667" y="78105"/>
                    </a:cubicBezTo>
                    <a:cubicBezTo>
                      <a:pt x="136207" y="77788"/>
                      <a:pt x="138113" y="77152"/>
                      <a:pt x="139700" y="76200"/>
                    </a:cubicBezTo>
                    <a:lnTo>
                      <a:pt x="139700" y="64770"/>
                    </a:lnTo>
                    <a:cubicBezTo>
                      <a:pt x="138113" y="65405"/>
                      <a:pt x="136525" y="65722"/>
                      <a:pt x="134938" y="66040"/>
                    </a:cubicBezTo>
                    <a:cubicBezTo>
                      <a:pt x="133350" y="66357"/>
                      <a:pt x="131763" y="66357"/>
                      <a:pt x="130175" y="66357"/>
                    </a:cubicBezTo>
                    <a:cubicBezTo>
                      <a:pt x="127635" y="66675"/>
                      <a:pt x="126047" y="66357"/>
                      <a:pt x="125095" y="65088"/>
                    </a:cubicBezTo>
                    <a:moveTo>
                      <a:pt x="92710" y="53340"/>
                    </a:moveTo>
                    <a:cubicBezTo>
                      <a:pt x="91440" y="51117"/>
                      <a:pt x="89535" y="49530"/>
                      <a:pt x="87313" y="48260"/>
                    </a:cubicBezTo>
                    <a:cubicBezTo>
                      <a:pt x="85090" y="46990"/>
                      <a:pt x="82232" y="45402"/>
                      <a:pt x="79057" y="44132"/>
                    </a:cubicBezTo>
                    <a:cubicBezTo>
                      <a:pt x="75882" y="42863"/>
                      <a:pt x="73342" y="41592"/>
                      <a:pt x="71755" y="40957"/>
                    </a:cubicBezTo>
                    <a:cubicBezTo>
                      <a:pt x="70167" y="40005"/>
                      <a:pt x="68897" y="39370"/>
                      <a:pt x="68263" y="38735"/>
                    </a:cubicBezTo>
                    <a:cubicBezTo>
                      <a:pt x="67627" y="38100"/>
                      <a:pt x="67310" y="37147"/>
                      <a:pt x="67310" y="36195"/>
                    </a:cubicBezTo>
                    <a:cubicBezTo>
                      <a:pt x="67310" y="33655"/>
                      <a:pt x="69532" y="32385"/>
                      <a:pt x="73977" y="32385"/>
                    </a:cubicBezTo>
                    <a:cubicBezTo>
                      <a:pt x="76517" y="32385"/>
                      <a:pt x="79057" y="32702"/>
                      <a:pt x="81280" y="33655"/>
                    </a:cubicBezTo>
                    <a:cubicBezTo>
                      <a:pt x="83820" y="34290"/>
                      <a:pt x="86360" y="35242"/>
                      <a:pt x="88900" y="36513"/>
                    </a:cubicBezTo>
                    <a:lnTo>
                      <a:pt x="93345" y="25717"/>
                    </a:lnTo>
                    <a:cubicBezTo>
                      <a:pt x="90170" y="24130"/>
                      <a:pt x="86677" y="23177"/>
                      <a:pt x="83820" y="22225"/>
                    </a:cubicBezTo>
                    <a:cubicBezTo>
                      <a:pt x="80645" y="21590"/>
                      <a:pt x="77470" y="21272"/>
                      <a:pt x="73977" y="21272"/>
                    </a:cubicBezTo>
                    <a:cubicBezTo>
                      <a:pt x="67310" y="21272"/>
                      <a:pt x="61913" y="22542"/>
                      <a:pt x="58102" y="25082"/>
                    </a:cubicBezTo>
                    <a:cubicBezTo>
                      <a:pt x="54292" y="27622"/>
                      <a:pt x="52070" y="31432"/>
                      <a:pt x="52070" y="36513"/>
                    </a:cubicBezTo>
                    <a:cubicBezTo>
                      <a:pt x="52070" y="39688"/>
                      <a:pt x="52705" y="42227"/>
                      <a:pt x="53657" y="44132"/>
                    </a:cubicBezTo>
                    <a:cubicBezTo>
                      <a:pt x="54610" y="46355"/>
                      <a:pt x="56515" y="47942"/>
                      <a:pt x="58738" y="49530"/>
                    </a:cubicBezTo>
                    <a:cubicBezTo>
                      <a:pt x="60960" y="51117"/>
                      <a:pt x="63817" y="52388"/>
                      <a:pt x="67310" y="53975"/>
                    </a:cubicBezTo>
                    <a:cubicBezTo>
                      <a:pt x="70802" y="55563"/>
                      <a:pt x="73660" y="56832"/>
                      <a:pt x="75247" y="57785"/>
                    </a:cubicBezTo>
                    <a:cubicBezTo>
                      <a:pt x="76835" y="58738"/>
                      <a:pt x="78105" y="59690"/>
                      <a:pt x="78422" y="60325"/>
                    </a:cubicBezTo>
                    <a:cubicBezTo>
                      <a:pt x="78740" y="60960"/>
                      <a:pt x="79057" y="61913"/>
                      <a:pt x="79057" y="62865"/>
                    </a:cubicBezTo>
                    <a:cubicBezTo>
                      <a:pt x="79057" y="64135"/>
                      <a:pt x="78422" y="65405"/>
                      <a:pt x="77152" y="66357"/>
                    </a:cubicBezTo>
                    <a:cubicBezTo>
                      <a:pt x="75882" y="67310"/>
                      <a:pt x="73660" y="67627"/>
                      <a:pt x="70802" y="67627"/>
                    </a:cubicBezTo>
                    <a:cubicBezTo>
                      <a:pt x="68263" y="67627"/>
                      <a:pt x="65088" y="67310"/>
                      <a:pt x="61595" y="66357"/>
                    </a:cubicBezTo>
                    <a:cubicBezTo>
                      <a:pt x="58102" y="65405"/>
                      <a:pt x="54927" y="64452"/>
                      <a:pt x="52070" y="62865"/>
                    </a:cubicBezTo>
                    <a:lnTo>
                      <a:pt x="52070" y="75247"/>
                    </a:lnTo>
                    <a:cubicBezTo>
                      <a:pt x="54927" y="76517"/>
                      <a:pt x="57467" y="77152"/>
                      <a:pt x="60325" y="77788"/>
                    </a:cubicBezTo>
                    <a:cubicBezTo>
                      <a:pt x="63182" y="78422"/>
                      <a:pt x="66357" y="78422"/>
                      <a:pt x="70167" y="78422"/>
                    </a:cubicBezTo>
                    <a:cubicBezTo>
                      <a:pt x="78105" y="78422"/>
                      <a:pt x="83820" y="76835"/>
                      <a:pt x="87947" y="73977"/>
                    </a:cubicBezTo>
                    <a:cubicBezTo>
                      <a:pt x="91757" y="71120"/>
                      <a:pt x="93980" y="66675"/>
                      <a:pt x="93980" y="60960"/>
                    </a:cubicBezTo>
                    <a:cubicBezTo>
                      <a:pt x="94615" y="58102"/>
                      <a:pt x="93980" y="55563"/>
                      <a:pt x="92710" y="53340"/>
                    </a:cubicBezTo>
                    <a:moveTo>
                      <a:pt x="41910" y="65088"/>
                    </a:moveTo>
                    <a:lnTo>
                      <a:pt x="15557" y="65088"/>
                    </a:lnTo>
                    <a:lnTo>
                      <a:pt x="15557" y="46355"/>
                    </a:lnTo>
                    <a:lnTo>
                      <a:pt x="40005" y="46355"/>
                    </a:lnTo>
                    <a:lnTo>
                      <a:pt x="40005" y="33655"/>
                    </a:lnTo>
                    <a:lnTo>
                      <a:pt x="15557" y="33655"/>
                    </a:lnTo>
                    <a:lnTo>
                      <a:pt x="15557" y="17780"/>
                    </a:lnTo>
                    <a:lnTo>
                      <a:pt x="41910" y="17780"/>
                    </a:lnTo>
                    <a:lnTo>
                      <a:pt x="41910" y="5080"/>
                    </a:lnTo>
                    <a:lnTo>
                      <a:pt x="0" y="5080"/>
                    </a:lnTo>
                    <a:lnTo>
                      <a:pt x="0" y="77470"/>
                    </a:lnTo>
                    <a:lnTo>
                      <a:pt x="41910" y="77470"/>
                    </a:lnTo>
                    <a:lnTo>
                      <a:pt x="41910" y="65088"/>
                    </a:lnTo>
                    <a:close/>
                  </a:path>
                </a:pathLst>
              </a:custGeom>
              <a:grpFill/>
              <a:ln w="3175" cap="flat">
                <a:noFill/>
                <a:prstDash val="solid"/>
                <a:miter/>
              </a:ln>
            </p:spPr>
            <p:txBody>
              <a:bodyPr rtlCol="0" anchor="ctr"/>
              <a:lstStyle/>
              <a:p>
                <a:endParaRPr lang="en-GB">
                  <a:solidFill>
                    <a:srgbClr val="000000"/>
                  </a:solidFill>
                  <a:latin typeface="Verdana"/>
                </a:endParaRPr>
              </a:p>
            </p:txBody>
          </p:sp>
          <p:sp>
            <p:nvSpPr>
              <p:cNvPr id="42" name="Freeform: Shape 41">
                <a:extLst>
                  <a:ext uri="{FF2B5EF4-FFF2-40B4-BE49-F238E27FC236}">
                    <a16:creationId xmlns:a16="http://schemas.microsoft.com/office/drawing/2014/main" id="{CE081DA9-78C8-4C2F-990B-8CB17D204714}"/>
                  </a:ext>
                </a:extLst>
              </p:cNvPr>
              <p:cNvSpPr/>
              <p:nvPr/>
            </p:nvSpPr>
            <p:spPr>
              <a:xfrm>
                <a:off x="6096953" y="3163252"/>
                <a:ext cx="1377950" cy="136525"/>
              </a:xfrm>
              <a:custGeom>
                <a:avLst/>
                <a:gdLst>
                  <a:gd name="connsiteX0" fmla="*/ 1374775 w 1377950"/>
                  <a:gd name="connsiteY0" fmla="*/ 95250 h 136525"/>
                  <a:gd name="connsiteX1" fmla="*/ 1364932 w 1377950"/>
                  <a:gd name="connsiteY1" fmla="*/ 86360 h 136525"/>
                  <a:gd name="connsiteX2" fmla="*/ 1350010 w 1377950"/>
                  <a:gd name="connsiteY2" fmla="*/ 79375 h 136525"/>
                  <a:gd name="connsiteX3" fmla="*/ 1335722 w 1377950"/>
                  <a:gd name="connsiteY3" fmla="*/ 73343 h 136525"/>
                  <a:gd name="connsiteX4" fmla="*/ 1328738 w 1377950"/>
                  <a:gd name="connsiteY4" fmla="*/ 68263 h 136525"/>
                  <a:gd name="connsiteX5" fmla="*/ 1326832 w 1377950"/>
                  <a:gd name="connsiteY5" fmla="*/ 62548 h 136525"/>
                  <a:gd name="connsiteX6" fmla="*/ 1344295 w 1377950"/>
                  <a:gd name="connsiteY6" fmla="*/ 52388 h 136525"/>
                  <a:gd name="connsiteX7" fmla="*/ 1357630 w 1377950"/>
                  <a:gd name="connsiteY7" fmla="*/ 54293 h 136525"/>
                  <a:gd name="connsiteX8" fmla="*/ 1370330 w 1377950"/>
                  <a:gd name="connsiteY8" fmla="*/ 58738 h 136525"/>
                  <a:gd name="connsiteX9" fmla="*/ 1376680 w 1377950"/>
                  <a:gd name="connsiteY9" fmla="*/ 44450 h 136525"/>
                  <a:gd name="connsiteX10" fmla="*/ 1361757 w 1377950"/>
                  <a:gd name="connsiteY10" fmla="*/ 39370 h 136525"/>
                  <a:gd name="connsiteX11" fmla="*/ 1345247 w 1377950"/>
                  <a:gd name="connsiteY11" fmla="*/ 37465 h 136525"/>
                  <a:gd name="connsiteX12" fmla="*/ 1318578 w 1377950"/>
                  <a:gd name="connsiteY12" fmla="*/ 44133 h 136525"/>
                  <a:gd name="connsiteX13" fmla="*/ 1308417 w 1377950"/>
                  <a:gd name="connsiteY13" fmla="*/ 63183 h 136525"/>
                  <a:gd name="connsiteX14" fmla="*/ 1311910 w 1377950"/>
                  <a:gd name="connsiteY14" fmla="*/ 76200 h 136525"/>
                  <a:gd name="connsiteX15" fmla="*/ 1321753 w 1377950"/>
                  <a:gd name="connsiteY15" fmla="*/ 85090 h 136525"/>
                  <a:gd name="connsiteX16" fmla="*/ 1337310 w 1377950"/>
                  <a:gd name="connsiteY16" fmla="*/ 92393 h 136525"/>
                  <a:gd name="connsiteX17" fmla="*/ 1351597 w 1377950"/>
                  <a:gd name="connsiteY17" fmla="*/ 98743 h 136525"/>
                  <a:gd name="connsiteX18" fmla="*/ 1358265 w 1377950"/>
                  <a:gd name="connsiteY18" fmla="*/ 104140 h 136525"/>
                  <a:gd name="connsiteX19" fmla="*/ 1360170 w 1377950"/>
                  <a:gd name="connsiteY19" fmla="*/ 109855 h 136525"/>
                  <a:gd name="connsiteX20" fmla="*/ 1355407 w 1377950"/>
                  <a:gd name="connsiteY20" fmla="*/ 119063 h 136525"/>
                  <a:gd name="connsiteX21" fmla="*/ 1340167 w 1377950"/>
                  <a:gd name="connsiteY21" fmla="*/ 122555 h 136525"/>
                  <a:gd name="connsiteX22" fmla="*/ 1323657 w 1377950"/>
                  <a:gd name="connsiteY22" fmla="*/ 120015 h 136525"/>
                  <a:gd name="connsiteX23" fmla="*/ 1309053 w 1377950"/>
                  <a:gd name="connsiteY23" fmla="*/ 114618 h 136525"/>
                  <a:gd name="connsiteX24" fmla="*/ 1309053 w 1377950"/>
                  <a:gd name="connsiteY24" fmla="*/ 131127 h 136525"/>
                  <a:gd name="connsiteX25" fmla="*/ 1322388 w 1377950"/>
                  <a:gd name="connsiteY25" fmla="*/ 135573 h 136525"/>
                  <a:gd name="connsiteX26" fmla="*/ 1339850 w 1377950"/>
                  <a:gd name="connsiteY26" fmla="*/ 136843 h 136525"/>
                  <a:gd name="connsiteX27" fmla="*/ 1368425 w 1377950"/>
                  <a:gd name="connsiteY27" fmla="*/ 129540 h 136525"/>
                  <a:gd name="connsiteX28" fmla="*/ 1378585 w 1377950"/>
                  <a:gd name="connsiteY28" fmla="*/ 107950 h 136525"/>
                  <a:gd name="connsiteX29" fmla="*/ 1374775 w 1377950"/>
                  <a:gd name="connsiteY29" fmla="*/ 95250 h 136525"/>
                  <a:gd name="connsiteX30" fmla="*/ 1266825 w 1377950"/>
                  <a:gd name="connsiteY30" fmla="*/ 59373 h 136525"/>
                  <a:gd name="connsiteX31" fmla="*/ 1272222 w 1377950"/>
                  <a:gd name="connsiteY31" fmla="*/ 77470 h 136525"/>
                  <a:gd name="connsiteX32" fmla="*/ 1227138 w 1377950"/>
                  <a:gd name="connsiteY32" fmla="*/ 77470 h 136525"/>
                  <a:gd name="connsiteX33" fmla="*/ 1234440 w 1377950"/>
                  <a:gd name="connsiteY33" fmla="*/ 58738 h 136525"/>
                  <a:gd name="connsiteX34" fmla="*/ 1250632 w 1377950"/>
                  <a:gd name="connsiteY34" fmla="*/ 52070 h 136525"/>
                  <a:gd name="connsiteX35" fmla="*/ 1266825 w 1377950"/>
                  <a:gd name="connsiteY35" fmla="*/ 59373 h 136525"/>
                  <a:gd name="connsiteX36" fmla="*/ 1227772 w 1377950"/>
                  <a:gd name="connsiteY36" fmla="*/ 43815 h 136525"/>
                  <a:gd name="connsiteX37" fmla="*/ 1212532 w 1377950"/>
                  <a:gd name="connsiteY37" fmla="*/ 60960 h 136525"/>
                  <a:gd name="connsiteX38" fmla="*/ 1207135 w 1377950"/>
                  <a:gd name="connsiteY38" fmla="*/ 88265 h 136525"/>
                  <a:gd name="connsiteX39" fmla="*/ 1213167 w 1377950"/>
                  <a:gd name="connsiteY39" fmla="*/ 115252 h 136525"/>
                  <a:gd name="connsiteX40" fmla="*/ 1229678 w 1377950"/>
                  <a:gd name="connsiteY40" fmla="*/ 131763 h 136525"/>
                  <a:gd name="connsiteX41" fmla="*/ 1254125 w 1377950"/>
                  <a:gd name="connsiteY41" fmla="*/ 137160 h 136525"/>
                  <a:gd name="connsiteX42" fmla="*/ 1271588 w 1377950"/>
                  <a:gd name="connsiteY42" fmla="*/ 135573 h 136525"/>
                  <a:gd name="connsiteX43" fmla="*/ 1286192 w 1377950"/>
                  <a:gd name="connsiteY43" fmla="*/ 130810 h 136525"/>
                  <a:gd name="connsiteX44" fmla="*/ 1286192 w 1377950"/>
                  <a:gd name="connsiteY44" fmla="*/ 115252 h 136525"/>
                  <a:gd name="connsiteX45" fmla="*/ 1271270 w 1377950"/>
                  <a:gd name="connsiteY45" fmla="*/ 120332 h 136525"/>
                  <a:gd name="connsiteX46" fmla="*/ 1254760 w 1377950"/>
                  <a:gd name="connsiteY46" fmla="*/ 121920 h 136525"/>
                  <a:gd name="connsiteX47" fmla="*/ 1234122 w 1377950"/>
                  <a:gd name="connsiteY47" fmla="*/ 113982 h 136525"/>
                  <a:gd name="connsiteX48" fmla="*/ 1226503 w 1377950"/>
                  <a:gd name="connsiteY48" fmla="*/ 91440 h 136525"/>
                  <a:gd name="connsiteX49" fmla="*/ 1290955 w 1377950"/>
                  <a:gd name="connsiteY49" fmla="*/ 91440 h 136525"/>
                  <a:gd name="connsiteX50" fmla="*/ 1290955 w 1377950"/>
                  <a:gd name="connsiteY50" fmla="*/ 81280 h 136525"/>
                  <a:gd name="connsiteX51" fmla="*/ 1280160 w 1377950"/>
                  <a:gd name="connsiteY51" fmla="*/ 49530 h 136525"/>
                  <a:gd name="connsiteX52" fmla="*/ 1250315 w 1377950"/>
                  <a:gd name="connsiteY52" fmla="*/ 37783 h 136525"/>
                  <a:gd name="connsiteX53" fmla="*/ 1227772 w 1377950"/>
                  <a:gd name="connsiteY53" fmla="*/ 43815 h 136525"/>
                  <a:gd name="connsiteX54" fmla="*/ 1187132 w 1377950"/>
                  <a:gd name="connsiteY54" fmla="*/ 95250 h 136525"/>
                  <a:gd name="connsiteX55" fmla="*/ 1177290 w 1377950"/>
                  <a:gd name="connsiteY55" fmla="*/ 86360 h 136525"/>
                  <a:gd name="connsiteX56" fmla="*/ 1162367 w 1377950"/>
                  <a:gd name="connsiteY56" fmla="*/ 79375 h 136525"/>
                  <a:gd name="connsiteX57" fmla="*/ 1148080 w 1377950"/>
                  <a:gd name="connsiteY57" fmla="*/ 73343 h 136525"/>
                  <a:gd name="connsiteX58" fmla="*/ 1141095 w 1377950"/>
                  <a:gd name="connsiteY58" fmla="*/ 68263 h 136525"/>
                  <a:gd name="connsiteX59" fmla="*/ 1139190 w 1377950"/>
                  <a:gd name="connsiteY59" fmla="*/ 62548 h 136525"/>
                  <a:gd name="connsiteX60" fmla="*/ 1156653 w 1377950"/>
                  <a:gd name="connsiteY60" fmla="*/ 52388 h 136525"/>
                  <a:gd name="connsiteX61" fmla="*/ 1169988 w 1377950"/>
                  <a:gd name="connsiteY61" fmla="*/ 54293 h 136525"/>
                  <a:gd name="connsiteX62" fmla="*/ 1182688 w 1377950"/>
                  <a:gd name="connsiteY62" fmla="*/ 58738 h 136525"/>
                  <a:gd name="connsiteX63" fmla="*/ 1189038 w 1377950"/>
                  <a:gd name="connsiteY63" fmla="*/ 44450 h 136525"/>
                  <a:gd name="connsiteX64" fmla="*/ 1174115 w 1377950"/>
                  <a:gd name="connsiteY64" fmla="*/ 39370 h 136525"/>
                  <a:gd name="connsiteX65" fmla="*/ 1157605 w 1377950"/>
                  <a:gd name="connsiteY65" fmla="*/ 37465 h 136525"/>
                  <a:gd name="connsiteX66" fmla="*/ 1130935 w 1377950"/>
                  <a:gd name="connsiteY66" fmla="*/ 44133 h 136525"/>
                  <a:gd name="connsiteX67" fmla="*/ 1120775 w 1377950"/>
                  <a:gd name="connsiteY67" fmla="*/ 63183 h 136525"/>
                  <a:gd name="connsiteX68" fmla="*/ 1124267 w 1377950"/>
                  <a:gd name="connsiteY68" fmla="*/ 76200 h 136525"/>
                  <a:gd name="connsiteX69" fmla="*/ 1134110 w 1377950"/>
                  <a:gd name="connsiteY69" fmla="*/ 85090 h 136525"/>
                  <a:gd name="connsiteX70" fmla="*/ 1149667 w 1377950"/>
                  <a:gd name="connsiteY70" fmla="*/ 92393 h 136525"/>
                  <a:gd name="connsiteX71" fmla="*/ 1163955 w 1377950"/>
                  <a:gd name="connsiteY71" fmla="*/ 98743 h 136525"/>
                  <a:gd name="connsiteX72" fmla="*/ 1170622 w 1377950"/>
                  <a:gd name="connsiteY72" fmla="*/ 104140 h 136525"/>
                  <a:gd name="connsiteX73" fmla="*/ 1172528 w 1377950"/>
                  <a:gd name="connsiteY73" fmla="*/ 109855 h 136525"/>
                  <a:gd name="connsiteX74" fmla="*/ 1167765 w 1377950"/>
                  <a:gd name="connsiteY74" fmla="*/ 119063 h 136525"/>
                  <a:gd name="connsiteX75" fmla="*/ 1152525 w 1377950"/>
                  <a:gd name="connsiteY75" fmla="*/ 122555 h 136525"/>
                  <a:gd name="connsiteX76" fmla="*/ 1136015 w 1377950"/>
                  <a:gd name="connsiteY76" fmla="*/ 120015 h 136525"/>
                  <a:gd name="connsiteX77" fmla="*/ 1121410 w 1377950"/>
                  <a:gd name="connsiteY77" fmla="*/ 114618 h 136525"/>
                  <a:gd name="connsiteX78" fmla="*/ 1121410 w 1377950"/>
                  <a:gd name="connsiteY78" fmla="*/ 131127 h 136525"/>
                  <a:gd name="connsiteX79" fmla="*/ 1134745 w 1377950"/>
                  <a:gd name="connsiteY79" fmla="*/ 135573 h 136525"/>
                  <a:gd name="connsiteX80" fmla="*/ 1152207 w 1377950"/>
                  <a:gd name="connsiteY80" fmla="*/ 136843 h 136525"/>
                  <a:gd name="connsiteX81" fmla="*/ 1180782 w 1377950"/>
                  <a:gd name="connsiteY81" fmla="*/ 129540 h 136525"/>
                  <a:gd name="connsiteX82" fmla="*/ 1190942 w 1377950"/>
                  <a:gd name="connsiteY82" fmla="*/ 107950 h 136525"/>
                  <a:gd name="connsiteX83" fmla="*/ 1187132 w 1377950"/>
                  <a:gd name="connsiteY83" fmla="*/ 95250 h 136525"/>
                  <a:gd name="connsiteX84" fmla="*/ 1079182 w 1377950"/>
                  <a:gd name="connsiteY84" fmla="*/ 97790 h 136525"/>
                  <a:gd name="connsiteX85" fmla="*/ 1071880 w 1377950"/>
                  <a:gd name="connsiteY85" fmla="*/ 116523 h 136525"/>
                  <a:gd name="connsiteX86" fmla="*/ 1053465 w 1377950"/>
                  <a:gd name="connsiteY86" fmla="*/ 122873 h 136525"/>
                  <a:gd name="connsiteX87" fmla="*/ 1042035 w 1377950"/>
                  <a:gd name="connsiteY87" fmla="*/ 119380 h 136525"/>
                  <a:gd name="connsiteX88" fmla="*/ 1037590 w 1377950"/>
                  <a:gd name="connsiteY88" fmla="*/ 108585 h 136525"/>
                  <a:gd name="connsiteX89" fmla="*/ 1043940 w 1377950"/>
                  <a:gd name="connsiteY89" fmla="*/ 95568 h 136525"/>
                  <a:gd name="connsiteX90" fmla="*/ 1066482 w 1377950"/>
                  <a:gd name="connsiteY90" fmla="*/ 90170 h 136525"/>
                  <a:gd name="connsiteX91" fmla="*/ 1079182 w 1377950"/>
                  <a:gd name="connsiteY91" fmla="*/ 89852 h 136525"/>
                  <a:gd name="connsiteX92" fmla="*/ 1079182 w 1377950"/>
                  <a:gd name="connsiteY92" fmla="*/ 97790 h 136525"/>
                  <a:gd name="connsiteX93" fmla="*/ 1043305 w 1377950"/>
                  <a:gd name="connsiteY93" fmla="*/ 40005 h 136525"/>
                  <a:gd name="connsiteX94" fmla="*/ 1027747 w 1377950"/>
                  <a:gd name="connsiteY94" fmla="*/ 46038 h 136525"/>
                  <a:gd name="connsiteX95" fmla="*/ 1033780 w 1377950"/>
                  <a:gd name="connsiteY95" fmla="*/ 59690 h 136525"/>
                  <a:gd name="connsiteX96" fmla="*/ 1046797 w 1377950"/>
                  <a:gd name="connsiteY96" fmla="*/ 54610 h 136525"/>
                  <a:gd name="connsiteX97" fmla="*/ 1060767 w 1377950"/>
                  <a:gd name="connsiteY97" fmla="*/ 52388 h 136525"/>
                  <a:gd name="connsiteX98" fmla="*/ 1074420 w 1377950"/>
                  <a:gd name="connsiteY98" fmla="*/ 56833 h 136525"/>
                  <a:gd name="connsiteX99" fmla="*/ 1079182 w 1377950"/>
                  <a:gd name="connsiteY99" fmla="*/ 71755 h 136525"/>
                  <a:gd name="connsiteX100" fmla="*/ 1079182 w 1377950"/>
                  <a:gd name="connsiteY100" fmla="*/ 77152 h 136525"/>
                  <a:gd name="connsiteX101" fmla="*/ 1062672 w 1377950"/>
                  <a:gd name="connsiteY101" fmla="*/ 77788 h 136525"/>
                  <a:gd name="connsiteX102" fmla="*/ 1028700 w 1377950"/>
                  <a:gd name="connsiteY102" fmla="*/ 86043 h 136525"/>
                  <a:gd name="connsiteX103" fmla="*/ 1017588 w 1377950"/>
                  <a:gd name="connsiteY103" fmla="*/ 108268 h 136525"/>
                  <a:gd name="connsiteX104" fmla="*/ 1026160 w 1377950"/>
                  <a:gd name="connsiteY104" fmla="*/ 130175 h 136525"/>
                  <a:gd name="connsiteX105" fmla="*/ 1047750 w 1377950"/>
                  <a:gd name="connsiteY105" fmla="*/ 137160 h 136525"/>
                  <a:gd name="connsiteX106" fmla="*/ 1066800 w 1377950"/>
                  <a:gd name="connsiteY106" fmla="*/ 133668 h 136525"/>
                  <a:gd name="connsiteX107" fmla="*/ 1079817 w 1377950"/>
                  <a:gd name="connsiteY107" fmla="*/ 122238 h 136525"/>
                  <a:gd name="connsiteX108" fmla="*/ 1080453 w 1377950"/>
                  <a:gd name="connsiteY108" fmla="*/ 122238 h 136525"/>
                  <a:gd name="connsiteX109" fmla="*/ 1084263 w 1377950"/>
                  <a:gd name="connsiteY109" fmla="*/ 135573 h 136525"/>
                  <a:gd name="connsiteX110" fmla="*/ 1097597 w 1377950"/>
                  <a:gd name="connsiteY110" fmla="*/ 135573 h 136525"/>
                  <a:gd name="connsiteX111" fmla="*/ 1097597 w 1377950"/>
                  <a:gd name="connsiteY111" fmla="*/ 70802 h 136525"/>
                  <a:gd name="connsiteX112" fmla="*/ 1088707 w 1377950"/>
                  <a:gd name="connsiteY112" fmla="*/ 46038 h 136525"/>
                  <a:gd name="connsiteX113" fmla="*/ 1061720 w 1377950"/>
                  <a:gd name="connsiteY113" fmla="*/ 38100 h 136525"/>
                  <a:gd name="connsiteX114" fmla="*/ 1043305 w 1377950"/>
                  <a:gd name="connsiteY114" fmla="*/ 40005 h 136525"/>
                  <a:gd name="connsiteX115" fmla="*/ 976947 w 1377950"/>
                  <a:gd name="connsiteY115" fmla="*/ 59373 h 136525"/>
                  <a:gd name="connsiteX116" fmla="*/ 982345 w 1377950"/>
                  <a:gd name="connsiteY116" fmla="*/ 77470 h 136525"/>
                  <a:gd name="connsiteX117" fmla="*/ 937260 w 1377950"/>
                  <a:gd name="connsiteY117" fmla="*/ 77470 h 136525"/>
                  <a:gd name="connsiteX118" fmla="*/ 944563 w 1377950"/>
                  <a:gd name="connsiteY118" fmla="*/ 58738 h 136525"/>
                  <a:gd name="connsiteX119" fmla="*/ 960755 w 1377950"/>
                  <a:gd name="connsiteY119" fmla="*/ 52070 h 136525"/>
                  <a:gd name="connsiteX120" fmla="*/ 976947 w 1377950"/>
                  <a:gd name="connsiteY120" fmla="*/ 59373 h 136525"/>
                  <a:gd name="connsiteX121" fmla="*/ 937895 w 1377950"/>
                  <a:gd name="connsiteY121" fmla="*/ 43815 h 136525"/>
                  <a:gd name="connsiteX122" fmla="*/ 922655 w 1377950"/>
                  <a:gd name="connsiteY122" fmla="*/ 60960 h 136525"/>
                  <a:gd name="connsiteX123" fmla="*/ 917257 w 1377950"/>
                  <a:gd name="connsiteY123" fmla="*/ 88265 h 136525"/>
                  <a:gd name="connsiteX124" fmla="*/ 923290 w 1377950"/>
                  <a:gd name="connsiteY124" fmla="*/ 115252 h 136525"/>
                  <a:gd name="connsiteX125" fmla="*/ 939800 w 1377950"/>
                  <a:gd name="connsiteY125" fmla="*/ 131763 h 136525"/>
                  <a:gd name="connsiteX126" fmla="*/ 964247 w 1377950"/>
                  <a:gd name="connsiteY126" fmla="*/ 137160 h 136525"/>
                  <a:gd name="connsiteX127" fmla="*/ 981710 w 1377950"/>
                  <a:gd name="connsiteY127" fmla="*/ 135573 h 136525"/>
                  <a:gd name="connsiteX128" fmla="*/ 996315 w 1377950"/>
                  <a:gd name="connsiteY128" fmla="*/ 130810 h 136525"/>
                  <a:gd name="connsiteX129" fmla="*/ 996315 w 1377950"/>
                  <a:gd name="connsiteY129" fmla="*/ 115252 h 136525"/>
                  <a:gd name="connsiteX130" fmla="*/ 981392 w 1377950"/>
                  <a:gd name="connsiteY130" fmla="*/ 120332 h 136525"/>
                  <a:gd name="connsiteX131" fmla="*/ 964882 w 1377950"/>
                  <a:gd name="connsiteY131" fmla="*/ 121920 h 136525"/>
                  <a:gd name="connsiteX132" fmla="*/ 944245 w 1377950"/>
                  <a:gd name="connsiteY132" fmla="*/ 113982 h 136525"/>
                  <a:gd name="connsiteX133" fmla="*/ 936625 w 1377950"/>
                  <a:gd name="connsiteY133" fmla="*/ 91440 h 136525"/>
                  <a:gd name="connsiteX134" fmla="*/ 1001078 w 1377950"/>
                  <a:gd name="connsiteY134" fmla="*/ 91440 h 136525"/>
                  <a:gd name="connsiteX135" fmla="*/ 1001078 w 1377950"/>
                  <a:gd name="connsiteY135" fmla="*/ 81280 h 136525"/>
                  <a:gd name="connsiteX136" fmla="*/ 990282 w 1377950"/>
                  <a:gd name="connsiteY136" fmla="*/ 49530 h 136525"/>
                  <a:gd name="connsiteX137" fmla="*/ 960438 w 1377950"/>
                  <a:gd name="connsiteY137" fmla="*/ 37783 h 136525"/>
                  <a:gd name="connsiteX138" fmla="*/ 937895 w 1377950"/>
                  <a:gd name="connsiteY138" fmla="*/ 43815 h 136525"/>
                  <a:gd name="connsiteX139" fmla="*/ 897255 w 1377950"/>
                  <a:gd name="connsiteY139" fmla="*/ 95250 h 136525"/>
                  <a:gd name="connsiteX140" fmla="*/ 887413 w 1377950"/>
                  <a:gd name="connsiteY140" fmla="*/ 86360 h 136525"/>
                  <a:gd name="connsiteX141" fmla="*/ 872490 w 1377950"/>
                  <a:gd name="connsiteY141" fmla="*/ 79375 h 136525"/>
                  <a:gd name="connsiteX142" fmla="*/ 858203 w 1377950"/>
                  <a:gd name="connsiteY142" fmla="*/ 73343 h 136525"/>
                  <a:gd name="connsiteX143" fmla="*/ 851217 w 1377950"/>
                  <a:gd name="connsiteY143" fmla="*/ 68263 h 136525"/>
                  <a:gd name="connsiteX144" fmla="*/ 849313 w 1377950"/>
                  <a:gd name="connsiteY144" fmla="*/ 62548 h 136525"/>
                  <a:gd name="connsiteX145" fmla="*/ 866775 w 1377950"/>
                  <a:gd name="connsiteY145" fmla="*/ 52388 h 136525"/>
                  <a:gd name="connsiteX146" fmla="*/ 880110 w 1377950"/>
                  <a:gd name="connsiteY146" fmla="*/ 54293 h 136525"/>
                  <a:gd name="connsiteX147" fmla="*/ 892810 w 1377950"/>
                  <a:gd name="connsiteY147" fmla="*/ 58738 h 136525"/>
                  <a:gd name="connsiteX148" fmla="*/ 899160 w 1377950"/>
                  <a:gd name="connsiteY148" fmla="*/ 44450 h 136525"/>
                  <a:gd name="connsiteX149" fmla="*/ 884238 w 1377950"/>
                  <a:gd name="connsiteY149" fmla="*/ 39370 h 136525"/>
                  <a:gd name="connsiteX150" fmla="*/ 867728 w 1377950"/>
                  <a:gd name="connsiteY150" fmla="*/ 37465 h 136525"/>
                  <a:gd name="connsiteX151" fmla="*/ 841057 w 1377950"/>
                  <a:gd name="connsiteY151" fmla="*/ 44133 h 136525"/>
                  <a:gd name="connsiteX152" fmla="*/ 830897 w 1377950"/>
                  <a:gd name="connsiteY152" fmla="*/ 63183 h 136525"/>
                  <a:gd name="connsiteX153" fmla="*/ 834390 w 1377950"/>
                  <a:gd name="connsiteY153" fmla="*/ 76200 h 136525"/>
                  <a:gd name="connsiteX154" fmla="*/ 844232 w 1377950"/>
                  <a:gd name="connsiteY154" fmla="*/ 85090 h 136525"/>
                  <a:gd name="connsiteX155" fmla="*/ 859790 w 1377950"/>
                  <a:gd name="connsiteY155" fmla="*/ 92393 h 136525"/>
                  <a:gd name="connsiteX156" fmla="*/ 874078 w 1377950"/>
                  <a:gd name="connsiteY156" fmla="*/ 98743 h 136525"/>
                  <a:gd name="connsiteX157" fmla="*/ 880745 w 1377950"/>
                  <a:gd name="connsiteY157" fmla="*/ 104140 h 136525"/>
                  <a:gd name="connsiteX158" fmla="*/ 882650 w 1377950"/>
                  <a:gd name="connsiteY158" fmla="*/ 109855 h 136525"/>
                  <a:gd name="connsiteX159" fmla="*/ 877888 w 1377950"/>
                  <a:gd name="connsiteY159" fmla="*/ 119063 h 136525"/>
                  <a:gd name="connsiteX160" fmla="*/ 862647 w 1377950"/>
                  <a:gd name="connsiteY160" fmla="*/ 122555 h 136525"/>
                  <a:gd name="connsiteX161" fmla="*/ 846138 w 1377950"/>
                  <a:gd name="connsiteY161" fmla="*/ 120015 h 136525"/>
                  <a:gd name="connsiteX162" fmla="*/ 831532 w 1377950"/>
                  <a:gd name="connsiteY162" fmla="*/ 114618 h 136525"/>
                  <a:gd name="connsiteX163" fmla="*/ 831532 w 1377950"/>
                  <a:gd name="connsiteY163" fmla="*/ 131127 h 136525"/>
                  <a:gd name="connsiteX164" fmla="*/ 844867 w 1377950"/>
                  <a:gd name="connsiteY164" fmla="*/ 135573 h 136525"/>
                  <a:gd name="connsiteX165" fmla="*/ 862330 w 1377950"/>
                  <a:gd name="connsiteY165" fmla="*/ 136843 h 136525"/>
                  <a:gd name="connsiteX166" fmla="*/ 890905 w 1377950"/>
                  <a:gd name="connsiteY166" fmla="*/ 129540 h 136525"/>
                  <a:gd name="connsiteX167" fmla="*/ 901065 w 1377950"/>
                  <a:gd name="connsiteY167" fmla="*/ 107950 h 136525"/>
                  <a:gd name="connsiteX168" fmla="*/ 897255 w 1377950"/>
                  <a:gd name="connsiteY168" fmla="*/ 95250 h 136525"/>
                  <a:gd name="connsiteX169" fmla="*/ 788670 w 1377950"/>
                  <a:gd name="connsiteY169" fmla="*/ 135255 h 136525"/>
                  <a:gd name="connsiteX170" fmla="*/ 807403 w 1377950"/>
                  <a:gd name="connsiteY170" fmla="*/ 135255 h 136525"/>
                  <a:gd name="connsiteX171" fmla="*/ 807403 w 1377950"/>
                  <a:gd name="connsiteY171" fmla="*/ 39370 h 136525"/>
                  <a:gd name="connsiteX172" fmla="*/ 788670 w 1377950"/>
                  <a:gd name="connsiteY172" fmla="*/ 39370 h 136525"/>
                  <a:gd name="connsiteX173" fmla="*/ 788670 w 1377950"/>
                  <a:gd name="connsiteY173" fmla="*/ 135255 h 136525"/>
                  <a:gd name="connsiteX174" fmla="*/ 790575 w 1377950"/>
                  <a:gd name="connsiteY174" fmla="*/ 5715 h 136525"/>
                  <a:gd name="connsiteX175" fmla="*/ 787400 w 1377950"/>
                  <a:gd name="connsiteY175" fmla="*/ 13970 h 136525"/>
                  <a:gd name="connsiteX176" fmla="*/ 790575 w 1377950"/>
                  <a:gd name="connsiteY176" fmla="*/ 22225 h 136525"/>
                  <a:gd name="connsiteX177" fmla="*/ 798195 w 1377950"/>
                  <a:gd name="connsiteY177" fmla="*/ 24765 h 136525"/>
                  <a:gd name="connsiteX178" fmla="*/ 805815 w 1377950"/>
                  <a:gd name="connsiteY178" fmla="*/ 22225 h 136525"/>
                  <a:gd name="connsiteX179" fmla="*/ 808990 w 1377950"/>
                  <a:gd name="connsiteY179" fmla="*/ 13970 h 136525"/>
                  <a:gd name="connsiteX180" fmla="*/ 805815 w 1377950"/>
                  <a:gd name="connsiteY180" fmla="*/ 5715 h 136525"/>
                  <a:gd name="connsiteX181" fmla="*/ 798195 w 1377950"/>
                  <a:gd name="connsiteY181" fmla="*/ 3175 h 136525"/>
                  <a:gd name="connsiteX182" fmla="*/ 790575 w 1377950"/>
                  <a:gd name="connsiteY182" fmla="*/ 5715 h 136525"/>
                  <a:gd name="connsiteX183" fmla="*/ 698182 w 1377950"/>
                  <a:gd name="connsiteY183" fmla="*/ 113030 h 136525"/>
                  <a:gd name="connsiteX184" fmla="*/ 692467 w 1377950"/>
                  <a:gd name="connsiteY184" fmla="*/ 88265 h 136525"/>
                  <a:gd name="connsiteX185" fmla="*/ 698182 w 1377950"/>
                  <a:gd name="connsiteY185" fmla="*/ 62548 h 136525"/>
                  <a:gd name="connsiteX186" fmla="*/ 715645 w 1377950"/>
                  <a:gd name="connsiteY186" fmla="*/ 53340 h 136525"/>
                  <a:gd name="connsiteX187" fmla="*/ 735647 w 1377950"/>
                  <a:gd name="connsiteY187" fmla="*/ 62230 h 136525"/>
                  <a:gd name="connsiteX188" fmla="*/ 741045 w 1377950"/>
                  <a:gd name="connsiteY188" fmla="*/ 87948 h 136525"/>
                  <a:gd name="connsiteX189" fmla="*/ 741045 w 1377950"/>
                  <a:gd name="connsiteY189" fmla="*/ 90805 h 136525"/>
                  <a:gd name="connsiteX190" fmla="*/ 735330 w 1377950"/>
                  <a:gd name="connsiteY190" fmla="*/ 113982 h 136525"/>
                  <a:gd name="connsiteX191" fmla="*/ 715963 w 1377950"/>
                  <a:gd name="connsiteY191" fmla="*/ 121602 h 136525"/>
                  <a:gd name="connsiteX192" fmla="*/ 698182 w 1377950"/>
                  <a:gd name="connsiteY192" fmla="*/ 113030 h 136525"/>
                  <a:gd name="connsiteX193" fmla="*/ 729297 w 1377950"/>
                  <a:gd name="connsiteY193" fmla="*/ 133032 h 136525"/>
                  <a:gd name="connsiteX194" fmla="*/ 740410 w 1377950"/>
                  <a:gd name="connsiteY194" fmla="*/ 122873 h 136525"/>
                  <a:gd name="connsiteX195" fmla="*/ 741363 w 1377950"/>
                  <a:gd name="connsiteY195" fmla="*/ 122873 h 136525"/>
                  <a:gd name="connsiteX196" fmla="*/ 744538 w 1377950"/>
                  <a:gd name="connsiteY196" fmla="*/ 135573 h 136525"/>
                  <a:gd name="connsiteX197" fmla="*/ 759142 w 1377950"/>
                  <a:gd name="connsiteY197" fmla="*/ 135573 h 136525"/>
                  <a:gd name="connsiteX198" fmla="*/ 759142 w 1377950"/>
                  <a:gd name="connsiteY198" fmla="*/ 318 h 136525"/>
                  <a:gd name="connsiteX199" fmla="*/ 740410 w 1377950"/>
                  <a:gd name="connsiteY199" fmla="*/ 318 h 136525"/>
                  <a:gd name="connsiteX200" fmla="*/ 740410 w 1377950"/>
                  <a:gd name="connsiteY200" fmla="*/ 36195 h 136525"/>
                  <a:gd name="connsiteX201" fmla="*/ 741045 w 1377950"/>
                  <a:gd name="connsiteY201" fmla="*/ 44450 h 136525"/>
                  <a:gd name="connsiteX202" fmla="*/ 741997 w 1377950"/>
                  <a:gd name="connsiteY202" fmla="*/ 51752 h 136525"/>
                  <a:gd name="connsiteX203" fmla="*/ 741045 w 1377950"/>
                  <a:gd name="connsiteY203" fmla="*/ 51752 h 136525"/>
                  <a:gd name="connsiteX204" fmla="*/ 729932 w 1377950"/>
                  <a:gd name="connsiteY204" fmla="*/ 41910 h 136525"/>
                  <a:gd name="connsiteX205" fmla="*/ 712153 w 1377950"/>
                  <a:gd name="connsiteY205" fmla="*/ 37783 h 136525"/>
                  <a:gd name="connsiteX206" fmla="*/ 684213 w 1377950"/>
                  <a:gd name="connsiteY206" fmla="*/ 50483 h 136525"/>
                  <a:gd name="connsiteX207" fmla="*/ 673417 w 1377950"/>
                  <a:gd name="connsiteY207" fmla="*/ 87948 h 136525"/>
                  <a:gd name="connsiteX208" fmla="*/ 683895 w 1377950"/>
                  <a:gd name="connsiteY208" fmla="*/ 124777 h 136525"/>
                  <a:gd name="connsiteX209" fmla="*/ 711835 w 1377950"/>
                  <a:gd name="connsiteY209" fmla="*/ 137160 h 136525"/>
                  <a:gd name="connsiteX210" fmla="*/ 729297 w 1377950"/>
                  <a:gd name="connsiteY210" fmla="*/ 133032 h 136525"/>
                  <a:gd name="connsiteX211" fmla="*/ 598488 w 1377950"/>
                  <a:gd name="connsiteY211" fmla="*/ 135573 h 136525"/>
                  <a:gd name="connsiteX212" fmla="*/ 609600 w 1377950"/>
                  <a:gd name="connsiteY212" fmla="*/ 131127 h 136525"/>
                  <a:gd name="connsiteX213" fmla="*/ 609600 w 1377950"/>
                  <a:gd name="connsiteY213" fmla="*/ 114618 h 136525"/>
                  <a:gd name="connsiteX214" fmla="*/ 598170 w 1377950"/>
                  <a:gd name="connsiteY214" fmla="*/ 119380 h 136525"/>
                  <a:gd name="connsiteX215" fmla="*/ 584200 w 1377950"/>
                  <a:gd name="connsiteY215" fmla="*/ 121285 h 136525"/>
                  <a:gd name="connsiteX216" fmla="*/ 565467 w 1377950"/>
                  <a:gd name="connsiteY216" fmla="*/ 112713 h 136525"/>
                  <a:gd name="connsiteX217" fmla="*/ 559117 w 1377950"/>
                  <a:gd name="connsiteY217" fmla="*/ 87948 h 136525"/>
                  <a:gd name="connsiteX218" fmla="*/ 585153 w 1377950"/>
                  <a:gd name="connsiteY218" fmla="*/ 53658 h 136525"/>
                  <a:gd name="connsiteX219" fmla="*/ 595947 w 1377950"/>
                  <a:gd name="connsiteY219" fmla="*/ 55245 h 136525"/>
                  <a:gd name="connsiteX220" fmla="*/ 606425 w 1377950"/>
                  <a:gd name="connsiteY220" fmla="*/ 58420 h 136525"/>
                  <a:gd name="connsiteX221" fmla="*/ 612140 w 1377950"/>
                  <a:gd name="connsiteY221" fmla="*/ 43180 h 136525"/>
                  <a:gd name="connsiteX222" fmla="*/ 600392 w 1377950"/>
                  <a:gd name="connsiteY222" fmla="*/ 39370 h 136525"/>
                  <a:gd name="connsiteX223" fmla="*/ 585470 w 1377950"/>
                  <a:gd name="connsiteY223" fmla="*/ 37783 h 136525"/>
                  <a:gd name="connsiteX224" fmla="*/ 561975 w 1377950"/>
                  <a:gd name="connsiteY224" fmla="*/ 43180 h 136525"/>
                  <a:gd name="connsiteX225" fmla="*/ 545782 w 1377950"/>
                  <a:gd name="connsiteY225" fmla="*/ 59373 h 136525"/>
                  <a:gd name="connsiteX226" fmla="*/ 540067 w 1377950"/>
                  <a:gd name="connsiteY226" fmla="*/ 88265 h 136525"/>
                  <a:gd name="connsiteX227" fmla="*/ 552132 w 1377950"/>
                  <a:gd name="connsiteY227" fmla="*/ 125413 h 136525"/>
                  <a:gd name="connsiteX228" fmla="*/ 584200 w 1377950"/>
                  <a:gd name="connsiteY228" fmla="*/ 137160 h 136525"/>
                  <a:gd name="connsiteX229" fmla="*/ 598488 w 1377950"/>
                  <a:gd name="connsiteY229" fmla="*/ 135573 h 136525"/>
                  <a:gd name="connsiteX230" fmla="*/ 496570 w 1377950"/>
                  <a:gd name="connsiteY230" fmla="*/ 135255 h 136525"/>
                  <a:gd name="connsiteX231" fmla="*/ 515303 w 1377950"/>
                  <a:gd name="connsiteY231" fmla="*/ 135255 h 136525"/>
                  <a:gd name="connsiteX232" fmla="*/ 515303 w 1377950"/>
                  <a:gd name="connsiteY232" fmla="*/ 39370 h 136525"/>
                  <a:gd name="connsiteX233" fmla="*/ 496570 w 1377950"/>
                  <a:gd name="connsiteY233" fmla="*/ 39370 h 136525"/>
                  <a:gd name="connsiteX234" fmla="*/ 496570 w 1377950"/>
                  <a:gd name="connsiteY234" fmla="*/ 135255 h 136525"/>
                  <a:gd name="connsiteX235" fmla="*/ 498475 w 1377950"/>
                  <a:gd name="connsiteY235" fmla="*/ 5715 h 136525"/>
                  <a:gd name="connsiteX236" fmla="*/ 495300 w 1377950"/>
                  <a:gd name="connsiteY236" fmla="*/ 13970 h 136525"/>
                  <a:gd name="connsiteX237" fmla="*/ 498475 w 1377950"/>
                  <a:gd name="connsiteY237" fmla="*/ 22225 h 136525"/>
                  <a:gd name="connsiteX238" fmla="*/ 506095 w 1377950"/>
                  <a:gd name="connsiteY238" fmla="*/ 24765 h 136525"/>
                  <a:gd name="connsiteX239" fmla="*/ 513715 w 1377950"/>
                  <a:gd name="connsiteY239" fmla="*/ 22225 h 136525"/>
                  <a:gd name="connsiteX240" fmla="*/ 516890 w 1377950"/>
                  <a:gd name="connsiteY240" fmla="*/ 13970 h 136525"/>
                  <a:gd name="connsiteX241" fmla="*/ 513715 w 1377950"/>
                  <a:gd name="connsiteY241" fmla="*/ 5715 h 136525"/>
                  <a:gd name="connsiteX242" fmla="*/ 506095 w 1377950"/>
                  <a:gd name="connsiteY242" fmla="*/ 3175 h 136525"/>
                  <a:gd name="connsiteX243" fmla="*/ 498475 w 1377950"/>
                  <a:gd name="connsiteY243" fmla="*/ 5715 h 136525"/>
                  <a:gd name="connsiteX244" fmla="*/ 415925 w 1377950"/>
                  <a:gd name="connsiteY244" fmla="*/ 41275 h 136525"/>
                  <a:gd name="connsiteX245" fmla="*/ 403225 w 1377950"/>
                  <a:gd name="connsiteY245" fmla="*/ 52388 h 136525"/>
                  <a:gd name="connsiteX246" fmla="*/ 402272 w 1377950"/>
                  <a:gd name="connsiteY246" fmla="*/ 52388 h 136525"/>
                  <a:gd name="connsiteX247" fmla="*/ 399732 w 1377950"/>
                  <a:gd name="connsiteY247" fmla="*/ 39688 h 136525"/>
                  <a:gd name="connsiteX248" fmla="*/ 384810 w 1377950"/>
                  <a:gd name="connsiteY248" fmla="*/ 39688 h 136525"/>
                  <a:gd name="connsiteX249" fmla="*/ 384810 w 1377950"/>
                  <a:gd name="connsiteY249" fmla="*/ 135573 h 136525"/>
                  <a:gd name="connsiteX250" fmla="*/ 403542 w 1377950"/>
                  <a:gd name="connsiteY250" fmla="*/ 135573 h 136525"/>
                  <a:gd name="connsiteX251" fmla="*/ 403542 w 1377950"/>
                  <a:gd name="connsiteY251" fmla="*/ 87313 h 136525"/>
                  <a:gd name="connsiteX252" fmla="*/ 409257 w 1377950"/>
                  <a:gd name="connsiteY252" fmla="*/ 62230 h 136525"/>
                  <a:gd name="connsiteX253" fmla="*/ 429578 w 1377950"/>
                  <a:gd name="connsiteY253" fmla="*/ 53658 h 136525"/>
                  <a:gd name="connsiteX254" fmla="*/ 449263 w 1377950"/>
                  <a:gd name="connsiteY254" fmla="*/ 76200 h 136525"/>
                  <a:gd name="connsiteX255" fmla="*/ 449263 w 1377950"/>
                  <a:gd name="connsiteY255" fmla="*/ 135890 h 136525"/>
                  <a:gd name="connsiteX256" fmla="*/ 467995 w 1377950"/>
                  <a:gd name="connsiteY256" fmla="*/ 135890 h 136525"/>
                  <a:gd name="connsiteX257" fmla="*/ 467995 w 1377950"/>
                  <a:gd name="connsiteY257" fmla="*/ 73343 h 136525"/>
                  <a:gd name="connsiteX258" fmla="*/ 459105 w 1377950"/>
                  <a:gd name="connsiteY258" fmla="*/ 46355 h 136525"/>
                  <a:gd name="connsiteX259" fmla="*/ 433388 w 1377950"/>
                  <a:gd name="connsiteY259" fmla="*/ 38100 h 136525"/>
                  <a:gd name="connsiteX260" fmla="*/ 415925 w 1377950"/>
                  <a:gd name="connsiteY260" fmla="*/ 41275 h 136525"/>
                  <a:gd name="connsiteX261" fmla="*/ 296227 w 1377950"/>
                  <a:gd name="connsiteY261" fmla="*/ 62230 h 136525"/>
                  <a:gd name="connsiteX262" fmla="*/ 315595 w 1377950"/>
                  <a:gd name="connsiteY262" fmla="*/ 53340 h 136525"/>
                  <a:gd name="connsiteX263" fmla="*/ 335280 w 1377950"/>
                  <a:gd name="connsiteY263" fmla="*/ 62230 h 136525"/>
                  <a:gd name="connsiteX264" fmla="*/ 341313 w 1377950"/>
                  <a:gd name="connsiteY264" fmla="*/ 87313 h 136525"/>
                  <a:gd name="connsiteX265" fmla="*/ 335280 w 1377950"/>
                  <a:gd name="connsiteY265" fmla="*/ 112713 h 136525"/>
                  <a:gd name="connsiteX266" fmla="*/ 315913 w 1377950"/>
                  <a:gd name="connsiteY266" fmla="*/ 121920 h 136525"/>
                  <a:gd name="connsiteX267" fmla="*/ 296545 w 1377950"/>
                  <a:gd name="connsiteY267" fmla="*/ 112713 h 136525"/>
                  <a:gd name="connsiteX268" fmla="*/ 290513 w 1377950"/>
                  <a:gd name="connsiteY268" fmla="*/ 87313 h 136525"/>
                  <a:gd name="connsiteX269" fmla="*/ 296227 w 1377950"/>
                  <a:gd name="connsiteY269" fmla="*/ 62230 h 136525"/>
                  <a:gd name="connsiteX270" fmla="*/ 354965 w 1377950"/>
                  <a:gd name="connsiteY270" fmla="*/ 60325 h 136525"/>
                  <a:gd name="connsiteX271" fmla="*/ 339090 w 1377950"/>
                  <a:gd name="connsiteY271" fmla="*/ 43498 h 136525"/>
                  <a:gd name="connsiteX272" fmla="*/ 315913 w 1377950"/>
                  <a:gd name="connsiteY272" fmla="*/ 37783 h 136525"/>
                  <a:gd name="connsiteX273" fmla="*/ 282892 w 1377950"/>
                  <a:gd name="connsiteY273" fmla="*/ 50800 h 136525"/>
                  <a:gd name="connsiteX274" fmla="*/ 270827 w 1377950"/>
                  <a:gd name="connsiteY274" fmla="*/ 87630 h 136525"/>
                  <a:gd name="connsiteX275" fmla="*/ 276542 w 1377950"/>
                  <a:gd name="connsiteY275" fmla="*/ 114618 h 136525"/>
                  <a:gd name="connsiteX276" fmla="*/ 292417 w 1377950"/>
                  <a:gd name="connsiteY276" fmla="*/ 131445 h 136525"/>
                  <a:gd name="connsiteX277" fmla="*/ 315595 w 1377950"/>
                  <a:gd name="connsiteY277" fmla="*/ 137160 h 136525"/>
                  <a:gd name="connsiteX278" fmla="*/ 348615 w 1377950"/>
                  <a:gd name="connsiteY278" fmla="*/ 124143 h 136525"/>
                  <a:gd name="connsiteX279" fmla="*/ 360997 w 1377950"/>
                  <a:gd name="connsiteY279" fmla="*/ 87313 h 136525"/>
                  <a:gd name="connsiteX280" fmla="*/ 354965 w 1377950"/>
                  <a:gd name="connsiteY280" fmla="*/ 60325 h 136525"/>
                  <a:gd name="connsiteX281" fmla="*/ 234315 w 1377950"/>
                  <a:gd name="connsiteY281" fmla="*/ 43498 h 136525"/>
                  <a:gd name="connsiteX282" fmla="*/ 222250 w 1377950"/>
                  <a:gd name="connsiteY282" fmla="*/ 56833 h 136525"/>
                  <a:gd name="connsiteX283" fmla="*/ 221615 w 1377950"/>
                  <a:gd name="connsiteY283" fmla="*/ 56833 h 136525"/>
                  <a:gd name="connsiteX284" fmla="*/ 219075 w 1377950"/>
                  <a:gd name="connsiteY284" fmla="*/ 39688 h 136525"/>
                  <a:gd name="connsiteX285" fmla="*/ 204152 w 1377950"/>
                  <a:gd name="connsiteY285" fmla="*/ 39688 h 136525"/>
                  <a:gd name="connsiteX286" fmla="*/ 204152 w 1377950"/>
                  <a:gd name="connsiteY286" fmla="*/ 135573 h 136525"/>
                  <a:gd name="connsiteX287" fmla="*/ 222885 w 1377950"/>
                  <a:gd name="connsiteY287" fmla="*/ 135573 h 136525"/>
                  <a:gd name="connsiteX288" fmla="*/ 222885 w 1377950"/>
                  <a:gd name="connsiteY288" fmla="*/ 84773 h 136525"/>
                  <a:gd name="connsiteX289" fmla="*/ 226695 w 1377950"/>
                  <a:gd name="connsiteY289" fmla="*/ 68580 h 136525"/>
                  <a:gd name="connsiteX290" fmla="*/ 236855 w 1377950"/>
                  <a:gd name="connsiteY290" fmla="*/ 58420 h 136525"/>
                  <a:gd name="connsiteX291" fmla="*/ 250507 w 1377950"/>
                  <a:gd name="connsiteY291" fmla="*/ 54927 h 136525"/>
                  <a:gd name="connsiteX292" fmla="*/ 260032 w 1377950"/>
                  <a:gd name="connsiteY292" fmla="*/ 56198 h 136525"/>
                  <a:gd name="connsiteX293" fmla="*/ 261938 w 1377950"/>
                  <a:gd name="connsiteY293" fmla="*/ 38735 h 136525"/>
                  <a:gd name="connsiteX294" fmla="*/ 251460 w 1377950"/>
                  <a:gd name="connsiteY294" fmla="*/ 37783 h 136525"/>
                  <a:gd name="connsiteX295" fmla="*/ 234315 w 1377950"/>
                  <a:gd name="connsiteY295" fmla="*/ 43498 h 136525"/>
                  <a:gd name="connsiteX296" fmla="*/ 92392 w 1377950"/>
                  <a:gd name="connsiteY296" fmla="*/ 318 h 136525"/>
                  <a:gd name="connsiteX297" fmla="*/ 92392 w 1377950"/>
                  <a:gd name="connsiteY297" fmla="*/ 135573 h 136525"/>
                  <a:gd name="connsiteX298" fmla="*/ 111125 w 1377950"/>
                  <a:gd name="connsiteY298" fmla="*/ 135573 h 136525"/>
                  <a:gd name="connsiteX299" fmla="*/ 111125 w 1377950"/>
                  <a:gd name="connsiteY299" fmla="*/ 87313 h 136525"/>
                  <a:gd name="connsiteX300" fmla="*/ 116522 w 1377950"/>
                  <a:gd name="connsiteY300" fmla="*/ 62230 h 136525"/>
                  <a:gd name="connsiteX301" fmla="*/ 136842 w 1377950"/>
                  <a:gd name="connsiteY301" fmla="*/ 53340 h 136525"/>
                  <a:gd name="connsiteX302" fmla="*/ 156527 w 1377950"/>
                  <a:gd name="connsiteY302" fmla="*/ 75883 h 136525"/>
                  <a:gd name="connsiteX303" fmla="*/ 156527 w 1377950"/>
                  <a:gd name="connsiteY303" fmla="*/ 135573 h 136525"/>
                  <a:gd name="connsiteX304" fmla="*/ 175260 w 1377950"/>
                  <a:gd name="connsiteY304" fmla="*/ 135573 h 136525"/>
                  <a:gd name="connsiteX305" fmla="*/ 175260 w 1377950"/>
                  <a:gd name="connsiteY305" fmla="*/ 73025 h 136525"/>
                  <a:gd name="connsiteX306" fmla="*/ 166370 w 1377950"/>
                  <a:gd name="connsiteY306" fmla="*/ 46355 h 136525"/>
                  <a:gd name="connsiteX307" fmla="*/ 140652 w 1377950"/>
                  <a:gd name="connsiteY307" fmla="*/ 38100 h 136525"/>
                  <a:gd name="connsiteX308" fmla="*/ 123825 w 1377950"/>
                  <a:gd name="connsiteY308" fmla="*/ 41593 h 136525"/>
                  <a:gd name="connsiteX309" fmla="*/ 111442 w 1377950"/>
                  <a:gd name="connsiteY309" fmla="*/ 52388 h 136525"/>
                  <a:gd name="connsiteX310" fmla="*/ 110172 w 1377950"/>
                  <a:gd name="connsiteY310" fmla="*/ 52388 h 136525"/>
                  <a:gd name="connsiteX311" fmla="*/ 110807 w 1377950"/>
                  <a:gd name="connsiteY311" fmla="*/ 45085 h 136525"/>
                  <a:gd name="connsiteX312" fmla="*/ 111125 w 1377950"/>
                  <a:gd name="connsiteY312" fmla="*/ 36195 h 136525"/>
                  <a:gd name="connsiteX313" fmla="*/ 111125 w 1377950"/>
                  <a:gd name="connsiteY313" fmla="*/ 0 h 136525"/>
                  <a:gd name="connsiteX314" fmla="*/ 92392 w 1377950"/>
                  <a:gd name="connsiteY314" fmla="*/ 0 h 136525"/>
                  <a:gd name="connsiteX315" fmla="*/ 58420 w 1377950"/>
                  <a:gd name="connsiteY315" fmla="*/ 135573 h 136525"/>
                  <a:gd name="connsiteX316" fmla="*/ 69532 w 1377950"/>
                  <a:gd name="connsiteY316" fmla="*/ 131127 h 136525"/>
                  <a:gd name="connsiteX317" fmla="*/ 69532 w 1377950"/>
                  <a:gd name="connsiteY317" fmla="*/ 114618 h 136525"/>
                  <a:gd name="connsiteX318" fmla="*/ 58102 w 1377950"/>
                  <a:gd name="connsiteY318" fmla="*/ 119380 h 136525"/>
                  <a:gd name="connsiteX319" fmla="*/ 44132 w 1377950"/>
                  <a:gd name="connsiteY319" fmla="*/ 121285 h 136525"/>
                  <a:gd name="connsiteX320" fmla="*/ 25400 w 1377950"/>
                  <a:gd name="connsiteY320" fmla="*/ 112713 h 136525"/>
                  <a:gd name="connsiteX321" fmla="*/ 19050 w 1377950"/>
                  <a:gd name="connsiteY321" fmla="*/ 87948 h 136525"/>
                  <a:gd name="connsiteX322" fmla="*/ 45085 w 1377950"/>
                  <a:gd name="connsiteY322" fmla="*/ 53658 h 136525"/>
                  <a:gd name="connsiteX323" fmla="*/ 55880 w 1377950"/>
                  <a:gd name="connsiteY323" fmla="*/ 55245 h 136525"/>
                  <a:gd name="connsiteX324" fmla="*/ 66357 w 1377950"/>
                  <a:gd name="connsiteY324" fmla="*/ 58420 h 136525"/>
                  <a:gd name="connsiteX325" fmla="*/ 72072 w 1377950"/>
                  <a:gd name="connsiteY325" fmla="*/ 43180 h 136525"/>
                  <a:gd name="connsiteX326" fmla="*/ 60325 w 1377950"/>
                  <a:gd name="connsiteY326" fmla="*/ 39370 h 136525"/>
                  <a:gd name="connsiteX327" fmla="*/ 45402 w 1377950"/>
                  <a:gd name="connsiteY327" fmla="*/ 37783 h 136525"/>
                  <a:gd name="connsiteX328" fmla="*/ 21907 w 1377950"/>
                  <a:gd name="connsiteY328" fmla="*/ 43180 h 136525"/>
                  <a:gd name="connsiteX329" fmla="*/ 5715 w 1377950"/>
                  <a:gd name="connsiteY329" fmla="*/ 59373 h 136525"/>
                  <a:gd name="connsiteX330" fmla="*/ 0 w 1377950"/>
                  <a:gd name="connsiteY330" fmla="*/ 88265 h 136525"/>
                  <a:gd name="connsiteX331" fmla="*/ 12065 w 1377950"/>
                  <a:gd name="connsiteY331" fmla="*/ 125413 h 136525"/>
                  <a:gd name="connsiteX332" fmla="*/ 44132 w 1377950"/>
                  <a:gd name="connsiteY332" fmla="*/ 137160 h 136525"/>
                  <a:gd name="connsiteX333" fmla="*/ 58420 w 1377950"/>
                  <a:gd name="connsiteY333" fmla="*/ 135573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Lst>
                <a:rect l="l" t="t" r="r" b="b"/>
                <a:pathLst>
                  <a:path w="1377950" h="136525">
                    <a:moveTo>
                      <a:pt x="1374775" y="95250"/>
                    </a:moveTo>
                    <a:cubicBezTo>
                      <a:pt x="1372553" y="91757"/>
                      <a:pt x="1369378" y="88900"/>
                      <a:pt x="1364932" y="86360"/>
                    </a:cubicBezTo>
                    <a:cubicBezTo>
                      <a:pt x="1360805" y="83820"/>
                      <a:pt x="1355725" y="81598"/>
                      <a:pt x="1350010" y="79375"/>
                    </a:cubicBezTo>
                    <a:cubicBezTo>
                      <a:pt x="1343978" y="77152"/>
                      <a:pt x="1339215" y="74930"/>
                      <a:pt x="1335722" y="73343"/>
                    </a:cubicBezTo>
                    <a:cubicBezTo>
                      <a:pt x="1332230" y="71755"/>
                      <a:pt x="1330007" y="70168"/>
                      <a:pt x="1328738" y="68263"/>
                    </a:cubicBezTo>
                    <a:cubicBezTo>
                      <a:pt x="1327467" y="66358"/>
                      <a:pt x="1326832" y="64770"/>
                      <a:pt x="1326832" y="62548"/>
                    </a:cubicBezTo>
                    <a:cubicBezTo>
                      <a:pt x="1326832" y="55880"/>
                      <a:pt x="1332547" y="52388"/>
                      <a:pt x="1344295" y="52388"/>
                    </a:cubicBezTo>
                    <a:cubicBezTo>
                      <a:pt x="1348740" y="52388"/>
                      <a:pt x="1353185" y="53023"/>
                      <a:pt x="1357630" y="54293"/>
                    </a:cubicBezTo>
                    <a:cubicBezTo>
                      <a:pt x="1362075" y="55563"/>
                      <a:pt x="1366203" y="57150"/>
                      <a:pt x="1370330" y="58738"/>
                    </a:cubicBezTo>
                    <a:lnTo>
                      <a:pt x="1376680" y="44450"/>
                    </a:lnTo>
                    <a:cubicBezTo>
                      <a:pt x="1371917" y="42227"/>
                      <a:pt x="1366838" y="40640"/>
                      <a:pt x="1361757" y="39370"/>
                    </a:cubicBezTo>
                    <a:cubicBezTo>
                      <a:pt x="1356678" y="38100"/>
                      <a:pt x="1350963" y="37465"/>
                      <a:pt x="1345247" y="37465"/>
                    </a:cubicBezTo>
                    <a:cubicBezTo>
                      <a:pt x="1334135" y="37465"/>
                      <a:pt x="1325245" y="39688"/>
                      <a:pt x="1318578" y="44133"/>
                    </a:cubicBezTo>
                    <a:cubicBezTo>
                      <a:pt x="1311910" y="48577"/>
                      <a:pt x="1308417" y="54927"/>
                      <a:pt x="1308417" y="63183"/>
                    </a:cubicBezTo>
                    <a:cubicBezTo>
                      <a:pt x="1308417" y="68263"/>
                      <a:pt x="1309688" y="72708"/>
                      <a:pt x="1311910" y="76200"/>
                    </a:cubicBezTo>
                    <a:cubicBezTo>
                      <a:pt x="1314132" y="79693"/>
                      <a:pt x="1317307" y="82550"/>
                      <a:pt x="1321753" y="85090"/>
                    </a:cubicBezTo>
                    <a:cubicBezTo>
                      <a:pt x="1326197" y="87630"/>
                      <a:pt x="1331278" y="89852"/>
                      <a:pt x="1337310" y="92393"/>
                    </a:cubicBezTo>
                    <a:cubicBezTo>
                      <a:pt x="1343660" y="94615"/>
                      <a:pt x="1348422" y="96838"/>
                      <a:pt x="1351597" y="98743"/>
                    </a:cubicBezTo>
                    <a:cubicBezTo>
                      <a:pt x="1354772" y="100648"/>
                      <a:pt x="1356995" y="102235"/>
                      <a:pt x="1358265" y="104140"/>
                    </a:cubicBezTo>
                    <a:cubicBezTo>
                      <a:pt x="1359535" y="106045"/>
                      <a:pt x="1360170" y="107632"/>
                      <a:pt x="1360170" y="109855"/>
                    </a:cubicBezTo>
                    <a:cubicBezTo>
                      <a:pt x="1360170" y="113665"/>
                      <a:pt x="1358582" y="116523"/>
                      <a:pt x="1355407" y="119063"/>
                    </a:cubicBezTo>
                    <a:cubicBezTo>
                      <a:pt x="1352232" y="121285"/>
                      <a:pt x="1347153" y="122555"/>
                      <a:pt x="1340167" y="122555"/>
                    </a:cubicBezTo>
                    <a:cubicBezTo>
                      <a:pt x="1334770" y="122555"/>
                      <a:pt x="1329372" y="121602"/>
                      <a:pt x="1323657" y="120015"/>
                    </a:cubicBezTo>
                    <a:cubicBezTo>
                      <a:pt x="1317942" y="118427"/>
                      <a:pt x="1313180" y="116523"/>
                      <a:pt x="1309053" y="114618"/>
                    </a:cubicBezTo>
                    <a:lnTo>
                      <a:pt x="1309053" y="131127"/>
                    </a:lnTo>
                    <a:cubicBezTo>
                      <a:pt x="1313180" y="133032"/>
                      <a:pt x="1317625" y="134620"/>
                      <a:pt x="1322388" y="135573"/>
                    </a:cubicBezTo>
                    <a:cubicBezTo>
                      <a:pt x="1327150" y="136525"/>
                      <a:pt x="1332865" y="136843"/>
                      <a:pt x="1339850" y="136843"/>
                    </a:cubicBezTo>
                    <a:cubicBezTo>
                      <a:pt x="1352232" y="136843"/>
                      <a:pt x="1361757" y="134302"/>
                      <a:pt x="1368425" y="129540"/>
                    </a:cubicBezTo>
                    <a:cubicBezTo>
                      <a:pt x="1375092" y="124777"/>
                      <a:pt x="1378585" y="117475"/>
                      <a:pt x="1378585" y="107950"/>
                    </a:cubicBezTo>
                    <a:cubicBezTo>
                      <a:pt x="1378267" y="103188"/>
                      <a:pt x="1376997" y="98743"/>
                      <a:pt x="1374775" y="95250"/>
                    </a:cubicBezTo>
                    <a:moveTo>
                      <a:pt x="1266825" y="59373"/>
                    </a:moveTo>
                    <a:cubicBezTo>
                      <a:pt x="1270317" y="64135"/>
                      <a:pt x="1272222" y="70168"/>
                      <a:pt x="1272222" y="77470"/>
                    </a:cubicBezTo>
                    <a:lnTo>
                      <a:pt x="1227138" y="77470"/>
                    </a:lnTo>
                    <a:cubicBezTo>
                      <a:pt x="1227772" y="69533"/>
                      <a:pt x="1230313" y="63183"/>
                      <a:pt x="1234440" y="58738"/>
                    </a:cubicBezTo>
                    <a:cubicBezTo>
                      <a:pt x="1238567" y="54293"/>
                      <a:pt x="1243965" y="52070"/>
                      <a:pt x="1250632" y="52070"/>
                    </a:cubicBezTo>
                    <a:cubicBezTo>
                      <a:pt x="1257935" y="52388"/>
                      <a:pt x="1263332" y="54610"/>
                      <a:pt x="1266825" y="59373"/>
                    </a:cubicBezTo>
                    <a:moveTo>
                      <a:pt x="1227772" y="43815"/>
                    </a:moveTo>
                    <a:cubicBezTo>
                      <a:pt x="1221422" y="47943"/>
                      <a:pt x="1216342" y="53658"/>
                      <a:pt x="1212532" y="60960"/>
                    </a:cubicBezTo>
                    <a:cubicBezTo>
                      <a:pt x="1209040" y="68580"/>
                      <a:pt x="1207135" y="77470"/>
                      <a:pt x="1207135" y="88265"/>
                    </a:cubicBezTo>
                    <a:cubicBezTo>
                      <a:pt x="1207135" y="99060"/>
                      <a:pt x="1209040" y="107950"/>
                      <a:pt x="1213167" y="115252"/>
                    </a:cubicBezTo>
                    <a:cubicBezTo>
                      <a:pt x="1217295" y="122555"/>
                      <a:pt x="1222692" y="127952"/>
                      <a:pt x="1229678" y="131763"/>
                    </a:cubicBezTo>
                    <a:cubicBezTo>
                      <a:pt x="1236663" y="135573"/>
                      <a:pt x="1244917" y="137160"/>
                      <a:pt x="1254125" y="137160"/>
                    </a:cubicBezTo>
                    <a:cubicBezTo>
                      <a:pt x="1260792" y="137160"/>
                      <a:pt x="1266825" y="136525"/>
                      <a:pt x="1271588" y="135573"/>
                    </a:cubicBezTo>
                    <a:cubicBezTo>
                      <a:pt x="1276350" y="134620"/>
                      <a:pt x="1281430" y="133032"/>
                      <a:pt x="1286192" y="130810"/>
                    </a:cubicBezTo>
                    <a:lnTo>
                      <a:pt x="1286192" y="115252"/>
                    </a:lnTo>
                    <a:cubicBezTo>
                      <a:pt x="1281113" y="117475"/>
                      <a:pt x="1276032" y="119063"/>
                      <a:pt x="1271270" y="120332"/>
                    </a:cubicBezTo>
                    <a:cubicBezTo>
                      <a:pt x="1266507" y="121602"/>
                      <a:pt x="1261110" y="121920"/>
                      <a:pt x="1254760" y="121920"/>
                    </a:cubicBezTo>
                    <a:cubicBezTo>
                      <a:pt x="1245870" y="121920"/>
                      <a:pt x="1238885" y="119380"/>
                      <a:pt x="1234122" y="113982"/>
                    </a:cubicBezTo>
                    <a:cubicBezTo>
                      <a:pt x="1229360" y="108902"/>
                      <a:pt x="1226503" y="101282"/>
                      <a:pt x="1226503" y="91440"/>
                    </a:cubicBezTo>
                    <a:lnTo>
                      <a:pt x="1290955" y="91440"/>
                    </a:lnTo>
                    <a:lnTo>
                      <a:pt x="1290955" y="81280"/>
                    </a:lnTo>
                    <a:cubicBezTo>
                      <a:pt x="1290955" y="67945"/>
                      <a:pt x="1287463" y="57150"/>
                      <a:pt x="1280160" y="49530"/>
                    </a:cubicBezTo>
                    <a:cubicBezTo>
                      <a:pt x="1272857" y="41910"/>
                      <a:pt x="1263015" y="37783"/>
                      <a:pt x="1250315" y="37783"/>
                    </a:cubicBezTo>
                    <a:cubicBezTo>
                      <a:pt x="1241742" y="37783"/>
                      <a:pt x="1234440" y="39688"/>
                      <a:pt x="1227772" y="43815"/>
                    </a:cubicBezTo>
                    <a:moveTo>
                      <a:pt x="1187132" y="95250"/>
                    </a:moveTo>
                    <a:cubicBezTo>
                      <a:pt x="1184910" y="91757"/>
                      <a:pt x="1181735" y="88900"/>
                      <a:pt x="1177290" y="86360"/>
                    </a:cubicBezTo>
                    <a:cubicBezTo>
                      <a:pt x="1173163" y="83820"/>
                      <a:pt x="1168082" y="81598"/>
                      <a:pt x="1162367" y="79375"/>
                    </a:cubicBezTo>
                    <a:cubicBezTo>
                      <a:pt x="1156335" y="77152"/>
                      <a:pt x="1151572" y="74930"/>
                      <a:pt x="1148080" y="73343"/>
                    </a:cubicBezTo>
                    <a:cubicBezTo>
                      <a:pt x="1144588" y="71755"/>
                      <a:pt x="1142365" y="70168"/>
                      <a:pt x="1141095" y="68263"/>
                    </a:cubicBezTo>
                    <a:cubicBezTo>
                      <a:pt x="1139825" y="66675"/>
                      <a:pt x="1139190" y="64770"/>
                      <a:pt x="1139190" y="62548"/>
                    </a:cubicBezTo>
                    <a:cubicBezTo>
                      <a:pt x="1139190" y="55880"/>
                      <a:pt x="1144905" y="52388"/>
                      <a:pt x="1156653" y="52388"/>
                    </a:cubicBezTo>
                    <a:cubicBezTo>
                      <a:pt x="1161097" y="52388"/>
                      <a:pt x="1165542" y="53023"/>
                      <a:pt x="1169988" y="54293"/>
                    </a:cubicBezTo>
                    <a:cubicBezTo>
                      <a:pt x="1174432" y="55563"/>
                      <a:pt x="1178560" y="57150"/>
                      <a:pt x="1182688" y="58738"/>
                    </a:cubicBezTo>
                    <a:lnTo>
                      <a:pt x="1189038" y="44450"/>
                    </a:lnTo>
                    <a:cubicBezTo>
                      <a:pt x="1184275" y="42227"/>
                      <a:pt x="1179195" y="40640"/>
                      <a:pt x="1174115" y="39370"/>
                    </a:cubicBezTo>
                    <a:cubicBezTo>
                      <a:pt x="1169035" y="38100"/>
                      <a:pt x="1163320" y="37465"/>
                      <a:pt x="1157605" y="37465"/>
                    </a:cubicBezTo>
                    <a:cubicBezTo>
                      <a:pt x="1146492" y="37465"/>
                      <a:pt x="1137603" y="39688"/>
                      <a:pt x="1130935" y="44133"/>
                    </a:cubicBezTo>
                    <a:cubicBezTo>
                      <a:pt x="1124267" y="48577"/>
                      <a:pt x="1120775" y="54927"/>
                      <a:pt x="1120775" y="63183"/>
                    </a:cubicBezTo>
                    <a:cubicBezTo>
                      <a:pt x="1120775" y="68263"/>
                      <a:pt x="1122045" y="72708"/>
                      <a:pt x="1124267" y="76200"/>
                    </a:cubicBezTo>
                    <a:cubicBezTo>
                      <a:pt x="1126490" y="79693"/>
                      <a:pt x="1129665" y="82550"/>
                      <a:pt x="1134110" y="85090"/>
                    </a:cubicBezTo>
                    <a:cubicBezTo>
                      <a:pt x="1138238" y="87630"/>
                      <a:pt x="1143635" y="89852"/>
                      <a:pt x="1149667" y="92393"/>
                    </a:cubicBezTo>
                    <a:cubicBezTo>
                      <a:pt x="1156017" y="94615"/>
                      <a:pt x="1160780" y="96838"/>
                      <a:pt x="1163955" y="98743"/>
                    </a:cubicBezTo>
                    <a:cubicBezTo>
                      <a:pt x="1167130" y="100648"/>
                      <a:pt x="1169353" y="102235"/>
                      <a:pt x="1170622" y="104140"/>
                    </a:cubicBezTo>
                    <a:cubicBezTo>
                      <a:pt x="1171892" y="105727"/>
                      <a:pt x="1172528" y="107632"/>
                      <a:pt x="1172528" y="109855"/>
                    </a:cubicBezTo>
                    <a:cubicBezTo>
                      <a:pt x="1172528" y="113665"/>
                      <a:pt x="1170940" y="116523"/>
                      <a:pt x="1167765" y="119063"/>
                    </a:cubicBezTo>
                    <a:cubicBezTo>
                      <a:pt x="1164590" y="121285"/>
                      <a:pt x="1159510" y="122555"/>
                      <a:pt x="1152525" y="122555"/>
                    </a:cubicBezTo>
                    <a:cubicBezTo>
                      <a:pt x="1147128" y="122555"/>
                      <a:pt x="1141730" y="121602"/>
                      <a:pt x="1136015" y="120015"/>
                    </a:cubicBezTo>
                    <a:cubicBezTo>
                      <a:pt x="1130300" y="118427"/>
                      <a:pt x="1125538" y="116523"/>
                      <a:pt x="1121410" y="114618"/>
                    </a:cubicBezTo>
                    <a:lnTo>
                      <a:pt x="1121410" y="131127"/>
                    </a:lnTo>
                    <a:cubicBezTo>
                      <a:pt x="1125538" y="133032"/>
                      <a:pt x="1129982" y="134620"/>
                      <a:pt x="1134745" y="135573"/>
                    </a:cubicBezTo>
                    <a:cubicBezTo>
                      <a:pt x="1139507" y="136525"/>
                      <a:pt x="1145222" y="136843"/>
                      <a:pt x="1152207" y="136843"/>
                    </a:cubicBezTo>
                    <a:cubicBezTo>
                      <a:pt x="1164590" y="136843"/>
                      <a:pt x="1174115" y="134302"/>
                      <a:pt x="1180782" y="129540"/>
                    </a:cubicBezTo>
                    <a:cubicBezTo>
                      <a:pt x="1187450" y="124777"/>
                      <a:pt x="1190942" y="117475"/>
                      <a:pt x="1190942" y="107950"/>
                    </a:cubicBezTo>
                    <a:cubicBezTo>
                      <a:pt x="1190307" y="103188"/>
                      <a:pt x="1189355" y="98743"/>
                      <a:pt x="1187132" y="95250"/>
                    </a:cubicBezTo>
                    <a:moveTo>
                      <a:pt x="1079182" y="97790"/>
                    </a:moveTo>
                    <a:cubicBezTo>
                      <a:pt x="1079182" y="106045"/>
                      <a:pt x="1076642" y="112395"/>
                      <a:pt x="1071880" y="116523"/>
                    </a:cubicBezTo>
                    <a:cubicBezTo>
                      <a:pt x="1066800" y="120650"/>
                      <a:pt x="1060767" y="122873"/>
                      <a:pt x="1053465" y="122873"/>
                    </a:cubicBezTo>
                    <a:cubicBezTo>
                      <a:pt x="1048703" y="122873"/>
                      <a:pt x="1044892" y="121602"/>
                      <a:pt x="1042035" y="119380"/>
                    </a:cubicBezTo>
                    <a:cubicBezTo>
                      <a:pt x="1039178" y="117157"/>
                      <a:pt x="1037590" y="113665"/>
                      <a:pt x="1037590" y="108585"/>
                    </a:cubicBezTo>
                    <a:cubicBezTo>
                      <a:pt x="1037590" y="102870"/>
                      <a:pt x="1039813" y="98743"/>
                      <a:pt x="1043940" y="95568"/>
                    </a:cubicBezTo>
                    <a:cubicBezTo>
                      <a:pt x="1048067" y="92393"/>
                      <a:pt x="1055688" y="90488"/>
                      <a:pt x="1066482" y="90170"/>
                    </a:cubicBezTo>
                    <a:lnTo>
                      <a:pt x="1079182" y="89852"/>
                    </a:lnTo>
                    <a:lnTo>
                      <a:pt x="1079182" y="97790"/>
                    </a:lnTo>
                    <a:close/>
                    <a:moveTo>
                      <a:pt x="1043305" y="40005"/>
                    </a:moveTo>
                    <a:cubicBezTo>
                      <a:pt x="1037590" y="41593"/>
                      <a:pt x="1032192" y="43498"/>
                      <a:pt x="1027747" y="46038"/>
                    </a:cubicBezTo>
                    <a:lnTo>
                      <a:pt x="1033780" y="59690"/>
                    </a:lnTo>
                    <a:cubicBezTo>
                      <a:pt x="1037907" y="57785"/>
                      <a:pt x="1042353" y="55880"/>
                      <a:pt x="1046797" y="54610"/>
                    </a:cubicBezTo>
                    <a:cubicBezTo>
                      <a:pt x="1051242" y="53340"/>
                      <a:pt x="1056005" y="52388"/>
                      <a:pt x="1060767" y="52388"/>
                    </a:cubicBezTo>
                    <a:cubicBezTo>
                      <a:pt x="1066482" y="52388"/>
                      <a:pt x="1070928" y="53975"/>
                      <a:pt x="1074420" y="56833"/>
                    </a:cubicBezTo>
                    <a:cubicBezTo>
                      <a:pt x="1077595" y="59690"/>
                      <a:pt x="1079182" y="64770"/>
                      <a:pt x="1079182" y="71755"/>
                    </a:cubicBezTo>
                    <a:lnTo>
                      <a:pt x="1079182" y="77152"/>
                    </a:lnTo>
                    <a:lnTo>
                      <a:pt x="1062672" y="77788"/>
                    </a:lnTo>
                    <a:cubicBezTo>
                      <a:pt x="1047432" y="78105"/>
                      <a:pt x="1036320" y="80963"/>
                      <a:pt x="1028700" y="86043"/>
                    </a:cubicBezTo>
                    <a:cubicBezTo>
                      <a:pt x="1021397" y="91123"/>
                      <a:pt x="1017588" y="98425"/>
                      <a:pt x="1017588" y="108268"/>
                    </a:cubicBezTo>
                    <a:cubicBezTo>
                      <a:pt x="1017588" y="118110"/>
                      <a:pt x="1020445" y="125413"/>
                      <a:pt x="1026160" y="130175"/>
                    </a:cubicBezTo>
                    <a:cubicBezTo>
                      <a:pt x="1031875" y="134938"/>
                      <a:pt x="1038860" y="137160"/>
                      <a:pt x="1047750" y="137160"/>
                    </a:cubicBezTo>
                    <a:cubicBezTo>
                      <a:pt x="1055688" y="137160"/>
                      <a:pt x="1062038" y="135890"/>
                      <a:pt x="1066800" y="133668"/>
                    </a:cubicBezTo>
                    <a:cubicBezTo>
                      <a:pt x="1071245" y="131127"/>
                      <a:pt x="1075690" y="127318"/>
                      <a:pt x="1079817" y="122238"/>
                    </a:cubicBezTo>
                    <a:lnTo>
                      <a:pt x="1080453" y="122238"/>
                    </a:lnTo>
                    <a:lnTo>
                      <a:pt x="1084263" y="135573"/>
                    </a:lnTo>
                    <a:lnTo>
                      <a:pt x="1097597" y="135573"/>
                    </a:lnTo>
                    <a:lnTo>
                      <a:pt x="1097597" y="70802"/>
                    </a:lnTo>
                    <a:cubicBezTo>
                      <a:pt x="1097597" y="59690"/>
                      <a:pt x="1094740" y="51118"/>
                      <a:pt x="1088707" y="46038"/>
                    </a:cubicBezTo>
                    <a:cubicBezTo>
                      <a:pt x="1082675" y="40640"/>
                      <a:pt x="1073785" y="38100"/>
                      <a:pt x="1061720" y="38100"/>
                    </a:cubicBezTo>
                    <a:cubicBezTo>
                      <a:pt x="1055370" y="37783"/>
                      <a:pt x="1049338" y="38418"/>
                      <a:pt x="1043305" y="40005"/>
                    </a:cubicBezTo>
                    <a:moveTo>
                      <a:pt x="976947" y="59373"/>
                    </a:moveTo>
                    <a:cubicBezTo>
                      <a:pt x="980440" y="64135"/>
                      <a:pt x="982345" y="70168"/>
                      <a:pt x="982345" y="77470"/>
                    </a:cubicBezTo>
                    <a:lnTo>
                      <a:pt x="937260" y="77470"/>
                    </a:lnTo>
                    <a:cubicBezTo>
                      <a:pt x="937895" y="69533"/>
                      <a:pt x="940435" y="63183"/>
                      <a:pt x="944563" y="58738"/>
                    </a:cubicBezTo>
                    <a:cubicBezTo>
                      <a:pt x="948690" y="54293"/>
                      <a:pt x="954088" y="52070"/>
                      <a:pt x="960755" y="52070"/>
                    </a:cubicBezTo>
                    <a:cubicBezTo>
                      <a:pt x="968057" y="52388"/>
                      <a:pt x="973455" y="54610"/>
                      <a:pt x="976947" y="59373"/>
                    </a:cubicBezTo>
                    <a:moveTo>
                      <a:pt x="937895" y="43815"/>
                    </a:moveTo>
                    <a:cubicBezTo>
                      <a:pt x="931545" y="47943"/>
                      <a:pt x="926465" y="53658"/>
                      <a:pt x="922655" y="60960"/>
                    </a:cubicBezTo>
                    <a:cubicBezTo>
                      <a:pt x="919163" y="68580"/>
                      <a:pt x="917257" y="77470"/>
                      <a:pt x="917257" y="88265"/>
                    </a:cubicBezTo>
                    <a:cubicBezTo>
                      <a:pt x="917257" y="99060"/>
                      <a:pt x="919163" y="107950"/>
                      <a:pt x="923290" y="115252"/>
                    </a:cubicBezTo>
                    <a:cubicBezTo>
                      <a:pt x="927100" y="122555"/>
                      <a:pt x="932815" y="127952"/>
                      <a:pt x="939800" y="131763"/>
                    </a:cubicBezTo>
                    <a:cubicBezTo>
                      <a:pt x="946785" y="135573"/>
                      <a:pt x="955040" y="137160"/>
                      <a:pt x="964247" y="137160"/>
                    </a:cubicBezTo>
                    <a:cubicBezTo>
                      <a:pt x="970915" y="137160"/>
                      <a:pt x="976947" y="136525"/>
                      <a:pt x="981710" y="135573"/>
                    </a:cubicBezTo>
                    <a:cubicBezTo>
                      <a:pt x="986472" y="134620"/>
                      <a:pt x="991553" y="133032"/>
                      <a:pt x="996315" y="130810"/>
                    </a:cubicBezTo>
                    <a:lnTo>
                      <a:pt x="996315" y="115252"/>
                    </a:lnTo>
                    <a:cubicBezTo>
                      <a:pt x="991235" y="117475"/>
                      <a:pt x="986155" y="119063"/>
                      <a:pt x="981392" y="120332"/>
                    </a:cubicBezTo>
                    <a:cubicBezTo>
                      <a:pt x="976630" y="121602"/>
                      <a:pt x="971232" y="121920"/>
                      <a:pt x="964882" y="121920"/>
                    </a:cubicBezTo>
                    <a:cubicBezTo>
                      <a:pt x="955992" y="121920"/>
                      <a:pt x="949007" y="119380"/>
                      <a:pt x="944245" y="113982"/>
                    </a:cubicBezTo>
                    <a:cubicBezTo>
                      <a:pt x="939165" y="108902"/>
                      <a:pt x="936625" y="101282"/>
                      <a:pt x="936625" y="91440"/>
                    </a:cubicBezTo>
                    <a:lnTo>
                      <a:pt x="1001078" y="91440"/>
                    </a:lnTo>
                    <a:lnTo>
                      <a:pt x="1001078" y="81280"/>
                    </a:lnTo>
                    <a:cubicBezTo>
                      <a:pt x="1001078" y="67945"/>
                      <a:pt x="997585" y="57150"/>
                      <a:pt x="990282" y="49530"/>
                    </a:cubicBezTo>
                    <a:cubicBezTo>
                      <a:pt x="982980" y="41910"/>
                      <a:pt x="973138" y="37783"/>
                      <a:pt x="960438" y="37783"/>
                    </a:cubicBezTo>
                    <a:cubicBezTo>
                      <a:pt x="952182" y="37783"/>
                      <a:pt x="944563" y="39688"/>
                      <a:pt x="937895" y="43815"/>
                    </a:cubicBezTo>
                    <a:moveTo>
                      <a:pt x="897255" y="95250"/>
                    </a:moveTo>
                    <a:cubicBezTo>
                      <a:pt x="895032" y="91757"/>
                      <a:pt x="891857" y="88900"/>
                      <a:pt x="887413" y="86360"/>
                    </a:cubicBezTo>
                    <a:cubicBezTo>
                      <a:pt x="883285" y="83820"/>
                      <a:pt x="878205" y="81598"/>
                      <a:pt x="872490" y="79375"/>
                    </a:cubicBezTo>
                    <a:cubicBezTo>
                      <a:pt x="866457" y="77152"/>
                      <a:pt x="861695" y="74930"/>
                      <a:pt x="858203" y="73343"/>
                    </a:cubicBezTo>
                    <a:cubicBezTo>
                      <a:pt x="854710" y="71755"/>
                      <a:pt x="852488" y="70168"/>
                      <a:pt x="851217" y="68263"/>
                    </a:cubicBezTo>
                    <a:cubicBezTo>
                      <a:pt x="849947" y="66675"/>
                      <a:pt x="849313" y="64770"/>
                      <a:pt x="849313" y="62548"/>
                    </a:cubicBezTo>
                    <a:cubicBezTo>
                      <a:pt x="849313" y="55880"/>
                      <a:pt x="855028" y="52388"/>
                      <a:pt x="866775" y="52388"/>
                    </a:cubicBezTo>
                    <a:cubicBezTo>
                      <a:pt x="871220" y="52388"/>
                      <a:pt x="875665" y="53023"/>
                      <a:pt x="880110" y="54293"/>
                    </a:cubicBezTo>
                    <a:cubicBezTo>
                      <a:pt x="884555" y="55563"/>
                      <a:pt x="888682" y="57150"/>
                      <a:pt x="892810" y="58738"/>
                    </a:cubicBezTo>
                    <a:lnTo>
                      <a:pt x="899160" y="44450"/>
                    </a:lnTo>
                    <a:cubicBezTo>
                      <a:pt x="894397" y="42227"/>
                      <a:pt x="889317" y="40640"/>
                      <a:pt x="884238" y="39370"/>
                    </a:cubicBezTo>
                    <a:cubicBezTo>
                      <a:pt x="879157" y="38100"/>
                      <a:pt x="873442" y="37465"/>
                      <a:pt x="867728" y="37465"/>
                    </a:cubicBezTo>
                    <a:cubicBezTo>
                      <a:pt x="856615" y="37465"/>
                      <a:pt x="847725" y="39688"/>
                      <a:pt x="841057" y="44133"/>
                    </a:cubicBezTo>
                    <a:cubicBezTo>
                      <a:pt x="834390" y="48577"/>
                      <a:pt x="830897" y="54927"/>
                      <a:pt x="830897" y="63183"/>
                    </a:cubicBezTo>
                    <a:cubicBezTo>
                      <a:pt x="830897" y="68263"/>
                      <a:pt x="832167" y="72708"/>
                      <a:pt x="834390" y="76200"/>
                    </a:cubicBezTo>
                    <a:cubicBezTo>
                      <a:pt x="836613" y="79693"/>
                      <a:pt x="839788" y="82550"/>
                      <a:pt x="844232" y="85090"/>
                    </a:cubicBezTo>
                    <a:cubicBezTo>
                      <a:pt x="848360" y="87630"/>
                      <a:pt x="853757" y="89852"/>
                      <a:pt x="859790" y="92393"/>
                    </a:cubicBezTo>
                    <a:cubicBezTo>
                      <a:pt x="866140" y="94615"/>
                      <a:pt x="870903" y="96838"/>
                      <a:pt x="874078" y="98743"/>
                    </a:cubicBezTo>
                    <a:cubicBezTo>
                      <a:pt x="877253" y="100648"/>
                      <a:pt x="879475" y="102235"/>
                      <a:pt x="880745" y="104140"/>
                    </a:cubicBezTo>
                    <a:cubicBezTo>
                      <a:pt x="882015" y="105727"/>
                      <a:pt x="882650" y="107632"/>
                      <a:pt x="882650" y="109855"/>
                    </a:cubicBezTo>
                    <a:cubicBezTo>
                      <a:pt x="882650" y="113665"/>
                      <a:pt x="881063" y="116523"/>
                      <a:pt x="877888" y="119063"/>
                    </a:cubicBezTo>
                    <a:cubicBezTo>
                      <a:pt x="874713" y="121285"/>
                      <a:pt x="869632" y="122555"/>
                      <a:pt x="862647" y="122555"/>
                    </a:cubicBezTo>
                    <a:cubicBezTo>
                      <a:pt x="857250" y="122555"/>
                      <a:pt x="851853" y="121602"/>
                      <a:pt x="846138" y="120015"/>
                    </a:cubicBezTo>
                    <a:cubicBezTo>
                      <a:pt x="840422" y="118427"/>
                      <a:pt x="835660" y="116523"/>
                      <a:pt x="831532" y="114618"/>
                    </a:cubicBezTo>
                    <a:lnTo>
                      <a:pt x="831532" y="131127"/>
                    </a:lnTo>
                    <a:cubicBezTo>
                      <a:pt x="835660" y="133032"/>
                      <a:pt x="840105" y="134620"/>
                      <a:pt x="844867" y="135573"/>
                    </a:cubicBezTo>
                    <a:cubicBezTo>
                      <a:pt x="849630" y="136525"/>
                      <a:pt x="855345" y="136843"/>
                      <a:pt x="862330" y="136843"/>
                    </a:cubicBezTo>
                    <a:cubicBezTo>
                      <a:pt x="874713" y="136843"/>
                      <a:pt x="884238" y="134302"/>
                      <a:pt x="890905" y="129540"/>
                    </a:cubicBezTo>
                    <a:cubicBezTo>
                      <a:pt x="897572" y="124777"/>
                      <a:pt x="901065" y="117475"/>
                      <a:pt x="901065" y="107950"/>
                    </a:cubicBezTo>
                    <a:cubicBezTo>
                      <a:pt x="900747" y="103188"/>
                      <a:pt x="899478" y="98743"/>
                      <a:pt x="897255" y="95250"/>
                    </a:cubicBezTo>
                    <a:moveTo>
                      <a:pt x="788670" y="135255"/>
                    </a:moveTo>
                    <a:lnTo>
                      <a:pt x="807403" y="135255"/>
                    </a:lnTo>
                    <a:lnTo>
                      <a:pt x="807403" y="39370"/>
                    </a:lnTo>
                    <a:lnTo>
                      <a:pt x="788670" y="39370"/>
                    </a:lnTo>
                    <a:lnTo>
                      <a:pt x="788670" y="135255"/>
                    </a:lnTo>
                    <a:close/>
                    <a:moveTo>
                      <a:pt x="790575" y="5715"/>
                    </a:moveTo>
                    <a:cubicBezTo>
                      <a:pt x="788353" y="7302"/>
                      <a:pt x="787400" y="10160"/>
                      <a:pt x="787400" y="13970"/>
                    </a:cubicBezTo>
                    <a:cubicBezTo>
                      <a:pt x="787400" y="17780"/>
                      <a:pt x="788353" y="20638"/>
                      <a:pt x="790575" y="22225"/>
                    </a:cubicBezTo>
                    <a:cubicBezTo>
                      <a:pt x="792797" y="23813"/>
                      <a:pt x="795338" y="24765"/>
                      <a:pt x="798195" y="24765"/>
                    </a:cubicBezTo>
                    <a:cubicBezTo>
                      <a:pt x="801053" y="24765"/>
                      <a:pt x="803592" y="23813"/>
                      <a:pt x="805815" y="22225"/>
                    </a:cubicBezTo>
                    <a:cubicBezTo>
                      <a:pt x="808038" y="20638"/>
                      <a:pt x="808990" y="17780"/>
                      <a:pt x="808990" y="13970"/>
                    </a:cubicBezTo>
                    <a:cubicBezTo>
                      <a:pt x="808990" y="10160"/>
                      <a:pt x="808038" y="7302"/>
                      <a:pt x="805815" y="5715"/>
                    </a:cubicBezTo>
                    <a:cubicBezTo>
                      <a:pt x="803592" y="4127"/>
                      <a:pt x="801053" y="3175"/>
                      <a:pt x="798195" y="3175"/>
                    </a:cubicBezTo>
                    <a:cubicBezTo>
                      <a:pt x="795338" y="3175"/>
                      <a:pt x="792797" y="3810"/>
                      <a:pt x="790575" y="5715"/>
                    </a:cubicBezTo>
                    <a:moveTo>
                      <a:pt x="698182" y="113030"/>
                    </a:moveTo>
                    <a:cubicBezTo>
                      <a:pt x="694372" y="107315"/>
                      <a:pt x="692467" y="99060"/>
                      <a:pt x="692467" y="88265"/>
                    </a:cubicBezTo>
                    <a:cubicBezTo>
                      <a:pt x="692467" y="77470"/>
                      <a:pt x="694372" y="68898"/>
                      <a:pt x="698182" y="62548"/>
                    </a:cubicBezTo>
                    <a:cubicBezTo>
                      <a:pt x="701992" y="56515"/>
                      <a:pt x="708025" y="53340"/>
                      <a:pt x="715645" y="53340"/>
                    </a:cubicBezTo>
                    <a:cubicBezTo>
                      <a:pt x="725488" y="53340"/>
                      <a:pt x="732155" y="56198"/>
                      <a:pt x="735647" y="62230"/>
                    </a:cubicBezTo>
                    <a:cubicBezTo>
                      <a:pt x="739140" y="68263"/>
                      <a:pt x="741045" y="76835"/>
                      <a:pt x="741045" y="87948"/>
                    </a:cubicBezTo>
                    <a:lnTo>
                      <a:pt x="741045" y="90805"/>
                    </a:lnTo>
                    <a:cubicBezTo>
                      <a:pt x="741045" y="101282"/>
                      <a:pt x="739140" y="108902"/>
                      <a:pt x="735330" y="113982"/>
                    </a:cubicBezTo>
                    <a:cubicBezTo>
                      <a:pt x="731520" y="119063"/>
                      <a:pt x="725170" y="121602"/>
                      <a:pt x="715963" y="121602"/>
                    </a:cubicBezTo>
                    <a:cubicBezTo>
                      <a:pt x="707707" y="121602"/>
                      <a:pt x="701992" y="118745"/>
                      <a:pt x="698182" y="113030"/>
                    </a:cubicBezTo>
                    <a:moveTo>
                      <a:pt x="729297" y="133032"/>
                    </a:moveTo>
                    <a:cubicBezTo>
                      <a:pt x="734060" y="130175"/>
                      <a:pt x="737553" y="126682"/>
                      <a:pt x="740410" y="122873"/>
                    </a:cubicBezTo>
                    <a:lnTo>
                      <a:pt x="741363" y="122873"/>
                    </a:lnTo>
                    <a:lnTo>
                      <a:pt x="744538" y="135573"/>
                    </a:lnTo>
                    <a:lnTo>
                      <a:pt x="759142" y="135573"/>
                    </a:lnTo>
                    <a:lnTo>
                      <a:pt x="759142" y="318"/>
                    </a:lnTo>
                    <a:lnTo>
                      <a:pt x="740410" y="318"/>
                    </a:lnTo>
                    <a:lnTo>
                      <a:pt x="740410" y="36195"/>
                    </a:lnTo>
                    <a:cubicBezTo>
                      <a:pt x="740410" y="38418"/>
                      <a:pt x="740728" y="41275"/>
                      <a:pt x="741045" y="44450"/>
                    </a:cubicBezTo>
                    <a:cubicBezTo>
                      <a:pt x="741363" y="47625"/>
                      <a:pt x="741680" y="50165"/>
                      <a:pt x="741997" y="51752"/>
                    </a:cubicBezTo>
                    <a:lnTo>
                      <a:pt x="741045" y="51752"/>
                    </a:lnTo>
                    <a:cubicBezTo>
                      <a:pt x="738188" y="47943"/>
                      <a:pt x="734378" y="44450"/>
                      <a:pt x="729932" y="41910"/>
                    </a:cubicBezTo>
                    <a:cubicBezTo>
                      <a:pt x="725170" y="39052"/>
                      <a:pt x="719455" y="37783"/>
                      <a:pt x="712153" y="37783"/>
                    </a:cubicBezTo>
                    <a:cubicBezTo>
                      <a:pt x="700405" y="37783"/>
                      <a:pt x="691197" y="41910"/>
                      <a:pt x="684213" y="50483"/>
                    </a:cubicBezTo>
                    <a:cubicBezTo>
                      <a:pt x="677228" y="59055"/>
                      <a:pt x="673417" y="71438"/>
                      <a:pt x="673417" y="87948"/>
                    </a:cubicBezTo>
                    <a:cubicBezTo>
                      <a:pt x="673417" y="104457"/>
                      <a:pt x="676910" y="116523"/>
                      <a:pt x="683895" y="124777"/>
                    </a:cubicBezTo>
                    <a:cubicBezTo>
                      <a:pt x="690880" y="133032"/>
                      <a:pt x="700088" y="137160"/>
                      <a:pt x="711835" y="137160"/>
                    </a:cubicBezTo>
                    <a:cubicBezTo>
                      <a:pt x="718503" y="137160"/>
                      <a:pt x="724535" y="135573"/>
                      <a:pt x="729297" y="133032"/>
                    </a:cubicBezTo>
                    <a:moveTo>
                      <a:pt x="598488" y="135573"/>
                    </a:moveTo>
                    <a:cubicBezTo>
                      <a:pt x="602615" y="134620"/>
                      <a:pt x="606107" y="133032"/>
                      <a:pt x="609600" y="131127"/>
                    </a:cubicBezTo>
                    <a:lnTo>
                      <a:pt x="609600" y="114618"/>
                    </a:lnTo>
                    <a:cubicBezTo>
                      <a:pt x="606107" y="116523"/>
                      <a:pt x="602297" y="118110"/>
                      <a:pt x="598170" y="119380"/>
                    </a:cubicBezTo>
                    <a:cubicBezTo>
                      <a:pt x="594042" y="120650"/>
                      <a:pt x="589280" y="121285"/>
                      <a:pt x="584200" y="121285"/>
                    </a:cubicBezTo>
                    <a:cubicBezTo>
                      <a:pt x="575945" y="121285"/>
                      <a:pt x="569595" y="118427"/>
                      <a:pt x="565467" y="112713"/>
                    </a:cubicBezTo>
                    <a:cubicBezTo>
                      <a:pt x="561340" y="106998"/>
                      <a:pt x="559117" y="98743"/>
                      <a:pt x="559117" y="87948"/>
                    </a:cubicBezTo>
                    <a:cubicBezTo>
                      <a:pt x="559117" y="65088"/>
                      <a:pt x="567690" y="53658"/>
                      <a:pt x="585153" y="53658"/>
                    </a:cubicBezTo>
                    <a:cubicBezTo>
                      <a:pt x="588645" y="53658"/>
                      <a:pt x="592138" y="54293"/>
                      <a:pt x="595947" y="55245"/>
                    </a:cubicBezTo>
                    <a:cubicBezTo>
                      <a:pt x="599757" y="56198"/>
                      <a:pt x="603250" y="57468"/>
                      <a:pt x="606425" y="58420"/>
                    </a:cubicBezTo>
                    <a:lnTo>
                      <a:pt x="612140" y="43180"/>
                    </a:lnTo>
                    <a:cubicBezTo>
                      <a:pt x="608965" y="41593"/>
                      <a:pt x="605155" y="40323"/>
                      <a:pt x="600392" y="39370"/>
                    </a:cubicBezTo>
                    <a:cubicBezTo>
                      <a:pt x="595630" y="38418"/>
                      <a:pt x="590550" y="37783"/>
                      <a:pt x="585470" y="37783"/>
                    </a:cubicBezTo>
                    <a:cubicBezTo>
                      <a:pt x="576580" y="37783"/>
                      <a:pt x="568960" y="39688"/>
                      <a:pt x="561975" y="43180"/>
                    </a:cubicBezTo>
                    <a:cubicBezTo>
                      <a:pt x="554990" y="46673"/>
                      <a:pt x="549592" y="52070"/>
                      <a:pt x="545782" y="59373"/>
                    </a:cubicBezTo>
                    <a:cubicBezTo>
                      <a:pt x="541972" y="66675"/>
                      <a:pt x="540067" y="76200"/>
                      <a:pt x="540067" y="88265"/>
                    </a:cubicBezTo>
                    <a:cubicBezTo>
                      <a:pt x="540067" y="105093"/>
                      <a:pt x="544195" y="117475"/>
                      <a:pt x="552132" y="125413"/>
                    </a:cubicBezTo>
                    <a:cubicBezTo>
                      <a:pt x="560070" y="133350"/>
                      <a:pt x="570865" y="137160"/>
                      <a:pt x="584200" y="137160"/>
                    </a:cubicBezTo>
                    <a:cubicBezTo>
                      <a:pt x="589280" y="137160"/>
                      <a:pt x="594360" y="136525"/>
                      <a:pt x="598488" y="135573"/>
                    </a:cubicBezTo>
                    <a:moveTo>
                      <a:pt x="496570" y="135255"/>
                    </a:moveTo>
                    <a:lnTo>
                      <a:pt x="515303" y="135255"/>
                    </a:lnTo>
                    <a:lnTo>
                      <a:pt x="515303" y="39370"/>
                    </a:lnTo>
                    <a:lnTo>
                      <a:pt x="496570" y="39370"/>
                    </a:lnTo>
                    <a:lnTo>
                      <a:pt x="496570" y="135255"/>
                    </a:lnTo>
                    <a:close/>
                    <a:moveTo>
                      <a:pt x="498475" y="5715"/>
                    </a:moveTo>
                    <a:cubicBezTo>
                      <a:pt x="496253" y="7302"/>
                      <a:pt x="495300" y="10160"/>
                      <a:pt x="495300" y="13970"/>
                    </a:cubicBezTo>
                    <a:cubicBezTo>
                      <a:pt x="495300" y="17780"/>
                      <a:pt x="496253" y="20638"/>
                      <a:pt x="498475" y="22225"/>
                    </a:cubicBezTo>
                    <a:cubicBezTo>
                      <a:pt x="500697" y="23813"/>
                      <a:pt x="503238" y="24765"/>
                      <a:pt x="506095" y="24765"/>
                    </a:cubicBezTo>
                    <a:cubicBezTo>
                      <a:pt x="508953" y="24765"/>
                      <a:pt x="511492" y="23813"/>
                      <a:pt x="513715" y="22225"/>
                    </a:cubicBezTo>
                    <a:cubicBezTo>
                      <a:pt x="515938" y="20638"/>
                      <a:pt x="516890" y="17780"/>
                      <a:pt x="516890" y="13970"/>
                    </a:cubicBezTo>
                    <a:cubicBezTo>
                      <a:pt x="516890" y="10160"/>
                      <a:pt x="515938" y="7302"/>
                      <a:pt x="513715" y="5715"/>
                    </a:cubicBezTo>
                    <a:cubicBezTo>
                      <a:pt x="511492" y="4127"/>
                      <a:pt x="508953" y="3175"/>
                      <a:pt x="506095" y="3175"/>
                    </a:cubicBezTo>
                    <a:cubicBezTo>
                      <a:pt x="503238" y="3175"/>
                      <a:pt x="500697" y="3810"/>
                      <a:pt x="498475" y="5715"/>
                    </a:cubicBezTo>
                    <a:moveTo>
                      <a:pt x="415925" y="41275"/>
                    </a:moveTo>
                    <a:cubicBezTo>
                      <a:pt x="410528" y="43498"/>
                      <a:pt x="406400" y="47308"/>
                      <a:pt x="403225" y="52388"/>
                    </a:cubicBezTo>
                    <a:lnTo>
                      <a:pt x="402272" y="52388"/>
                    </a:lnTo>
                    <a:lnTo>
                      <a:pt x="399732" y="39688"/>
                    </a:lnTo>
                    <a:lnTo>
                      <a:pt x="384810" y="39688"/>
                    </a:lnTo>
                    <a:lnTo>
                      <a:pt x="384810" y="135573"/>
                    </a:lnTo>
                    <a:lnTo>
                      <a:pt x="403542" y="135573"/>
                    </a:lnTo>
                    <a:lnTo>
                      <a:pt x="403542" y="87313"/>
                    </a:lnTo>
                    <a:cubicBezTo>
                      <a:pt x="403542" y="76518"/>
                      <a:pt x="405447" y="67945"/>
                      <a:pt x="409257" y="62230"/>
                    </a:cubicBezTo>
                    <a:cubicBezTo>
                      <a:pt x="413067" y="56515"/>
                      <a:pt x="419735" y="53658"/>
                      <a:pt x="429578" y="53658"/>
                    </a:cubicBezTo>
                    <a:cubicBezTo>
                      <a:pt x="442595" y="53658"/>
                      <a:pt x="449263" y="61277"/>
                      <a:pt x="449263" y="76200"/>
                    </a:cubicBezTo>
                    <a:lnTo>
                      <a:pt x="449263" y="135890"/>
                    </a:lnTo>
                    <a:lnTo>
                      <a:pt x="467995" y="135890"/>
                    </a:lnTo>
                    <a:lnTo>
                      <a:pt x="467995" y="73343"/>
                    </a:lnTo>
                    <a:cubicBezTo>
                      <a:pt x="467995" y="60960"/>
                      <a:pt x="465138" y="52070"/>
                      <a:pt x="459105" y="46355"/>
                    </a:cubicBezTo>
                    <a:cubicBezTo>
                      <a:pt x="453072" y="40640"/>
                      <a:pt x="444500" y="38100"/>
                      <a:pt x="433388" y="38100"/>
                    </a:cubicBezTo>
                    <a:cubicBezTo>
                      <a:pt x="427038" y="37783"/>
                      <a:pt x="421322" y="39052"/>
                      <a:pt x="415925" y="41275"/>
                    </a:cubicBezTo>
                    <a:moveTo>
                      <a:pt x="296227" y="62230"/>
                    </a:moveTo>
                    <a:cubicBezTo>
                      <a:pt x="300355" y="56515"/>
                      <a:pt x="306705" y="53340"/>
                      <a:pt x="315595" y="53340"/>
                    </a:cubicBezTo>
                    <a:cubicBezTo>
                      <a:pt x="324485" y="53340"/>
                      <a:pt x="331152" y="56198"/>
                      <a:pt x="335280" y="62230"/>
                    </a:cubicBezTo>
                    <a:cubicBezTo>
                      <a:pt x="339407" y="67945"/>
                      <a:pt x="341313" y="76518"/>
                      <a:pt x="341313" y="87313"/>
                    </a:cubicBezTo>
                    <a:cubicBezTo>
                      <a:pt x="341313" y="98107"/>
                      <a:pt x="339407" y="106363"/>
                      <a:pt x="335280" y="112713"/>
                    </a:cubicBezTo>
                    <a:cubicBezTo>
                      <a:pt x="331152" y="119063"/>
                      <a:pt x="324802" y="121920"/>
                      <a:pt x="315913" y="121920"/>
                    </a:cubicBezTo>
                    <a:cubicBezTo>
                      <a:pt x="307022" y="121920"/>
                      <a:pt x="300672" y="118745"/>
                      <a:pt x="296545" y="112713"/>
                    </a:cubicBezTo>
                    <a:cubicBezTo>
                      <a:pt x="292417" y="106680"/>
                      <a:pt x="290513" y="98107"/>
                      <a:pt x="290513" y="87313"/>
                    </a:cubicBezTo>
                    <a:cubicBezTo>
                      <a:pt x="290195" y="76518"/>
                      <a:pt x="292100" y="67945"/>
                      <a:pt x="296227" y="62230"/>
                    </a:cubicBezTo>
                    <a:moveTo>
                      <a:pt x="354965" y="60325"/>
                    </a:moveTo>
                    <a:cubicBezTo>
                      <a:pt x="351155" y="53023"/>
                      <a:pt x="345757" y="47308"/>
                      <a:pt x="339090" y="43498"/>
                    </a:cubicBezTo>
                    <a:cubicBezTo>
                      <a:pt x="332422" y="39688"/>
                      <a:pt x="324802" y="37783"/>
                      <a:pt x="315913" y="37783"/>
                    </a:cubicBezTo>
                    <a:cubicBezTo>
                      <a:pt x="301942" y="37783"/>
                      <a:pt x="290830" y="42227"/>
                      <a:pt x="282892" y="50800"/>
                    </a:cubicBezTo>
                    <a:cubicBezTo>
                      <a:pt x="274955" y="59373"/>
                      <a:pt x="270827" y="71755"/>
                      <a:pt x="270827" y="87630"/>
                    </a:cubicBezTo>
                    <a:cubicBezTo>
                      <a:pt x="270827" y="98425"/>
                      <a:pt x="272732" y="107315"/>
                      <a:pt x="276542" y="114618"/>
                    </a:cubicBezTo>
                    <a:cubicBezTo>
                      <a:pt x="280352" y="121920"/>
                      <a:pt x="285750" y="127635"/>
                      <a:pt x="292417" y="131445"/>
                    </a:cubicBezTo>
                    <a:cubicBezTo>
                      <a:pt x="299085" y="135255"/>
                      <a:pt x="306705" y="137160"/>
                      <a:pt x="315595" y="137160"/>
                    </a:cubicBezTo>
                    <a:cubicBezTo>
                      <a:pt x="329565" y="137160"/>
                      <a:pt x="340360" y="132715"/>
                      <a:pt x="348615" y="124143"/>
                    </a:cubicBezTo>
                    <a:cubicBezTo>
                      <a:pt x="356870" y="115570"/>
                      <a:pt x="360997" y="103188"/>
                      <a:pt x="360997" y="87313"/>
                    </a:cubicBezTo>
                    <a:cubicBezTo>
                      <a:pt x="360680" y="76835"/>
                      <a:pt x="358775" y="67627"/>
                      <a:pt x="354965" y="60325"/>
                    </a:cubicBezTo>
                    <a:moveTo>
                      <a:pt x="234315" y="43498"/>
                    </a:moveTo>
                    <a:cubicBezTo>
                      <a:pt x="229235" y="47308"/>
                      <a:pt x="225425" y="51752"/>
                      <a:pt x="222250" y="56833"/>
                    </a:cubicBezTo>
                    <a:lnTo>
                      <a:pt x="221615" y="56833"/>
                    </a:lnTo>
                    <a:lnTo>
                      <a:pt x="219075" y="39688"/>
                    </a:lnTo>
                    <a:lnTo>
                      <a:pt x="204152" y="39688"/>
                    </a:lnTo>
                    <a:lnTo>
                      <a:pt x="204152" y="135573"/>
                    </a:lnTo>
                    <a:lnTo>
                      <a:pt x="222885" y="135573"/>
                    </a:lnTo>
                    <a:lnTo>
                      <a:pt x="222885" y="84773"/>
                    </a:lnTo>
                    <a:cubicBezTo>
                      <a:pt x="222885" y="78423"/>
                      <a:pt x="224155" y="73025"/>
                      <a:pt x="226695" y="68580"/>
                    </a:cubicBezTo>
                    <a:cubicBezTo>
                      <a:pt x="229235" y="64135"/>
                      <a:pt x="232727" y="60643"/>
                      <a:pt x="236855" y="58420"/>
                    </a:cubicBezTo>
                    <a:cubicBezTo>
                      <a:pt x="240982" y="56198"/>
                      <a:pt x="245427" y="54927"/>
                      <a:pt x="250507" y="54927"/>
                    </a:cubicBezTo>
                    <a:cubicBezTo>
                      <a:pt x="253682" y="54927"/>
                      <a:pt x="257175" y="55245"/>
                      <a:pt x="260032" y="56198"/>
                    </a:cubicBezTo>
                    <a:lnTo>
                      <a:pt x="261938" y="38735"/>
                    </a:lnTo>
                    <a:cubicBezTo>
                      <a:pt x="258763" y="38100"/>
                      <a:pt x="255270" y="37783"/>
                      <a:pt x="251460" y="37783"/>
                    </a:cubicBezTo>
                    <a:cubicBezTo>
                      <a:pt x="245110" y="37783"/>
                      <a:pt x="239395" y="39688"/>
                      <a:pt x="234315" y="43498"/>
                    </a:cubicBezTo>
                    <a:moveTo>
                      <a:pt x="92392" y="318"/>
                    </a:moveTo>
                    <a:lnTo>
                      <a:pt x="92392" y="135573"/>
                    </a:lnTo>
                    <a:lnTo>
                      <a:pt x="111125" y="135573"/>
                    </a:lnTo>
                    <a:lnTo>
                      <a:pt x="111125" y="87313"/>
                    </a:lnTo>
                    <a:cubicBezTo>
                      <a:pt x="111125" y="76518"/>
                      <a:pt x="113030" y="68263"/>
                      <a:pt x="116522" y="62230"/>
                    </a:cubicBezTo>
                    <a:cubicBezTo>
                      <a:pt x="120332" y="56198"/>
                      <a:pt x="127000" y="53340"/>
                      <a:pt x="136842" y="53340"/>
                    </a:cubicBezTo>
                    <a:cubicBezTo>
                      <a:pt x="149860" y="53340"/>
                      <a:pt x="156527" y="60960"/>
                      <a:pt x="156527" y="75883"/>
                    </a:cubicBezTo>
                    <a:lnTo>
                      <a:pt x="156527" y="135573"/>
                    </a:lnTo>
                    <a:lnTo>
                      <a:pt x="175260" y="135573"/>
                    </a:lnTo>
                    <a:lnTo>
                      <a:pt x="175260" y="73025"/>
                    </a:lnTo>
                    <a:cubicBezTo>
                      <a:pt x="175260" y="60960"/>
                      <a:pt x="172402" y="52070"/>
                      <a:pt x="166370" y="46355"/>
                    </a:cubicBezTo>
                    <a:cubicBezTo>
                      <a:pt x="160338" y="40640"/>
                      <a:pt x="151765" y="38100"/>
                      <a:pt x="140652" y="38100"/>
                    </a:cubicBezTo>
                    <a:cubicBezTo>
                      <a:pt x="134620" y="38100"/>
                      <a:pt x="128905" y="39370"/>
                      <a:pt x="123825" y="41593"/>
                    </a:cubicBezTo>
                    <a:cubicBezTo>
                      <a:pt x="118745" y="43815"/>
                      <a:pt x="114617" y="47625"/>
                      <a:pt x="111442" y="52388"/>
                    </a:cubicBezTo>
                    <a:lnTo>
                      <a:pt x="110172" y="52388"/>
                    </a:lnTo>
                    <a:cubicBezTo>
                      <a:pt x="110490" y="50483"/>
                      <a:pt x="110490" y="47943"/>
                      <a:pt x="110807" y="45085"/>
                    </a:cubicBezTo>
                    <a:cubicBezTo>
                      <a:pt x="111125" y="42227"/>
                      <a:pt x="111125" y="39052"/>
                      <a:pt x="111125" y="36195"/>
                    </a:cubicBezTo>
                    <a:lnTo>
                      <a:pt x="111125" y="0"/>
                    </a:lnTo>
                    <a:lnTo>
                      <a:pt x="92392" y="0"/>
                    </a:lnTo>
                    <a:close/>
                    <a:moveTo>
                      <a:pt x="58420" y="135573"/>
                    </a:moveTo>
                    <a:cubicBezTo>
                      <a:pt x="62547" y="134620"/>
                      <a:pt x="66040" y="133032"/>
                      <a:pt x="69532" y="131127"/>
                    </a:cubicBezTo>
                    <a:lnTo>
                      <a:pt x="69532" y="114618"/>
                    </a:lnTo>
                    <a:cubicBezTo>
                      <a:pt x="66040" y="116523"/>
                      <a:pt x="62230" y="118110"/>
                      <a:pt x="58102" y="119380"/>
                    </a:cubicBezTo>
                    <a:cubicBezTo>
                      <a:pt x="53975" y="120650"/>
                      <a:pt x="49213" y="121285"/>
                      <a:pt x="44132" y="121285"/>
                    </a:cubicBezTo>
                    <a:cubicBezTo>
                      <a:pt x="35877" y="121285"/>
                      <a:pt x="29527" y="118427"/>
                      <a:pt x="25400" y="112713"/>
                    </a:cubicBezTo>
                    <a:cubicBezTo>
                      <a:pt x="21272" y="106998"/>
                      <a:pt x="19050" y="98743"/>
                      <a:pt x="19050" y="87948"/>
                    </a:cubicBezTo>
                    <a:cubicBezTo>
                      <a:pt x="19050" y="65088"/>
                      <a:pt x="27622" y="53658"/>
                      <a:pt x="45085" y="53658"/>
                    </a:cubicBezTo>
                    <a:cubicBezTo>
                      <a:pt x="48577" y="53658"/>
                      <a:pt x="52070" y="54293"/>
                      <a:pt x="55880" y="55245"/>
                    </a:cubicBezTo>
                    <a:cubicBezTo>
                      <a:pt x="59690" y="56198"/>
                      <a:pt x="63182" y="57468"/>
                      <a:pt x="66357" y="58420"/>
                    </a:cubicBezTo>
                    <a:lnTo>
                      <a:pt x="72072" y="43180"/>
                    </a:lnTo>
                    <a:cubicBezTo>
                      <a:pt x="68897" y="41593"/>
                      <a:pt x="65088" y="40323"/>
                      <a:pt x="60325" y="39370"/>
                    </a:cubicBezTo>
                    <a:cubicBezTo>
                      <a:pt x="55563" y="38418"/>
                      <a:pt x="50482" y="37783"/>
                      <a:pt x="45402" y="37783"/>
                    </a:cubicBezTo>
                    <a:cubicBezTo>
                      <a:pt x="36513" y="37783"/>
                      <a:pt x="28892" y="39688"/>
                      <a:pt x="21907" y="43180"/>
                    </a:cubicBezTo>
                    <a:cubicBezTo>
                      <a:pt x="14922" y="46673"/>
                      <a:pt x="9525" y="52070"/>
                      <a:pt x="5715" y="59373"/>
                    </a:cubicBezTo>
                    <a:cubicBezTo>
                      <a:pt x="1905" y="66675"/>
                      <a:pt x="0" y="76200"/>
                      <a:pt x="0" y="88265"/>
                    </a:cubicBezTo>
                    <a:cubicBezTo>
                      <a:pt x="0" y="105093"/>
                      <a:pt x="4127" y="117475"/>
                      <a:pt x="12065" y="125413"/>
                    </a:cubicBezTo>
                    <a:cubicBezTo>
                      <a:pt x="20002" y="133350"/>
                      <a:pt x="30797" y="137160"/>
                      <a:pt x="44132" y="137160"/>
                    </a:cubicBezTo>
                    <a:cubicBezTo>
                      <a:pt x="49530" y="137160"/>
                      <a:pt x="54610" y="136525"/>
                      <a:pt x="58420" y="135573"/>
                    </a:cubicBezTo>
                  </a:path>
                </a:pathLst>
              </a:custGeom>
              <a:grpFill/>
              <a:ln w="3175" cap="flat">
                <a:noFill/>
                <a:prstDash val="solid"/>
                <a:miter/>
              </a:ln>
            </p:spPr>
            <p:txBody>
              <a:bodyPr rtlCol="0" anchor="ctr"/>
              <a:lstStyle/>
              <a:p>
                <a:endParaRPr lang="en-GB">
                  <a:solidFill>
                    <a:srgbClr val="000000"/>
                  </a:solidFill>
                  <a:latin typeface="Verdana"/>
                </a:endParaRPr>
              </a:p>
            </p:txBody>
          </p:sp>
          <p:sp>
            <p:nvSpPr>
              <p:cNvPr id="43" name="Freeform: Shape 42">
                <a:extLst>
                  <a:ext uri="{FF2B5EF4-FFF2-40B4-BE49-F238E27FC236}">
                    <a16:creationId xmlns:a16="http://schemas.microsoft.com/office/drawing/2014/main" id="{B1B3F8B1-5E06-4584-A16E-B1AF34338EB1}"/>
                  </a:ext>
                </a:extLst>
              </p:cNvPr>
              <p:cNvSpPr/>
              <p:nvPr/>
            </p:nvSpPr>
            <p:spPr>
              <a:xfrm>
                <a:off x="6097905" y="2960052"/>
                <a:ext cx="1143000" cy="136525"/>
              </a:xfrm>
              <a:custGeom>
                <a:avLst/>
                <a:gdLst>
                  <a:gd name="connsiteX0" fmla="*/ 1139508 w 1143000"/>
                  <a:gd name="connsiteY0" fmla="*/ 95250 h 136525"/>
                  <a:gd name="connsiteX1" fmla="*/ 1129665 w 1143000"/>
                  <a:gd name="connsiteY1" fmla="*/ 86360 h 136525"/>
                  <a:gd name="connsiteX2" fmla="*/ 1114742 w 1143000"/>
                  <a:gd name="connsiteY2" fmla="*/ 79375 h 136525"/>
                  <a:gd name="connsiteX3" fmla="*/ 1100455 w 1143000"/>
                  <a:gd name="connsiteY3" fmla="*/ 73343 h 136525"/>
                  <a:gd name="connsiteX4" fmla="*/ 1093470 w 1143000"/>
                  <a:gd name="connsiteY4" fmla="*/ 68263 h 136525"/>
                  <a:gd name="connsiteX5" fmla="*/ 1091565 w 1143000"/>
                  <a:gd name="connsiteY5" fmla="*/ 62548 h 136525"/>
                  <a:gd name="connsiteX6" fmla="*/ 1109027 w 1143000"/>
                  <a:gd name="connsiteY6" fmla="*/ 52388 h 136525"/>
                  <a:gd name="connsiteX7" fmla="*/ 1122363 w 1143000"/>
                  <a:gd name="connsiteY7" fmla="*/ 54293 h 136525"/>
                  <a:gd name="connsiteX8" fmla="*/ 1135063 w 1143000"/>
                  <a:gd name="connsiteY8" fmla="*/ 58738 h 136525"/>
                  <a:gd name="connsiteX9" fmla="*/ 1141413 w 1143000"/>
                  <a:gd name="connsiteY9" fmla="*/ 44450 h 136525"/>
                  <a:gd name="connsiteX10" fmla="*/ 1126490 w 1143000"/>
                  <a:gd name="connsiteY10" fmla="*/ 39370 h 136525"/>
                  <a:gd name="connsiteX11" fmla="*/ 1109980 w 1143000"/>
                  <a:gd name="connsiteY11" fmla="*/ 37465 h 136525"/>
                  <a:gd name="connsiteX12" fmla="*/ 1083310 w 1143000"/>
                  <a:gd name="connsiteY12" fmla="*/ 44133 h 136525"/>
                  <a:gd name="connsiteX13" fmla="*/ 1073150 w 1143000"/>
                  <a:gd name="connsiteY13" fmla="*/ 63183 h 136525"/>
                  <a:gd name="connsiteX14" fmla="*/ 1076642 w 1143000"/>
                  <a:gd name="connsiteY14" fmla="*/ 76200 h 136525"/>
                  <a:gd name="connsiteX15" fmla="*/ 1086485 w 1143000"/>
                  <a:gd name="connsiteY15" fmla="*/ 85090 h 136525"/>
                  <a:gd name="connsiteX16" fmla="*/ 1102042 w 1143000"/>
                  <a:gd name="connsiteY16" fmla="*/ 92393 h 136525"/>
                  <a:gd name="connsiteX17" fmla="*/ 1116330 w 1143000"/>
                  <a:gd name="connsiteY17" fmla="*/ 98743 h 136525"/>
                  <a:gd name="connsiteX18" fmla="*/ 1122998 w 1143000"/>
                  <a:gd name="connsiteY18" fmla="*/ 104140 h 136525"/>
                  <a:gd name="connsiteX19" fmla="*/ 1124902 w 1143000"/>
                  <a:gd name="connsiteY19" fmla="*/ 109855 h 136525"/>
                  <a:gd name="connsiteX20" fmla="*/ 1120140 w 1143000"/>
                  <a:gd name="connsiteY20" fmla="*/ 119063 h 136525"/>
                  <a:gd name="connsiteX21" fmla="*/ 1104900 w 1143000"/>
                  <a:gd name="connsiteY21" fmla="*/ 122555 h 136525"/>
                  <a:gd name="connsiteX22" fmla="*/ 1088390 w 1143000"/>
                  <a:gd name="connsiteY22" fmla="*/ 120015 h 136525"/>
                  <a:gd name="connsiteX23" fmla="*/ 1073785 w 1143000"/>
                  <a:gd name="connsiteY23" fmla="*/ 114618 h 136525"/>
                  <a:gd name="connsiteX24" fmla="*/ 1073785 w 1143000"/>
                  <a:gd name="connsiteY24" fmla="*/ 131127 h 136525"/>
                  <a:gd name="connsiteX25" fmla="*/ 1087120 w 1143000"/>
                  <a:gd name="connsiteY25" fmla="*/ 135573 h 136525"/>
                  <a:gd name="connsiteX26" fmla="*/ 1104583 w 1143000"/>
                  <a:gd name="connsiteY26" fmla="*/ 136843 h 136525"/>
                  <a:gd name="connsiteX27" fmla="*/ 1133158 w 1143000"/>
                  <a:gd name="connsiteY27" fmla="*/ 129540 h 136525"/>
                  <a:gd name="connsiteX28" fmla="*/ 1143317 w 1143000"/>
                  <a:gd name="connsiteY28" fmla="*/ 107950 h 136525"/>
                  <a:gd name="connsiteX29" fmla="*/ 1139508 w 1143000"/>
                  <a:gd name="connsiteY29" fmla="*/ 95250 h 136525"/>
                  <a:gd name="connsiteX30" fmla="*/ 1030923 w 1143000"/>
                  <a:gd name="connsiteY30" fmla="*/ 39688 h 136525"/>
                  <a:gd name="connsiteX31" fmla="*/ 1030923 w 1143000"/>
                  <a:gd name="connsiteY31" fmla="*/ 87948 h 136525"/>
                  <a:gd name="connsiteX32" fmla="*/ 1025208 w 1143000"/>
                  <a:gd name="connsiteY32" fmla="*/ 113030 h 136525"/>
                  <a:gd name="connsiteX33" fmla="*/ 1004888 w 1143000"/>
                  <a:gd name="connsiteY33" fmla="*/ 121602 h 136525"/>
                  <a:gd name="connsiteX34" fmla="*/ 990283 w 1143000"/>
                  <a:gd name="connsiteY34" fmla="*/ 116205 h 136525"/>
                  <a:gd name="connsiteX35" fmla="*/ 985520 w 1143000"/>
                  <a:gd name="connsiteY35" fmla="*/ 99377 h 136525"/>
                  <a:gd name="connsiteX36" fmla="*/ 985520 w 1143000"/>
                  <a:gd name="connsiteY36" fmla="*/ 39370 h 136525"/>
                  <a:gd name="connsiteX37" fmla="*/ 966470 w 1143000"/>
                  <a:gd name="connsiteY37" fmla="*/ 39370 h 136525"/>
                  <a:gd name="connsiteX38" fmla="*/ 966470 w 1143000"/>
                  <a:gd name="connsiteY38" fmla="*/ 102235 h 136525"/>
                  <a:gd name="connsiteX39" fmla="*/ 975360 w 1143000"/>
                  <a:gd name="connsiteY39" fmla="*/ 128905 h 136525"/>
                  <a:gd name="connsiteX40" fmla="*/ 1001077 w 1143000"/>
                  <a:gd name="connsiteY40" fmla="*/ 137160 h 136525"/>
                  <a:gd name="connsiteX41" fmla="*/ 1018223 w 1143000"/>
                  <a:gd name="connsiteY41" fmla="*/ 133668 h 136525"/>
                  <a:gd name="connsiteX42" fmla="*/ 1030923 w 1143000"/>
                  <a:gd name="connsiteY42" fmla="*/ 122873 h 136525"/>
                  <a:gd name="connsiteX43" fmla="*/ 1031875 w 1143000"/>
                  <a:gd name="connsiteY43" fmla="*/ 122873 h 136525"/>
                  <a:gd name="connsiteX44" fmla="*/ 1034415 w 1143000"/>
                  <a:gd name="connsiteY44" fmla="*/ 135573 h 136525"/>
                  <a:gd name="connsiteX45" fmla="*/ 1049655 w 1143000"/>
                  <a:gd name="connsiteY45" fmla="*/ 135573 h 136525"/>
                  <a:gd name="connsiteX46" fmla="*/ 1049655 w 1143000"/>
                  <a:gd name="connsiteY46" fmla="*/ 39688 h 136525"/>
                  <a:gd name="connsiteX47" fmla="*/ 1030923 w 1143000"/>
                  <a:gd name="connsiteY47" fmla="*/ 39688 h 136525"/>
                  <a:gd name="connsiteX48" fmla="*/ 879158 w 1143000"/>
                  <a:gd name="connsiteY48" fmla="*/ 62230 h 136525"/>
                  <a:gd name="connsiteX49" fmla="*/ 898525 w 1143000"/>
                  <a:gd name="connsiteY49" fmla="*/ 53340 h 136525"/>
                  <a:gd name="connsiteX50" fmla="*/ 918210 w 1143000"/>
                  <a:gd name="connsiteY50" fmla="*/ 62230 h 136525"/>
                  <a:gd name="connsiteX51" fmla="*/ 924242 w 1143000"/>
                  <a:gd name="connsiteY51" fmla="*/ 87313 h 136525"/>
                  <a:gd name="connsiteX52" fmla="*/ 918210 w 1143000"/>
                  <a:gd name="connsiteY52" fmla="*/ 112713 h 136525"/>
                  <a:gd name="connsiteX53" fmla="*/ 898842 w 1143000"/>
                  <a:gd name="connsiteY53" fmla="*/ 121920 h 136525"/>
                  <a:gd name="connsiteX54" fmla="*/ 879475 w 1143000"/>
                  <a:gd name="connsiteY54" fmla="*/ 112713 h 136525"/>
                  <a:gd name="connsiteX55" fmla="*/ 873442 w 1143000"/>
                  <a:gd name="connsiteY55" fmla="*/ 87313 h 136525"/>
                  <a:gd name="connsiteX56" fmla="*/ 879158 w 1143000"/>
                  <a:gd name="connsiteY56" fmla="*/ 62230 h 136525"/>
                  <a:gd name="connsiteX57" fmla="*/ 937895 w 1143000"/>
                  <a:gd name="connsiteY57" fmla="*/ 60325 h 136525"/>
                  <a:gd name="connsiteX58" fmla="*/ 922020 w 1143000"/>
                  <a:gd name="connsiteY58" fmla="*/ 43498 h 136525"/>
                  <a:gd name="connsiteX59" fmla="*/ 898842 w 1143000"/>
                  <a:gd name="connsiteY59" fmla="*/ 37783 h 136525"/>
                  <a:gd name="connsiteX60" fmla="*/ 865823 w 1143000"/>
                  <a:gd name="connsiteY60" fmla="*/ 50800 h 136525"/>
                  <a:gd name="connsiteX61" fmla="*/ 853758 w 1143000"/>
                  <a:gd name="connsiteY61" fmla="*/ 87630 h 136525"/>
                  <a:gd name="connsiteX62" fmla="*/ 859473 w 1143000"/>
                  <a:gd name="connsiteY62" fmla="*/ 114618 h 136525"/>
                  <a:gd name="connsiteX63" fmla="*/ 875348 w 1143000"/>
                  <a:gd name="connsiteY63" fmla="*/ 131445 h 136525"/>
                  <a:gd name="connsiteX64" fmla="*/ 898525 w 1143000"/>
                  <a:gd name="connsiteY64" fmla="*/ 137160 h 136525"/>
                  <a:gd name="connsiteX65" fmla="*/ 931545 w 1143000"/>
                  <a:gd name="connsiteY65" fmla="*/ 124143 h 136525"/>
                  <a:gd name="connsiteX66" fmla="*/ 943927 w 1143000"/>
                  <a:gd name="connsiteY66" fmla="*/ 87313 h 136525"/>
                  <a:gd name="connsiteX67" fmla="*/ 937895 w 1143000"/>
                  <a:gd name="connsiteY67" fmla="*/ 60325 h 136525"/>
                  <a:gd name="connsiteX68" fmla="*/ 810895 w 1143000"/>
                  <a:gd name="connsiteY68" fmla="*/ 135255 h 136525"/>
                  <a:gd name="connsiteX69" fmla="*/ 829627 w 1143000"/>
                  <a:gd name="connsiteY69" fmla="*/ 135255 h 136525"/>
                  <a:gd name="connsiteX70" fmla="*/ 829627 w 1143000"/>
                  <a:gd name="connsiteY70" fmla="*/ 39370 h 136525"/>
                  <a:gd name="connsiteX71" fmla="*/ 810895 w 1143000"/>
                  <a:gd name="connsiteY71" fmla="*/ 39370 h 136525"/>
                  <a:gd name="connsiteX72" fmla="*/ 810895 w 1143000"/>
                  <a:gd name="connsiteY72" fmla="*/ 135255 h 136525"/>
                  <a:gd name="connsiteX73" fmla="*/ 812800 w 1143000"/>
                  <a:gd name="connsiteY73" fmla="*/ 5715 h 136525"/>
                  <a:gd name="connsiteX74" fmla="*/ 809625 w 1143000"/>
                  <a:gd name="connsiteY74" fmla="*/ 13970 h 136525"/>
                  <a:gd name="connsiteX75" fmla="*/ 812800 w 1143000"/>
                  <a:gd name="connsiteY75" fmla="*/ 22225 h 136525"/>
                  <a:gd name="connsiteX76" fmla="*/ 820420 w 1143000"/>
                  <a:gd name="connsiteY76" fmla="*/ 24765 h 136525"/>
                  <a:gd name="connsiteX77" fmla="*/ 828040 w 1143000"/>
                  <a:gd name="connsiteY77" fmla="*/ 22225 h 136525"/>
                  <a:gd name="connsiteX78" fmla="*/ 831215 w 1143000"/>
                  <a:gd name="connsiteY78" fmla="*/ 13970 h 136525"/>
                  <a:gd name="connsiteX79" fmla="*/ 828040 w 1143000"/>
                  <a:gd name="connsiteY79" fmla="*/ 5715 h 136525"/>
                  <a:gd name="connsiteX80" fmla="*/ 820420 w 1143000"/>
                  <a:gd name="connsiteY80" fmla="*/ 3175 h 136525"/>
                  <a:gd name="connsiteX81" fmla="*/ 812800 w 1143000"/>
                  <a:gd name="connsiteY81" fmla="*/ 5715 h 136525"/>
                  <a:gd name="connsiteX82" fmla="*/ 765175 w 1143000"/>
                  <a:gd name="connsiteY82" fmla="*/ 43498 h 136525"/>
                  <a:gd name="connsiteX83" fmla="*/ 753110 w 1143000"/>
                  <a:gd name="connsiteY83" fmla="*/ 56833 h 136525"/>
                  <a:gd name="connsiteX84" fmla="*/ 752475 w 1143000"/>
                  <a:gd name="connsiteY84" fmla="*/ 56833 h 136525"/>
                  <a:gd name="connsiteX85" fmla="*/ 749935 w 1143000"/>
                  <a:gd name="connsiteY85" fmla="*/ 39688 h 136525"/>
                  <a:gd name="connsiteX86" fmla="*/ 735013 w 1143000"/>
                  <a:gd name="connsiteY86" fmla="*/ 39688 h 136525"/>
                  <a:gd name="connsiteX87" fmla="*/ 735013 w 1143000"/>
                  <a:gd name="connsiteY87" fmla="*/ 135573 h 136525"/>
                  <a:gd name="connsiteX88" fmla="*/ 753745 w 1143000"/>
                  <a:gd name="connsiteY88" fmla="*/ 135573 h 136525"/>
                  <a:gd name="connsiteX89" fmla="*/ 753745 w 1143000"/>
                  <a:gd name="connsiteY89" fmla="*/ 84773 h 136525"/>
                  <a:gd name="connsiteX90" fmla="*/ 757555 w 1143000"/>
                  <a:gd name="connsiteY90" fmla="*/ 68580 h 136525"/>
                  <a:gd name="connsiteX91" fmla="*/ 767715 w 1143000"/>
                  <a:gd name="connsiteY91" fmla="*/ 58420 h 136525"/>
                  <a:gd name="connsiteX92" fmla="*/ 781367 w 1143000"/>
                  <a:gd name="connsiteY92" fmla="*/ 54927 h 136525"/>
                  <a:gd name="connsiteX93" fmla="*/ 790892 w 1143000"/>
                  <a:gd name="connsiteY93" fmla="*/ 56198 h 136525"/>
                  <a:gd name="connsiteX94" fmla="*/ 792798 w 1143000"/>
                  <a:gd name="connsiteY94" fmla="*/ 38735 h 136525"/>
                  <a:gd name="connsiteX95" fmla="*/ 782320 w 1143000"/>
                  <a:gd name="connsiteY95" fmla="*/ 37783 h 136525"/>
                  <a:gd name="connsiteX96" fmla="*/ 765175 w 1143000"/>
                  <a:gd name="connsiteY96" fmla="*/ 43498 h 136525"/>
                  <a:gd name="connsiteX97" fmla="*/ 687388 w 1143000"/>
                  <a:gd name="connsiteY97" fmla="*/ 59373 h 136525"/>
                  <a:gd name="connsiteX98" fmla="*/ 692785 w 1143000"/>
                  <a:gd name="connsiteY98" fmla="*/ 77470 h 136525"/>
                  <a:gd name="connsiteX99" fmla="*/ 647700 w 1143000"/>
                  <a:gd name="connsiteY99" fmla="*/ 77470 h 136525"/>
                  <a:gd name="connsiteX100" fmla="*/ 655002 w 1143000"/>
                  <a:gd name="connsiteY100" fmla="*/ 58738 h 136525"/>
                  <a:gd name="connsiteX101" fmla="*/ 671195 w 1143000"/>
                  <a:gd name="connsiteY101" fmla="*/ 52070 h 136525"/>
                  <a:gd name="connsiteX102" fmla="*/ 687388 w 1143000"/>
                  <a:gd name="connsiteY102" fmla="*/ 59373 h 136525"/>
                  <a:gd name="connsiteX103" fmla="*/ 648652 w 1143000"/>
                  <a:gd name="connsiteY103" fmla="*/ 43815 h 136525"/>
                  <a:gd name="connsiteX104" fmla="*/ 633413 w 1143000"/>
                  <a:gd name="connsiteY104" fmla="*/ 60960 h 136525"/>
                  <a:gd name="connsiteX105" fmla="*/ 628015 w 1143000"/>
                  <a:gd name="connsiteY105" fmla="*/ 88265 h 136525"/>
                  <a:gd name="connsiteX106" fmla="*/ 634048 w 1143000"/>
                  <a:gd name="connsiteY106" fmla="*/ 115252 h 136525"/>
                  <a:gd name="connsiteX107" fmla="*/ 650558 w 1143000"/>
                  <a:gd name="connsiteY107" fmla="*/ 131763 h 136525"/>
                  <a:gd name="connsiteX108" fmla="*/ 675005 w 1143000"/>
                  <a:gd name="connsiteY108" fmla="*/ 137160 h 136525"/>
                  <a:gd name="connsiteX109" fmla="*/ 692467 w 1143000"/>
                  <a:gd name="connsiteY109" fmla="*/ 135573 h 136525"/>
                  <a:gd name="connsiteX110" fmla="*/ 707073 w 1143000"/>
                  <a:gd name="connsiteY110" fmla="*/ 130810 h 136525"/>
                  <a:gd name="connsiteX111" fmla="*/ 707073 w 1143000"/>
                  <a:gd name="connsiteY111" fmla="*/ 115252 h 136525"/>
                  <a:gd name="connsiteX112" fmla="*/ 692150 w 1143000"/>
                  <a:gd name="connsiteY112" fmla="*/ 120333 h 136525"/>
                  <a:gd name="connsiteX113" fmla="*/ 675640 w 1143000"/>
                  <a:gd name="connsiteY113" fmla="*/ 121920 h 136525"/>
                  <a:gd name="connsiteX114" fmla="*/ 655002 w 1143000"/>
                  <a:gd name="connsiteY114" fmla="*/ 113983 h 136525"/>
                  <a:gd name="connsiteX115" fmla="*/ 647383 w 1143000"/>
                  <a:gd name="connsiteY115" fmla="*/ 91440 h 136525"/>
                  <a:gd name="connsiteX116" fmla="*/ 711835 w 1143000"/>
                  <a:gd name="connsiteY116" fmla="*/ 91440 h 136525"/>
                  <a:gd name="connsiteX117" fmla="*/ 711835 w 1143000"/>
                  <a:gd name="connsiteY117" fmla="*/ 81280 h 136525"/>
                  <a:gd name="connsiteX118" fmla="*/ 701040 w 1143000"/>
                  <a:gd name="connsiteY118" fmla="*/ 49530 h 136525"/>
                  <a:gd name="connsiteX119" fmla="*/ 671195 w 1143000"/>
                  <a:gd name="connsiteY119" fmla="*/ 37783 h 136525"/>
                  <a:gd name="connsiteX120" fmla="*/ 648652 w 1143000"/>
                  <a:gd name="connsiteY120" fmla="*/ 43815 h 136525"/>
                  <a:gd name="connsiteX121" fmla="*/ 607695 w 1143000"/>
                  <a:gd name="connsiteY121" fmla="*/ 95250 h 136525"/>
                  <a:gd name="connsiteX122" fmla="*/ 597852 w 1143000"/>
                  <a:gd name="connsiteY122" fmla="*/ 86360 h 136525"/>
                  <a:gd name="connsiteX123" fmla="*/ 582930 w 1143000"/>
                  <a:gd name="connsiteY123" fmla="*/ 79375 h 136525"/>
                  <a:gd name="connsiteX124" fmla="*/ 568642 w 1143000"/>
                  <a:gd name="connsiteY124" fmla="*/ 73343 h 136525"/>
                  <a:gd name="connsiteX125" fmla="*/ 561658 w 1143000"/>
                  <a:gd name="connsiteY125" fmla="*/ 68263 h 136525"/>
                  <a:gd name="connsiteX126" fmla="*/ 559752 w 1143000"/>
                  <a:gd name="connsiteY126" fmla="*/ 62548 h 136525"/>
                  <a:gd name="connsiteX127" fmla="*/ 577215 w 1143000"/>
                  <a:gd name="connsiteY127" fmla="*/ 52388 h 136525"/>
                  <a:gd name="connsiteX128" fmla="*/ 590550 w 1143000"/>
                  <a:gd name="connsiteY128" fmla="*/ 54293 h 136525"/>
                  <a:gd name="connsiteX129" fmla="*/ 603250 w 1143000"/>
                  <a:gd name="connsiteY129" fmla="*/ 58738 h 136525"/>
                  <a:gd name="connsiteX130" fmla="*/ 609600 w 1143000"/>
                  <a:gd name="connsiteY130" fmla="*/ 44450 h 136525"/>
                  <a:gd name="connsiteX131" fmla="*/ 594677 w 1143000"/>
                  <a:gd name="connsiteY131" fmla="*/ 39370 h 136525"/>
                  <a:gd name="connsiteX132" fmla="*/ 578167 w 1143000"/>
                  <a:gd name="connsiteY132" fmla="*/ 37465 h 136525"/>
                  <a:gd name="connsiteX133" fmla="*/ 551498 w 1143000"/>
                  <a:gd name="connsiteY133" fmla="*/ 44133 h 136525"/>
                  <a:gd name="connsiteX134" fmla="*/ 541338 w 1143000"/>
                  <a:gd name="connsiteY134" fmla="*/ 63183 h 136525"/>
                  <a:gd name="connsiteX135" fmla="*/ 544830 w 1143000"/>
                  <a:gd name="connsiteY135" fmla="*/ 76200 h 136525"/>
                  <a:gd name="connsiteX136" fmla="*/ 554673 w 1143000"/>
                  <a:gd name="connsiteY136" fmla="*/ 85090 h 136525"/>
                  <a:gd name="connsiteX137" fmla="*/ 570230 w 1143000"/>
                  <a:gd name="connsiteY137" fmla="*/ 92393 h 136525"/>
                  <a:gd name="connsiteX138" fmla="*/ 584517 w 1143000"/>
                  <a:gd name="connsiteY138" fmla="*/ 98743 h 136525"/>
                  <a:gd name="connsiteX139" fmla="*/ 591185 w 1143000"/>
                  <a:gd name="connsiteY139" fmla="*/ 104140 h 136525"/>
                  <a:gd name="connsiteX140" fmla="*/ 593090 w 1143000"/>
                  <a:gd name="connsiteY140" fmla="*/ 109855 h 136525"/>
                  <a:gd name="connsiteX141" fmla="*/ 588327 w 1143000"/>
                  <a:gd name="connsiteY141" fmla="*/ 119063 h 136525"/>
                  <a:gd name="connsiteX142" fmla="*/ 573088 w 1143000"/>
                  <a:gd name="connsiteY142" fmla="*/ 122555 h 136525"/>
                  <a:gd name="connsiteX143" fmla="*/ 556577 w 1143000"/>
                  <a:gd name="connsiteY143" fmla="*/ 120015 h 136525"/>
                  <a:gd name="connsiteX144" fmla="*/ 541973 w 1143000"/>
                  <a:gd name="connsiteY144" fmla="*/ 114618 h 136525"/>
                  <a:gd name="connsiteX145" fmla="*/ 541973 w 1143000"/>
                  <a:gd name="connsiteY145" fmla="*/ 131127 h 136525"/>
                  <a:gd name="connsiteX146" fmla="*/ 555308 w 1143000"/>
                  <a:gd name="connsiteY146" fmla="*/ 135573 h 136525"/>
                  <a:gd name="connsiteX147" fmla="*/ 572770 w 1143000"/>
                  <a:gd name="connsiteY147" fmla="*/ 136843 h 136525"/>
                  <a:gd name="connsiteX148" fmla="*/ 601345 w 1143000"/>
                  <a:gd name="connsiteY148" fmla="*/ 129540 h 136525"/>
                  <a:gd name="connsiteX149" fmla="*/ 611505 w 1143000"/>
                  <a:gd name="connsiteY149" fmla="*/ 107950 h 136525"/>
                  <a:gd name="connsiteX150" fmla="*/ 607695 w 1143000"/>
                  <a:gd name="connsiteY150" fmla="*/ 95250 h 136525"/>
                  <a:gd name="connsiteX151" fmla="*/ 455613 w 1143000"/>
                  <a:gd name="connsiteY151" fmla="*/ 43498 h 136525"/>
                  <a:gd name="connsiteX152" fmla="*/ 443548 w 1143000"/>
                  <a:gd name="connsiteY152" fmla="*/ 56833 h 136525"/>
                  <a:gd name="connsiteX153" fmla="*/ 442913 w 1143000"/>
                  <a:gd name="connsiteY153" fmla="*/ 56833 h 136525"/>
                  <a:gd name="connsiteX154" fmla="*/ 440373 w 1143000"/>
                  <a:gd name="connsiteY154" fmla="*/ 39688 h 136525"/>
                  <a:gd name="connsiteX155" fmla="*/ 425450 w 1143000"/>
                  <a:gd name="connsiteY155" fmla="*/ 39688 h 136525"/>
                  <a:gd name="connsiteX156" fmla="*/ 425450 w 1143000"/>
                  <a:gd name="connsiteY156" fmla="*/ 135573 h 136525"/>
                  <a:gd name="connsiteX157" fmla="*/ 444183 w 1143000"/>
                  <a:gd name="connsiteY157" fmla="*/ 135573 h 136525"/>
                  <a:gd name="connsiteX158" fmla="*/ 444183 w 1143000"/>
                  <a:gd name="connsiteY158" fmla="*/ 84773 h 136525"/>
                  <a:gd name="connsiteX159" fmla="*/ 447992 w 1143000"/>
                  <a:gd name="connsiteY159" fmla="*/ 68580 h 136525"/>
                  <a:gd name="connsiteX160" fmla="*/ 458152 w 1143000"/>
                  <a:gd name="connsiteY160" fmla="*/ 58420 h 136525"/>
                  <a:gd name="connsiteX161" fmla="*/ 471805 w 1143000"/>
                  <a:gd name="connsiteY161" fmla="*/ 54927 h 136525"/>
                  <a:gd name="connsiteX162" fmla="*/ 481330 w 1143000"/>
                  <a:gd name="connsiteY162" fmla="*/ 56198 h 136525"/>
                  <a:gd name="connsiteX163" fmla="*/ 483235 w 1143000"/>
                  <a:gd name="connsiteY163" fmla="*/ 38735 h 136525"/>
                  <a:gd name="connsiteX164" fmla="*/ 472758 w 1143000"/>
                  <a:gd name="connsiteY164" fmla="*/ 37783 h 136525"/>
                  <a:gd name="connsiteX165" fmla="*/ 455613 w 1143000"/>
                  <a:gd name="connsiteY165" fmla="*/ 43498 h 136525"/>
                  <a:gd name="connsiteX166" fmla="*/ 377825 w 1143000"/>
                  <a:gd name="connsiteY166" fmla="*/ 59373 h 136525"/>
                  <a:gd name="connsiteX167" fmla="*/ 383223 w 1143000"/>
                  <a:gd name="connsiteY167" fmla="*/ 77470 h 136525"/>
                  <a:gd name="connsiteX168" fmla="*/ 338138 w 1143000"/>
                  <a:gd name="connsiteY168" fmla="*/ 77470 h 136525"/>
                  <a:gd name="connsiteX169" fmla="*/ 345440 w 1143000"/>
                  <a:gd name="connsiteY169" fmla="*/ 58738 h 136525"/>
                  <a:gd name="connsiteX170" fmla="*/ 361633 w 1143000"/>
                  <a:gd name="connsiteY170" fmla="*/ 52070 h 136525"/>
                  <a:gd name="connsiteX171" fmla="*/ 377825 w 1143000"/>
                  <a:gd name="connsiteY171" fmla="*/ 59373 h 136525"/>
                  <a:gd name="connsiteX172" fmla="*/ 339090 w 1143000"/>
                  <a:gd name="connsiteY172" fmla="*/ 43815 h 136525"/>
                  <a:gd name="connsiteX173" fmla="*/ 323850 w 1143000"/>
                  <a:gd name="connsiteY173" fmla="*/ 60960 h 136525"/>
                  <a:gd name="connsiteX174" fmla="*/ 318453 w 1143000"/>
                  <a:gd name="connsiteY174" fmla="*/ 88265 h 136525"/>
                  <a:gd name="connsiteX175" fmla="*/ 324485 w 1143000"/>
                  <a:gd name="connsiteY175" fmla="*/ 115252 h 136525"/>
                  <a:gd name="connsiteX176" fmla="*/ 340995 w 1143000"/>
                  <a:gd name="connsiteY176" fmla="*/ 131763 h 136525"/>
                  <a:gd name="connsiteX177" fmla="*/ 365442 w 1143000"/>
                  <a:gd name="connsiteY177" fmla="*/ 137160 h 136525"/>
                  <a:gd name="connsiteX178" fmla="*/ 382905 w 1143000"/>
                  <a:gd name="connsiteY178" fmla="*/ 135573 h 136525"/>
                  <a:gd name="connsiteX179" fmla="*/ 397510 w 1143000"/>
                  <a:gd name="connsiteY179" fmla="*/ 130810 h 136525"/>
                  <a:gd name="connsiteX180" fmla="*/ 397510 w 1143000"/>
                  <a:gd name="connsiteY180" fmla="*/ 115252 h 136525"/>
                  <a:gd name="connsiteX181" fmla="*/ 382588 w 1143000"/>
                  <a:gd name="connsiteY181" fmla="*/ 120333 h 136525"/>
                  <a:gd name="connsiteX182" fmla="*/ 366078 w 1143000"/>
                  <a:gd name="connsiteY182" fmla="*/ 121920 h 136525"/>
                  <a:gd name="connsiteX183" fmla="*/ 345440 w 1143000"/>
                  <a:gd name="connsiteY183" fmla="*/ 113983 h 136525"/>
                  <a:gd name="connsiteX184" fmla="*/ 337820 w 1143000"/>
                  <a:gd name="connsiteY184" fmla="*/ 91440 h 136525"/>
                  <a:gd name="connsiteX185" fmla="*/ 402273 w 1143000"/>
                  <a:gd name="connsiteY185" fmla="*/ 91440 h 136525"/>
                  <a:gd name="connsiteX186" fmla="*/ 402273 w 1143000"/>
                  <a:gd name="connsiteY186" fmla="*/ 81280 h 136525"/>
                  <a:gd name="connsiteX187" fmla="*/ 391478 w 1143000"/>
                  <a:gd name="connsiteY187" fmla="*/ 49530 h 136525"/>
                  <a:gd name="connsiteX188" fmla="*/ 361633 w 1143000"/>
                  <a:gd name="connsiteY188" fmla="*/ 37783 h 136525"/>
                  <a:gd name="connsiteX189" fmla="*/ 339090 w 1143000"/>
                  <a:gd name="connsiteY189" fmla="*/ 43815 h 136525"/>
                  <a:gd name="connsiteX190" fmla="*/ 211773 w 1143000"/>
                  <a:gd name="connsiteY190" fmla="*/ 318 h 136525"/>
                  <a:gd name="connsiteX191" fmla="*/ 211773 w 1143000"/>
                  <a:gd name="connsiteY191" fmla="*/ 135573 h 136525"/>
                  <a:gd name="connsiteX192" fmla="*/ 230505 w 1143000"/>
                  <a:gd name="connsiteY192" fmla="*/ 135573 h 136525"/>
                  <a:gd name="connsiteX193" fmla="*/ 230505 w 1143000"/>
                  <a:gd name="connsiteY193" fmla="*/ 87313 h 136525"/>
                  <a:gd name="connsiteX194" fmla="*/ 235903 w 1143000"/>
                  <a:gd name="connsiteY194" fmla="*/ 62230 h 136525"/>
                  <a:gd name="connsiteX195" fmla="*/ 256223 w 1143000"/>
                  <a:gd name="connsiteY195" fmla="*/ 53340 h 136525"/>
                  <a:gd name="connsiteX196" fmla="*/ 275908 w 1143000"/>
                  <a:gd name="connsiteY196" fmla="*/ 75883 h 136525"/>
                  <a:gd name="connsiteX197" fmla="*/ 275908 w 1143000"/>
                  <a:gd name="connsiteY197" fmla="*/ 135573 h 136525"/>
                  <a:gd name="connsiteX198" fmla="*/ 294640 w 1143000"/>
                  <a:gd name="connsiteY198" fmla="*/ 135573 h 136525"/>
                  <a:gd name="connsiteX199" fmla="*/ 294640 w 1143000"/>
                  <a:gd name="connsiteY199" fmla="*/ 73025 h 136525"/>
                  <a:gd name="connsiteX200" fmla="*/ 285750 w 1143000"/>
                  <a:gd name="connsiteY200" fmla="*/ 46355 h 136525"/>
                  <a:gd name="connsiteX201" fmla="*/ 260033 w 1143000"/>
                  <a:gd name="connsiteY201" fmla="*/ 38100 h 136525"/>
                  <a:gd name="connsiteX202" fmla="*/ 243205 w 1143000"/>
                  <a:gd name="connsiteY202" fmla="*/ 41593 h 136525"/>
                  <a:gd name="connsiteX203" fmla="*/ 230823 w 1143000"/>
                  <a:gd name="connsiteY203" fmla="*/ 52388 h 136525"/>
                  <a:gd name="connsiteX204" fmla="*/ 229553 w 1143000"/>
                  <a:gd name="connsiteY204" fmla="*/ 52388 h 136525"/>
                  <a:gd name="connsiteX205" fmla="*/ 230188 w 1143000"/>
                  <a:gd name="connsiteY205" fmla="*/ 45085 h 136525"/>
                  <a:gd name="connsiteX206" fmla="*/ 230505 w 1143000"/>
                  <a:gd name="connsiteY206" fmla="*/ 36195 h 136525"/>
                  <a:gd name="connsiteX207" fmla="*/ 230505 w 1143000"/>
                  <a:gd name="connsiteY207" fmla="*/ 0 h 136525"/>
                  <a:gd name="connsiteX208" fmla="*/ 211773 w 1143000"/>
                  <a:gd name="connsiteY208" fmla="*/ 0 h 136525"/>
                  <a:gd name="connsiteX209" fmla="*/ 168275 w 1143000"/>
                  <a:gd name="connsiteY209" fmla="*/ 118110 h 136525"/>
                  <a:gd name="connsiteX210" fmla="*/ 164465 w 1143000"/>
                  <a:gd name="connsiteY210" fmla="*/ 106680 h 136525"/>
                  <a:gd name="connsiteX211" fmla="*/ 164465 w 1143000"/>
                  <a:gd name="connsiteY211" fmla="*/ 53975 h 136525"/>
                  <a:gd name="connsiteX212" fmla="*/ 191770 w 1143000"/>
                  <a:gd name="connsiteY212" fmla="*/ 53975 h 136525"/>
                  <a:gd name="connsiteX213" fmla="*/ 191770 w 1143000"/>
                  <a:gd name="connsiteY213" fmla="*/ 39688 h 136525"/>
                  <a:gd name="connsiteX214" fmla="*/ 164465 w 1143000"/>
                  <a:gd name="connsiteY214" fmla="*/ 39688 h 136525"/>
                  <a:gd name="connsiteX215" fmla="*/ 164465 w 1143000"/>
                  <a:gd name="connsiteY215" fmla="*/ 18098 h 136525"/>
                  <a:gd name="connsiteX216" fmla="*/ 153035 w 1143000"/>
                  <a:gd name="connsiteY216" fmla="*/ 18098 h 136525"/>
                  <a:gd name="connsiteX217" fmla="*/ 146367 w 1143000"/>
                  <a:gd name="connsiteY217" fmla="*/ 38418 h 136525"/>
                  <a:gd name="connsiteX218" fmla="*/ 132398 w 1143000"/>
                  <a:gd name="connsiteY218" fmla="*/ 45402 h 136525"/>
                  <a:gd name="connsiteX219" fmla="*/ 132398 w 1143000"/>
                  <a:gd name="connsiteY219" fmla="*/ 53975 h 136525"/>
                  <a:gd name="connsiteX220" fmla="*/ 145733 w 1143000"/>
                  <a:gd name="connsiteY220" fmla="*/ 53975 h 136525"/>
                  <a:gd name="connsiteX221" fmla="*/ 145733 w 1143000"/>
                  <a:gd name="connsiteY221" fmla="*/ 106998 h 136525"/>
                  <a:gd name="connsiteX222" fmla="*/ 149542 w 1143000"/>
                  <a:gd name="connsiteY222" fmla="*/ 125413 h 136525"/>
                  <a:gd name="connsiteX223" fmla="*/ 160020 w 1143000"/>
                  <a:gd name="connsiteY223" fmla="*/ 134620 h 136525"/>
                  <a:gd name="connsiteX224" fmla="*/ 174308 w 1143000"/>
                  <a:gd name="connsiteY224" fmla="*/ 137160 h 136525"/>
                  <a:gd name="connsiteX225" fmla="*/ 184467 w 1143000"/>
                  <a:gd name="connsiteY225" fmla="*/ 136208 h 136525"/>
                  <a:gd name="connsiteX226" fmla="*/ 192723 w 1143000"/>
                  <a:gd name="connsiteY226" fmla="*/ 133668 h 136525"/>
                  <a:gd name="connsiteX227" fmla="*/ 192723 w 1143000"/>
                  <a:gd name="connsiteY227" fmla="*/ 119698 h 136525"/>
                  <a:gd name="connsiteX228" fmla="*/ 178435 w 1143000"/>
                  <a:gd name="connsiteY228" fmla="*/ 121920 h 136525"/>
                  <a:gd name="connsiteX229" fmla="*/ 168275 w 1143000"/>
                  <a:gd name="connsiteY229" fmla="*/ 118110 h 136525"/>
                  <a:gd name="connsiteX230" fmla="*/ 29845 w 1143000"/>
                  <a:gd name="connsiteY230" fmla="*/ 35877 h 136525"/>
                  <a:gd name="connsiteX231" fmla="*/ 59690 w 1143000"/>
                  <a:gd name="connsiteY231" fmla="*/ 22860 h 136525"/>
                  <a:gd name="connsiteX232" fmla="*/ 88900 w 1143000"/>
                  <a:gd name="connsiteY232" fmla="*/ 35877 h 136525"/>
                  <a:gd name="connsiteX233" fmla="*/ 98108 w 1143000"/>
                  <a:gd name="connsiteY233" fmla="*/ 71755 h 136525"/>
                  <a:gd name="connsiteX234" fmla="*/ 88900 w 1143000"/>
                  <a:gd name="connsiteY234" fmla="*/ 107633 h 136525"/>
                  <a:gd name="connsiteX235" fmla="*/ 59373 w 1143000"/>
                  <a:gd name="connsiteY235" fmla="*/ 120650 h 136525"/>
                  <a:gd name="connsiteX236" fmla="*/ 29845 w 1143000"/>
                  <a:gd name="connsiteY236" fmla="*/ 107633 h 136525"/>
                  <a:gd name="connsiteX237" fmla="*/ 20320 w 1143000"/>
                  <a:gd name="connsiteY237" fmla="*/ 71755 h 136525"/>
                  <a:gd name="connsiteX238" fmla="*/ 29845 w 1143000"/>
                  <a:gd name="connsiteY238" fmla="*/ 35877 h 136525"/>
                  <a:gd name="connsiteX239" fmla="*/ 111760 w 1143000"/>
                  <a:gd name="connsiteY239" fmla="*/ 37465 h 136525"/>
                  <a:gd name="connsiteX240" fmla="*/ 92075 w 1143000"/>
                  <a:gd name="connsiteY240" fmla="*/ 14605 h 136525"/>
                  <a:gd name="connsiteX241" fmla="*/ 59373 w 1143000"/>
                  <a:gd name="connsiteY241" fmla="*/ 6668 h 136525"/>
                  <a:gd name="connsiteX242" fmla="*/ 26035 w 1143000"/>
                  <a:gd name="connsiteY242" fmla="*/ 14605 h 136525"/>
                  <a:gd name="connsiteX243" fmla="*/ 6350 w 1143000"/>
                  <a:gd name="connsiteY243" fmla="*/ 37465 h 136525"/>
                  <a:gd name="connsiteX244" fmla="*/ 0 w 1143000"/>
                  <a:gd name="connsiteY244" fmla="*/ 71755 h 136525"/>
                  <a:gd name="connsiteX245" fmla="*/ 6350 w 1143000"/>
                  <a:gd name="connsiteY245" fmla="*/ 106363 h 136525"/>
                  <a:gd name="connsiteX246" fmla="*/ 26035 w 1143000"/>
                  <a:gd name="connsiteY246" fmla="*/ 129223 h 136525"/>
                  <a:gd name="connsiteX247" fmla="*/ 59373 w 1143000"/>
                  <a:gd name="connsiteY247" fmla="*/ 137477 h 136525"/>
                  <a:gd name="connsiteX248" fmla="*/ 92075 w 1143000"/>
                  <a:gd name="connsiteY248" fmla="*/ 129223 h 136525"/>
                  <a:gd name="connsiteX249" fmla="*/ 111760 w 1143000"/>
                  <a:gd name="connsiteY249" fmla="*/ 106363 h 136525"/>
                  <a:gd name="connsiteX250" fmla="*/ 118428 w 1143000"/>
                  <a:gd name="connsiteY250" fmla="*/ 72073 h 136525"/>
                  <a:gd name="connsiteX251" fmla="*/ 111760 w 1143000"/>
                  <a:gd name="connsiteY251" fmla="*/ 3746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143000" h="136525">
                    <a:moveTo>
                      <a:pt x="1139508" y="95250"/>
                    </a:moveTo>
                    <a:cubicBezTo>
                      <a:pt x="1137285" y="91758"/>
                      <a:pt x="1134110" y="88900"/>
                      <a:pt x="1129665" y="86360"/>
                    </a:cubicBezTo>
                    <a:cubicBezTo>
                      <a:pt x="1125538" y="83820"/>
                      <a:pt x="1120458" y="81598"/>
                      <a:pt x="1114742" y="79375"/>
                    </a:cubicBezTo>
                    <a:cubicBezTo>
                      <a:pt x="1108710" y="77152"/>
                      <a:pt x="1103948" y="74930"/>
                      <a:pt x="1100455" y="73343"/>
                    </a:cubicBezTo>
                    <a:cubicBezTo>
                      <a:pt x="1096963" y="71755"/>
                      <a:pt x="1094740" y="70168"/>
                      <a:pt x="1093470" y="68263"/>
                    </a:cubicBezTo>
                    <a:cubicBezTo>
                      <a:pt x="1092200" y="66675"/>
                      <a:pt x="1091565" y="64770"/>
                      <a:pt x="1091565" y="62548"/>
                    </a:cubicBezTo>
                    <a:cubicBezTo>
                      <a:pt x="1091565" y="55880"/>
                      <a:pt x="1097280" y="52388"/>
                      <a:pt x="1109027" y="52388"/>
                    </a:cubicBezTo>
                    <a:cubicBezTo>
                      <a:pt x="1113473" y="52388"/>
                      <a:pt x="1117917" y="53023"/>
                      <a:pt x="1122363" y="54293"/>
                    </a:cubicBezTo>
                    <a:cubicBezTo>
                      <a:pt x="1126808" y="55563"/>
                      <a:pt x="1130935" y="57150"/>
                      <a:pt x="1135063" y="58738"/>
                    </a:cubicBezTo>
                    <a:lnTo>
                      <a:pt x="1141413" y="44450"/>
                    </a:lnTo>
                    <a:cubicBezTo>
                      <a:pt x="1136650" y="42227"/>
                      <a:pt x="1131570" y="40640"/>
                      <a:pt x="1126490" y="39370"/>
                    </a:cubicBezTo>
                    <a:cubicBezTo>
                      <a:pt x="1121410" y="38100"/>
                      <a:pt x="1116013" y="37465"/>
                      <a:pt x="1109980" y="37465"/>
                    </a:cubicBezTo>
                    <a:cubicBezTo>
                      <a:pt x="1098867" y="37465"/>
                      <a:pt x="1089977" y="39688"/>
                      <a:pt x="1083310" y="44133"/>
                    </a:cubicBezTo>
                    <a:cubicBezTo>
                      <a:pt x="1076642" y="48577"/>
                      <a:pt x="1073150" y="54927"/>
                      <a:pt x="1073150" y="63183"/>
                    </a:cubicBezTo>
                    <a:cubicBezTo>
                      <a:pt x="1073150" y="68263"/>
                      <a:pt x="1074420" y="72708"/>
                      <a:pt x="1076642" y="76200"/>
                    </a:cubicBezTo>
                    <a:cubicBezTo>
                      <a:pt x="1078865" y="79693"/>
                      <a:pt x="1082040" y="82550"/>
                      <a:pt x="1086485" y="85090"/>
                    </a:cubicBezTo>
                    <a:cubicBezTo>
                      <a:pt x="1090613" y="87630"/>
                      <a:pt x="1096010" y="89852"/>
                      <a:pt x="1102042" y="92393"/>
                    </a:cubicBezTo>
                    <a:cubicBezTo>
                      <a:pt x="1108392" y="94615"/>
                      <a:pt x="1113155" y="96838"/>
                      <a:pt x="1116330" y="98743"/>
                    </a:cubicBezTo>
                    <a:cubicBezTo>
                      <a:pt x="1119505" y="100648"/>
                      <a:pt x="1121727" y="102235"/>
                      <a:pt x="1122998" y="104140"/>
                    </a:cubicBezTo>
                    <a:cubicBezTo>
                      <a:pt x="1124267" y="105727"/>
                      <a:pt x="1124902" y="107633"/>
                      <a:pt x="1124902" y="109855"/>
                    </a:cubicBezTo>
                    <a:cubicBezTo>
                      <a:pt x="1124902" y="113665"/>
                      <a:pt x="1123315" y="116523"/>
                      <a:pt x="1120140" y="119063"/>
                    </a:cubicBezTo>
                    <a:cubicBezTo>
                      <a:pt x="1116965" y="121285"/>
                      <a:pt x="1111885" y="122555"/>
                      <a:pt x="1104900" y="122555"/>
                    </a:cubicBezTo>
                    <a:cubicBezTo>
                      <a:pt x="1099502" y="122555"/>
                      <a:pt x="1094105" y="121602"/>
                      <a:pt x="1088390" y="120015"/>
                    </a:cubicBezTo>
                    <a:cubicBezTo>
                      <a:pt x="1082675" y="118427"/>
                      <a:pt x="1077913" y="116523"/>
                      <a:pt x="1073785" y="114618"/>
                    </a:cubicBezTo>
                    <a:lnTo>
                      <a:pt x="1073785" y="131127"/>
                    </a:lnTo>
                    <a:cubicBezTo>
                      <a:pt x="1077913" y="133033"/>
                      <a:pt x="1082358" y="134620"/>
                      <a:pt x="1087120" y="135573"/>
                    </a:cubicBezTo>
                    <a:cubicBezTo>
                      <a:pt x="1091883" y="136525"/>
                      <a:pt x="1097598" y="136843"/>
                      <a:pt x="1104583" y="136843"/>
                    </a:cubicBezTo>
                    <a:cubicBezTo>
                      <a:pt x="1116965" y="136843"/>
                      <a:pt x="1126490" y="134302"/>
                      <a:pt x="1133158" y="129540"/>
                    </a:cubicBezTo>
                    <a:cubicBezTo>
                      <a:pt x="1139825" y="124777"/>
                      <a:pt x="1143317" y="117475"/>
                      <a:pt x="1143317" y="107950"/>
                    </a:cubicBezTo>
                    <a:cubicBezTo>
                      <a:pt x="1143000" y="103188"/>
                      <a:pt x="1142048" y="98743"/>
                      <a:pt x="1139508" y="95250"/>
                    </a:cubicBezTo>
                    <a:moveTo>
                      <a:pt x="1030923" y="39688"/>
                    </a:moveTo>
                    <a:lnTo>
                      <a:pt x="1030923" y="87948"/>
                    </a:lnTo>
                    <a:cubicBezTo>
                      <a:pt x="1030923" y="98743"/>
                      <a:pt x="1029017" y="107315"/>
                      <a:pt x="1025208" y="113030"/>
                    </a:cubicBezTo>
                    <a:cubicBezTo>
                      <a:pt x="1021398" y="118745"/>
                      <a:pt x="1014730" y="121602"/>
                      <a:pt x="1004888" y="121602"/>
                    </a:cubicBezTo>
                    <a:cubicBezTo>
                      <a:pt x="998220" y="121602"/>
                      <a:pt x="993458" y="119698"/>
                      <a:pt x="990283" y="116205"/>
                    </a:cubicBezTo>
                    <a:cubicBezTo>
                      <a:pt x="987108" y="112395"/>
                      <a:pt x="985520" y="106998"/>
                      <a:pt x="985520" y="99377"/>
                    </a:cubicBezTo>
                    <a:lnTo>
                      <a:pt x="985520" y="39370"/>
                    </a:lnTo>
                    <a:lnTo>
                      <a:pt x="966470" y="39370"/>
                    </a:lnTo>
                    <a:lnTo>
                      <a:pt x="966470" y="102235"/>
                    </a:lnTo>
                    <a:cubicBezTo>
                      <a:pt x="966470" y="114300"/>
                      <a:pt x="969327" y="123190"/>
                      <a:pt x="975360" y="128905"/>
                    </a:cubicBezTo>
                    <a:cubicBezTo>
                      <a:pt x="981392" y="134302"/>
                      <a:pt x="989965" y="137160"/>
                      <a:pt x="1001077" y="137160"/>
                    </a:cubicBezTo>
                    <a:cubicBezTo>
                      <a:pt x="1007110" y="137160"/>
                      <a:pt x="1012825" y="135890"/>
                      <a:pt x="1018223" y="133668"/>
                    </a:cubicBezTo>
                    <a:cubicBezTo>
                      <a:pt x="1023620" y="131445"/>
                      <a:pt x="1028065" y="127635"/>
                      <a:pt x="1030923" y="122873"/>
                    </a:cubicBezTo>
                    <a:lnTo>
                      <a:pt x="1031875" y="122873"/>
                    </a:lnTo>
                    <a:lnTo>
                      <a:pt x="1034415" y="135573"/>
                    </a:lnTo>
                    <a:lnTo>
                      <a:pt x="1049655" y="135573"/>
                    </a:lnTo>
                    <a:lnTo>
                      <a:pt x="1049655" y="39688"/>
                    </a:lnTo>
                    <a:lnTo>
                      <a:pt x="1030923" y="39688"/>
                    </a:lnTo>
                    <a:close/>
                    <a:moveTo>
                      <a:pt x="879158" y="62230"/>
                    </a:moveTo>
                    <a:cubicBezTo>
                      <a:pt x="883285" y="56515"/>
                      <a:pt x="889635" y="53340"/>
                      <a:pt x="898525" y="53340"/>
                    </a:cubicBezTo>
                    <a:cubicBezTo>
                      <a:pt x="907415" y="53340"/>
                      <a:pt x="914083" y="56198"/>
                      <a:pt x="918210" y="62230"/>
                    </a:cubicBezTo>
                    <a:cubicBezTo>
                      <a:pt x="922338" y="68263"/>
                      <a:pt x="924242" y="76518"/>
                      <a:pt x="924242" y="87313"/>
                    </a:cubicBezTo>
                    <a:cubicBezTo>
                      <a:pt x="924242" y="98108"/>
                      <a:pt x="922338" y="106363"/>
                      <a:pt x="918210" y="112713"/>
                    </a:cubicBezTo>
                    <a:cubicBezTo>
                      <a:pt x="914083" y="118745"/>
                      <a:pt x="907733" y="121920"/>
                      <a:pt x="898842" y="121920"/>
                    </a:cubicBezTo>
                    <a:cubicBezTo>
                      <a:pt x="889952" y="121920"/>
                      <a:pt x="883602" y="118745"/>
                      <a:pt x="879475" y="112713"/>
                    </a:cubicBezTo>
                    <a:cubicBezTo>
                      <a:pt x="875348" y="106680"/>
                      <a:pt x="873442" y="98108"/>
                      <a:pt x="873442" y="87313"/>
                    </a:cubicBezTo>
                    <a:cubicBezTo>
                      <a:pt x="873125" y="76518"/>
                      <a:pt x="875030" y="67945"/>
                      <a:pt x="879158" y="62230"/>
                    </a:cubicBezTo>
                    <a:moveTo>
                      <a:pt x="937895" y="60325"/>
                    </a:moveTo>
                    <a:cubicBezTo>
                      <a:pt x="934085" y="53023"/>
                      <a:pt x="928688" y="47308"/>
                      <a:pt x="922020" y="43498"/>
                    </a:cubicBezTo>
                    <a:cubicBezTo>
                      <a:pt x="915352" y="39688"/>
                      <a:pt x="907733" y="37783"/>
                      <a:pt x="898842" y="37783"/>
                    </a:cubicBezTo>
                    <a:cubicBezTo>
                      <a:pt x="884873" y="37783"/>
                      <a:pt x="873760" y="42227"/>
                      <a:pt x="865823" y="50800"/>
                    </a:cubicBezTo>
                    <a:cubicBezTo>
                      <a:pt x="857885" y="59373"/>
                      <a:pt x="853758" y="71755"/>
                      <a:pt x="853758" y="87630"/>
                    </a:cubicBezTo>
                    <a:cubicBezTo>
                      <a:pt x="853758" y="98425"/>
                      <a:pt x="855663" y="107315"/>
                      <a:pt x="859473" y="114618"/>
                    </a:cubicBezTo>
                    <a:cubicBezTo>
                      <a:pt x="863283" y="121920"/>
                      <a:pt x="868680" y="127635"/>
                      <a:pt x="875348" y="131445"/>
                    </a:cubicBezTo>
                    <a:cubicBezTo>
                      <a:pt x="882015" y="135255"/>
                      <a:pt x="889635" y="137160"/>
                      <a:pt x="898525" y="137160"/>
                    </a:cubicBezTo>
                    <a:cubicBezTo>
                      <a:pt x="912495" y="137160"/>
                      <a:pt x="923290" y="132715"/>
                      <a:pt x="931545" y="124143"/>
                    </a:cubicBezTo>
                    <a:cubicBezTo>
                      <a:pt x="939800" y="115570"/>
                      <a:pt x="943927" y="103188"/>
                      <a:pt x="943927" y="87313"/>
                    </a:cubicBezTo>
                    <a:cubicBezTo>
                      <a:pt x="943610" y="76835"/>
                      <a:pt x="941705" y="67627"/>
                      <a:pt x="937895" y="60325"/>
                    </a:cubicBezTo>
                    <a:moveTo>
                      <a:pt x="810895" y="135255"/>
                    </a:moveTo>
                    <a:lnTo>
                      <a:pt x="829627" y="135255"/>
                    </a:lnTo>
                    <a:lnTo>
                      <a:pt x="829627" y="39370"/>
                    </a:lnTo>
                    <a:lnTo>
                      <a:pt x="810895" y="39370"/>
                    </a:lnTo>
                    <a:lnTo>
                      <a:pt x="810895" y="135255"/>
                    </a:lnTo>
                    <a:close/>
                    <a:moveTo>
                      <a:pt x="812800" y="5715"/>
                    </a:moveTo>
                    <a:cubicBezTo>
                      <a:pt x="810577" y="7302"/>
                      <a:pt x="809625" y="10160"/>
                      <a:pt x="809625" y="13970"/>
                    </a:cubicBezTo>
                    <a:cubicBezTo>
                      <a:pt x="809625" y="17780"/>
                      <a:pt x="810577" y="20638"/>
                      <a:pt x="812800" y="22225"/>
                    </a:cubicBezTo>
                    <a:cubicBezTo>
                      <a:pt x="815023" y="23813"/>
                      <a:pt x="817563" y="24765"/>
                      <a:pt x="820420" y="24765"/>
                    </a:cubicBezTo>
                    <a:cubicBezTo>
                      <a:pt x="823277" y="24765"/>
                      <a:pt x="825817" y="23813"/>
                      <a:pt x="828040" y="22225"/>
                    </a:cubicBezTo>
                    <a:cubicBezTo>
                      <a:pt x="830263" y="20638"/>
                      <a:pt x="831215" y="17780"/>
                      <a:pt x="831215" y="13970"/>
                    </a:cubicBezTo>
                    <a:cubicBezTo>
                      <a:pt x="831215" y="10160"/>
                      <a:pt x="830263" y="7302"/>
                      <a:pt x="828040" y="5715"/>
                    </a:cubicBezTo>
                    <a:cubicBezTo>
                      <a:pt x="825817" y="4127"/>
                      <a:pt x="823277" y="3175"/>
                      <a:pt x="820420" y="3175"/>
                    </a:cubicBezTo>
                    <a:cubicBezTo>
                      <a:pt x="817245" y="3175"/>
                      <a:pt x="814705" y="3810"/>
                      <a:pt x="812800" y="5715"/>
                    </a:cubicBezTo>
                    <a:moveTo>
                      <a:pt x="765175" y="43498"/>
                    </a:moveTo>
                    <a:cubicBezTo>
                      <a:pt x="760095" y="47308"/>
                      <a:pt x="756285" y="51752"/>
                      <a:pt x="753110" y="56833"/>
                    </a:cubicBezTo>
                    <a:lnTo>
                      <a:pt x="752475" y="56833"/>
                    </a:lnTo>
                    <a:lnTo>
                      <a:pt x="749935" y="39688"/>
                    </a:lnTo>
                    <a:lnTo>
                      <a:pt x="735013" y="39688"/>
                    </a:lnTo>
                    <a:lnTo>
                      <a:pt x="735013" y="135573"/>
                    </a:lnTo>
                    <a:lnTo>
                      <a:pt x="753745" y="135573"/>
                    </a:lnTo>
                    <a:lnTo>
                      <a:pt x="753745" y="84773"/>
                    </a:lnTo>
                    <a:cubicBezTo>
                      <a:pt x="753745" y="78423"/>
                      <a:pt x="755015" y="73025"/>
                      <a:pt x="757555" y="68580"/>
                    </a:cubicBezTo>
                    <a:cubicBezTo>
                      <a:pt x="760095" y="64135"/>
                      <a:pt x="763588" y="60643"/>
                      <a:pt x="767715" y="58420"/>
                    </a:cubicBezTo>
                    <a:cubicBezTo>
                      <a:pt x="771842" y="56198"/>
                      <a:pt x="776288" y="54927"/>
                      <a:pt x="781367" y="54927"/>
                    </a:cubicBezTo>
                    <a:cubicBezTo>
                      <a:pt x="784542" y="54927"/>
                      <a:pt x="788035" y="55245"/>
                      <a:pt x="790892" y="56198"/>
                    </a:cubicBezTo>
                    <a:lnTo>
                      <a:pt x="792798" y="38735"/>
                    </a:lnTo>
                    <a:cubicBezTo>
                      <a:pt x="789623" y="38100"/>
                      <a:pt x="786130" y="37783"/>
                      <a:pt x="782320" y="37783"/>
                    </a:cubicBezTo>
                    <a:cubicBezTo>
                      <a:pt x="775970" y="37783"/>
                      <a:pt x="770255" y="39688"/>
                      <a:pt x="765175" y="43498"/>
                    </a:cubicBezTo>
                    <a:moveTo>
                      <a:pt x="687388" y="59373"/>
                    </a:moveTo>
                    <a:cubicBezTo>
                      <a:pt x="690880" y="64135"/>
                      <a:pt x="692785" y="70168"/>
                      <a:pt x="692785" y="77470"/>
                    </a:cubicBezTo>
                    <a:lnTo>
                      <a:pt x="647700" y="77470"/>
                    </a:lnTo>
                    <a:cubicBezTo>
                      <a:pt x="648335" y="69533"/>
                      <a:pt x="650875" y="63183"/>
                      <a:pt x="655002" y="58738"/>
                    </a:cubicBezTo>
                    <a:cubicBezTo>
                      <a:pt x="659130" y="54293"/>
                      <a:pt x="664527" y="52070"/>
                      <a:pt x="671195" y="52070"/>
                    </a:cubicBezTo>
                    <a:cubicBezTo>
                      <a:pt x="678498" y="52388"/>
                      <a:pt x="683895" y="54610"/>
                      <a:pt x="687388" y="59373"/>
                    </a:cubicBezTo>
                    <a:moveTo>
                      <a:pt x="648652" y="43815"/>
                    </a:moveTo>
                    <a:cubicBezTo>
                      <a:pt x="642302" y="47943"/>
                      <a:pt x="637223" y="53658"/>
                      <a:pt x="633413" y="60960"/>
                    </a:cubicBezTo>
                    <a:cubicBezTo>
                      <a:pt x="629920" y="68580"/>
                      <a:pt x="628015" y="77470"/>
                      <a:pt x="628015" y="88265"/>
                    </a:cubicBezTo>
                    <a:cubicBezTo>
                      <a:pt x="628015" y="99060"/>
                      <a:pt x="629920" y="107950"/>
                      <a:pt x="634048" y="115252"/>
                    </a:cubicBezTo>
                    <a:cubicBezTo>
                      <a:pt x="638175" y="122555"/>
                      <a:pt x="643573" y="127952"/>
                      <a:pt x="650558" y="131763"/>
                    </a:cubicBezTo>
                    <a:cubicBezTo>
                      <a:pt x="657542" y="135573"/>
                      <a:pt x="665798" y="137160"/>
                      <a:pt x="675005" y="137160"/>
                    </a:cubicBezTo>
                    <a:cubicBezTo>
                      <a:pt x="681673" y="137160"/>
                      <a:pt x="687705" y="136525"/>
                      <a:pt x="692467" y="135573"/>
                    </a:cubicBezTo>
                    <a:cubicBezTo>
                      <a:pt x="697230" y="134620"/>
                      <a:pt x="702310" y="133033"/>
                      <a:pt x="707073" y="130810"/>
                    </a:cubicBezTo>
                    <a:lnTo>
                      <a:pt x="707073" y="115252"/>
                    </a:lnTo>
                    <a:cubicBezTo>
                      <a:pt x="701992" y="117475"/>
                      <a:pt x="696913" y="119063"/>
                      <a:pt x="692150" y="120333"/>
                    </a:cubicBezTo>
                    <a:cubicBezTo>
                      <a:pt x="687388" y="121602"/>
                      <a:pt x="681990" y="121920"/>
                      <a:pt x="675640" y="121920"/>
                    </a:cubicBezTo>
                    <a:cubicBezTo>
                      <a:pt x="666750" y="121920"/>
                      <a:pt x="659765" y="119380"/>
                      <a:pt x="655002" y="113983"/>
                    </a:cubicBezTo>
                    <a:cubicBezTo>
                      <a:pt x="650240" y="108902"/>
                      <a:pt x="647383" y="101283"/>
                      <a:pt x="647383" y="91440"/>
                    </a:cubicBezTo>
                    <a:lnTo>
                      <a:pt x="711835" y="91440"/>
                    </a:lnTo>
                    <a:lnTo>
                      <a:pt x="711835" y="81280"/>
                    </a:lnTo>
                    <a:cubicBezTo>
                      <a:pt x="711835" y="67945"/>
                      <a:pt x="708342" y="57150"/>
                      <a:pt x="701040" y="49530"/>
                    </a:cubicBezTo>
                    <a:cubicBezTo>
                      <a:pt x="693738" y="41910"/>
                      <a:pt x="683895" y="37783"/>
                      <a:pt x="671195" y="37783"/>
                    </a:cubicBezTo>
                    <a:cubicBezTo>
                      <a:pt x="662623" y="37783"/>
                      <a:pt x="655002" y="39688"/>
                      <a:pt x="648652" y="43815"/>
                    </a:cubicBezTo>
                    <a:moveTo>
                      <a:pt x="607695" y="95250"/>
                    </a:moveTo>
                    <a:cubicBezTo>
                      <a:pt x="605473" y="91758"/>
                      <a:pt x="602298" y="88900"/>
                      <a:pt x="597852" y="86360"/>
                    </a:cubicBezTo>
                    <a:cubicBezTo>
                      <a:pt x="593408" y="83820"/>
                      <a:pt x="588645" y="81598"/>
                      <a:pt x="582930" y="79375"/>
                    </a:cubicBezTo>
                    <a:cubicBezTo>
                      <a:pt x="576898" y="77152"/>
                      <a:pt x="572135" y="74930"/>
                      <a:pt x="568642" y="73343"/>
                    </a:cubicBezTo>
                    <a:cubicBezTo>
                      <a:pt x="565150" y="71755"/>
                      <a:pt x="562927" y="70168"/>
                      <a:pt x="561658" y="68263"/>
                    </a:cubicBezTo>
                    <a:cubicBezTo>
                      <a:pt x="560388" y="66675"/>
                      <a:pt x="559752" y="64770"/>
                      <a:pt x="559752" y="62548"/>
                    </a:cubicBezTo>
                    <a:cubicBezTo>
                      <a:pt x="559752" y="55880"/>
                      <a:pt x="565467" y="52388"/>
                      <a:pt x="577215" y="52388"/>
                    </a:cubicBezTo>
                    <a:cubicBezTo>
                      <a:pt x="581660" y="52388"/>
                      <a:pt x="586105" y="53023"/>
                      <a:pt x="590550" y="54293"/>
                    </a:cubicBezTo>
                    <a:cubicBezTo>
                      <a:pt x="594995" y="55563"/>
                      <a:pt x="599123" y="57150"/>
                      <a:pt x="603250" y="58738"/>
                    </a:cubicBezTo>
                    <a:lnTo>
                      <a:pt x="609600" y="44450"/>
                    </a:lnTo>
                    <a:cubicBezTo>
                      <a:pt x="604838" y="42227"/>
                      <a:pt x="599758" y="40640"/>
                      <a:pt x="594677" y="39370"/>
                    </a:cubicBezTo>
                    <a:cubicBezTo>
                      <a:pt x="589598" y="38100"/>
                      <a:pt x="583883" y="37465"/>
                      <a:pt x="578167" y="37465"/>
                    </a:cubicBezTo>
                    <a:cubicBezTo>
                      <a:pt x="567055" y="37465"/>
                      <a:pt x="558165" y="39688"/>
                      <a:pt x="551498" y="44133"/>
                    </a:cubicBezTo>
                    <a:cubicBezTo>
                      <a:pt x="544830" y="48577"/>
                      <a:pt x="541338" y="54927"/>
                      <a:pt x="541338" y="63183"/>
                    </a:cubicBezTo>
                    <a:cubicBezTo>
                      <a:pt x="541338" y="68263"/>
                      <a:pt x="542608" y="72708"/>
                      <a:pt x="544830" y="76200"/>
                    </a:cubicBezTo>
                    <a:cubicBezTo>
                      <a:pt x="547052" y="79693"/>
                      <a:pt x="550227" y="82550"/>
                      <a:pt x="554673" y="85090"/>
                    </a:cubicBezTo>
                    <a:cubicBezTo>
                      <a:pt x="559117" y="87630"/>
                      <a:pt x="564198" y="89852"/>
                      <a:pt x="570230" y="92393"/>
                    </a:cubicBezTo>
                    <a:cubicBezTo>
                      <a:pt x="576580" y="94615"/>
                      <a:pt x="581342" y="96838"/>
                      <a:pt x="584517" y="98743"/>
                    </a:cubicBezTo>
                    <a:cubicBezTo>
                      <a:pt x="587692" y="100648"/>
                      <a:pt x="589915" y="102235"/>
                      <a:pt x="591185" y="104140"/>
                    </a:cubicBezTo>
                    <a:cubicBezTo>
                      <a:pt x="592455" y="105727"/>
                      <a:pt x="593090" y="107633"/>
                      <a:pt x="593090" y="109855"/>
                    </a:cubicBezTo>
                    <a:cubicBezTo>
                      <a:pt x="593090" y="113665"/>
                      <a:pt x="591502" y="116523"/>
                      <a:pt x="588327" y="119063"/>
                    </a:cubicBezTo>
                    <a:cubicBezTo>
                      <a:pt x="585152" y="121602"/>
                      <a:pt x="580073" y="122555"/>
                      <a:pt x="573088" y="122555"/>
                    </a:cubicBezTo>
                    <a:cubicBezTo>
                      <a:pt x="567690" y="122555"/>
                      <a:pt x="562292" y="121602"/>
                      <a:pt x="556577" y="120015"/>
                    </a:cubicBezTo>
                    <a:cubicBezTo>
                      <a:pt x="550863" y="118427"/>
                      <a:pt x="546100" y="116523"/>
                      <a:pt x="541973" y="114618"/>
                    </a:cubicBezTo>
                    <a:lnTo>
                      <a:pt x="541973" y="131127"/>
                    </a:lnTo>
                    <a:cubicBezTo>
                      <a:pt x="546100" y="133033"/>
                      <a:pt x="550545" y="134620"/>
                      <a:pt x="555308" y="135573"/>
                    </a:cubicBezTo>
                    <a:cubicBezTo>
                      <a:pt x="560070" y="136525"/>
                      <a:pt x="565785" y="136843"/>
                      <a:pt x="572770" y="136843"/>
                    </a:cubicBezTo>
                    <a:cubicBezTo>
                      <a:pt x="585152" y="136843"/>
                      <a:pt x="594677" y="134302"/>
                      <a:pt x="601345" y="129540"/>
                    </a:cubicBezTo>
                    <a:cubicBezTo>
                      <a:pt x="608013" y="124777"/>
                      <a:pt x="611505" y="117475"/>
                      <a:pt x="611505" y="107950"/>
                    </a:cubicBezTo>
                    <a:cubicBezTo>
                      <a:pt x="611188" y="103188"/>
                      <a:pt x="609917" y="98743"/>
                      <a:pt x="607695" y="95250"/>
                    </a:cubicBezTo>
                    <a:moveTo>
                      <a:pt x="455613" y="43498"/>
                    </a:moveTo>
                    <a:cubicBezTo>
                      <a:pt x="450533" y="47308"/>
                      <a:pt x="446723" y="51752"/>
                      <a:pt x="443548" y="56833"/>
                    </a:cubicBezTo>
                    <a:lnTo>
                      <a:pt x="442913" y="56833"/>
                    </a:lnTo>
                    <a:lnTo>
                      <a:pt x="440373" y="39688"/>
                    </a:lnTo>
                    <a:lnTo>
                      <a:pt x="425450" y="39688"/>
                    </a:lnTo>
                    <a:lnTo>
                      <a:pt x="425450" y="135573"/>
                    </a:lnTo>
                    <a:lnTo>
                      <a:pt x="444183" y="135573"/>
                    </a:lnTo>
                    <a:lnTo>
                      <a:pt x="444183" y="84773"/>
                    </a:lnTo>
                    <a:cubicBezTo>
                      <a:pt x="444183" y="78423"/>
                      <a:pt x="445452" y="73025"/>
                      <a:pt x="447992" y="68580"/>
                    </a:cubicBezTo>
                    <a:cubicBezTo>
                      <a:pt x="450533" y="64135"/>
                      <a:pt x="454025" y="60643"/>
                      <a:pt x="458152" y="58420"/>
                    </a:cubicBezTo>
                    <a:cubicBezTo>
                      <a:pt x="462280" y="56198"/>
                      <a:pt x="466725" y="54927"/>
                      <a:pt x="471805" y="54927"/>
                    </a:cubicBezTo>
                    <a:cubicBezTo>
                      <a:pt x="474980" y="54927"/>
                      <a:pt x="478473" y="55245"/>
                      <a:pt x="481330" y="56198"/>
                    </a:cubicBezTo>
                    <a:lnTo>
                      <a:pt x="483235" y="38735"/>
                    </a:lnTo>
                    <a:cubicBezTo>
                      <a:pt x="480060" y="38100"/>
                      <a:pt x="476567" y="37783"/>
                      <a:pt x="472758" y="37783"/>
                    </a:cubicBezTo>
                    <a:cubicBezTo>
                      <a:pt x="466408" y="37783"/>
                      <a:pt x="460692" y="39688"/>
                      <a:pt x="455613" y="43498"/>
                    </a:cubicBezTo>
                    <a:moveTo>
                      <a:pt x="377825" y="59373"/>
                    </a:moveTo>
                    <a:cubicBezTo>
                      <a:pt x="381317" y="64135"/>
                      <a:pt x="383223" y="70168"/>
                      <a:pt x="383223" y="77470"/>
                    </a:cubicBezTo>
                    <a:lnTo>
                      <a:pt x="338138" y="77470"/>
                    </a:lnTo>
                    <a:cubicBezTo>
                      <a:pt x="338773" y="69533"/>
                      <a:pt x="341313" y="63183"/>
                      <a:pt x="345440" y="58738"/>
                    </a:cubicBezTo>
                    <a:cubicBezTo>
                      <a:pt x="349567" y="54293"/>
                      <a:pt x="354965" y="52070"/>
                      <a:pt x="361633" y="52070"/>
                    </a:cubicBezTo>
                    <a:cubicBezTo>
                      <a:pt x="368935" y="52388"/>
                      <a:pt x="374333" y="54610"/>
                      <a:pt x="377825" y="59373"/>
                    </a:cubicBezTo>
                    <a:moveTo>
                      <a:pt x="339090" y="43815"/>
                    </a:moveTo>
                    <a:cubicBezTo>
                      <a:pt x="332740" y="47943"/>
                      <a:pt x="327660" y="53658"/>
                      <a:pt x="323850" y="60960"/>
                    </a:cubicBezTo>
                    <a:cubicBezTo>
                      <a:pt x="320358" y="68580"/>
                      <a:pt x="318453" y="77470"/>
                      <a:pt x="318453" y="88265"/>
                    </a:cubicBezTo>
                    <a:cubicBezTo>
                      <a:pt x="318453" y="99060"/>
                      <a:pt x="320358" y="107950"/>
                      <a:pt x="324485" y="115252"/>
                    </a:cubicBezTo>
                    <a:cubicBezTo>
                      <a:pt x="328295" y="122555"/>
                      <a:pt x="334010" y="127952"/>
                      <a:pt x="340995" y="131763"/>
                    </a:cubicBezTo>
                    <a:cubicBezTo>
                      <a:pt x="347980" y="135573"/>
                      <a:pt x="356235" y="137160"/>
                      <a:pt x="365442" y="137160"/>
                    </a:cubicBezTo>
                    <a:cubicBezTo>
                      <a:pt x="372110" y="137160"/>
                      <a:pt x="378142" y="136525"/>
                      <a:pt x="382905" y="135573"/>
                    </a:cubicBezTo>
                    <a:cubicBezTo>
                      <a:pt x="387667" y="134620"/>
                      <a:pt x="392748" y="133033"/>
                      <a:pt x="397510" y="130810"/>
                    </a:cubicBezTo>
                    <a:lnTo>
                      <a:pt x="397510" y="115252"/>
                    </a:lnTo>
                    <a:cubicBezTo>
                      <a:pt x="392430" y="117475"/>
                      <a:pt x="387350" y="119063"/>
                      <a:pt x="382588" y="120333"/>
                    </a:cubicBezTo>
                    <a:cubicBezTo>
                      <a:pt x="377825" y="121602"/>
                      <a:pt x="372428" y="121920"/>
                      <a:pt x="366078" y="121920"/>
                    </a:cubicBezTo>
                    <a:cubicBezTo>
                      <a:pt x="357188" y="121920"/>
                      <a:pt x="350203" y="119380"/>
                      <a:pt x="345440" y="113983"/>
                    </a:cubicBezTo>
                    <a:cubicBezTo>
                      <a:pt x="340360" y="108902"/>
                      <a:pt x="337820" y="101283"/>
                      <a:pt x="337820" y="91440"/>
                    </a:cubicBezTo>
                    <a:lnTo>
                      <a:pt x="402273" y="91440"/>
                    </a:lnTo>
                    <a:lnTo>
                      <a:pt x="402273" y="81280"/>
                    </a:lnTo>
                    <a:cubicBezTo>
                      <a:pt x="402273" y="67945"/>
                      <a:pt x="398780" y="57150"/>
                      <a:pt x="391478" y="49530"/>
                    </a:cubicBezTo>
                    <a:cubicBezTo>
                      <a:pt x="384175" y="41910"/>
                      <a:pt x="374333" y="37783"/>
                      <a:pt x="361633" y="37783"/>
                    </a:cubicBezTo>
                    <a:cubicBezTo>
                      <a:pt x="353060" y="37783"/>
                      <a:pt x="345440" y="39688"/>
                      <a:pt x="339090" y="43815"/>
                    </a:cubicBezTo>
                    <a:moveTo>
                      <a:pt x="211773" y="318"/>
                    </a:moveTo>
                    <a:lnTo>
                      <a:pt x="211773" y="135573"/>
                    </a:lnTo>
                    <a:lnTo>
                      <a:pt x="230505" y="135573"/>
                    </a:lnTo>
                    <a:lnTo>
                      <a:pt x="230505" y="87313"/>
                    </a:lnTo>
                    <a:cubicBezTo>
                      <a:pt x="230505" y="76518"/>
                      <a:pt x="232410" y="68263"/>
                      <a:pt x="235903" y="62230"/>
                    </a:cubicBezTo>
                    <a:cubicBezTo>
                      <a:pt x="239713" y="56198"/>
                      <a:pt x="246380" y="53340"/>
                      <a:pt x="256223" y="53340"/>
                    </a:cubicBezTo>
                    <a:cubicBezTo>
                      <a:pt x="269240" y="53340"/>
                      <a:pt x="275908" y="60960"/>
                      <a:pt x="275908" y="75883"/>
                    </a:cubicBezTo>
                    <a:lnTo>
                      <a:pt x="275908" y="135573"/>
                    </a:lnTo>
                    <a:lnTo>
                      <a:pt x="294640" y="135573"/>
                    </a:lnTo>
                    <a:lnTo>
                      <a:pt x="294640" y="73025"/>
                    </a:lnTo>
                    <a:cubicBezTo>
                      <a:pt x="294640" y="60960"/>
                      <a:pt x="291783" y="52070"/>
                      <a:pt x="285750" y="46355"/>
                    </a:cubicBezTo>
                    <a:cubicBezTo>
                      <a:pt x="279717" y="40640"/>
                      <a:pt x="271145" y="38100"/>
                      <a:pt x="260033" y="38100"/>
                    </a:cubicBezTo>
                    <a:cubicBezTo>
                      <a:pt x="254000" y="38100"/>
                      <a:pt x="248285" y="39370"/>
                      <a:pt x="243205" y="41593"/>
                    </a:cubicBezTo>
                    <a:cubicBezTo>
                      <a:pt x="238125" y="44133"/>
                      <a:pt x="233998" y="47625"/>
                      <a:pt x="230823" y="52388"/>
                    </a:cubicBezTo>
                    <a:lnTo>
                      <a:pt x="229553" y="52388"/>
                    </a:lnTo>
                    <a:cubicBezTo>
                      <a:pt x="229870" y="50483"/>
                      <a:pt x="229870" y="47943"/>
                      <a:pt x="230188" y="45085"/>
                    </a:cubicBezTo>
                    <a:cubicBezTo>
                      <a:pt x="230505" y="42227"/>
                      <a:pt x="230505" y="39052"/>
                      <a:pt x="230505" y="36195"/>
                    </a:cubicBezTo>
                    <a:lnTo>
                      <a:pt x="230505" y="0"/>
                    </a:lnTo>
                    <a:lnTo>
                      <a:pt x="211773" y="0"/>
                    </a:lnTo>
                    <a:close/>
                    <a:moveTo>
                      <a:pt x="168275" y="118110"/>
                    </a:moveTo>
                    <a:cubicBezTo>
                      <a:pt x="165735" y="115570"/>
                      <a:pt x="164465" y="111760"/>
                      <a:pt x="164465" y="106680"/>
                    </a:cubicBezTo>
                    <a:lnTo>
                      <a:pt x="164465" y="53975"/>
                    </a:lnTo>
                    <a:lnTo>
                      <a:pt x="191770" y="53975"/>
                    </a:lnTo>
                    <a:lnTo>
                      <a:pt x="191770" y="39688"/>
                    </a:lnTo>
                    <a:lnTo>
                      <a:pt x="164465" y="39688"/>
                    </a:lnTo>
                    <a:lnTo>
                      <a:pt x="164465" y="18098"/>
                    </a:lnTo>
                    <a:lnTo>
                      <a:pt x="153035" y="18098"/>
                    </a:lnTo>
                    <a:lnTo>
                      <a:pt x="146367" y="38418"/>
                    </a:lnTo>
                    <a:lnTo>
                      <a:pt x="132398" y="45402"/>
                    </a:lnTo>
                    <a:lnTo>
                      <a:pt x="132398" y="53975"/>
                    </a:lnTo>
                    <a:lnTo>
                      <a:pt x="145733" y="53975"/>
                    </a:lnTo>
                    <a:lnTo>
                      <a:pt x="145733" y="106998"/>
                    </a:lnTo>
                    <a:cubicBezTo>
                      <a:pt x="145733" y="114935"/>
                      <a:pt x="147003" y="120968"/>
                      <a:pt x="149542" y="125413"/>
                    </a:cubicBezTo>
                    <a:cubicBezTo>
                      <a:pt x="152083" y="129858"/>
                      <a:pt x="155575" y="133033"/>
                      <a:pt x="160020" y="134620"/>
                    </a:cubicBezTo>
                    <a:cubicBezTo>
                      <a:pt x="164465" y="136525"/>
                      <a:pt x="169228" y="137160"/>
                      <a:pt x="174308" y="137160"/>
                    </a:cubicBezTo>
                    <a:cubicBezTo>
                      <a:pt x="177800" y="137160"/>
                      <a:pt x="181292" y="136843"/>
                      <a:pt x="184467" y="136208"/>
                    </a:cubicBezTo>
                    <a:cubicBezTo>
                      <a:pt x="187960" y="135573"/>
                      <a:pt x="190500" y="134620"/>
                      <a:pt x="192723" y="133668"/>
                    </a:cubicBezTo>
                    <a:lnTo>
                      <a:pt x="192723" y="119698"/>
                    </a:lnTo>
                    <a:cubicBezTo>
                      <a:pt x="188595" y="121285"/>
                      <a:pt x="183515" y="121920"/>
                      <a:pt x="178435" y="121920"/>
                    </a:cubicBezTo>
                    <a:cubicBezTo>
                      <a:pt x="174308" y="121920"/>
                      <a:pt x="170815" y="120650"/>
                      <a:pt x="168275" y="118110"/>
                    </a:cubicBezTo>
                    <a:moveTo>
                      <a:pt x="29845" y="35877"/>
                    </a:moveTo>
                    <a:cubicBezTo>
                      <a:pt x="36195" y="27305"/>
                      <a:pt x="46038" y="22860"/>
                      <a:pt x="59690" y="22860"/>
                    </a:cubicBezTo>
                    <a:cubicBezTo>
                      <a:pt x="73025" y="22860"/>
                      <a:pt x="82867" y="27305"/>
                      <a:pt x="88900" y="35877"/>
                    </a:cubicBezTo>
                    <a:cubicBezTo>
                      <a:pt x="94933" y="44450"/>
                      <a:pt x="98108" y="56515"/>
                      <a:pt x="98108" y="71755"/>
                    </a:cubicBezTo>
                    <a:cubicBezTo>
                      <a:pt x="98108" y="86995"/>
                      <a:pt x="94933" y="98743"/>
                      <a:pt x="88900" y="107633"/>
                    </a:cubicBezTo>
                    <a:cubicBezTo>
                      <a:pt x="82867" y="116523"/>
                      <a:pt x="73025" y="120650"/>
                      <a:pt x="59373" y="120650"/>
                    </a:cubicBezTo>
                    <a:cubicBezTo>
                      <a:pt x="46038" y="120650"/>
                      <a:pt x="36195" y="116205"/>
                      <a:pt x="29845" y="107633"/>
                    </a:cubicBezTo>
                    <a:cubicBezTo>
                      <a:pt x="23495" y="98743"/>
                      <a:pt x="20320" y="86995"/>
                      <a:pt x="20320" y="71755"/>
                    </a:cubicBezTo>
                    <a:cubicBezTo>
                      <a:pt x="20320" y="56515"/>
                      <a:pt x="23495" y="44768"/>
                      <a:pt x="29845" y="35877"/>
                    </a:cubicBezTo>
                    <a:moveTo>
                      <a:pt x="111760" y="37465"/>
                    </a:moveTo>
                    <a:cubicBezTo>
                      <a:pt x="107315" y="27623"/>
                      <a:pt x="100965" y="20002"/>
                      <a:pt x="92075" y="14605"/>
                    </a:cubicBezTo>
                    <a:cubicBezTo>
                      <a:pt x="83503" y="9208"/>
                      <a:pt x="72390" y="6668"/>
                      <a:pt x="59373" y="6668"/>
                    </a:cubicBezTo>
                    <a:cubicBezTo>
                      <a:pt x="45720" y="6668"/>
                      <a:pt x="34608" y="9208"/>
                      <a:pt x="26035" y="14605"/>
                    </a:cubicBezTo>
                    <a:cubicBezTo>
                      <a:pt x="17463" y="20002"/>
                      <a:pt x="10795" y="27623"/>
                      <a:pt x="6350" y="37465"/>
                    </a:cubicBezTo>
                    <a:cubicBezTo>
                      <a:pt x="2223" y="47308"/>
                      <a:pt x="0" y="58738"/>
                      <a:pt x="0" y="71755"/>
                    </a:cubicBezTo>
                    <a:cubicBezTo>
                      <a:pt x="0" y="84773"/>
                      <a:pt x="2223" y="96520"/>
                      <a:pt x="6350" y="106363"/>
                    </a:cubicBezTo>
                    <a:cubicBezTo>
                      <a:pt x="10478" y="116205"/>
                      <a:pt x="17145" y="123825"/>
                      <a:pt x="26035" y="129223"/>
                    </a:cubicBezTo>
                    <a:cubicBezTo>
                      <a:pt x="34925" y="134620"/>
                      <a:pt x="46038" y="137477"/>
                      <a:pt x="59373" y="137477"/>
                    </a:cubicBezTo>
                    <a:cubicBezTo>
                      <a:pt x="72390" y="137477"/>
                      <a:pt x="83185" y="134620"/>
                      <a:pt x="92075" y="129223"/>
                    </a:cubicBezTo>
                    <a:cubicBezTo>
                      <a:pt x="100965" y="123825"/>
                      <a:pt x="107315" y="116205"/>
                      <a:pt x="111760" y="106363"/>
                    </a:cubicBezTo>
                    <a:cubicBezTo>
                      <a:pt x="116205" y="96520"/>
                      <a:pt x="118428" y="85090"/>
                      <a:pt x="118428" y="72073"/>
                    </a:cubicBezTo>
                    <a:cubicBezTo>
                      <a:pt x="118428" y="58420"/>
                      <a:pt x="116205" y="46990"/>
                      <a:pt x="111760" y="37465"/>
                    </a:cubicBezTo>
                  </a:path>
                </a:pathLst>
              </a:custGeom>
              <a:grpFill/>
              <a:ln w="3175" cap="flat">
                <a:noFill/>
                <a:prstDash val="solid"/>
                <a:miter/>
              </a:ln>
            </p:spPr>
            <p:txBody>
              <a:bodyPr rtlCol="0" anchor="ctr"/>
              <a:lstStyle/>
              <a:p>
                <a:endParaRPr lang="en-GB">
                  <a:solidFill>
                    <a:srgbClr val="000000"/>
                  </a:solidFill>
                  <a:latin typeface="Verdana"/>
                </a:endParaRPr>
              </a:p>
            </p:txBody>
          </p:sp>
        </p:grpSp>
        <p:grpSp>
          <p:nvGrpSpPr>
            <p:cNvPr id="18" name="Group 17">
              <a:extLst>
                <a:ext uri="{FF2B5EF4-FFF2-40B4-BE49-F238E27FC236}">
                  <a16:creationId xmlns:a16="http://schemas.microsoft.com/office/drawing/2014/main" id="{A388BBF1-0BB1-410C-83AE-65D8C3C9ECDE}"/>
                </a:ext>
              </a:extLst>
            </p:cNvPr>
            <p:cNvGrpSpPr/>
            <p:nvPr/>
          </p:nvGrpSpPr>
          <p:grpSpPr>
            <a:xfrm>
              <a:off x="6089015" y="1453515"/>
              <a:ext cx="1523682" cy="877570"/>
              <a:chOff x="6089015" y="1357630"/>
              <a:chExt cx="1523682" cy="877570"/>
            </a:xfrm>
            <a:solidFill>
              <a:srgbClr val="3B97DE"/>
            </a:solidFill>
          </p:grpSpPr>
          <p:sp>
            <p:nvSpPr>
              <p:cNvPr id="33" name="Freeform: Shape 32">
                <a:extLst>
                  <a:ext uri="{FF2B5EF4-FFF2-40B4-BE49-F238E27FC236}">
                    <a16:creationId xmlns:a16="http://schemas.microsoft.com/office/drawing/2014/main" id="{3B1F2D70-DCA7-4A18-B31B-D3ADDDA90798}"/>
                  </a:ext>
                </a:extLst>
              </p:cNvPr>
              <p:cNvSpPr/>
              <p:nvPr/>
            </p:nvSpPr>
            <p:spPr>
              <a:xfrm>
                <a:off x="6092508" y="2168525"/>
                <a:ext cx="469900" cy="66675"/>
              </a:xfrm>
              <a:custGeom>
                <a:avLst/>
                <a:gdLst>
                  <a:gd name="connsiteX0" fmla="*/ 468630 w 469900"/>
                  <a:gd name="connsiteY0" fmla="*/ 44133 h 66675"/>
                  <a:gd name="connsiteX1" fmla="*/ 463233 w 469900"/>
                  <a:gd name="connsiteY1" fmla="*/ 39052 h 66675"/>
                  <a:gd name="connsiteX2" fmla="*/ 454660 w 469900"/>
                  <a:gd name="connsiteY2" fmla="*/ 34925 h 66675"/>
                  <a:gd name="connsiteX3" fmla="*/ 446723 w 469900"/>
                  <a:gd name="connsiteY3" fmla="*/ 31433 h 66675"/>
                  <a:gd name="connsiteX4" fmla="*/ 442595 w 469900"/>
                  <a:gd name="connsiteY4" fmla="*/ 28575 h 66675"/>
                  <a:gd name="connsiteX5" fmla="*/ 441325 w 469900"/>
                  <a:gd name="connsiteY5" fmla="*/ 25083 h 66675"/>
                  <a:gd name="connsiteX6" fmla="*/ 451167 w 469900"/>
                  <a:gd name="connsiteY6" fmla="*/ 19367 h 66675"/>
                  <a:gd name="connsiteX7" fmla="*/ 458787 w 469900"/>
                  <a:gd name="connsiteY7" fmla="*/ 20320 h 66675"/>
                  <a:gd name="connsiteX8" fmla="*/ 466090 w 469900"/>
                  <a:gd name="connsiteY8" fmla="*/ 22860 h 66675"/>
                  <a:gd name="connsiteX9" fmla="*/ 469583 w 469900"/>
                  <a:gd name="connsiteY9" fmla="*/ 14605 h 66675"/>
                  <a:gd name="connsiteX10" fmla="*/ 461010 w 469900"/>
                  <a:gd name="connsiteY10" fmla="*/ 11748 h 66675"/>
                  <a:gd name="connsiteX11" fmla="*/ 451485 w 469900"/>
                  <a:gd name="connsiteY11" fmla="*/ 10795 h 66675"/>
                  <a:gd name="connsiteX12" fmla="*/ 436245 w 469900"/>
                  <a:gd name="connsiteY12" fmla="*/ 14605 h 66675"/>
                  <a:gd name="connsiteX13" fmla="*/ 430530 w 469900"/>
                  <a:gd name="connsiteY13" fmla="*/ 25400 h 66675"/>
                  <a:gd name="connsiteX14" fmla="*/ 432435 w 469900"/>
                  <a:gd name="connsiteY14" fmla="*/ 32702 h 66675"/>
                  <a:gd name="connsiteX15" fmla="*/ 437833 w 469900"/>
                  <a:gd name="connsiteY15" fmla="*/ 37783 h 66675"/>
                  <a:gd name="connsiteX16" fmla="*/ 446723 w 469900"/>
                  <a:gd name="connsiteY16" fmla="*/ 41910 h 66675"/>
                  <a:gd name="connsiteX17" fmla="*/ 454977 w 469900"/>
                  <a:gd name="connsiteY17" fmla="*/ 45402 h 66675"/>
                  <a:gd name="connsiteX18" fmla="*/ 458787 w 469900"/>
                  <a:gd name="connsiteY18" fmla="*/ 48577 h 66675"/>
                  <a:gd name="connsiteX19" fmla="*/ 459740 w 469900"/>
                  <a:gd name="connsiteY19" fmla="*/ 51752 h 66675"/>
                  <a:gd name="connsiteX20" fmla="*/ 457200 w 469900"/>
                  <a:gd name="connsiteY20" fmla="*/ 56833 h 66675"/>
                  <a:gd name="connsiteX21" fmla="*/ 448310 w 469900"/>
                  <a:gd name="connsiteY21" fmla="*/ 58738 h 66675"/>
                  <a:gd name="connsiteX22" fmla="*/ 438785 w 469900"/>
                  <a:gd name="connsiteY22" fmla="*/ 57467 h 66675"/>
                  <a:gd name="connsiteX23" fmla="*/ 430530 w 469900"/>
                  <a:gd name="connsiteY23" fmla="*/ 54292 h 66675"/>
                  <a:gd name="connsiteX24" fmla="*/ 430530 w 469900"/>
                  <a:gd name="connsiteY24" fmla="*/ 63817 h 66675"/>
                  <a:gd name="connsiteX25" fmla="*/ 438150 w 469900"/>
                  <a:gd name="connsiteY25" fmla="*/ 66358 h 66675"/>
                  <a:gd name="connsiteX26" fmla="*/ 447992 w 469900"/>
                  <a:gd name="connsiteY26" fmla="*/ 67310 h 66675"/>
                  <a:gd name="connsiteX27" fmla="*/ 464502 w 469900"/>
                  <a:gd name="connsiteY27" fmla="*/ 63183 h 66675"/>
                  <a:gd name="connsiteX28" fmla="*/ 470217 w 469900"/>
                  <a:gd name="connsiteY28" fmla="*/ 50800 h 66675"/>
                  <a:gd name="connsiteX29" fmla="*/ 468630 w 469900"/>
                  <a:gd name="connsiteY29" fmla="*/ 44133 h 66675"/>
                  <a:gd name="connsiteX30" fmla="*/ 407035 w 469900"/>
                  <a:gd name="connsiteY30" fmla="*/ 23495 h 66675"/>
                  <a:gd name="connsiteX31" fmla="*/ 410210 w 469900"/>
                  <a:gd name="connsiteY31" fmla="*/ 33973 h 66675"/>
                  <a:gd name="connsiteX32" fmla="*/ 384492 w 469900"/>
                  <a:gd name="connsiteY32" fmla="*/ 33973 h 66675"/>
                  <a:gd name="connsiteX33" fmla="*/ 388620 w 469900"/>
                  <a:gd name="connsiteY33" fmla="*/ 23177 h 66675"/>
                  <a:gd name="connsiteX34" fmla="*/ 397827 w 469900"/>
                  <a:gd name="connsiteY34" fmla="*/ 19367 h 66675"/>
                  <a:gd name="connsiteX35" fmla="*/ 407035 w 469900"/>
                  <a:gd name="connsiteY35" fmla="*/ 23495 h 66675"/>
                  <a:gd name="connsiteX36" fmla="*/ 384810 w 469900"/>
                  <a:gd name="connsiteY36" fmla="*/ 14605 h 66675"/>
                  <a:gd name="connsiteX37" fmla="*/ 376238 w 469900"/>
                  <a:gd name="connsiteY37" fmla="*/ 24448 h 66675"/>
                  <a:gd name="connsiteX38" fmla="*/ 373063 w 469900"/>
                  <a:gd name="connsiteY38" fmla="*/ 40005 h 66675"/>
                  <a:gd name="connsiteX39" fmla="*/ 376555 w 469900"/>
                  <a:gd name="connsiteY39" fmla="*/ 55563 h 66675"/>
                  <a:gd name="connsiteX40" fmla="*/ 386080 w 469900"/>
                  <a:gd name="connsiteY40" fmla="*/ 64770 h 66675"/>
                  <a:gd name="connsiteX41" fmla="*/ 400050 w 469900"/>
                  <a:gd name="connsiteY41" fmla="*/ 67945 h 66675"/>
                  <a:gd name="connsiteX42" fmla="*/ 409892 w 469900"/>
                  <a:gd name="connsiteY42" fmla="*/ 66992 h 66675"/>
                  <a:gd name="connsiteX43" fmla="*/ 418148 w 469900"/>
                  <a:gd name="connsiteY43" fmla="*/ 64135 h 66675"/>
                  <a:gd name="connsiteX44" fmla="*/ 418148 w 469900"/>
                  <a:gd name="connsiteY44" fmla="*/ 55245 h 66675"/>
                  <a:gd name="connsiteX45" fmla="*/ 409575 w 469900"/>
                  <a:gd name="connsiteY45" fmla="*/ 58102 h 66675"/>
                  <a:gd name="connsiteX46" fmla="*/ 400050 w 469900"/>
                  <a:gd name="connsiteY46" fmla="*/ 59055 h 66675"/>
                  <a:gd name="connsiteX47" fmla="*/ 388302 w 469900"/>
                  <a:gd name="connsiteY47" fmla="*/ 54610 h 66675"/>
                  <a:gd name="connsiteX48" fmla="*/ 383858 w 469900"/>
                  <a:gd name="connsiteY48" fmla="*/ 41592 h 66675"/>
                  <a:gd name="connsiteX49" fmla="*/ 420687 w 469900"/>
                  <a:gd name="connsiteY49" fmla="*/ 41592 h 66675"/>
                  <a:gd name="connsiteX50" fmla="*/ 420687 w 469900"/>
                  <a:gd name="connsiteY50" fmla="*/ 35560 h 66675"/>
                  <a:gd name="connsiteX51" fmla="*/ 414337 w 469900"/>
                  <a:gd name="connsiteY51" fmla="*/ 17463 h 66675"/>
                  <a:gd name="connsiteX52" fmla="*/ 397510 w 469900"/>
                  <a:gd name="connsiteY52" fmla="*/ 10795 h 66675"/>
                  <a:gd name="connsiteX53" fmla="*/ 384810 w 469900"/>
                  <a:gd name="connsiteY53" fmla="*/ 14605 h 66675"/>
                  <a:gd name="connsiteX54" fmla="*/ 331152 w 469900"/>
                  <a:gd name="connsiteY54" fmla="*/ 13335 h 66675"/>
                  <a:gd name="connsiteX55" fmla="*/ 323850 w 469900"/>
                  <a:gd name="connsiteY55" fmla="*/ 20002 h 66675"/>
                  <a:gd name="connsiteX56" fmla="*/ 322897 w 469900"/>
                  <a:gd name="connsiteY56" fmla="*/ 20002 h 66675"/>
                  <a:gd name="connsiteX57" fmla="*/ 306388 w 469900"/>
                  <a:gd name="connsiteY57" fmla="*/ 11113 h 66675"/>
                  <a:gd name="connsiteX58" fmla="*/ 297180 w 469900"/>
                  <a:gd name="connsiteY58" fmla="*/ 13017 h 66675"/>
                  <a:gd name="connsiteX59" fmla="*/ 290195 w 469900"/>
                  <a:gd name="connsiteY59" fmla="*/ 19367 h 66675"/>
                  <a:gd name="connsiteX60" fmla="*/ 289560 w 469900"/>
                  <a:gd name="connsiteY60" fmla="*/ 19367 h 66675"/>
                  <a:gd name="connsiteX61" fmla="*/ 287972 w 469900"/>
                  <a:gd name="connsiteY61" fmla="*/ 12065 h 66675"/>
                  <a:gd name="connsiteX62" fmla="*/ 279400 w 469900"/>
                  <a:gd name="connsiteY62" fmla="*/ 12065 h 66675"/>
                  <a:gd name="connsiteX63" fmla="*/ 279400 w 469900"/>
                  <a:gd name="connsiteY63" fmla="*/ 66675 h 66675"/>
                  <a:gd name="connsiteX64" fmla="*/ 290195 w 469900"/>
                  <a:gd name="connsiteY64" fmla="*/ 66675 h 66675"/>
                  <a:gd name="connsiteX65" fmla="*/ 290195 w 469900"/>
                  <a:gd name="connsiteY65" fmla="*/ 39052 h 66675"/>
                  <a:gd name="connsiteX66" fmla="*/ 293052 w 469900"/>
                  <a:gd name="connsiteY66" fmla="*/ 24765 h 66675"/>
                  <a:gd name="connsiteX67" fmla="*/ 303530 w 469900"/>
                  <a:gd name="connsiteY67" fmla="*/ 19685 h 66675"/>
                  <a:gd name="connsiteX68" fmla="*/ 314008 w 469900"/>
                  <a:gd name="connsiteY68" fmla="*/ 32385 h 66675"/>
                  <a:gd name="connsiteX69" fmla="*/ 314008 w 469900"/>
                  <a:gd name="connsiteY69" fmla="*/ 66675 h 66675"/>
                  <a:gd name="connsiteX70" fmla="*/ 324802 w 469900"/>
                  <a:gd name="connsiteY70" fmla="*/ 66675 h 66675"/>
                  <a:gd name="connsiteX71" fmla="*/ 324802 w 469900"/>
                  <a:gd name="connsiteY71" fmla="*/ 37148 h 66675"/>
                  <a:gd name="connsiteX72" fmla="*/ 327977 w 469900"/>
                  <a:gd name="connsiteY72" fmla="*/ 24130 h 66675"/>
                  <a:gd name="connsiteX73" fmla="*/ 338455 w 469900"/>
                  <a:gd name="connsiteY73" fmla="*/ 19685 h 66675"/>
                  <a:gd name="connsiteX74" fmla="*/ 348615 w 469900"/>
                  <a:gd name="connsiteY74" fmla="*/ 32385 h 66675"/>
                  <a:gd name="connsiteX75" fmla="*/ 348615 w 469900"/>
                  <a:gd name="connsiteY75" fmla="*/ 66675 h 66675"/>
                  <a:gd name="connsiteX76" fmla="*/ 359410 w 469900"/>
                  <a:gd name="connsiteY76" fmla="*/ 66675 h 66675"/>
                  <a:gd name="connsiteX77" fmla="*/ 359410 w 469900"/>
                  <a:gd name="connsiteY77" fmla="*/ 31115 h 66675"/>
                  <a:gd name="connsiteX78" fmla="*/ 354647 w 469900"/>
                  <a:gd name="connsiteY78" fmla="*/ 15875 h 66675"/>
                  <a:gd name="connsiteX79" fmla="*/ 340677 w 469900"/>
                  <a:gd name="connsiteY79" fmla="*/ 11113 h 66675"/>
                  <a:gd name="connsiteX80" fmla="*/ 331152 w 469900"/>
                  <a:gd name="connsiteY80" fmla="*/ 13335 h 66675"/>
                  <a:gd name="connsiteX81" fmla="*/ 229235 w 469900"/>
                  <a:gd name="connsiteY81" fmla="*/ 25400 h 66675"/>
                  <a:gd name="connsiteX82" fmla="*/ 240347 w 469900"/>
                  <a:gd name="connsiteY82" fmla="*/ 20320 h 66675"/>
                  <a:gd name="connsiteX83" fmla="*/ 251460 w 469900"/>
                  <a:gd name="connsiteY83" fmla="*/ 25400 h 66675"/>
                  <a:gd name="connsiteX84" fmla="*/ 254952 w 469900"/>
                  <a:gd name="connsiteY84" fmla="*/ 39688 h 66675"/>
                  <a:gd name="connsiteX85" fmla="*/ 251460 w 469900"/>
                  <a:gd name="connsiteY85" fmla="*/ 53975 h 66675"/>
                  <a:gd name="connsiteX86" fmla="*/ 240347 w 469900"/>
                  <a:gd name="connsiteY86" fmla="*/ 59055 h 66675"/>
                  <a:gd name="connsiteX87" fmla="*/ 229235 w 469900"/>
                  <a:gd name="connsiteY87" fmla="*/ 53975 h 66675"/>
                  <a:gd name="connsiteX88" fmla="*/ 225742 w 469900"/>
                  <a:gd name="connsiteY88" fmla="*/ 39688 h 66675"/>
                  <a:gd name="connsiteX89" fmla="*/ 229235 w 469900"/>
                  <a:gd name="connsiteY89" fmla="*/ 25400 h 66675"/>
                  <a:gd name="connsiteX90" fmla="*/ 262890 w 469900"/>
                  <a:gd name="connsiteY90" fmla="*/ 24130 h 66675"/>
                  <a:gd name="connsiteX91" fmla="*/ 254000 w 469900"/>
                  <a:gd name="connsiteY91" fmla="*/ 14605 h 66675"/>
                  <a:gd name="connsiteX92" fmla="*/ 240665 w 469900"/>
                  <a:gd name="connsiteY92" fmla="*/ 11430 h 66675"/>
                  <a:gd name="connsiteX93" fmla="*/ 221615 w 469900"/>
                  <a:gd name="connsiteY93" fmla="*/ 18733 h 66675"/>
                  <a:gd name="connsiteX94" fmla="*/ 214630 w 469900"/>
                  <a:gd name="connsiteY94" fmla="*/ 39688 h 66675"/>
                  <a:gd name="connsiteX95" fmla="*/ 217805 w 469900"/>
                  <a:gd name="connsiteY95" fmla="*/ 55245 h 66675"/>
                  <a:gd name="connsiteX96" fmla="*/ 226695 w 469900"/>
                  <a:gd name="connsiteY96" fmla="*/ 64770 h 66675"/>
                  <a:gd name="connsiteX97" fmla="*/ 239713 w 469900"/>
                  <a:gd name="connsiteY97" fmla="*/ 67945 h 66675"/>
                  <a:gd name="connsiteX98" fmla="*/ 258763 w 469900"/>
                  <a:gd name="connsiteY98" fmla="*/ 60642 h 66675"/>
                  <a:gd name="connsiteX99" fmla="*/ 265747 w 469900"/>
                  <a:gd name="connsiteY99" fmla="*/ 39688 h 66675"/>
                  <a:gd name="connsiteX100" fmla="*/ 262890 w 469900"/>
                  <a:gd name="connsiteY100" fmla="*/ 24130 h 66675"/>
                  <a:gd name="connsiteX101" fmla="*/ 198755 w 469900"/>
                  <a:gd name="connsiteY101" fmla="*/ 67310 h 66675"/>
                  <a:gd name="connsiteX102" fmla="*/ 205105 w 469900"/>
                  <a:gd name="connsiteY102" fmla="*/ 64770 h 66675"/>
                  <a:gd name="connsiteX103" fmla="*/ 205105 w 469900"/>
                  <a:gd name="connsiteY103" fmla="*/ 55563 h 66675"/>
                  <a:gd name="connsiteX104" fmla="*/ 198755 w 469900"/>
                  <a:gd name="connsiteY104" fmla="*/ 58102 h 66675"/>
                  <a:gd name="connsiteX105" fmla="*/ 190817 w 469900"/>
                  <a:gd name="connsiteY105" fmla="*/ 59055 h 66675"/>
                  <a:gd name="connsiteX106" fmla="*/ 180022 w 469900"/>
                  <a:gd name="connsiteY106" fmla="*/ 54292 h 66675"/>
                  <a:gd name="connsiteX107" fmla="*/ 176213 w 469900"/>
                  <a:gd name="connsiteY107" fmla="*/ 40005 h 66675"/>
                  <a:gd name="connsiteX108" fmla="*/ 191135 w 469900"/>
                  <a:gd name="connsiteY108" fmla="*/ 20638 h 66675"/>
                  <a:gd name="connsiteX109" fmla="*/ 197167 w 469900"/>
                  <a:gd name="connsiteY109" fmla="*/ 21590 h 66675"/>
                  <a:gd name="connsiteX110" fmla="*/ 203200 w 469900"/>
                  <a:gd name="connsiteY110" fmla="*/ 23495 h 66675"/>
                  <a:gd name="connsiteX111" fmla="*/ 206375 w 469900"/>
                  <a:gd name="connsiteY111" fmla="*/ 14605 h 66675"/>
                  <a:gd name="connsiteX112" fmla="*/ 199708 w 469900"/>
                  <a:gd name="connsiteY112" fmla="*/ 12383 h 66675"/>
                  <a:gd name="connsiteX113" fmla="*/ 191135 w 469900"/>
                  <a:gd name="connsiteY113" fmla="*/ 11430 h 66675"/>
                  <a:gd name="connsiteX114" fmla="*/ 177800 w 469900"/>
                  <a:gd name="connsiteY114" fmla="*/ 14288 h 66675"/>
                  <a:gd name="connsiteX115" fmla="*/ 168592 w 469900"/>
                  <a:gd name="connsiteY115" fmla="*/ 23495 h 66675"/>
                  <a:gd name="connsiteX116" fmla="*/ 165100 w 469900"/>
                  <a:gd name="connsiteY116" fmla="*/ 40005 h 66675"/>
                  <a:gd name="connsiteX117" fmla="*/ 172085 w 469900"/>
                  <a:gd name="connsiteY117" fmla="*/ 61277 h 66675"/>
                  <a:gd name="connsiteX118" fmla="*/ 190500 w 469900"/>
                  <a:gd name="connsiteY118" fmla="*/ 67945 h 66675"/>
                  <a:gd name="connsiteX119" fmla="*/ 198755 w 469900"/>
                  <a:gd name="connsiteY119" fmla="*/ 67310 h 66675"/>
                  <a:gd name="connsiteX120" fmla="*/ 143192 w 469900"/>
                  <a:gd name="connsiteY120" fmla="*/ 57150 h 66675"/>
                  <a:gd name="connsiteX121" fmla="*/ 140970 w 469900"/>
                  <a:gd name="connsiteY121" fmla="*/ 50483 h 66675"/>
                  <a:gd name="connsiteX122" fmla="*/ 140970 w 469900"/>
                  <a:gd name="connsiteY122" fmla="*/ 20320 h 66675"/>
                  <a:gd name="connsiteX123" fmla="*/ 156527 w 469900"/>
                  <a:gd name="connsiteY123" fmla="*/ 20320 h 66675"/>
                  <a:gd name="connsiteX124" fmla="*/ 156527 w 469900"/>
                  <a:gd name="connsiteY124" fmla="*/ 12065 h 66675"/>
                  <a:gd name="connsiteX125" fmla="*/ 140970 w 469900"/>
                  <a:gd name="connsiteY125" fmla="*/ 12065 h 66675"/>
                  <a:gd name="connsiteX126" fmla="*/ 140970 w 469900"/>
                  <a:gd name="connsiteY126" fmla="*/ 0 h 66675"/>
                  <a:gd name="connsiteX127" fmla="*/ 134302 w 469900"/>
                  <a:gd name="connsiteY127" fmla="*/ 0 h 66675"/>
                  <a:gd name="connsiteX128" fmla="*/ 130492 w 469900"/>
                  <a:gd name="connsiteY128" fmla="*/ 11430 h 66675"/>
                  <a:gd name="connsiteX129" fmla="*/ 122555 w 469900"/>
                  <a:gd name="connsiteY129" fmla="*/ 15558 h 66675"/>
                  <a:gd name="connsiteX130" fmla="*/ 122555 w 469900"/>
                  <a:gd name="connsiteY130" fmla="*/ 20320 h 66675"/>
                  <a:gd name="connsiteX131" fmla="*/ 130175 w 469900"/>
                  <a:gd name="connsiteY131" fmla="*/ 20320 h 66675"/>
                  <a:gd name="connsiteX132" fmla="*/ 130175 w 469900"/>
                  <a:gd name="connsiteY132" fmla="*/ 50483 h 66675"/>
                  <a:gd name="connsiteX133" fmla="*/ 132397 w 469900"/>
                  <a:gd name="connsiteY133" fmla="*/ 60960 h 66675"/>
                  <a:gd name="connsiteX134" fmla="*/ 138430 w 469900"/>
                  <a:gd name="connsiteY134" fmla="*/ 66358 h 66675"/>
                  <a:gd name="connsiteX135" fmla="*/ 146685 w 469900"/>
                  <a:gd name="connsiteY135" fmla="*/ 67945 h 66675"/>
                  <a:gd name="connsiteX136" fmla="*/ 152717 w 469900"/>
                  <a:gd name="connsiteY136" fmla="*/ 67310 h 66675"/>
                  <a:gd name="connsiteX137" fmla="*/ 157480 w 469900"/>
                  <a:gd name="connsiteY137" fmla="*/ 66040 h 66675"/>
                  <a:gd name="connsiteX138" fmla="*/ 157480 w 469900"/>
                  <a:gd name="connsiteY138" fmla="*/ 57785 h 66675"/>
                  <a:gd name="connsiteX139" fmla="*/ 149225 w 469900"/>
                  <a:gd name="connsiteY139" fmla="*/ 59055 h 66675"/>
                  <a:gd name="connsiteX140" fmla="*/ 143192 w 469900"/>
                  <a:gd name="connsiteY140" fmla="*/ 57150 h 66675"/>
                  <a:gd name="connsiteX141" fmla="*/ 101600 w 469900"/>
                  <a:gd name="connsiteY141" fmla="*/ 12383 h 66675"/>
                  <a:gd name="connsiteX142" fmla="*/ 101600 w 469900"/>
                  <a:gd name="connsiteY142" fmla="*/ 40005 h 66675"/>
                  <a:gd name="connsiteX143" fmla="*/ 98425 w 469900"/>
                  <a:gd name="connsiteY143" fmla="*/ 54292 h 66675"/>
                  <a:gd name="connsiteX144" fmla="*/ 86677 w 469900"/>
                  <a:gd name="connsiteY144" fmla="*/ 59373 h 66675"/>
                  <a:gd name="connsiteX145" fmla="*/ 78422 w 469900"/>
                  <a:gd name="connsiteY145" fmla="*/ 56198 h 66675"/>
                  <a:gd name="connsiteX146" fmla="*/ 75883 w 469900"/>
                  <a:gd name="connsiteY146" fmla="*/ 46673 h 66675"/>
                  <a:gd name="connsiteX147" fmla="*/ 75883 w 469900"/>
                  <a:gd name="connsiteY147" fmla="*/ 12383 h 66675"/>
                  <a:gd name="connsiteX148" fmla="*/ 65088 w 469900"/>
                  <a:gd name="connsiteY148" fmla="*/ 12383 h 66675"/>
                  <a:gd name="connsiteX149" fmla="*/ 65088 w 469900"/>
                  <a:gd name="connsiteY149" fmla="*/ 48260 h 66675"/>
                  <a:gd name="connsiteX150" fmla="*/ 70167 w 469900"/>
                  <a:gd name="connsiteY150" fmla="*/ 63500 h 66675"/>
                  <a:gd name="connsiteX151" fmla="*/ 84772 w 469900"/>
                  <a:gd name="connsiteY151" fmla="*/ 68263 h 66675"/>
                  <a:gd name="connsiteX152" fmla="*/ 94615 w 469900"/>
                  <a:gd name="connsiteY152" fmla="*/ 66358 h 66675"/>
                  <a:gd name="connsiteX153" fmla="*/ 101917 w 469900"/>
                  <a:gd name="connsiteY153" fmla="*/ 60008 h 66675"/>
                  <a:gd name="connsiteX154" fmla="*/ 102552 w 469900"/>
                  <a:gd name="connsiteY154" fmla="*/ 60008 h 66675"/>
                  <a:gd name="connsiteX155" fmla="*/ 104140 w 469900"/>
                  <a:gd name="connsiteY155" fmla="*/ 67310 h 66675"/>
                  <a:gd name="connsiteX156" fmla="*/ 112713 w 469900"/>
                  <a:gd name="connsiteY156" fmla="*/ 67310 h 66675"/>
                  <a:gd name="connsiteX157" fmla="*/ 112713 w 469900"/>
                  <a:gd name="connsiteY157" fmla="*/ 12700 h 66675"/>
                  <a:gd name="connsiteX158" fmla="*/ 101600 w 469900"/>
                  <a:gd name="connsiteY158" fmla="*/ 12700 h 66675"/>
                  <a:gd name="connsiteX159" fmla="*/ 14605 w 469900"/>
                  <a:gd name="connsiteY159" fmla="*/ 25400 h 66675"/>
                  <a:gd name="connsiteX160" fmla="*/ 25717 w 469900"/>
                  <a:gd name="connsiteY160" fmla="*/ 20320 h 66675"/>
                  <a:gd name="connsiteX161" fmla="*/ 36830 w 469900"/>
                  <a:gd name="connsiteY161" fmla="*/ 25400 h 66675"/>
                  <a:gd name="connsiteX162" fmla="*/ 40322 w 469900"/>
                  <a:gd name="connsiteY162" fmla="*/ 39688 h 66675"/>
                  <a:gd name="connsiteX163" fmla="*/ 36830 w 469900"/>
                  <a:gd name="connsiteY163" fmla="*/ 53975 h 66675"/>
                  <a:gd name="connsiteX164" fmla="*/ 25717 w 469900"/>
                  <a:gd name="connsiteY164" fmla="*/ 59055 h 66675"/>
                  <a:gd name="connsiteX165" fmla="*/ 14605 w 469900"/>
                  <a:gd name="connsiteY165" fmla="*/ 53975 h 66675"/>
                  <a:gd name="connsiteX166" fmla="*/ 11113 w 469900"/>
                  <a:gd name="connsiteY166" fmla="*/ 39688 h 66675"/>
                  <a:gd name="connsiteX167" fmla="*/ 14605 w 469900"/>
                  <a:gd name="connsiteY167" fmla="*/ 25400 h 66675"/>
                  <a:gd name="connsiteX168" fmla="*/ 48260 w 469900"/>
                  <a:gd name="connsiteY168" fmla="*/ 24130 h 66675"/>
                  <a:gd name="connsiteX169" fmla="*/ 39370 w 469900"/>
                  <a:gd name="connsiteY169" fmla="*/ 14605 h 66675"/>
                  <a:gd name="connsiteX170" fmla="*/ 26035 w 469900"/>
                  <a:gd name="connsiteY170" fmla="*/ 11430 h 66675"/>
                  <a:gd name="connsiteX171" fmla="*/ 6985 w 469900"/>
                  <a:gd name="connsiteY171" fmla="*/ 18733 h 66675"/>
                  <a:gd name="connsiteX172" fmla="*/ 0 w 469900"/>
                  <a:gd name="connsiteY172" fmla="*/ 39688 h 66675"/>
                  <a:gd name="connsiteX173" fmla="*/ 3175 w 469900"/>
                  <a:gd name="connsiteY173" fmla="*/ 55245 h 66675"/>
                  <a:gd name="connsiteX174" fmla="*/ 12065 w 469900"/>
                  <a:gd name="connsiteY174" fmla="*/ 64770 h 66675"/>
                  <a:gd name="connsiteX175" fmla="*/ 25083 w 469900"/>
                  <a:gd name="connsiteY175" fmla="*/ 67945 h 66675"/>
                  <a:gd name="connsiteX176" fmla="*/ 44133 w 469900"/>
                  <a:gd name="connsiteY176" fmla="*/ 60642 h 66675"/>
                  <a:gd name="connsiteX177" fmla="*/ 51117 w 469900"/>
                  <a:gd name="connsiteY177" fmla="*/ 39688 h 66675"/>
                  <a:gd name="connsiteX178" fmla="*/ 48260 w 469900"/>
                  <a:gd name="connsiteY178" fmla="*/ 2413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469900" h="66675">
                    <a:moveTo>
                      <a:pt x="468630" y="44133"/>
                    </a:moveTo>
                    <a:cubicBezTo>
                      <a:pt x="467360" y="42227"/>
                      <a:pt x="465455" y="40640"/>
                      <a:pt x="463233" y="39052"/>
                    </a:cubicBezTo>
                    <a:cubicBezTo>
                      <a:pt x="460692" y="37783"/>
                      <a:pt x="457835" y="36195"/>
                      <a:pt x="454660" y="34925"/>
                    </a:cubicBezTo>
                    <a:cubicBezTo>
                      <a:pt x="451167" y="33655"/>
                      <a:pt x="448627" y="32385"/>
                      <a:pt x="446723" y="31433"/>
                    </a:cubicBezTo>
                    <a:cubicBezTo>
                      <a:pt x="444817" y="30480"/>
                      <a:pt x="443548" y="29527"/>
                      <a:pt x="442595" y="28575"/>
                    </a:cubicBezTo>
                    <a:cubicBezTo>
                      <a:pt x="441960" y="27623"/>
                      <a:pt x="441325" y="26352"/>
                      <a:pt x="441325" y="25083"/>
                    </a:cubicBezTo>
                    <a:cubicBezTo>
                      <a:pt x="441325" y="21273"/>
                      <a:pt x="444500" y="19367"/>
                      <a:pt x="451167" y="19367"/>
                    </a:cubicBezTo>
                    <a:cubicBezTo>
                      <a:pt x="453708" y="19367"/>
                      <a:pt x="456248" y="19685"/>
                      <a:pt x="458787" y="20320"/>
                    </a:cubicBezTo>
                    <a:cubicBezTo>
                      <a:pt x="461327" y="20955"/>
                      <a:pt x="463867" y="21908"/>
                      <a:pt x="466090" y="22860"/>
                    </a:cubicBezTo>
                    <a:lnTo>
                      <a:pt x="469583" y="14605"/>
                    </a:lnTo>
                    <a:cubicBezTo>
                      <a:pt x="466725" y="13335"/>
                      <a:pt x="463867" y="12383"/>
                      <a:pt x="461010" y="11748"/>
                    </a:cubicBezTo>
                    <a:cubicBezTo>
                      <a:pt x="458152" y="11113"/>
                      <a:pt x="454977" y="10795"/>
                      <a:pt x="451485" y="10795"/>
                    </a:cubicBezTo>
                    <a:cubicBezTo>
                      <a:pt x="445135" y="10795"/>
                      <a:pt x="440055" y="12065"/>
                      <a:pt x="436245" y="14605"/>
                    </a:cubicBezTo>
                    <a:cubicBezTo>
                      <a:pt x="432435" y="17145"/>
                      <a:pt x="430530" y="20638"/>
                      <a:pt x="430530" y="25400"/>
                    </a:cubicBezTo>
                    <a:cubicBezTo>
                      <a:pt x="430530" y="28258"/>
                      <a:pt x="431165" y="30798"/>
                      <a:pt x="432435" y="32702"/>
                    </a:cubicBezTo>
                    <a:cubicBezTo>
                      <a:pt x="433705" y="34608"/>
                      <a:pt x="435610" y="36513"/>
                      <a:pt x="437833" y="37783"/>
                    </a:cubicBezTo>
                    <a:cubicBezTo>
                      <a:pt x="440373" y="39052"/>
                      <a:pt x="443230" y="40640"/>
                      <a:pt x="446723" y="41910"/>
                    </a:cubicBezTo>
                    <a:cubicBezTo>
                      <a:pt x="450215" y="43180"/>
                      <a:pt x="453073" y="44450"/>
                      <a:pt x="454977" y="45402"/>
                    </a:cubicBezTo>
                    <a:cubicBezTo>
                      <a:pt x="456883" y="46355"/>
                      <a:pt x="458152" y="47625"/>
                      <a:pt x="458787" y="48577"/>
                    </a:cubicBezTo>
                    <a:cubicBezTo>
                      <a:pt x="459423" y="49530"/>
                      <a:pt x="459740" y="50800"/>
                      <a:pt x="459740" y="51752"/>
                    </a:cubicBezTo>
                    <a:cubicBezTo>
                      <a:pt x="459740" y="53975"/>
                      <a:pt x="458787" y="55563"/>
                      <a:pt x="457200" y="56833"/>
                    </a:cubicBezTo>
                    <a:cubicBezTo>
                      <a:pt x="455295" y="58102"/>
                      <a:pt x="452437" y="58738"/>
                      <a:pt x="448310" y="58738"/>
                    </a:cubicBezTo>
                    <a:cubicBezTo>
                      <a:pt x="445135" y="58738"/>
                      <a:pt x="442277" y="58420"/>
                      <a:pt x="438785" y="57467"/>
                    </a:cubicBezTo>
                    <a:cubicBezTo>
                      <a:pt x="435610" y="56515"/>
                      <a:pt x="432752" y="55563"/>
                      <a:pt x="430530" y="54292"/>
                    </a:cubicBezTo>
                    <a:lnTo>
                      <a:pt x="430530" y="63817"/>
                    </a:lnTo>
                    <a:cubicBezTo>
                      <a:pt x="432752" y="65088"/>
                      <a:pt x="435292" y="65723"/>
                      <a:pt x="438150" y="66358"/>
                    </a:cubicBezTo>
                    <a:cubicBezTo>
                      <a:pt x="441008" y="66992"/>
                      <a:pt x="444183" y="67310"/>
                      <a:pt x="447992" y="67310"/>
                    </a:cubicBezTo>
                    <a:cubicBezTo>
                      <a:pt x="454977" y="67310"/>
                      <a:pt x="460375" y="66040"/>
                      <a:pt x="464502" y="63183"/>
                    </a:cubicBezTo>
                    <a:cubicBezTo>
                      <a:pt x="468312" y="60325"/>
                      <a:pt x="470217" y="56198"/>
                      <a:pt x="470217" y="50800"/>
                    </a:cubicBezTo>
                    <a:cubicBezTo>
                      <a:pt x="470535" y="48577"/>
                      <a:pt x="469900" y="46038"/>
                      <a:pt x="468630" y="44133"/>
                    </a:cubicBezTo>
                    <a:moveTo>
                      <a:pt x="407035" y="23495"/>
                    </a:moveTo>
                    <a:cubicBezTo>
                      <a:pt x="408940" y="26035"/>
                      <a:pt x="410210" y="29527"/>
                      <a:pt x="410210" y="33973"/>
                    </a:cubicBezTo>
                    <a:lnTo>
                      <a:pt x="384492" y="33973"/>
                    </a:lnTo>
                    <a:cubicBezTo>
                      <a:pt x="384810" y="29210"/>
                      <a:pt x="386397" y="25717"/>
                      <a:pt x="388620" y="23177"/>
                    </a:cubicBezTo>
                    <a:cubicBezTo>
                      <a:pt x="390842" y="20638"/>
                      <a:pt x="394017" y="19367"/>
                      <a:pt x="397827" y="19367"/>
                    </a:cubicBezTo>
                    <a:cubicBezTo>
                      <a:pt x="401955" y="19685"/>
                      <a:pt x="405130" y="20955"/>
                      <a:pt x="407035" y="23495"/>
                    </a:cubicBezTo>
                    <a:moveTo>
                      <a:pt x="384810" y="14605"/>
                    </a:moveTo>
                    <a:cubicBezTo>
                      <a:pt x="381000" y="16827"/>
                      <a:pt x="378142" y="20002"/>
                      <a:pt x="376238" y="24448"/>
                    </a:cubicBezTo>
                    <a:cubicBezTo>
                      <a:pt x="374015" y="28575"/>
                      <a:pt x="373063" y="33973"/>
                      <a:pt x="373063" y="40005"/>
                    </a:cubicBezTo>
                    <a:cubicBezTo>
                      <a:pt x="373063" y="46038"/>
                      <a:pt x="374333" y="51435"/>
                      <a:pt x="376555" y="55563"/>
                    </a:cubicBezTo>
                    <a:cubicBezTo>
                      <a:pt x="378777" y="59690"/>
                      <a:pt x="381952" y="62865"/>
                      <a:pt x="386080" y="64770"/>
                    </a:cubicBezTo>
                    <a:cubicBezTo>
                      <a:pt x="390208" y="66675"/>
                      <a:pt x="394970" y="67945"/>
                      <a:pt x="400050" y="67945"/>
                    </a:cubicBezTo>
                    <a:cubicBezTo>
                      <a:pt x="403860" y="67945"/>
                      <a:pt x="407352" y="67627"/>
                      <a:pt x="409892" y="66992"/>
                    </a:cubicBezTo>
                    <a:cubicBezTo>
                      <a:pt x="412750" y="66358"/>
                      <a:pt x="415290" y="65405"/>
                      <a:pt x="418148" y="64135"/>
                    </a:cubicBezTo>
                    <a:lnTo>
                      <a:pt x="418148" y="55245"/>
                    </a:lnTo>
                    <a:cubicBezTo>
                      <a:pt x="415290" y="56515"/>
                      <a:pt x="412433" y="57467"/>
                      <a:pt x="409575" y="58102"/>
                    </a:cubicBezTo>
                    <a:cubicBezTo>
                      <a:pt x="406717" y="58738"/>
                      <a:pt x="403542" y="59055"/>
                      <a:pt x="400050" y="59055"/>
                    </a:cubicBezTo>
                    <a:cubicBezTo>
                      <a:pt x="394970" y="59055"/>
                      <a:pt x="391160" y="57467"/>
                      <a:pt x="388302" y="54610"/>
                    </a:cubicBezTo>
                    <a:cubicBezTo>
                      <a:pt x="385445" y="51752"/>
                      <a:pt x="383858" y="47308"/>
                      <a:pt x="383858" y="41592"/>
                    </a:cubicBezTo>
                    <a:lnTo>
                      <a:pt x="420687" y="41592"/>
                    </a:lnTo>
                    <a:lnTo>
                      <a:pt x="420687" y="35560"/>
                    </a:lnTo>
                    <a:cubicBezTo>
                      <a:pt x="420687" y="27940"/>
                      <a:pt x="418465" y="21908"/>
                      <a:pt x="414337" y="17463"/>
                    </a:cubicBezTo>
                    <a:cubicBezTo>
                      <a:pt x="410210" y="13017"/>
                      <a:pt x="404495" y="10795"/>
                      <a:pt x="397510" y="10795"/>
                    </a:cubicBezTo>
                    <a:cubicBezTo>
                      <a:pt x="392747" y="11430"/>
                      <a:pt x="388620" y="12383"/>
                      <a:pt x="384810" y="14605"/>
                    </a:cubicBezTo>
                    <a:moveTo>
                      <a:pt x="331152" y="13335"/>
                    </a:moveTo>
                    <a:cubicBezTo>
                      <a:pt x="327977" y="14923"/>
                      <a:pt x="325438" y="17145"/>
                      <a:pt x="323850" y="20002"/>
                    </a:cubicBezTo>
                    <a:lnTo>
                      <a:pt x="322897" y="20002"/>
                    </a:lnTo>
                    <a:cubicBezTo>
                      <a:pt x="320040" y="13970"/>
                      <a:pt x="314642" y="11113"/>
                      <a:pt x="306388" y="11113"/>
                    </a:cubicBezTo>
                    <a:cubicBezTo>
                      <a:pt x="303213" y="11113"/>
                      <a:pt x="300038" y="11748"/>
                      <a:pt x="297180" y="13017"/>
                    </a:cubicBezTo>
                    <a:cubicBezTo>
                      <a:pt x="294322" y="14288"/>
                      <a:pt x="292100" y="16510"/>
                      <a:pt x="290195" y="19367"/>
                    </a:cubicBezTo>
                    <a:lnTo>
                      <a:pt x="289560" y="19367"/>
                    </a:lnTo>
                    <a:lnTo>
                      <a:pt x="287972" y="12065"/>
                    </a:lnTo>
                    <a:lnTo>
                      <a:pt x="279400" y="12065"/>
                    </a:lnTo>
                    <a:lnTo>
                      <a:pt x="279400" y="66675"/>
                    </a:lnTo>
                    <a:lnTo>
                      <a:pt x="290195" y="66675"/>
                    </a:lnTo>
                    <a:lnTo>
                      <a:pt x="290195" y="39052"/>
                    </a:lnTo>
                    <a:cubicBezTo>
                      <a:pt x="290195" y="32702"/>
                      <a:pt x="291147" y="27940"/>
                      <a:pt x="293052" y="24765"/>
                    </a:cubicBezTo>
                    <a:cubicBezTo>
                      <a:pt x="294958" y="21590"/>
                      <a:pt x="298450" y="19685"/>
                      <a:pt x="303530" y="19685"/>
                    </a:cubicBezTo>
                    <a:cubicBezTo>
                      <a:pt x="310515" y="19685"/>
                      <a:pt x="314008" y="23813"/>
                      <a:pt x="314008" y="32385"/>
                    </a:cubicBezTo>
                    <a:lnTo>
                      <a:pt x="314008" y="66675"/>
                    </a:lnTo>
                    <a:lnTo>
                      <a:pt x="324802" y="66675"/>
                    </a:lnTo>
                    <a:lnTo>
                      <a:pt x="324802" y="37148"/>
                    </a:lnTo>
                    <a:cubicBezTo>
                      <a:pt x="324802" y="31433"/>
                      <a:pt x="325755" y="27305"/>
                      <a:pt x="327977" y="24130"/>
                    </a:cubicBezTo>
                    <a:cubicBezTo>
                      <a:pt x="330200" y="21273"/>
                      <a:pt x="333692" y="19685"/>
                      <a:pt x="338455" y="19685"/>
                    </a:cubicBezTo>
                    <a:cubicBezTo>
                      <a:pt x="345440" y="19685"/>
                      <a:pt x="348615" y="23813"/>
                      <a:pt x="348615" y="32385"/>
                    </a:cubicBezTo>
                    <a:lnTo>
                      <a:pt x="348615" y="66675"/>
                    </a:lnTo>
                    <a:lnTo>
                      <a:pt x="359410" y="66675"/>
                    </a:lnTo>
                    <a:lnTo>
                      <a:pt x="359410" y="31115"/>
                    </a:lnTo>
                    <a:cubicBezTo>
                      <a:pt x="359410" y="24130"/>
                      <a:pt x="357822" y="19050"/>
                      <a:pt x="354647" y="15875"/>
                    </a:cubicBezTo>
                    <a:cubicBezTo>
                      <a:pt x="351472" y="12700"/>
                      <a:pt x="347027" y="11113"/>
                      <a:pt x="340677" y="11113"/>
                    </a:cubicBezTo>
                    <a:cubicBezTo>
                      <a:pt x="337820" y="11430"/>
                      <a:pt x="334327" y="12065"/>
                      <a:pt x="331152" y="13335"/>
                    </a:cubicBezTo>
                    <a:moveTo>
                      <a:pt x="229235" y="25400"/>
                    </a:moveTo>
                    <a:cubicBezTo>
                      <a:pt x="231458" y="21908"/>
                      <a:pt x="235267" y="20320"/>
                      <a:pt x="240347" y="20320"/>
                    </a:cubicBezTo>
                    <a:cubicBezTo>
                      <a:pt x="245427" y="20320"/>
                      <a:pt x="249238" y="21908"/>
                      <a:pt x="251460" y="25400"/>
                    </a:cubicBezTo>
                    <a:cubicBezTo>
                      <a:pt x="253683" y="28892"/>
                      <a:pt x="254952" y="33655"/>
                      <a:pt x="254952" y="39688"/>
                    </a:cubicBezTo>
                    <a:cubicBezTo>
                      <a:pt x="254952" y="45720"/>
                      <a:pt x="253683" y="50800"/>
                      <a:pt x="251460" y="53975"/>
                    </a:cubicBezTo>
                    <a:cubicBezTo>
                      <a:pt x="249238" y="57467"/>
                      <a:pt x="245427" y="59055"/>
                      <a:pt x="240347" y="59055"/>
                    </a:cubicBezTo>
                    <a:cubicBezTo>
                      <a:pt x="235267" y="59055"/>
                      <a:pt x="231458" y="57467"/>
                      <a:pt x="229235" y="53975"/>
                    </a:cubicBezTo>
                    <a:cubicBezTo>
                      <a:pt x="227013" y="50483"/>
                      <a:pt x="225742" y="45720"/>
                      <a:pt x="225742" y="39688"/>
                    </a:cubicBezTo>
                    <a:cubicBezTo>
                      <a:pt x="225742" y="33338"/>
                      <a:pt x="227013" y="28575"/>
                      <a:pt x="229235" y="25400"/>
                    </a:cubicBezTo>
                    <a:moveTo>
                      <a:pt x="262890" y="24130"/>
                    </a:moveTo>
                    <a:cubicBezTo>
                      <a:pt x="260667" y="20002"/>
                      <a:pt x="257810" y="16827"/>
                      <a:pt x="254000" y="14605"/>
                    </a:cubicBezTo>
                    <a:cubicBezTo>
                      <a:pt x="250190" y="12383"/>
                      <a:pt x="245745" y="11430"/>
                      <a:pt x="240665" y="11430"/>
                    </a:cubicBezTo>
                    <a:cubicBezTo>
                      <a:pt x="232727" y="11430"/>
                      <a:pt x="226377" y="13970"/>
                      <a:pt x="221615" y="18733"/>
                    </a:cubicBezTo>
                    <a:cubicBezTo>
                      <a:pt x="216852" y="23495"/>
                      <a:pt x="214630" y="30480"/>
                      <a:pt x="214630" y="39688"/>
                    </a:cubicBezTo>
                    <a:cubicBezTo>
                      <a:pt x="214630" y="45720"/>
                      <a:pt x="215583" y="50800"/>
                      <a:pt x="217805" y="55245"/>
                    </a:cubicBezTo>
                    <a:cubicBezTo>
                      <a:pt x="220027" y="59373"/>
                      <a:pt x="222885" y="62548"/>
                      <a:pt x="226695" y="64770"/>
                    </a:cubicBezTo>
                    <a:cubicBezTo>
                      <a:pt x="230505" y="66992"/>
                      <a:pt x="234950" y="67945"/>
                      <a:pt x="239713" y="67945"/>
                    </a:cubicBezTo>
                    <a:cubicBezTo>
                      <a:pt x="247650" y="67945"/>
                      <a:pt x="254000" y="65405"/>
                      <a:pt x="258763" y="60642"/>
                    </a:cubicBezTo>
                    <a:cubicBezTo>
                      <a:pt x="263525" y="55563"/>
                      <a:pt x="265747" y="48577"/>
                      <a:pt x="265747" y="39688"/>
                    </a:cubicBezTo>
                    <a:cubicBezTo>
                      <a:pt x="266065" y="33655"/>
                      <a:pt x="265113" y="28258"/>
                      <a:pt x="262890" y="24130"/>
                    </a:cubicBezTo>
                    <a:moveTo>
                      <a:pt x="198755" y="67310"/>
                    </a:moveTo>
                    <a:cubicBezTo>
                      <a:pt x="200977" y="66675"/>
                      <a:pt x="203200" y="66040"/>
                      <a:pt x="205105" y="64770"/>
                    </a:cubicBezTo>
                    <a:lnTo>
                      <a:pt x="205105" y="55563"/>
                    </a:lnTo>
                    <a:cubicBezTo>
                      <a:pt x="203200" y="56515"/>
                      <a:pt x="200977" y="57467"/>
                      <a:pt x="198755" y="58102"/>
                    </a:cubicBezTo>
                    <a:cubicBezTo>
                      <a:pt x="196533" y="58738"/>
                      <a:pt x="193675" y="59055"/>
                      <a:pt x="190817" y="59055"/>
                    </a:cubicBezTo>
                    <a:cubicBezTo>
                      <a:pt x="186055" y="59055"/>
                      <a:pt x="182563" y="57467"/>
                      <a:pt x="180022" y="54292"/>
                    </a:cubicBezTo>
                    <a:cubicBezTo>
                      <a:pt x="177483" y="51117"/>
                      <a:pt x="176213" y="46355"/>
                      <a:pt x="176213" y="40005"/>
                    </a:cubicBezTo>
                    <a:cubicBezTo>
                      <a:pt x="176213" y="26988"/>
                      <a:pt x="181292" y="20638"/>
                      <a:pt x="191135" y="20638"/>
                    </a:cubicBezTo>
                    <a:cubicBezTo>
                      <a:pt x="193040" y="20638"/>
                      <a:pt x="195263" y="20955"/>
                      <a:pt x="197167" y="21590"/>
                    </a:cubicBezTo>
                    <a:cubicBezTo>
                      <a:pt x="199390" y="22225"/>
                      <a:pt x="201295" y="22860"/>
                      <a:pt x="203200" y="23495"/>
                    </a:cubicBezTo>
                    <a:lnTo>
                      <a:pt x="206375" y="14605"/>
                    </a:lnTo>
                    <a:cubicBezTo>
                      <a:pt x="204470" y="13652"/>
                      <a:pt x="202247" y="13017"/>
                      <a:pt x="199708" y="12383"/>
                    </a:cubicBezTo>
                    <a:cubicBezTo>
                      <a:pt x="197167" y="11748"/>
                      <a:pt x="194310" y="11430"/>
                      <a:pt x="191135" y="11430"/>
                    </a:cubicBezTo>
                    <a:cubicBezTo>
                      <a:pt x="186055" y="11430"/>
                      <a:pt x="181610" y="12383"/>
                      <a:pt x="177800" y="14288"/>
                    </a:cubicBezTo>
                    <a:cubicBezTo>
                      <a:pt x="173990" y="16192"/>
                      <a:pt x="170815" y="19367"/>
                      <a:pt x="168592" y="23495"/>
                    </a:cubicBezTo>
                    <a:cubicBezTo>
                      <a:pt x="166370" y="27623"/>
                      <a:pt x="165100" y="33338"/>
                      <a:pt x="165100" y="40005"/>
                    </a:cubicBezTo>
                    <a:cubicBezTo>
                      <a:pt x="165100" y="49848"/>
                      <a:pt x="167322" y="56833"/>
                      <a:pt x="172085" y="61277"/>
                    </a:cubicBezTo>
                    <a:cubicBezTo>
                      <a:pt x="176530" y="65723"/>
                      <a:pt x="182880" y="67945"/>
                      <a:pt x="190500" y="67945"/>
                    </a:cubicBezTo>
                    <a:cubicBezTo>
                      <a:pt x="193358" y="67945"/>
                      <a:pt x="196215" y="67945"/>
                      <a:pt x="198755" y="67310"/>
                    </a:cubicBezTo>
                    <a:moveTo>
                      <a:pt x="143192" y="57150"/>
                    </a:moveTo>
                    <a:cubicBezTo>
                      <a:pt x="141605" y="55880"/>
                      <a:pt x="140970" y="53658"/>
                      <a:pt x="140970" y="50483"/>
                    </a:cubicBezTo>
                    <a:lnTo>
                      <a:pt x="140970" y="20320"/>
                    </a:lnTo>
                    <a:lnTo>
                      <a:pt x="156527" y="20320"/>
                    </a:lnTo>
                    <a:lnTo>
                      <a:pt x="156527" y="12065"/>
                    </a:lnTo>
                    <a:lnTo>
                      <a:pt x="140970" y="12065"/>
                    </a:lnTo>
                    <a:lnTo>
                      <a:pt x="140970" y="0"/>
                    </a:lnTo>
                    <a:lnTo>
                      <a:pt x="134302" y="0"/>
                    </a:lnTo>
                    <a:lnTo>
                      <a:pt x="130492" y="11430"/>
                    </a:lnTo>
                    <a:lnTo>
                      <a:pt x="122555" y="15558"/>
                    </a:lnTo>
                    <a:lnTo>
                      <a:pt x="122555" y="20320"/>
                    </a:lnTo>
                    <a:lnTo>
                      <a:pt x="130175" y="20320"/>
                    </a:lnTo>
                    <a:lnTo>
                      <a:pt x="130175" y="50483"/>
                    </a:lnTo>
                    <a:cubicBezTo>
                      <a:pt x="130175" y="54927"/>
                      <a:pt x="130810" y="58420"/>
                      <a:pt x="132397" y="60960"/>
                    </a:cubicBezTo>
                    <a:cubicBezTo>
                      <a:pt x="133985" y="63500"/>
                      <a:pt x="135890" y="65088"/>
                      <a:pt x="138430" y="66358"/>
                    </a:cubicBezTo>
                    <a:cubicBezTo>
                      <a:pt x="140970" y="67310"/>
                      <a:pt x="143510" y="67945"/>
                      <a:pt x="146685" y="67945"/>
                    </a:cubicBezTo>
                    <a:cubicBezTo>
                      <a:pt x="148590" y="67945"/>
                      <a:pt x="150495" y="67627"/>
                      <a:pt x="152717" y="67310"/>
                    </a:cubicBezTo>
                    <a:cubicBezTo>
                      <a:pt x="154622" y="66992"/>
                      <a:pt x="156210" y="66358"/>
                      <a:pt x="157480" y="66040"/>
                    </a:cubicBezTo>
                    <a:lnTo>
                      <a:pt x="157480" y="57785"/>
                    </a:lnTo>
                    <a:cubicBezTo>
                      <a:pt x="154940" y="58738"/>
                      <a:pt x="152400" y="59055"/>
                      <a:pt x="149225" y="59055"/>
                    </a:cubicBezTo>
                    <a:cubicBezTo>
                      <a:pt x="146685" y="59373"/>
                      <a:pt x="144780" y="58738"/>
                      <a:pt x="143192" y="57150"/>
                    </a:cubicBezTo>
                    <a:moveTo>
                      <a:pt x="101600" y="12383"/>
                    </a:moveTo>
                    <a:lnTo>
                      <a:pt x="101600" y="40005"/>
                    </a:lnTo>
                    <a:cubicBezTo>
                      <a:pt x="101600" y="46355"/>
                      <a:pt x="100647" y="51117"/>
                      <a:pt x="98425" y="54292"/>
                    </a:cubicBezTo>
                    <a:cubicBezTo>
                      <a:pt x="96202" y="57467"/>
                      <a:pt x="92392" y="59373"/>
                      <a:pt x="86677" y="59373"/>
                    </a:cubicBezTo>
                    <a:cubicBezTo>
                      <a:pt x="82867" y="59373"/>
                      <a:pt x="80010" y="58420"/>
                      <a:pt x="78422" y="56198"/>
                    </a:cubicBezTo>
                    <a:cubicBezTo>
                      <a:pt x="76517" y="53975"/>
                      <a:pt x="75883" y="50800"/>
                      <a:pt x="75883" y="46673"/>
                    </a:cubicBezTo>
                    <a:lnTo>
                      <a:pt x="75883" y="12383"/>
                    </a:lnTo>
                    <a:lnTo>
                      <a:pt x="65088" y="12383"/>
                    </a:lnTo>
                    <a:lnTo>
                      <a:pt x="65088" y="48260"/>
                    </a:lnTo>
                    <a:cubicBezTo>
                      <a:pt x="65088" y="55245"/>
                      <a:pt x="66675" y="60325"/>
                      <a:pt x="70167" y="63500"/>
                    </a:cubicBezTo>
                    <a:cubicBezTo>
                      <a:pt x="73660" y="66675"/>
                      <a:pt x="78422" y="68263"/>
                      <a:pt x="84772" y="68263"/>
                    </a:cubicBezTo>
                    <a:cubicBezTo>
                      <a:pt x="88265" y="68263"/>
                      <a:pt x="91440" y="67627"/>
                      <a:pt x="94615" y="66358"/>
                    </a:cubicBezTo>
                    <a:cubicBezTo>
                      <a:pt x="97790" y="65088"/>
                      <a:pt x="100013" y="62865"/>
                      <a:pt x="101917" y="60008"/>
                    </a:cubicBezTo>
                    <a:lnTo>
                      <a:pt x="102552" y="60008"/>
                    </a:lnTo>
                    <a:lnTo>
                      <a:pt x="104140" y="67310"/>
                    </a:lnTo>
                    <a:lnTo>
                      <a:pt x="112713" y="67310"/>
                    </a:lnTo>
                    <a:lnTo>
                      <a:pt x="112713" y="12700"/>
                    </a:lnTo>
                    <a:lnTo>
                      <a:pt x="101600" y="12700"/>
                    </a:lnTo>
                    <a:close/>
                    <a:moveTo>
                      <a:pt x="14605" y="25400"/>
                    </a:moveTo>
                    <a:cubicBezTo>
                      <a:pt x="16827" y="21908"/>
                      <a:pt x="20638" y="20320"/>
                      <a:pt x="25717" y="20320"/>
                    </a:cubicBezTo>
                    <a:cubicBezTo>
                      <a:pt x="30797" y="20320"/>
                      <a:pt x="34608" y="21908"/>
                      <a:pt x="36830" y="25400"/>
                    </a:cubicBezTo>
                    <a:cubicBezTo>
                      <a:pt x="39052" y="28892"/>
                      <a:pt x="40322" y="33655"/>
                      <a:pt x="40322" y="39688"/>
                    </a:cubicBezTo>
                    <a:cubicBezTo>
                      <a:pt x="40322" y="45720"/>
                      <a:pt x="39052" y="50800"/>
                      <a:pt x="36830" y="53975"/>
                    </a:cubicBezTo>
                    <a:cubicBezTo>
                      <a:pt x="34608" y="57467"/>
                      <a:pt x="30797" y="59055"/>
                      <a:pt x="25717" y="59055"/>
                    </a:cubicBezTo>
                    <a:cubicBezTo>
                      <a:pt x="20638" y="59055"/>
                      <a:pt x="16827" y="57467"/>
                      <a:pt x="14605" y="53975"/>
                    </a:cubicBezTo>
                    <a:cubicBezTo>
                      <a:pt x="12383" y="50483"/>
                      <a:pt x="11113" y="45720"/>
                      <a:pt x="11113" y="39688"/>
                    </a:cubicBezTo>
                    <a:cubicBezTo>
                      <a:pt x="11113" y="33338"/>
                      <a:pt x="12383" y="28575"/>
                      <a:pt x="14605" y="25400"/>
                    </a:cubicBezTo>
                    <a:moveTo>
                      <a:pt x="48260" y="24130"/>
                    </a:moveTo>
                    <a:cubicBezTo>
                      <a:pt x="46038" y="20002"/>
                      <a:pt x="43180" y="16827"/>
                      <a:pt x="39370" y="14605"/>
                    </a:cubicBezTo>
                    <a:cubicBezTo>
                      <a:pt x="35560" y="12383"/>
                      <a:pt x="31115" y="11430"/>
                      <a:pt x="26035" y="11430"/>
                    </a:cubicBezTo>
                    <a:cubicBezTo>
                      <a:pt x="18097" y="11430"/>
                      <a:pt x="11747" y="13970"/>
                      <a:pt x="6985" y="18733"/>
                    </a:cubicBezTo>
                    <a:cubicBezTo>
                      <a:pt x="2222" y="23495"/>
                      <a:pt x="0" y="30480"/>
                      <a:pt x="0" y="39688"/>
                    </a:cubicBezTo>
                    <a:cubicBezTo>
                      <a:pt x="0" y="45720"/>
                      <a:pt x="952" y="50800"/>
                      <a:pt x="3175" y="55245"/>
                    </a:cubicBezTo>
                    <a:cubicBezTo>
                      <a:pt x="5397" y="59373"/>
                      <a:pt x="8255" y="62548"/>
                      <a:pt x="12065" y="64770"/>
                    </a:cubicBezTo>
                    <a:cubicBezTo>
                      <a:pt x="15875" y="66992"/>
                      <a:pt x="20320" y="67945"/>
                      <a:pt x="25083" y="67945"/>
                    </a:cubicBezTo>
                    <a:cubicBezTo>
                      <a:pt x="33020" y="67945"/>
                      <a:pt x="39370" y="65405"/>
                      <a:pt x="44133" y="60642"/>
                    </a:cubicBezTo>
                    <a:cubicBezTo>
                      <a:pt x="48895" y="55563"/>
                      <a:pt x="51117" y="48577"/>
                      <a:pt x="51117" y="39688"/>
                    </a:cubicBezTo>
                    <a:cubicBezTo>
                      <a:pt x="51435" y="33655"/>
                      <a:pt x="50483" y="28258"/>
                      <a:pt x="48260" y="24130"/>
                    </a:cubicBezTo>
                  </a:path>
                </a:pathLst>
              </a:custGeom>
              <a:grpFill/>
              <a:ln w="3175" cap="flat">
                <a:noFill/>
                <a:prstDash val="solid"/>
                <a:miter/>
              </a:ln>
            </p:spPr>
            <p:txBody>
              <a:bodyPr rtlCol="0" anchor="ctr"/>
              <a:lstStyle/>
              <a:p>
                <a:endParaRPr lang="en-GB">
                  <a:solidFill>
                    <a:srgbClr val="000000"/>
                  </a:solidFill>
                  <a:latin typeface="Verdana"/>
                </a:endParaRPr>
              </a:p>
            </p:txBody>
          </p:sp>
          <p:sp>
            <p:nvSpPr>
              <p:cNvPr id="34" name="Freeform: Shape 33">
                <a:extLst>
                  <a:ext uri="{FF2B5EF4-FFF2-40B4-BE49-F238E27FC236}">
                    <a16:creationId xmlns:a16="http://schemas.microsoft.com/office/drawing/2014/main" id="{AEB4CEBF-A293-4247-AF8A-4354F78C34C2}"/>
                  </a:ext>
                </a:extLst>
              </p:cNvPr>
              <p:cNvSpPr/>
              <p:nvPr/>
            </p:nvSpPr>
            <p:spPr>
              <a:xfrm>
                <a:off x="6095683" y="2036445"/>
                <a:ext cx="1438275" cy="101600"/>
              </a:xfrm>
              <a:custGeom>
                <a:avLst/>
                <a:gdLst>
                  <a:gd name="connsiteX0" fmla="*/ 1424305 w 1438275"/>
                  <a:gd name="connsiteY0" fmla="*/ 67310 h 101600"/>
                  <a:gd name="connsiteX1" fmla="*/ 1422083 w 1438275"/>
                  <a:gd name="connsiteY1" fmla="*/ 60642 h 101600"/>
                  <a:gd name="connsiteX2" fmla="*/ 1422083 w 1438275"/>
                  <a:gd name="connsiteY2" fmla="*/ 30480 h 101600"/>
                  <a:gd name="connsiteX3" fmla="*/ 1437640 w 1438275"/>
                  <a:gd name="connsiteY3" fmla="*/ 30480 h 101600"/>
                  <a:gd name="connsiteX4" fmla="*/ 1437640 w 1438275"/>
                  <a:gd name="connsiteY4" fmla="*/ 22225 h 101600"/>
                  <a:gd name="connsiteX5" fmla="*/ 1422083 w 1438275"/>
                  <a:gd name="connsiteY5" fmla="*/ 22225 h 101600"/>
                  <a:gd name="connsiteX6" fmla="*/ 1422083 w 1438275"/>
                  <a:gd name="connsiteY6" fmla="*/ 9842 h 101600"/>
                  <a:gd name="connsiteX7" fmla="*/ 1415415 w 1438275"/>
                  <a:gd name="connsiteY7" fmla="*/ 9842 h 101600"/>
                  <a:gd name="connsiteX8" fmla="*/ 1411605 w 1438275"/>
                  <a:gd name="connsiteY8" fmla="*/ 21272 h 101600"/>
                  <a:gd name="connsiteX9" fmla="*/ 1403667 w 1438275"/>
                  <a:gd name="connsiteY9" fmla="*/ 25400 h 101600"/>
                  <a:gd name="connsiteX10" fmla="*/ 1403667 w 1438275"/>
                  <a:gd name="connsiteY10" fmla="*/ 30163 h 101600"/>
                  <a:gd name="connsiteX11" fmla="*/ 1411287 w 1438275"/>
                  <a:gd name="connsiteY11" fmla="*/ 30163 h 101600"/>
                  <a:gd name="connsiteX12" fmla="*/ 1411287 w 1438275"/>
                  <a:gd name="connsiteY12" fmla="*/ 60325 h 101600"/>
                  <a:gd name="connsiteX13" fmla="*/ 1413510 w 1438275"/>
                  <a:gd name="connsiteY13" fmla="*/ 70802 h 101600"/>
                  <a:gd name="connsiteX14" fmla="*/ 1419542 w 1438275"/>
                  <a:gd name="connsiteY14" fmla="*/ 76200 h 101600"/>
                  <a:gd name="connsiteX15" fmla="*/ 1427798 w 1438275"/>
                  <a:gd name="connsiteY15" fmla="*/ 77788 h 101600"/>
                  <a:gd name="connsiteX16" fmla="*/ 1433830 w 1438275"/>
                  <a:gd name="connsiteY16" fmla="*/ 77152 h 101600"/>
                  <a:gd name="connsiteX17" fmla="*/ 1438592 w 1438275"/>
                  <a:gd name="connsiteY17" fmla="*/ 75882 h 101600"/>
                  <a:gd name="connsiteX18" fmla="*/ 1438592 w 1438275"/>
                  <a:gd name="connsiteY18" fmla="*/ 67627 h 101600"/>
                  <a:gd name="connsiteX19" fmla="*/ 1430337 w 1438275"/>
                  <a:gd name="connsiteY19" fmla="*/ 68897 h 101600"/>
                  <a:gd name="connsiteX20" fmla="*/ 1424305 w 1438275"/>
                  <a:gd name="connsiteY20" fmla="*/ 67310 h 101600"/>
                  <a:gd name="connsiteX21" fmla="*/ 1364298 w 1438275"/>
                  <a:gd name="connsiteY21" fmla="*/ 23495 h 101600"/>
                  <a:gd name="connsiteX22" fmla="*/ 1356995 w 1438275"/>
                  <a:gd name="connsiteY22" fmla="*/ 29845 h 101600"/>
                  <a:gd name="connsiteX23" fmla="*/ 1356360 w 1438275"/>
                  <a:gd name="connsiteY23" fmla="*/ 29845 h 101600"/>
                  <a:gd name="connsiteX24" fmla="*/ 1354773 w 1438275"/>
                  <a:gd name="connsiteY24" fmla="*/ 22542 h 101600"/>
                  <a:gd name="connsiteX25" fmla="*/ 1346200 w 1438275"/>
                  <a:gd name="connsiteY25" fmla="*/ 22542 h 101600"/>
                  <a:gd name="connsiteX26" fmla="*/ 1346200 w 1438275"/>
                  <a:gd name="connsiteY26" fmla="*/ 77152 h 101600"/>
                  <a:gd name="connsiteX27" fmla="*/ 1356995 w 1438275"/>
                  <a:gd name="connsiteY27" fmla="*/ 77152 h 101600"/>
                  <a:gd name="connsiteX28" fmla="*/ 1356995 w 1438275"/>
                  <a:gd name="connsiteY28" fmla="*/ 49530 h 101600"/>
                  <a:gd name="connsiteX29" fmla="*/ 1360170 w 1438275"/>
                  <a:gd name="connsiteY29" fmla="*/ 35242 h 101600"/>
                  <a:gd name="connsiteX30" fmla="*/ 1371600 w 1438275"/>
                  <a:gd name="connsiteY30" fmla="*/ 30163 h 101600"/>
                  <a:gd name="connsiteX31" fmla="*/ 1383030 w 1438275"/>
                  <a:gd name="connsiteY31" fmla="*/ 42863 h 101600"/>
                  <a:gd name="connsiteX32" fmla="*/ 1383030 w 1438275"/>
                  <a:gd name="connsiteY32" fmla="*/ 77152 h 101600"/>
                  <a:gd name="connsiteX33" fmla="*/ 1393825 w 1438275"/>
                  <a:gd name="connsiteY33" fmla="*/ 77152 h 101600"/>
                  <a:gd name="connsiteX34" fmla="*/ 1393825 w 1438275"/>
                  <a:gd name="connsiteY34" fmla="*/ 41592 h 101600"/>
                  <a:gd name="connsiteX35" fmla="*/ 1388745 w 1438275"/>
                  <a:gd name="connsiteY35" fmla="*/ 26352 h 101600"/>
                  <a:gd name="connsiteX36" fmla="*/ 1374140 w 1438275"/>
                  <a:gd name="connsiteY36" fmla="*/ 21590 h 101600"/>
                  <a:gd name="connsiteX37" fmla="*/ 1364298 w 1438275"/>
                  <a:gd name="connsiteY37" fmla="*/ 23495 h 101600"/>
                  <a:gd name="connsiteX38" fmla="*/ 1319212 w 1438275"/>
                  <a:gd name="connsiteY38" fmla="*/ 33655 h 101600"/>
                  <a:gd name="connsiteX39" fmla="*/ 1322387 w 1438275"/>
                  <a:gd name="connsiteY39" fmla="*/ 44132 h 101600"/>
                  <a:gd name="connsiteX40" fmla="*/ 1296670 w 1438275"/>
                  <a:gd name="connsiteY40" fmla="*/ 44132 h 101600"/>
                  <a:gd name="connsiteX41" fmla="*/ 1300798 w 1438275"/>
                  <a:gd name="connsiteY41" fmla="*/ 33338 h 101600"/>
                  <a:gd name="connsiteX42" fmla="*/ 1310005 w 1438275"/>
                  <a:gd name="connsiteY42" fmla="*/ 29527 h 101600"/>
                  <a:gd name="connsiteX43" fmla="*/ 1319212 w 1438275"/>
                  <a:gd name="connsiteY43" fmla="*/ 33655 h 101600"/>
                  <a:gd name="connsiteX44" fmla="*/ 1296987 w 1438275"/>
                  <a:gd name="connsiteY44" fmla="*/ 24765 h 101600"/>
                  <a:gd name="connsiteX45" fmla="*/ 1288415 w 1438275"/>
                  <a:gd name="connsiteY45" fmla="*/ 34607 h 101600"/>
                  <a:gd name="connsiteX46" fmla="*/ 1285240 w 1438275"/>
                  <a:gd name="connsiteY46" fmla="*/ 50165 h 101600"/>
                  <a:gd name="connsiteX47" fmla="*/ 1288733 w 1438275"/>
                  <a:gd name="connsiteY47" fmla="*/ 65722 h 101600"/>
                  <a:gd name="connsiteX48" fmla="*/ 1298258 w 1438275"/>
                  <a:gd name="connsiteY48" fmla="*/ 74930 h 101600"/>
                  <a:gd name="connsiteX49" fmla="*/ 1312227 w 1438275"/>
                  <a:gd name="connsiteY49" fmla="*/ 78105 h 101600"/>
                  <a:gd name="connsiteX50" fmla="*/ 1322070 w 1438275"/>
                  <a:gd name="connsiteY50" fmla="*/ 77152 h 101600"/>
                  <a:gd name="connsiteX51" fmla="*/ 1330325 w 1438275"/>
                  <a:gd name="connsiteY51" fmla="*/ 74295 h 101600"/>
                  <a:gd name="connsiteX52" fmla="*/ 1330325 w 1438275"/>
                  <a:gd name="connsiteY52" fmla="*/ 65405 h 101600"/>
                  <a:gd name="connsiteX53" fmla="*/ 1321752 w 1438275"/>
                  <a:gd name="connsiteY53" fmla="*/ 68263 h 101600"/>
                  <a:gd name="connsiteX54" fmla="*/ 1312227 w 1438275"/>
                  <a:gd name="connsiteY54" fmla="*/ 69215 h 101600"/>
                  <a:gd name="connsiteX55" fmla="*/ 1300480 w 1438275"/>
                  <a:gd name="connsiteY55" fmla="*/ 64770 h 101600"/>
                  <a:gd name="connsiteX56" fmla="*/ 1296035 w 1438275"/>
                  <a:gd name="connsiteY56" fmla="*/ 51752 h 101600"/>
                  <a:gd name="connsiteX57" fmla="*/ 1332865 w 1438275"/>
                  <a:gd name="connsiteY57" fmla="*/ 51752 h 101600"/>
                  <a:gd name="connsiteX58" fmla="*/ 1332865 w 1438275"/>
                  <a:gd name="connsiteY58" fmla="*/ 46355 h 101600"/>
                  <a:gd name="connsiteX59" fmla="*/ 1326515 w 1438275"/>
                  <a:gd name="connsiteY59" fmla="*/ 28257 h 101600"/>
                  <a:gd name="connsiteX60" fmla="*/ 1309687 w 1438275"/>
                  <a:gd name="connsiteY60" fmla="*/ 21590 h 101600"/>
                  <a:gd name="connsiteX61" fmla="*/ 1296987 w 1438275"/>
                  <a:gd name="connsiteY61" fmla="*/ 24765 h 101600"/>
                  <a:gd name="connsiteX62" fmla="*/ 1260792 w 1438275"/>
                  <a:gd name="connsiteY62" fmla="*/ 77152 h 101600"/>
                  <a:gd name="connsiteX63" fmla="*/ 1271587 w 1438275"/>
                  <a:gd name="connsiteY63" fmla="*/ 77152 h 101600"/>
                  <a:gd name="connsiteX64" fmla="*/ 1271587 w 1438275"/>
                  <a:gd name="connsiteY64" fmla="*/ 22542 h 101600"/>
                  <a:gd name="connsiteX65" fmla="*/ 1260792 w 1438275"/>
                  <a:gd name="connsiteY65" fmla="*/ 22542 h 101600"/>
                  <a:gd name="connsiteX66" fmla="*/ 1260792 w 1438275"/>
                  <a:gd name="connsiteY66" fmla="*/ 77152 h 101600"/>
                  <a:gd name="connsiteX67" fmla="*/ 1261745 w 1438275"/>
                  <a:gd name="connsiteY67" fmla="*/ 3175 h 101600"/>
                  <a:gd name="connsiteX68" fmla="*/ 1259840 w 1438275"/>
                  <a:gd name="connsiteY68" fmla="*/ 7938 h 101600"/>
                  <a:gd name="connsiteX69" fmla="*/ 1261745 w 1438275"/>
                  <a:gd name="connsiteY69" fmla="*/ 12700 h 101600"/>
                  <a:gd name="connsiteX70" fmla="*/ 1266190 w 1438275"/>
                  <a:gd name="connsiteY70" fmla="*/ 14288 h 101600"/>
                  <a:gd name="connsiteX71" fmla="*/ 1270317 w 1438275"/>
                  <a:gd name="connsiteY71" fmla="*/ 12700 h 101600"/>
                  <a:gd name="connsiteX72" fmla="*/ 1272223 w 1438275"/>
                  <a:gd name="connsiteY72" fmla="*/ 7938 h 101600"/>
                  <a:gd name="connsiteX73" fmla="*/ 1270317 w 1438275"/>
                  <a:gd name="connsiteY73" fmla="*/ 3175 h 101600"/>
                  <a:gd name="connsiteX74" fmla="*/ 1266190 w 1438275"/>
                  <a:gd name="connsiteY74" fmla="*/ 1905 h 101600"/>
                  <a:gd name="connsiteX75" fmla="*/ 1261745 w 1438275"/>
                  <a:gd name="connsiteY75" fmla="*/ 3175 h 101600"/>
                  <a:gd name="connsiteX76" fmla="*/ 1235710 w 1438275"/>
                  <a:gd name="connsiteY76" fmla="*/ 67310 h 101600"/>
                  <a:gd name="connsiteX77" fmla="*/ 1233487 w 1438275"/>
                  <a:gd name="connsiteY77" fmla="*/ 60642 h 101600"/>
                  <a:gd name="connsiteX78" fmla="*/ 1233487 w 1438275"/>
                  <a:gd name="connsiteY78" fmla="*/ 30480 h 101600"/>
                  <a:gd name="connsiteX79" fmla="*/ 1249045 w 1438275"/>
                  <a:gd name="connsiteY79" fmla="*/ 30480 h 101600"/>
                  <a:gd name="connsiteX80" fmla="*/ 1249045 w 1438275"/>
                  <a:gd name="connsiteY80" fmla="*/ 22225 h 101600"/>
                  <a:gd name="connsiteX81" fmla="*/ 1233487 w 1438275"/>
                  <a:gd name="connsiteY81" fmla="*/ 22225 h 101600"/>
                  <a:gd name="connsiteX82" fmla="*/ 1233487 w 1438275"/>
                  <a:gd name="connsiteY82" fmla="*/ 9842 h 101600"/>
                  <a:gd name="connsiteX83" fmla="*/ 1226820 w 1438275"/>
                  <a:gd name="connsiteY83" fmla="*/ 9842 h 101600"/>
                  <a:gd name="connsiteX84" fmla="*/ 1223010 w 1438275"/>
                  <a:gd name="connsiteY84" fmla="*/ 21272 h 101600"/>
                  <a:gd name="connsiteX85" fmla="*/ 1215073 w 1438275"/>
                  <a:gd name="connsiteY85" fmla="*/ 25400 h 101600"/>
                  <a:gd name="connsiteX86" fmla="*/ 1215073 w 1438275"/>
                  <a:gd name="connsiteY86" fmla="*/ 30163 h 101600"/>
                  <a:gd name="connsiteX87" fmla="*/ 1222692 w 1438275"/>
                  <a:gd name="connsiteY87" fmla="*/ 30163 h 101600"/>
                  <a:gd name="connsiteX88" fmla="*/ 1222692 w 1438275"/>
                  <a:gd name="connsiteY88" fmla="*/ 60325 h 101600"/>
                  <a:gd name="connsiteX89" fmla="*/ 1224915 w 1438275"/>
                  <a:gd name="connsiteY89" fmla="*/ 70802 h 101600"/>
                  <a:gd name="connsiteX90" fmla="*/ 1230948 w 1438275"/>
                  <a:gd name="connsiteY90" fmla="*/ 76200 h 101600"/>
                  <a:gd name="connsiteX91" fmla="*/ 1239202 w 1438275"/>
                  <a:gd name="connsiteY91" fmla="*/ 77788 h 101600"/>
                  <a:gd name="connsiteX92" fmla="*/ 1245235 w 1438275"/>
                  <a:gd name="connsiteY92" fmla="*/ 77152 h 101600"/>
                  <a:gd name="connsiteX93" fmla="*/ 1249998 w 1438275"/>
                  <a:gd name="connsiteY93" fmla="*/ 75882 h 101600"/>
                  <a:gd name="connsiteX94" fmla="*/ 1249998 w 1438275"/>
                  <a:gd name="connsiteY94" fmla="*/ 67627 h 101600"/>
                  <a:gd name="connsiteX95" fmla="*/ 1241742 w 1438275"/>
                  <a:gd name="connsiteY95" fmla="*/ 68897 h 101600"/>
                  <a:gd name="connsiteX96" fmla="*/ 1235710 w 1438275"/>
                  <a:gd name="connsiteY96" fmla="*/ 67310 h 101600"/>
                  <a:gd name="connsiteX97" fmla="*/ 1194435 w 1438275"/>
                  <a:gd name="connsiteY97" fmla="*/ 55563 h 101600"/>
                  <a:gd name="connsiteX98" fmla="*/ 1190308 w 1438275"/>
                  <a:gd name="connsiteY98" fmla="*/ 66357 h 101600"/>
                  <a:gd name="connsiteX99" fmla="*/ 1179830 w 1438275"/>
                  <a:gd name="connsiteY99" fmla="*/ 69850 h 101600"/>
                  <a:gd name="connsiteX100" fmla="*/ 1173162 w 1438275"/>
                  <a:gd name="connsiteY100" fmla="*/ 67945 h 101600"/>
                  <a:gd name="connsiteX101" fmla="*/ 1170623 w 1438275"/>
                  <a:gd name="connsiteY101" fmla="*/ 61595 h 101600"/>
                  <a:gd name="connsiteX102" fmla="*/ 1174115 w 1438275"/>
                  <a:gd name="connsiteY102" fmla="*/ 53975 h 101600"/>
                  <a:gd name="connsiteX103" fmla="*/ 1187133 w 1438275"/>
                  <a:gd name="connsiteY103" fmla="*/ 50800 h 101600"/>
                  <a:gd name="connsiteX104" fmla="*/ 1194435 w 1438275"/>
                  <a:gd name="connsiteY104" fmla="*/ 50482 h 101600"/>
                  <a:gd name="connsiteX105" fmla="*/ 1194435 w 1438275"/>
                  <a:gd name="connsiteY105" fmla="*/ 55563 h 101600"/>
                  <a:gd name="connsiteX106" fmla="*/ 1174115 w 1438275"/>
                  <a:gd name="connsiteY106" fmla="*/ 22860 h 101600"/>
                  <a:gd name="connsiteX107" fmla="*/ 1165225 w 1438275"/>
                  <a:gd name="connsiteY107" fmla="*/ 26352 h 101600"/>
                  <a:gd name="connsiteX108" fmla="*/ 1168717 w 1438275"/>
                  <a:gd name="connsiteY108" fmla="*/ 34290 h 101600"/>
                  <a:gd name="connsiteX109" fmla="*/ 1176020 w 1438275"/>
                  <a:gd name="connsiteY109" fmla="*/ 31432 h 101600"/>
                  <a:gd name="connsiteX110" fmla="*/ 1183958 w 1438275"/>
                  <a:gd name="connsiteY110" fmla="*/ 30163 h 101600"/>
                  <a:gd name="connsiteX111" fmla="*/ 1191577 w 1438275"/>
                  <a:gd name="connsiteY111" fmla="*/ 32702 h 101600"/>
                  <a:gd name="connsiteX112" fmla="*/ 1194435 w 1438275"/>
                  <a:gd name="connsiteY112" fmla="*/ 41275 h 101600"/>
                  <a:gd name="connsiteX113" fmla="*/ 1194435 w 1438275"/>
                  <a:gd name="connsiteY113" fmla="*/ 44450 h 101600"/>
                  <a:gd name="connsiteX114" fmla="*/ 1185227 w 1438275"/>
                  <a:gd name="connsiteY114" fmla="*/ 44767 h 101600"/>
                  <a:gd name="connsiteX115" fmla="*/ 1165860 w 1438275"/>
                  <a:gd name="connsiteY115" fmla="*/ 49530 h 101600"/>
                  <a:gd name="connsiteX116" fmla="*/ 1159510 w 1438275"/>
                  <a:gd name="connsiteY116" fmla="*/ 62230 h 101600"/>
                  <a:gd name="connsiteX117" fmla="*/ 1164273 w 1438275"/>
                  <a:gd name="connsiteY117" fmla="*/ 74930 h 101600"/>
                  <a:gd name="connsiteX118" fmla="*/ 1176655 w 1438275"/>
                  <a:gd name="connsiteY118" fmla="*/ 79057 h 101600"/>
                  <a:gd name="connsiteX119" fmla="*/ 1187450 w 1438275"/>
                  <a:gd name="connsiteY119" fmla="*/ 76835 h 101600"/>
                  <a:gd name="connsiteX120" fmla="*/ 1195070 w 1438275"/>
                  <a:gd name="connsiteY120" fmla="*/ 70167 h 101600"/>
                  <a:gd name="connsiteX121" fmla="*/ 1195387 w 1438275"/>
                  <a:gd name="connsiteY121" fmla="*/ 70167 h 101600"/>
                  <a:gd name="connsiteX122" fmla="*/ 1197610 w 1438275"/>
                  <a:gd name="connsiteY122" fmla="*/ 77788 h 101600"/>
                  <a:gd name="connsiteX123" fmla="*/ 1205230 w 1438275"/>
                  <a:gd name="connsiteY123" fmla="*/ 77788 h 101600"/>
                  <a:gd name="connsiteX124" fmla="*/ 1205230 w 1438275"/>
                  <a:gd name="connsiteY124" fmla="*/ 40005 h 101600"/>
                  <a:gd name="connsiteX125" fmla="*/ 1200150 w 1438275"/>
                  <a:gd name="connsiteY125" fmla="*/ 25717 h 101600"/>
                  <a:gd name="connsiteX126" fmla="*/ 1184910 w 1438275"/>
                  <a:gd name="connsiteY126" fmla="*/ 21272 h 101600"/>
                  <a:gd name="connsiteX127" fmla="*/ 1174115 w 1438275"/>
                  <a:gd name="connsiteY127" fmla="*/ 22860 h 101600"/>
                  <a:gd name="connsiteX128" fmla="*/ 1135380 w 1438275"/>
                  <a:gd name="connsiteY128" fmla="*/ 35560 h 101600"/>
                  <a:gd name="connsiteX129" fmla="*/ 1138555 w 1438275"/>
                  <a:gd name="connsiteY129" fmla="*/ 49530 h 101600"/>
                  <a:gd name="connsiteX130" fmla="*/ 1135380 w 1438275"/>
                  <a:gd name="connsiteY130" fmla="*/ 63817 h 101600"/>
                  <a:gd name="connsiteX131" fmla="*/ 1125537 w 1438275"/>
                  <a:gd name="connsiteY131" fmla="*/ 69215 h 101600"/>
                  <a:gd name="connsiteX132" fmla="*/ 1114425 w 1438275"/>
                  <a:gd name="connsiteY132" fmla="*/ 64135 h 101600"/>
                  <a:gd name="connsiteX133" fmla="*/ 1111250 w 1438275"/>
                  <a:gd name="connsiteY133" fmla="*/ 49530 h 101600"/>
                  <a:gd name="connsiteX134" fmla="*/ 1111250 w 1438275"/>
                  <a:gd name="connsiteY134" fmla="*/ 47942 h 101600"/>
                  <a:gd name="connsiteX135" fmla="*/ 1114425 w 1438275"/>
                  <a:gd name="connsiteY135" fmla="*/ 34607 h 101600"/>
                  <a:gd name="connsiteX136" fmla="*/ 1125220 w 1438275"/>
                  <a:gd name="connsiteY136" fmla="*/ 30163 h 101600"/>
                  <a:gd name="connsiteX137" fmla="*/ 1135380 w 1438275"/>
                  <a:gd name="connsiteY137" fmla="*/ 35560 h 101600"/>
                  <a:gd name="connsiteX138" fmla="*/ 1117600 w 1438275"/>
                  <a:gd name="connsiteY138" fmla="*/ 23813 h 101600"/>
                  <a:gd name="connsiteX139" fmla="*/ 1111250 w 1438275"/>
                  <a:gd name="connsiteY139" fmla="*/ 29845 h 101600"/>
                  <a:gd name="connsiteX140" fmla="*/ 1110615 w 1438275"/>
                  <a:gd name="connsiteY140" fmla="*/ 29845 h 101600"/>
                  <a:gd name="connsiteX141" fmla="*/ 1109027 w 1438275"/>
                  <a:gd name="connsiteY141" fmla="*/ 22542 h 101600"/>
                  <a:gd name="connsiteX142" fmla="*/ 1100137 w 1438275"/>
                  <a:gd name="connsiteY142" fmla="*/ 22542 h 101600"/>
                  <a:gd name="connsiteX143" fmla="*/ 1100137 w 1438275"/>
                  <a:gd name="connsiteY143" fmla="*/ 101600 h 101600"/>
                  <a:gd name="connsiteX144" fmla="*/ 1110933 w 1438275"/>
                  <a:gd name="connsiteY144" fmla="*/ 101600 h 101600"/>
                  <a:gd name="connsiteX145" fmla="*/ 1110933 w 1438275"/>
                  <a:gd name="connsiteY145" fmla="*/ 79375 h 101600"/>
                  <a:gd name="connsiteX146" fmla="*/ 1110615 w 1438275"/>
                  <a:gd name="connsiteY146" fmla="*/ 74930 h 101600"/>
                  <a:gd name="connsiteX147" fmla="*/ 1110298 w 1438275"/>
                  <a:gd name="connsiteY147" fmla="*/ 70485 h 101600"/>
                  <a:gd name="connsiteX148" fmla="*/ 1110933 w 1438275"/>
                  <a:gd name="connsiteY148" fmla="*/ 70485 h 101600"/>
                  <a:gd name="connsiteX149" fmla="*/ 1117283 w 1438275"/>
                  <a:gd name="connsiteY149" fmla="*/ 75882 h 101600"/>
                  <a:gd name="connsiteX150" fmla="*/ 1127442 w 1438275"/>
                  <a:gd name="connsiteY150" fmla="*/ 78105 h 101600"/>
                  <a:gd name="connsiteX151" fmla="*/ 1143317 w 1438275"/>
                  <a:gd name="connsiteY151" fmla="*/ 70802 h 101600"/>
                  <a:gd name="connsiteX152" fmla="*/ 1149350 w 1438275"/>
                  <a:gd name="connsiteY152" fmla="*/ 49530 h 101600"/>
                  <a:gd name="connsiteX153" fmla="*/ 1143317 w 1438275"/>
                  <a:gd name="connsiteY153" fmla="*/ 28257 h 101600"/>
                  <a:gd name="connsiteX154" fmla="*/ 1127442 w 1438275"/>
                  <a:gd name="connsiteY154" fmla="*/ 21272 h 101600"/>
                  <a:gd name="connsiteX155" fmla="*/ 1117600 w 1438275"/>
                  <a:gd name="connsiteY155" fmla="*/ 23813 h 101600"/>
                  <a:gd name="connsiteX156" fmla="*/ 1043305 w 1438275"/>
                  <a:gd name="connsiteY156" fmla="*/ 34925 h 101600"/>
                  <a:gd name="connsiteX157" fmla="*/ 1046798 w 1438275"/>
                  <a:gd name="connsiteY157" fmla="*/ 50165 h 101600"/>
                  <a:gd name="connsiteX158" fmla="*/ 1046798 w 1438275"/>
                  <a:gd name="connsiteY158" fmla="*/ 52070 h 101600"/>
                  <a:gd name="connsiteX159" fmla="*/ 1043305 w 1438275"/>
                  <a:gd name="connsiteY159" fmla="*/ 65405 h 101600"/>
                  <a:gd name="connsiteX160" fmla="*/ 1032192 w 1438275"/>
                  <a:gd name="connsiteY160" fmla="*/ 69532 h 101600"/>
                  <a:gd name="connsiteX161" fmla="*/ 1022033 w 1438275"/>
                  <a:gd name="connsiteY161" fmla="*/ 64452 h 101600"/>
                  <a:gd name="connsiteX162" fmla="*/ 1018540 w 1438275"/>
                  <a:gd name="connsiteY162" fmla="*/ 49847 h 101600"/>
                  <a:gd name="connsiteX163" fmla="*/ 1022033 w 1438275"/>
                  <a:gd name="connsiteY163" fmla="*/ 35242 h 101600"/>
                  <a:gd name="connsiteX164" fmla="*/ 1031875 w 1438275"/>
                  <a:gd name="connsiteY164" fmla="*/ 30163 h 101600"/>
                  <a:gd name="connsiteX165" fmla="*/ 1043305 w 1438275"/>
                  <a:gd name="connsiteY165" fmla="*/ 34925 h 101600"/>
                  <a:gd name="connsiteX166" fmla="*/ 1013777 w 1438275"/>
                  <a:gd name="connsiteY166" fmla="*/ 29210 h 101600"/>
                  <a:gd name="connsiteX167" fmla="*/ 1008062 w 1438275"/>
                  <a:gd name="connsiteY167" fmla="*/ 50165 h 101600"/>
                  <a:gd name="connsiteX168" fmla="*/ 1013777 w 1438275"/>
                  <a:gd name="connsiteY168" fmla="*/ 70802 h 101600"/>
                  <a:gd name="connsiteX169" fmla="*/ 1029970 w 1438275"/>
                  <a:gd name="connsiteY169" fmla="*/ 78422 h 101600"/>
                  <a:gd name="connsiteX170" fmla="*/ 1039495 w 1438275"/>
                  <a:gd name="connsiteY170" fmla="*/ 76517 h 101600"/>
                  <a:gd name="connsiteX171" fmla="*/ 1046480 w 1438275"/>
                  <a:gd name="connsiteY171" fmla="*/ 70167 h 101600"/>
                  <a:gd name="connsiteX172" fmla="*/ 1046798 w 1438275"/>
                  <a:gd name="connsiteY172" fmla="*/ 70167 h 101600"/>
                  <a:gd name="connsiteX173" fmla="*/ 1046480 w 1438275"/>
                  <a:gd name="connsiteY173" fmla="*/ 73342 h 101600"/>
                  <a:gd name="connsiteX174" fmla="*/ 1046480 w 1438275"/>
                  <a:gd name="connsiteY174" fmla="*/ 76835 h 101600"/>
                  <a:gd name="connsiteX175" fmla="*/ 1046480 w 1438275"/>
                  <a:gd name="connsiteY175" fmla="*/ 78740 h 101600"/>
                  <a:gd name="connsiteX176" fmla="*/ 1042670 w 1438275"/>
                  <a:gd name="connsiteY176" fmla="*/ 89535 h 101600"/>
                  <a:gd name="connsiteX177" fmla="*/ 1032510 w 1438275"/>
                  <a:gd name="connsiteY177" fmla="*/ 93345 h 101600"/>
                  <a:gd name="connsiteX178" fmla="*/ 1021398 w 1438275"/>
                  <a:gd name="connsiteY178" fmla="*/ 92392 h 101600"/>
                  <a:gd name="connsiteX179" fmla="*/ 1011873 w 1438275"/>
                  <a:gd name="connsiteY179" fmla="*/ 89217 h 101600"/>
                  <a:gd name="connsiteX180" fmla="*/ 1011873 w 1438275"/>
                  <a:gd name="connsiteY180" fmla="*/ 98742 h 101600"/>
                  <a:gd name="connsiteX181" fmla="*/ 1021080 w 1438275"/>
                  <a:gd name="connsiteY181" fmla="*/ 101282 h 101600"/>
                  <a:gd name="connsiteX182" fmla="*/ 1031875 w 1438275"/>
                  <a:gd name="connsiteY182" fmla="*/ 102235 h 101600"/>
                  <a:gd name="connsiteX183" fmla="*/ 1057275 w 1438275"/>
                  <a:gd name="connsiteY183" fmla="*/ 78422 h 101600"/>
                  <a:gd name="connsiteX184" fmla="*/ 1057275 w 1438275"/>
                  <a:gd name="connsiteY184" fmla="*/ 22860 h 101600"/>
                  <a:gd name="connsiteX185" fmla="*/ 1048702 w 1438275"/>
                  <a:gd name="connsiteY185" fmla="*/ 22860 h 101600"/>
                  <a:gd name="connsiteX186" fmla="*/ 1047433 w 1438275"/>
                  <a:gd name="connsiteY186" fmla="*/ 30163 h 101600"/>
                  <a:gd name="connsiteX187" fmla="*/ 1046798 w 1438275"/>
                  <a:gd name="connsiteY187" fmla="*/ 30163 h 101600"/>
                  <a:gd name="connsiteX188" fmla="*/ 1039495 w 1438275"/>
                  <a:gd name="connsiteY188" fmla="*/ 23813 h 101600"/>
                  <a:gd name="connsiteX189" fmla="*/ 1029970 w 1438275"/>
                  <a:gd name="connsiteY189" fmla="*/ 21907 h 101600"/>
                  <a:gd name="connsiteX190" fmla="*/ 1013777 w 1438275"/>
                  <a:gd name="connsiteY190" fmla="*/ 29210 h 101600"/>
                  <a:gd name="connsiteX191" fmla="*/ 964883 w 1438275"/>
                  <a:gd name="connsiteY191" fmla="*/ 23495 h 101600"/>
                  <a:gd name="connsiteX192" fmla="*/ 957580 w 1438275"/>
                  <a:gd name="connsiteY192" fmla="*/ 29845 h 101600"/>
                  <a:gd name="connsiteX193" fmla="*/ 956945 w 1438275"/>
                  <a:gd name="connsiteY193" fmla="*/ 29845 h 101600"/>
                  <a:gd name="connsiteX194" fmla="*/ 955358 w 1438275"/>
                  <a:gd name="connsiteY194" fmla="*/ 22542 h 101600"/>
                  <a:gd name="connsiteX195" fmla="*/ 946785 w 1438275"/>
                  <a:gd name="connsiteY195" fmla="*/ 22542 h 101600"/>
                  <a:gd name="connsiteX196" fmla="*/ 946785 w 1438275"/>
                  <a:gd name="connsiteY196" fmla="*/ 77152 h 101600"/>
                  <a:gd name="connsiteX197" fmla="*/ 957580 w 1438275"/>
                  <a:gd name="connsiteY197" fmla="*/ 77152 h 101600"/>
                  <a:gd name="connsiteX198" fmla="*/ 957580 w 1438275"/>
                  <a:gd name="connsiteY198" fmla="*/ 49530 h 101600"/>
                  <a:gd name="connsiteX199" fmla="*/ 960755 w 1438275"/>
                  <a:gd name="connsiteY199" fmla="*/ 35242 h 101600"/>
                  <a:gd name="connsiteX200" fmla="*/ 972185 w 1438275"/>
                  <a:gd name="connsiteY200" fmla="*/ 30163 h 101600"/>
                  <a:gd name="connsiteX201" fmla="*/ 983615 w 1438275"/>
                  <a:gd name="connsiteY201" fmla="*/ 42863 h 101600"/>
                  <a:gd name="connsiteX202" fmla="*/ 983615 w 1438275"/>
                  <a:gd name="connsiteY202" fmla="*/ 77152 h 101600"/>
                  <a:gd name="connsiteX203" fmla="*/ 994410 w 1438275"/>
                  <a:gd name="connsiteY203" fmla="*/ 77152 h 101600"/>
                  <a:gd name="connsiteX204" fmla="*/ 994410 w 1438275"/>
                  <a:gd name="connsiteY204" fmla="*/ 41592 h 101600"/>
                  <a:gd name="connsiteX205" fmla="*/ 989330 w 1438275"/>
                  <a:gd name="connsiteY205" fmla="*/ 26352 h 101600"/>
                  <a:gd name="connsiteX206" fmla="*/ 974725 w 1438275"/>
                  <a:gd name="connsiteY206" fmla="*/ 21590 h 101600"/>
                  <a:gd name="connsiteX207" fmla="*/ 964883 w 1438275"/>
                  <a:gd name="connsiteY207" fmla="*/ 23495 h 101600"/>
                  <a:gd name="connsiteX208" fmla="*/ 919480 w 1438275"/>
                  <a:gd name="connsiteY208" fmla="*/ 77152 h 101600"/>
                  <a:gd name="connsiteX209" fmla="*/ 930275 w 1438275"/>
                  <a:gd name="connsiteY209" fmla="*/ 77152 h 101600"/>
                  <a:gd name="connsiteX210" fmla="*/ 930275 w 1438275"/>
                  <a:gd name="connsiteY210" fmla="*/ 22542 h 101600"/>
                  <a:gd name="connsiteX211" fmla="*/ 919480 w 1438275"/>
                  <a:gd name="connsiteY211" fmla="*/ 22542 h 101600"/>
                  <a:gd name="connsiteX212" fmla="*/ 919480 w 1438275"/>
                  <a:gd name="connsiteY212" fmla="*/ 77152 h 101600"/>
                  <a:gd name="connsiteX213" fmla="*/ 920433 w 1438275"/>
                  <a:gd name="connsiteY213" fmla="*/ 3175 h 101600"/>
                  <a:gd name="connsiteX214" fmla="*/ 918527 w 1438275"/>
                  <a:gd name="connsiteY214" fmla="*/ 7938 h 101600"/>
                  <a:gd name="connsiteX215" fmla="*/ 920433 w 1438275"/>
                  <a:gd name="connsiteY215" fmla="*/ 12700 h 101600"/>
                  <a:gd name="connsiteX216" fmla="*/ 924877 w 1438275"/>
                  <a:gd name="connsiteY216" fmla="*/ 14288 h 101600"/>
                  <a:gd name="connsiteX217" fmla="*/ 929005 w 1438275"/>
                  <a:gd name="connsiteY217" fmla="*/ 12700 h 101600"/>
                  <a:gd name="connsiteX218" fmla="*/ 930910 w 1438275"/>
                  <a:gd name="connsiteY218" fmla="*/ 7938 h 101600"/>
                  <a:gd name="connsiteX219" fmla="*/ 929005 w 1438275"/>
                  <a:gd name="connsiteY219" fmla="*/ 3175 h 101600"/>
                  <a:gd name="connsiteX220" fmla="*/ 924877 w 1438275"/>
                  <a:gd name="connsiteY220" fmla="*/ 1905 h 101600"/>
                  <a:gd name="connsiteX221" fmla="*/ 920433 w 1438275"/>
                  <a:gd name="connsiteY221" fmla="*/ 3175 h 101600"/>
                  <a:gd name="connsiteX222" fmla="*/ 890270 w 1438275"/>
                  <a:gd name="connsiteY222" fmla="*/ 77152 h 101600"/>
                  <a:gd name="connsiteX223" fmla="*/ 911225 w 1438275"/>
                  <a:gd name="connsiteY223" fmla="*/ 22542 h 101600"/>
                  <a:gd name="connsiteX224" fmla="*/ 899795 w 1438275"/>
                  <a:gd name="connsiteY224" fmla="*/ 22542 h 101600"/>
                  <a:gd name="connsiteX225" fmla="*/ 888365 w 1438275"/>
                  <a:gd name="connsiteY225" fmla="*/ 54610 h 101600"/>
                  <a:gd name="connsiteX226" fmla="*/ 886142 w 1438275"/>
                  <a:gd name="connsiteY226" fmla="*/ 61595 h 101600"/>
                  <a:gd name="connsiteX227" fmla="*/ 884555 w 1438275"/>
                  <a:gd name="connsiteY227" fmla="*/ 67945 h 101600"/>
                  <a:gd name="connsiteX228" fmla="*/ 884237 w 1438275"/>
                  <a:gd name="connsiteY228" fmla="*/ 67945 h 101600"/>
                  <a:gd name="connsiteX229" fmla="*/ 882650 w 1438275"/>
                  <a:gd name="connsiteY229" fmla="*/ 61595 h 101600"/>
                  <a:gd name="connsiteX230" fmla="*/ 880427 w 1438275"/>
                  <a:gd name="connsiteY230" fmla="*/ 54610 h 101600"/>
                  <a:gd name="connsiteX231" fmla="*/ 868998 w 1438275"/>
                  <a:gd name="connsiteY231" fmla="*/ 22542 h 101600"/>
                  <a:gd name="connsiteX232" fmla="*/ 857567 w 1438275"/>
                  <a:gd name="connsiteY232" fmla="*/ 22542 h 101600"/>
                  <a:gd name="connsiteX233" fmla="*/ 878205 w 1438275"/>
                  <a:gd name="connsiteY233" fmla="*/ 77152 h 101600"/>
                  <a:gd name="connsiteX234" fmla="*/ 890270 w 1438275"/>
                  <a:gd name="connsiteY234" fmla="*/ 77152 h 101600"/>
                  <a:gd name="connsiteX235" fmla="*/ 838200 w 1438275"/>
                  <a:gd name="connsiteY235" fmla="*/ 77152 h 101600"/>
                  <a:gd name="connsiteX236" fmla="*/ 848995 w 1438275"/>
                  <a:gd name="connsiteY236" fmla="*/ 77152 h 101600"/>
                  <a:gd name="connsiteX237" fmla="*/ 848995 w 1438275"/>
                  <a:gd name="connsiteY237" fmla="*/ 22542 h 101600"/>
                  <a:gd name="connsiteX238" fmla="*/ 838200 w 1438275"/>
                  <a:gd name="connsiteY238" fmla="*/ 22542 h 101600"/>
                  <a:gd name="connsiteX239" fmla="*/ 838200 w 1438275"/>
                  <a:gd name="connsiteY239" fmla="*/ 77152 h 101600"/>
                  <a:gd name="connsiteX240" fmla="*/ 839470 w 1438275"/>
                  <a:gd name="connsiteY240" fmla="*/ 3175 h 101600"/>
                  <a:gd name="connsiteX241" fmla="*/ 837565 w 1438275"/>
                  <a:gd name="connsiteY241" fmla="*/ 7938 h 101600"/>
                  <a:gd name="connsiteX242" fmla="*/ 839470 w 1438275"/>
                  <a:gd name="connsiteY242" fmla="*/ 12700 h 101600"/>
                  <a:gd name="connsiteX243" fmla="*/ 843915 w 1438275"/>
                  <a:gd name="connsiteY243" fmla="*/ 14288 h 101600"/>
                  <a:gd name="connsiteX244" fmla="*/ 848042 w 1438275"/>
                  <a:gd name="connsiteY244" fmla="*/ 12700 h 101600"/>
                  <a:gd name="connsiteX245" fmla="*/ 849948 w 1438275"/>
                  <a:gd name="connsiteY245" fmla="*/ 7938 h 101600"/>
                  <a:gd name="connsiteX246" fmla="*/ 848042 w 1438275"/>
                  <a:gd name="connsiteY246" fmla="*/ 3175 h 101600"/>
                  <a:gd name="connsiteX247" fmla="*/ 843915 w 1438275"/>
                  <a:gd name="connsiteY247" fmla="*/ 1905 h 101600"/>
                  <a:gd name="connsiteX248" fmla="*/ 839470 w 1438275"/>
                  <a:gd name="connsiteY248" fmla="*/ 3175 h 101600"/>
                  <a:gd name="connsiteX249" fmla="*/ 812483 w 1438275"/>
                  <a:gd name="connsiteY249" fmla="*/ 24765 h 101600"/>
                  <a:gd name="connsiteX250" fmla="*/ 805815 w 1438275"/>
                  <a:gd name="connsiteY250" fmla="*/ 32385 h 101600"/>
                  <a:gd name="connsiteX251" fmla="*/ 805498 w 1438275"/>
                  <a:gd name="connsiteY251" fmla="*/ 32385 h 101600"/>
                  <a:gd name="connsiteX252" fmla="*/ 804227 w 1438275"/>
                  <a:gd name="connsiteY252" fmla="*/ 22542 h 101600"/>
                  <a:gd name="connsiteX253" fmla="*/ 795655 w 1438275"/>
                  <a:gd name="connsiteY253" fmla="*/ 22542 h 101600"/>
                  <a:gd name="connsiteX254" fmla="*/ 795655 w 1438275"/>
                  <a:gd name="connsiteY254" fmla="*/ 77152 h 101600"/>
                  <a:gd name="connsiteX255" fmla="*/ 806450 w 1438275"/>
                  <a:gd name="connsiteY255" fmla="*/ 77152 h 101600"/>
                  <a:gd name="connsiteX256" fmla="*/ 806450 w 1438275"/>
                  <a:gd name="connsiteY256" fmla="*/ 48260 h 101600"/>
                  <a:gd name="connsiteX257" fmla="*/ 808673 w 1438275"/>
                  <a:gd name="connsiteY257" fmla="*/ 39052 h 101600"/>
                  <a:gd name="connsiteX258" fmla="*/ 814387 w 1438275"/>
                  <a:gd name="connsiteY258" fmla="*/ 33338 h 101600"/>
                  <a:gd name="connsiteX259" fmla="*/ 822008 w 1438275"/>
                  <a:gd name="connsiteY259" fmla="*/ 31432 h 101600"/>
                  <a:gd name="connsiteX260" fmla="*/ 827405 w 1438275"/>
                  <a:gd name="connsiteY260" fmla="*/ 32067 h 101600"/>
                  <a:gd name="connsiteX261" fmla="*/ 828675 w 1438275"/>
                  <a:gd name="connsiteY261" fmla="*/ 21907 h 101600"/>
                  <a:gd name="connsiteX262" fmla="*/ 822642 w 1438275"/>
                  <a:gd name="connsiteY262" fmla="*/ 21272 h 101600"/>
                  <a:gd name="connsiteX263" fmla="*/ 812483 w 1438275"/>
                  <a:gd name="connsiteY263" fmla="*/ 24765 h 101600"/>
                  <a:gd name="connsiteX264" fmla="*/ 743585 w 1438275"/>
                  <a:gd name="connsiteY264" fmla="*/ 64452 h 101600"/>
                  <a:gd name="connsiteX265" fmla="*/ 740092 w 1438275"/>
                  <a:gd name="connsiteY265" fmla="*/ 50165 h 101600"/>
                  <a:gd name="connsiteX266" fmla="*/ 743585 w 1438275"/>
                  <a:gd name="connsiteY266" fmla="*/ 35560 h 101600"/>
                  <a:gd name="connsiteX267" fmla="*/ 753427 w 1438275"/>
                  <a:gd name="connsiteY267" fmla="*/ 30163 h 101600"/>
                  <a:gd name="connsiteX268" fmla="*/ 764858 w 1438275"/>
                  <a:gd name="connsiteY268" fmla="*/ 35242 h 101600"/>
                  <a:gd name="connsiteX269" fmla="*/ 768033 w 1438275"/>
                  <a:gd name="connsiteY269" fmla="*/ 49847 h 101600"/>
                  <a:gd name="connsiteX270" fmla="*/ 768033 w 1438275"/>
                  <a:gd name="connsiteY270" fmla="*/ 51435 h 101600"/>
                  <a:gd name="connsiteX271" fmla="*/ 764858 w 1438275"/>
                  <a:gd name="connsiteY271" fmla="*/ 64770 h 101600"/>
                  <a:gd name="connsiteX272" fmla="*/ 753745 w 1438275"/>
                  <a:gd name="connsiteY272" fmla="*/ 69215 h 101600"/>
                  <a:gd name="connsiteX273" fmla="*/ 743585 w 1438275"/>
                  <a:gd name="connsiteY273" fmla="*/ 64452 h 101600"/>
                  <a:gd name="connsiteX274" fmla="*/ 761365 w 1438275"/>
                  <a:gd name="connsiteY274" fmla="*/ 75882 h 101600"/>
                  <a:gd name="connsiteX275" fmla="*/ 767715 w 1438275"/>
                  <a:gd name="connsiteY275" fmla="*/ 69850 h 101600"/>
                  <a:gd name="connsiteX276" fmla="*/ 768350 w 1438275"/>
                  <a:gd name="connsiteY276" fmla="*/ 69850 h 101600"/>
                  <a:gd name="connsiteX277" fmla="*/ 770255 w 1438275"/>
                  <a:gd name="connsiteY277" fmla="*/ 77152 h 101600"/>
                  <a:gd name="connsiteX278" fmla="*/ 778827 w 1438275"/>
                  <a:gd name="connsiteY278" fmla="*/ 77152 h 101600"/>
                  <a:gd name="connsiteX279" fmla="*/ 778827 w 1438275"/>
                  <a:gd name="connsiteY279" fmla="*/ 0 h 101600"/>
                  <a:gd name="connsiteX280" fmla="*/ 768033 w 1438275"/>
                  <a:gd name="connsiteY280" fmla="*/ 0 h 101600"/>
                  <a:gd name="connsiteX281" fmla="*/ 768033 w 1438275"/>
                  <a:gd name="connsiteY281" fmla="*/ 20638 h 101600"/>
                  <a:gd name="connsiteX282" fmla="*/ 768350 w 1438275"/>
                  <a:gd name="connsiteY282" fmla="*/ 25400 h 101600"/>
                  <a:gd name="connsiteX283" fmla="*/ 768985 w 1438275"/>
                  <a:gd name="connsiteY283" fmla="*/ 29527 h 101600"/>
                  <a:gd name="connsiteX284" fmla="*/ 768350 w 1438275"/>
                  <a:gd name="connsiteY284" fmla="*/ 29527 h 101600"/>
                  <a:gd name="connsiteX285" fmla="*/ 762000 w 1438275"/>
                  <a:gd name="connsiteY285" fmla="*/ 23813 h 101600"/>
                  <a:gd name="connsiteX286" fmla="*/ 751840 w 1438275"/>
                  <a:gd name="connsiteY286" fmla="*/ 21590 h 101600"/>
                  <a:gd name="connsiteX287" fmla="*/ 735648 w 1438275"/>
                  <a:gd name="connsiteY287" fmla="*/ 28892 h 101600"/>
                  <a:gd name="connsiteX288" fmla="*/ 729615 w 1438275"/>
                  <a:gd name="connsiteY288" fmla="*/ 50165 h 101600"/>
                  <a:gd name="connsiteX289" fmla="*/ 735648 w 1438275"/>
                  <a:gd name="connsiteY289" fmla="*/ 71438 h 101600"/>
                  <a:gd name="connsiteX290" fmla="*/ 751523 w 1438275"/>
                  <a:gd name="connsiteY290" fmla="*/ 78422 h 101600"/>
                  <a:gd name="connsiteX291" fmla="*/ 761365 w 1438275"/>
                  <a:gd name="connsiteY291" fmla="*/ 75882 h 101600"/>
                  <a:gd name="connsiteX292" fmla="*/ 654050 w 1438275"/>
                  <a:gd name="connsiteY292" fmla="*/ 64452 h 101600"/>
                  <a:gd name="connsiteX293" fmla="*/ 650558 w 1438275"/>
                  <a:gd name="connsiteY293" fmla="*/ 50165 h 101600"/>
                  <a:gd name="connsiteX294" fmla="*/ 654050 w 1438275"/>
                  <a:gd name="connsiteY294" fmla="*/ 35560 h 101600"/>
                  <a:gd name="connsiteX295" fmla="*/ 663892 w 1438275"/>
                  <a:gd name="connsiteY295" fmla="*/ 30163 h 101600"/>
                  <a:gd name="connsiteX296" fmla="*/ 675323 w 1438275"/>
                  <a:gd name="connsiteY296" fmla="*/ 35242 h 101600"/>
                  <a:gd name="connsiteX297" fmla="*/ 678498 w 1438275"/>
                  <a:gd name="connsiteY297" fmla="*/ 49847 h 101600"/>
                  <a:gd name="connsiteX298" fmla="*/ 678498 w 1438275"/>
                  <a:gd name="connsiteY298" fmla="*/ 51435 h 101600"/>
                  <a:gd name="connsiteX299" fmla="*/ 675323 w 1438275"/>
                  <a:gd name="connsiteY299" fmla="*/ 64770 h 101600"/>
                  <a:gd name="connsiteX300" fmla="*/ 664210 w 1438275"/>
                  <a:gd name="connsiteY300" fmla="*/ 69215 h 101600"/>
                  <a:gd name="connsiteX301" fmla="*/ 654050 w 1438275"/>
                  <a:gd name="connsiteY301" fmla="*/ 64452 h 101600"/>
                  <a:gd name="connsiteX302" fmla="*/ 671830 w 1438275"/>
                  <a:gd name="connsiteY302" fmla="*/ 75882 h 101600"/>
                  <a:gd name="connsiteX303" fmla="*/ 678180 w 1438275"/>
                  <a:gd name="connsiteY303" fmla="*/ 69850 h 101600"/>
                  <a:gd name="connsiteX304" fmla="*/ 678815 w 1438275"/>
                  <a:gd name="connsiteY304" fmla="*/ 69850 h 101600"/>
                  <a:gd name="connsiteX305" fmla="*/ 680720 w 1438275"/>
                  <a:gd name="connsiteY305" fmla="*/ 77152 h 101600"/>
                  <a:gd name="connsiteX306" fmla="*/ 689292 w 1438275"/>
                  <a:gd name="connsiteY306" fmla="*/ 77152 h 101600"/>
                  <a:gd name="connsiteX307" fmla="*/ 689292 w 1438275"/>
                  <a:gd name="connsiteY307" fmla="*/ 0 h 101600"/>
                  <a:gd name="connsiteX308" fmla="*/ 678498 w 1438275"/>
                  <a:gd name="connsiteY308" fmla="*/ 0 h 101600"/>
                  <a:gd name="connsiteX309" fmla="*/ 678498 w 1438275"/>
                  <a:gd name="connsiteY309" fmla="*/ 20638 h 101600"/>
                  <a:gd name="connsiteX310" fmla="*/ 678815 w 1438275"/>
                  <a:gd name="connsiteY310" fmla="*/ 25400 h 101600"/>
                  <a:gd name="connsiteX311" fmla="*/ 679450 w 1438275"/>
                  <a:gd name="connsiteY311" fmla="*/ 29527 h 101600"/>
                  <a:gd name="connsiteX312" fmla="*/ 678815 w 1438275"/>
                  <a:gd name="connsiteY312" fmla="*/ 29527 h 101600"/>
                  <a:gd name="connsiteX313" fmla="*/ 672465 w 1438275"/>
                  <a:gd name="connsiteY313" fmla="*/ 23813 h 101600"/>
                  <a:gd name="connsiteX314" fmla="*/ 662305 w 1438275"/>
                  <a:gd name="connsiteY314" fmla="*/ 21590 h 101600"/>
                  <a:gd name="connsiteX315" fmla="*/ 646112 w 1438275"/>
                  <a:gd name="connsiteY315" fmla="*/ 28892 h 101600"/>
                  <a:gd name="connsiteX316" fmla="*/ 640080 w 1438275"/>
                  <a:gd name="connsiteY316" fmla="*/ 50165 h 101600"/>
                  <a:gd name="connsiteX317" fmla="*/ 646112 w 1438275"/>
                  <a:gd name="connsiteY317" fmla="*/ 71438 h 101600"/>
                  <a:gd name="connsiteX318" fmla="*/ 661987 w 1438275"/>
                  <a:gd name="connsiteY318" fmla="*/ 78422 h 101600"/>
                  <a:gd name="connsiteX319" fmla="*/ 671830 w 1438275"/>
                  <a:gd name="connsiteY319" fmla="*/ 75882 h 101600"/>
                  <a:gd name="connsiteX320" fmla="*/ 596583 w 1438275"/>
                  <a:gd name="connsiteY320" fmla="*/ 23495 h 101600"/>
                  <a:gd name="connsiteX321" fmla="*/ 589280 w 1438275"/>
                  <a:gd name="connsiteY321" fmla="*/ 29845 h 101600"/>
                  <a:gd name="connsiteX322" fmla="*/ 588645 w 1438275"/>
                  <a:gd name="connsiteY322" fmla="*/ 29845 h 101600"/>
                  <a:gd name="connsiteX323" fmla="*/ 587058 w 1438275"/>
                  <a:gd name="connsiteY323" fmla="*/ 22542 h 101600"/>
                  <a:gd name="connsiteX324" fmla="*/ 578485 w 1438275"/>
                  <a:gd name="connsiteY324" fmla="*/ 22542 h 101600"/>
                  <a:gd name="connsiteX325" fmla="*/ 578485 w 1438275"/>
                  <a:gd name="connsiteY325" fmla="*/ 77152 h 101600"/>
                  <a:gd name="connsiteX326" fmla="*/ 589280 w 1438275"/>
                  <a:gd name="connsiteY326" fmla="*/ 77152 h 101600"/>
                  <a:gd name="connsiteX327" fmla="*/ 589280 w 1438275"/>
                  <a:gd name="connsiteY327" fmla="*/ 49530 h 101600"/>
                  <a:gd name="connsiteX328" fmla="*/ 592455 w 1438275"/>
                  <a:gd name="connsiteY328" fmla="*/ 35242 h 101600"/>
                  <a:gd name="connsiteX329" fmla="*/ 603885 w 1438275"/>
                  <a:gd name="connsiteY329" fmla="*/ 30163 h 101600"/>
                  <a:gd name="connsiteX330" fmla="*/ 615315 w 1438275"/>
                  <a:gd name="connsiteY330" fmla="*/ 42863 h 101600"/>
                  <a:gd name="connsiteX331" fmla="*/ 615315 w 1438275"/>
                  <a:gd name="connsiteY331" fmla="*/ 77152 h 101600"/>
                  <a:gd name="connsiteX332" fmla="*/ 626110 w 1438275"/>
                  <a:gd name="connsiteY332" fmla="*/ 77152 h 101600"/>
                  <a:gd name="connsiteX333" fmla="*/ 626110 w 1438275"/>
                  <a:gd name="connsiteY333" fmla="*/ 41592 h 101600"/>
                  <a:gd name="connsiteX334" fmla="*/ 621030 w 1438275"/>
                  <a:gd name="connsiteY334" fmla="*/ 26352 h 101600"/>
                  <a:gd name="connsiteX335" fmla="*/ 606425 w 1438275"/>
                  <a:gd name="connsiteY335" fmla="*/ 21590 h 101600"/>
                  <a:gd name="connsiteX336" fmla="*/ 596583 w 1438275"/>
                  <a:gd name="connsiteY336" fmla="*/ 23495 h 101600"/>
                  <a:gd name="connsiteX337" fmla="*/ 551498 w 1438275"/>
                  <a:gd name="connsiteY337" fmla="*/ 55563 h 101600"/>
                  <a:gd name="connsiteX338" fmla="*/ 547370 w 1438275"/>
                  <a:gd name="connsiteY338" fmla="*/ 66357 h 101600"/>
                  <a:gd name="connsiteX339" fmla="*/ 536892 w 1438275"/>
                  <a:gd name="connsiteY339" fmla="*/ 69850 h 101600"/>
                  <a:gd name="connsiteX340" fmla="*/ 530225 w 1438275"/>
                  <a:gd name="connsiteY340" fmla="*/ 67945 h 101600"/>
                  <a:gd name="connsiteX341" fmla="*/ 527685 w 1438275"/>
                  <a:gd name="connsiteY341" fmla="*/ 61595 h 101600"/>
                  <a:gd name="connsiteX342" fmla="*/ 531177 w 1438275"/>
                  <a:gd name="connsiteY342" fmla="*/ 53975 h 101600"/>
                  <a:gd name="connsiteX343" fmla="*/ 544195 w 1438275"/>
                  <a:gd name="connsiteY343" fmla="*/ 50800 h 101600"/>
                  <a:gd name="connsiteX344" fmla="*/ 551498 w 1438275"/>
                  <a:gd name="connsiteY344" fmla="*/ 50482 h 101600"/>
                  <a:gd name="connsiteX345" fmla="*/ 551498 w 1438275"/>
                  <a:gd name="connsiteY345" fmla="*/ 55563 h 101600"/>
                  <a:gd name="connsiteX346" fmla="*/ 531177 w 1438275"/>
                  <a:gd name="connsiteY346" fmla="*/ 22860 h 101600"/>
                  <a:gd name="connsiteX347" fmla="*/ 522287 w 1438275"/>
                  <a:gd name="connsiteY347" fmla="*/ 26352 h 101600"/>
                  <a:gd name="connsiteX348" fmla="*/ 525780 w 1438275"/>
                  <a:gd name="connsiteY348" fmla="*/ 34290 h 101600"/>
                  <a:gd name="connsiteX349" fmla="*/ 533083 w 1438275"/>
                  <a:gd name="connsiteY349" fmla="*/ 31432 h 101600"/>
                  <a:gd name="connsiteX350" fmla="*/ 541020 w 1438275"/>
                  <a:gd name="connsiteY350" fmla="*/ 30163 h 101600"/>
                  <a:gd name="connsiteX351" fmla="*/ 548640 w 1438275"/>
                  <a:gd name="connsiteY351" fmla="*/ 32702 h 101600"/>
                  <a:gd name="connsiteX352" fmla="*/ 551498 w 1438275"/>
                  <a:gd name="connsiteY352" fmla="*/ 41275 h 101600"/>
                  <a:gd name="connsiteX353" fmla="*/ 551498 w 1438275"/>
                  <a:gd name="connsiteY353" fmla="*/ 44450 h 101600"/>
                  <a:gd name="connsiteX354" fmla="*/ 542290 w 1438275"/>
                  <a:gd name="connsiteY354" fmla="*/ 44767 h 101600"/>
                  <a:gd name="connsiteX355" fmla="*/ 522923 w 1438275"/>
                  <a:gd name="connsiteY355" fmla="*/ 49530 h 101600"/>
                  <a:gd name="connsiteX356" fmla="*/ 516573 w 1438275"/>
                  <a:gd name="connsiteY356" fmla="*/ 62230 h 101600"/>
                  <a:gd name="connsiteX357" fmla="*/ 521335 w 1438275"/>
                  <a:gd name="connsiteY357" fmla="*/ 74930 h 101600"/>
                  <a:gd name="connsiteX358" fmla="*/ 533717 w 1438275"/>
                  <a:gd name="connsiteY358" fmla="*/ 79057 h 101600"/>
                  <a:gd name="connsiteX359" fmla="*/ 544512 w 1438275"/>
                  <a:gd name="connsiteY359" fmla="*/ 76835 h 101600"/>
                  <a:gd name="connsiteX360" fmla="*/ 552133 w 1438275"/>
                  <a:gd name="connsiteY360" fmla="*/ 70167 h 101600"/>
                  <a:gd name="connsiteX361" fmla="*/ 552450 w 1438275"/>
                  <a:gd name="connsiteY361" fmla="*/ 70167 h 101600"/>
                  <a:gd name="connsiteX362" fmla="*/ 554673 w 1438275"/>
                  <a:gd name="connsiteY362" fmla="*/ 77788 h 101600"/>
                  <a:gd name="connsiteX363" fmla="*/ 562292 w 1438275"/>
                  <a:gd name="connsiteY363" fmla="*/ 77788 h 101600"/>
                  <a:gd name="connsiteX364" fmla="*/ 562292 w 1438275"/>
                  <a:gd name="connsiteY364" fmla="*/ 40005 h 101600"/>
                  <a:gd name="connsiteX365" fmla="*/ 557212 w 1438275"/>
                  <a:gd name="connsiteY365" fmla="*/ 25717 h 101600"/>
                  <a:gd name="connsiteX366" fmla="*/ 541973 w 1438275"/>
                  <a:gd name="connsiteY366" fmla="*/ 21272 h 101600"/>
                  <a:gd name="connsiteX367" fmla="*/ 531177 w 1438275"/>
                  <a:gd name="connsiteY367" fmla="*/ 22860 h 101600"/>
                  <a:gd name="connsiteX368" fmla="*/ 479425 w 1438275"/>
                  <a:gd name="connsiteY368" fmla="*/ 54292 h 101600"/>
                  <a:gd name="connsiteX369" fmla="*/ 474027 w 1438275"/>
                  <a:gd name="connsiteY369" fmla="*/ 49213 h 101600"/>
                  <a:gd name="connsiteX370" fmla="*/ 465455 w 1438275"/>
                  <a:gd name="connsiteY370" fmla="*/ 45085 h 101600"/>
                  <a:gd name="connsiteX371" fmla="*/ 457517 w 1438275"/>
                  <a:gd name="connsiteY371" fmla="*/ 41592 h 101600"/>
                  <a:gd name="connsiteX372" fmla="*/ 453390 w 1438275"/>
                  <a:gd name="connsiteY372" fmla="*/ 38735 h 101600"/>
                  <a:gd name="connsiteX373" fmla="*/ 452120 w 1438275"/>
                  <a:gd name="connsiteY373" fmla="*/ 35242 h 101600"/>
                  <a:gd name="connsiteX374" fmla="*/ 461962 w 1438275"/>
                  <a:gd name="connsiteY374" fmla="*/ 29527 h 101600"/>
                  <a:gd name="connsiteX375" fmla="*/ 469583 w 1438275"/>
                  <a:gd name="connsiteY375" fmla="*/ 30480 h 101600"/>
                  <a:gd name="connsiteX376" fmla="*/ 476885 w 1438275"/>
                  <a:gd name="connsiteY376" fmla="*/ 33020 h 101600"/>
                  <a:gd name="connsiteX377" fmla="*/ 480377 w 1438275"/>
                  <a:gd name="connsiteY377" fmla="*/ 24765 h 101600"/>
                  <a:gd name="connsiteX378" fmla="*/ 471805 w 1438275"/>
                  <a:gd name="connsiteY378" fmla="*/ 21907 h 101600"/>
                  <a:gd name="connsiteX379" fmla="*/ 462280 w 1438275"/>
                  <a:gd name="connsiteY379" fmla="*/ 20955 h 101600"/>
                  <a:gd name="connsiteX380" fmla="*/ 447040 w 1438275"/>
                  <a:gd name="connsiteY380" fmla="*/ 24765 h 101600"/>
                  <a:gd name="connsiteX381" fmla="*/ 441325 w 1438275"/>
                  <a:gd name="connsiteY381" fmla="*/ 35560 h 101600"/>
                  <a:gd name="connsiteX382" fmla="*/ 443230 w 1438275"/>
                  <a:gd name="connsiteY382" fmla="*/ 42863 h 101600"/>
                  <a:gd name="connsiteX383" fmla="*/ 448627 w 1438275"/>
                  <a:gd name="connsiteY383" fmla="*/ 47942 h 101600"/>
                  <a:gd name="connsiteX384" fmla="*/ 457517 w 1438275"/>
                  <a:gd name="connsiteY384" fmla="*/ 52070 h 101600"/>
                  <a:gd name="connsiteX385" fmla="*/ 465773 w 1438275"/>
                  <a:gd name="connsiteY385" fmla="*/ 55563 h 101600"/>
                  <a:gd name="connsiteX386" fmla="*/ 469583 w 1438275"/>
                  <a:gd name="connsiteY386" fmla="*/ 58738 h 101600"/>
                  <a:gd name="connsiteX387" fmla="*/ 470535 w 1438275"/>
                  <a:gd name="connsiteY387" fmla="*/ 61913 h 101600"/>
                  <a:gd name="connsiteX388" fmla="*/ 467995 w 1438275"/>
                  <a:gd name="connsiteY388" fmla="*/ 66992 h 101600"/>
                  <a:gd name="connsiteX389" fmla="*/ 459105 w 1438275"/>
                  <a:gd name="connsiteY389" fmla="*/ 68897 h 101600"/>
                  <a:gd name="connsiteX390" fmla="*/ 449580 w 1438275"/>
                  <a:gd name="connsiteY390" fmla="*/ 67627 h 101600"/>
                  <a:gd name="connsiteX391" fmla="*/ 441325 w 1438275"/>
                  <a:gd name="connsiteY391" fmla="*/ 64452 h 101600"/>
                  <a:gd name="connsiteX392" fmla="*/ 441325 w 1438275"/>
                  <a:gd name="connsiteY392" fmla="*/ 73977 h 101600"/>
                  <a:gd name="connsiteX393" fmla="*/ 448945 w 1438275"/>
                  <a:gd name="connsiteY393" fmla="*/ 76517 h 101600"/>
                  <a:gd name="connsiteX394" fmla="*/ 458787 w 1438275"/>
                  <a:gd name="connsiteY394" fmla="*/ 77470 h 101600"/>
                  <a:gd name="connsiteX395" fmla="*/ 475298 w 1438275"/>
                  <a:gd name="connsiteY395" fmla="*/ 73342 h 101600"/>
                  <a:gd name="connsiteX396" fmla="*/ 481012 w 1438275"/>
                  <a:gd name="connsiteY396" fmla="*/ 60960 h 101600"/>
                  <a:gd name="connsiteX397" fmla="*/ 479425 w 1438275"/>
                  <a:gd name="connsiteY397" fmla="*/ 54292 h 101600"/>
                  <a:gd name="connsiteX398" fmla="*/ 417512 w 1438275"/>
                  <a:gd name="connsiteY398" fmla="*/ 33655 h 101600"/>
                  <a:gd name="connsiteX399" fmla="*/ 420687 w 1438275"/>
                  <a:gd name="connsiteY399" fmla="*/ 44132 h 101600"/>
                  <a:gd name="connsiteX400" fmla="*/ 394970 w 1438275"/>
                  <a:gd name="connsiteY400" fmla="*/ 44132 h 101600"/>
                  <a:gd name="connsiteX401" fmla="*/ 399097 w 1438275"/>
                  <a:gd name="connsiteY401" fmla="*/ 33338 h 101600"/>
                  <a:gd name="connsiteX402" fmla="*/ 408305 w 1438275"/>
                  <a:gd name="connsiteY402" fmla="*/ 29527 h 101600"/>
                  <a:gd name="connsiteX403" fmla="*/ 417512 w 1438275"/>
                  <a:gd name="connsiteY403" fmla="*/ 33655 h 101600"/>
                  <a:gd name="connsiteX404" fmla="*/ 395288 w 1438275"/>
                  <a:gd name="connsiteY404" fmla="*/ 24765 h 101600"/>
                  <a:gd name="connsiteX405" fmla="*/ 386715 w 1438275"/>
                  <a:gd name="connsiteY405" fmla="*/ 34607 h 101600"/>
                  <a:gd name="connsiteX406" fmla="*/ 383540 w 1438275"/>
                  <a:gd name="connsiteY406" fmla="*/ 50165 h 101600"/>
                  <a:gd name="connsiteX407" fmla="*/ 387033 w 1438275"/>
                  <a:gd name="connsiteY407" fmla="*/ 65722 h 101600"/>
                  <a:gd name="connsiteX408" fmla="*/ 396558 w 1438275"/>
                  <a:gd name="connsiteY408" fmla="*/ 74930 h 101600"/>
                  <a:gd name="connsiteX409" fmla="*/ 410527 w 1438275"/>
                  <a:gd name="connsiteY409" fmla="*/ 78105 h 101600"/>
                  <a:gd name="connsiteX410" fmla="*/ 420370 w 1438275"/>
                  <a:gd name="connsiteY410" fmla="*/ 77152 h 101600"/>
                  <a:gd name="connsiteX411" fmla="*/ 428625 w 1438275"/>
                  <a:gd name="connsiteY411" fmla="*/ 74295 h 101600"/>
                  <a:gd name="connsiteX412" fmla="*/ 428625 w 1438275"/>
                  <a:gd name="connsiteY412" fmla="*/ 65405 h 101600"/>
                  <a:gd name="connsiteX413" fmla="*/ 420052 w 1438275"/>
                  <a:gd name="connsiteY413" fmla="*/ 68263 h 101600"/>
                  <a:gd name="connsiteX414" fmla="*/ 410527 w 1438275"/>
                  <a:gd name="connsiteY414" fmla="*/ 69215 h 101600"/>
                  <a:gd name="connsiteX415" fmla="*/ 398780 w 1438275"/>
                  <a:gd name="connsiteY415" fmla="*/ 64770 h 101600"/>
                  <a:gd name="connsiteX416" fmla="*/ 394335 w 1438275"/>
                  <a:gd name="connsiteY416" fmla="*/ 51752 h 101600"/>
                  <a:gd name="connsiteX417" fmla="*/ 431165 w 1438275"/>
                  <a:gd name="connsiteY417" fmla="*/ 51752 h 101600"/>
                  <a:gd name="connsiteX418" fmla="*/ 431165 w 1438275"/>
                  <a:gd name="connsiteY418" fmla="*/ 46355 h 101600"/>
                  <a:gd name="connsiteX419" fmla="*/ 424815 w 1438275"/>
                  <a:gd name="connsiteY419" fmla="*/ 28257 h 101600"/>
                  <a:gd name="connsiteX420" fmla="*/ 407987 w 1438275"/>
                  <a:gd name="connsiteY420" fmla="*/ 21590 h 101600"/>
                  <a:gd name="connsiteX421" fmla="*/ 395288 w 1438275"/>
                  <a:gd name="connsiteY421" fmla="*/ 24765 h 101600"/>
                  <a:gd name="connsiteX422" fmla="*/ 340677 w 1438275"/>
                  <a:gd name="connsiteY422" fmla="*/ 23495 h 101600"/>
                  <a:gd name="connsiteX423" fmla="*/ 333375 w 1438275"/>
                  <a:gd name="connsiteY423" fmla="*/ 29845 h 101600"/>
                  <a:gd name="connsiteX424" fmla="*/ 332740 w 1438275"/>
                  <a:gd name="connsiteY424" fmla="*/ 29845 h 101600"/>
                  <a:gd name="connsiteX425" fmla="*/ 331152 w 1438275"/>
                  <a:gd name="connsiteY425" fmla="*/ 22542 h 101600"/>
                  <a:gd name="connsiteX426" fmla="*/ 322580 w 1438275"/>
                  <a:gd name="connsiteY426" fmla="*/ 22542 h 101600"/>
                  <a:gd name="connsiteX427" fmla="*/ 322580 w 1438275"/>
                  <a:gd name="connsiteY427" fmla="*/ 77152 h 101600"/>
                  <a:gd name="connsiteX428" fmla="*/ 333375 w 1438275"/>
                  <a:gd name="connsiteY428" fmla="*/ 77152 h 101600"/>
                  <a:gd name="connsiteX429" fmla="*/ 333375 w 1438275"/>
                  <a:gd name="connsiteY429" fmla="*/ 49530 h 101600"/>
                  <a:gd name="connsiteX430" fmla="*/ 336550 w 1438275"/>
                  <a:gd name="connsiteY430" fmla="*/ 35242 h 101600"/>
                  <a:gd name="connsiteX431" fmla="*/ 347980 w 1438275"/>
                  <a:gd name="connsiteY431" fmla="*/ 30163 h 101600"/>
                  <a:gd name="connsiteX432" fmla="*/ 359410 w 1438275"/>
                  <a:gd name="connsiteY432" fmla="*/ 42863 h 101600"/>
                  <a:gd name="connsiteX433" fmla="*/ 359410 w 1438275"/>
                  <a:gd name="connsiteY433" fmla="*/ 77152 h 101600"/>
                  <a:gd name="connsiteX434" fmla="*/ 370205 w 1438275"/>
                  <a:gd name="connsiteY434" fmla="*/ 77152 h 101600"/>
                  <a:gd name="connsiteX435" fmla="*/ 370205 w 1438275"/>
                  <a:gd name="connsiteY435" fmla="*/ 41592 h 101600"/>
                  <a:gd name="connsiteX436" fmla="*/ 365125 w 1438275"/>
                  <a:gd name="connsiteY436" fmla="*/ 26352 h 101600"/>
                  <a:gd name="connsiteX437" fmla="*/ 350520 w 1438275"/>
                  <a:gd name="connsiteY437" fmla="*/ 21590 h 101600"/>
                  <a:gd name="connsiteX438" fmla="*/ 340677 w 1438275"/>
                  <a:gd name="connsiteY438" fmla="*/ 23495 h 101600"/>
                  <a:gd name="connsiteX439" fmla="*/ 294958 w 1438275"/>
                  <a:gd name="connsiteY439" fmla="*/ 77152 h 101600"/>
                  <a:gd name="connsiteX440" fmla="*/ 305752 w 1438275"/>
                  <a:gd name="connsiteY440" fmla="*/ 77152 h 101600"/>
                  <a:gd name="connsiteX441" fmla="*/ 305752 w 1438275"/>
                  <a:gd name="connsiteY441" fmla="*/ 22542 h 101600"/>
                  <a:gd name="connsiteX442" fmla="*/ 294958 w 1438275"/>
                  <a:gd name="connsiteY442" fmla="*/ 22542 h 101600"/>
                  <a:gd name="connsiteX443" fmla="*/ 294958 w 1438275"/>
                  <a:gd name="connsiteY443" fmla="*/ 77152 h 101600"/>
                  <a:gd name="connsiteX444" fmla="*/ 296227 w 1438275"/>
                  <a:gd name="connsiteY444" fmla="*/ 3175 h 101600"/>
                  <a:gd name="connsiteX445" fmla="*/ 294322 w 1438275"/>
                  <a:gd name="connsiteY445" fmla="*/ 7938 h 101600"/>
                  <a:gd name="connsiteX446" fmla="*/ 296227 w 1438275"/>
                  <a:gd name="connsiteY446" fmla="*/ 12700 h 101600"/>
                  <a:gd name="connsiteX447" fmla="*/ 300672 w 1438275"/>
                  <a:gd name="connsiteY447" fmla="*/ 14288 h 101600"/>
                  <a:gd name="connsiteX448" fmla="*/ 304800 w 1438275"/>
                  <a:gd name="connsiteY448" fmla="*/ 12700 h 101600"/>
                  <a:gd name="connsiteX449" fmla="*/ 306705 w 1438275"/>
                  <a:gd name="connsiteY449" fmla="*/ 7938 h 101600"/>
                  <a:gd name="connsiteX450" fmla="*/ 304800 w 1438275"/>
                  <a:gd name="connsiteY450" fmla="*/ 3175 h 101600"/>
                  <a:gd name="connsiteX451" fmla="*/ 300672 w 1438275"/>
                  <a:gd name="connsiteY451" fmla="*/ 1905 h 101600"/>
                  <a:gd name="connsiteX452" fmla="*/ 296227 w 1438275"/>
                  <a:gd name="connsiteY452" fmla="*/ 3175 h 101600"/>
                  <a:gd name="connsiteX453" fmla="*/ 275908 w 1438275"/>
                  <a:gd name="connsiteY453" fmla="*/ 77470 h 101600"/>
                  <a:gd name="connsiteX454" fmla="*/ 282258 w 1438275"/>
                  <a:gd name="connsiteY454" fmla="*/ 74930 h 101600"/>
                  <a:gd name="connsiteX455" fmla="*/ 282258 w 1438275"/>
                  <a:gd name="connsiteY455" fmla="*/ 65405 h 101600"/>
                  <a:gd name="connsiteX456" fmla="*/ 275908 w 1438275"/>
                  <a:gd name="connsiteY456" fmla="*/ 67945 h 101600"/>
                  <a:gd name="connsiteX457" fmla="*/ 267970 w 1438275"/>
                  <a:gd name="connsiteY457" fmla="*/ 68897 h 101600"/>
                  <a:gd name="connsiteX458" fmla="*/ 257175 w 1438275"/>
                  <a:gd name="connsiteY458" fmla="*/ 64135 h 101600"/>
                  <a:gd name="connsiteX459" fmla="*/ 253365 w 1438275"/>
                  <a:gd name="connsiteY459" fmla="*/ 49847 h 101600"/>
                  <a:gd name="connsiteX460" fmla="*/ 268288 w 1438275"/>
                  <a:gd name="connsiteY460" fmla="*/ 30480 h 101600"/>
                  <a:gd name="connsiteX461" fmla="*/ 274320 w 1438275"/>
                  <a:gd name="connsiteY461" fmla="*/ 31432 h 101600"/>
                  <a:gd name="connsiteX462" fmla="*/ 280352 w 1438275"/>
                  <a:gd name="connsiteY462" fmla="*/ 33338 h 101600"/>
                  <a:gd name="connsiteX463" fmla="*/ 283527 w 1438275"/>
                  <a:gd name="connsiteY463" fmla="*/ 24447 h 101600"/>
                  <a:gd name="connsiteX464" fmla="*/ 276860 w 1438275"/>
                  <a:gd name="connsiteY464" fmla="*/ 22225 h 101600"/>
                  <a:gd name="connsiteX465" fmla="*/ 268288 w 1438275"/>
                  <a:gd name="connsiteY465" fmla="*/ 21272 h 101600"/>
                  <a:gd name="connsiteX466" fmla="*/ 254952 w 1438275"/>
                  <a:gd name="connsiteY466" fmla="*/ 24130 h 101600"/>
                  <a:gd name="connsiteX467" fmla="*/ 245745 w 1438275"/>
                  <a:gd name="connsiteY467" fmla="*/ 33338 h 101600"/>
                  <a:gd name="connsiteX468" fmla="*/ 242252 w 1438275"/>
                  <a:gd name="connsiteY468" fmla="*/ 49847 h 101600"/>
                  <a:gd name="connsiteX469" fmla="*/ 249238 w 1438275"/>
                  <a:gd name="connsiteY469" fmla="*/ 71120 h 101600"/>
                  <a:gd name="connsiteX470" fmla="*/ 267652 w 1438275"/>
                  <a:gd name="connsiteY470" fmla="*/ 77788 h 101600"/>
                  <a:gd name="connsiteX471" fmla="*/ 275908 w 1438275"/>
                  <a:gd name="connsiteY471" fmla="*/ 77470 h 101600"/>
                  <a:gd name="connsiteX472" fmla="*/ 217805 w 1438275"/>
                  <a:gd name="connsiteY472" fmla="*/ 77152 h 101600"/>
                  <a:gd name="connsiteX473" fmla="*/ 228600 w 1438275"/>
                  <a:gd name="connsiteY473" fmla="*/ 77152 h 101600"/>
                  <a:gd name="connsiteX474" fmla="*/ 228600 w 1438275"/>
                  <a:gd name="connsiteY474" fmla="*/ 22542 h 101600"/>
                  <a:gd name="connsiteX475" fmla="*/ 217805 w 1438275"/>
                  <a:gd name="connsiteY475" fmla="*/ 22542 h 101600"/>
                  <a:gd name="connsiteX476" fmla="*/ 217805 w 1438275"/>
                  <a:gd name="connsiteY476" fmla="*/ 77152 h 101600"/>
                  <a:gd name="connsiteX477" fmla="*/ 218758 w 1438275"/>
                  <a:gd name="connsiteY477" fmla="*/ 3175 h 101600"/>
                  <a:gd name="connsiteX478" fmla="*/ 216852 w 1438275"/>
                  <a:gd name="connsiteY478" fmla="*/ 7938 h 101600"/>
                  <a:gd name="connsiteX479" fmla="*/ 218758 w 1438275"/>
                  <a:gd name="connsiteY479" fmla="*/ 12700 h 101600"/>
                  <a:gd name="connsiteX480" fmla="*/ 223202 w 1438275"/>
                  <a:gd name="connsiteY480" fmla="*/ 14288 h 101600"/>
                  <a:gd name="connsiteX481" fmla="*/ 227330 w 1438275"/>
                  <a:gd name="connsiteY481" fmla="*/ 12700 h 101600"/>
                  <a:gd name="connsiteX482" fmla="*/ 229235 w 1438275"/>
                  <a:gd name="connsiteY482" fmla="*/ 7938 h 101600"/>
                  <a:gd name="connsiteX483" fmla="*/ 227330 w 1438275"/>
                  <a:gd name="connsiteY483" fmla="*/ 3175 h 101600"/>
                  <a:gd name="connsiteX484" fmla="*/ 223202 w 1438275"/>
                  <a:gd name="connsiteY484" fmla="*/ 1905 h 101600"/>
                  <a:gd name="connsiteX485" fmla="*/ 218758 w 1438275"/>
                  <a:gd name="connsiteY485" fmla="*/ 3175 h 101600"/>
                  <a:gd name="connsiteX486" fmla="*/ 166052 w 1438275"/>
                  <a:gd name="connsiteY486" fmla="*/ 64452 h 101600"/>
                  <a:gd name="connsiteX487" fmla="*/ 162560 w 1438275"/>
                  <a:gd name="connsiteY487" fmla="*/ 50165 h 101600"/>
                  <a:gd name="connsiteX488" fmla="*/ 166052 w 1438275"/>
                  <a:gd name="connsiteY488" fmla="*/ 35560 h 101600"/>
                  <a:gd name="connsiteX489" fmla="*/ 175895 w 1438275"/>
                  <a:gd name="connsiteY489" fmla="*/ 30163 h 101600"/>
                  <a:gd name="connsiteX490" fmla="*/ 187325 w 1438275"/>
                  <a:gd name="connsiteY490" fmla="*/ 35242 h 101600"/>
                  <a:gd name="connsiteX491" fmla="*/ 190500 w 1438275"/>
                  <a:gd name="connsiteY491" fmla="*/ 49847 h 101600"/>
                  <a:gd name="connsiteX492" fmla="*/ 190500 w 1438275"/>
                  <a:gd name="connsiteY492" fmla="*/ 51435 h 101600"/>
                  <a:gd name="connsiteX493" fmla="*/ 187325 w 1438275"/>
                  <a:gd name="connsiteY493" fmla="*/ 64770 h 101600"/>
                  <a:gd name="connsiteX494" fmla="*/ 176213 w 1438275"/>
                  <a:gd name="connsiteY494" fmla="*/ 69215 h 101600"/>
                  <a:gd name="connsiteX495" fmla="*/ 166052 w 1438275"/>
                  <a:gd name="connsiteY495" fmla="*/ 64452 h 101600"/>
                  <a:gd name="connsiteX496" fmla="*/ 183833 w 1438275"/>
                  <a:gd name="connsiteY496" fmla="*/ 75882 h 101600"/>
                  <a:gd name="connsiteX497" fmla="*/ 190183 w 1438275"/>
                  <a:gd name="connsiteY497" fmla="*/ 69850 h 101600"/>
                  <a:gd name="connsiteX498" fmla="*/ 190817 w 1438275"/>
                  <a:gd name="connsiteY498" fmla="*/ 69850 h 101600"/>
                  <a:gd name="connsiteX499" fmla="*/ 192722 w 1438275"/>
                  <a:gd name="connsiteY499" fmla="*/ 77152 h 101600"/>
                  <a:gd name="connsiteX500" fmla="*/ 201295 w 1438275"/>
                  <a:gd name="connsiteY500" fmla="*/ 77152 h 101600"/>
                  <a:gd name="connsiteX501" fmla="*/ 201295 w 1438275"/>
                  <a:gd name="connsiteY501" fmla="*/ 0 h 101600"/>
                  <a:gd name="connsiteX502" fmla="*/ 190500 w 1438275"/>
                  <a:gd name="connsiteY502" fmla="*/ 0 h 101600"/>
                  <a:gd name="connsiteX503" fmla="*/ 190500 w 1438275"/>
                  <a:gd name="connsiteY503" fmla="*/ 20638 h 101600"/>
                  <a:gd name="connsiteX504" fmla="*/ 190817 w 1438275"/>
                  <a:gd name="connsiteY504" fmla="*/ 25400 h 101600"/>
                  <a:gd name="connsiteX505" fmla="*/ 191452 w 1438275"/>
                  <a:gd name="connsiteY505" fmla="*/ 29527 h 101600"/>
                  <a:gd name="connsiteX506" fmla="*/ 190817 w 1438275"/>
                  <a:gd name="connsiteY506" fmla="*/ 29527 h 101600"/>
                  <a:gd name="connsiteX507" fmla="*/ 184467 w 1438275"/>
                  <a:gd name="connsiteY507" fmla="*/ 23813 h 101600"/>
                  <a:gd name="connsiteX508" fmla="*/ 174308 w 1438275"/>
                  <a:gd name="connsiteY508" fmla="*/ 21590 h 101600"/>
                  <a:gd name="connsiteX509" fmla="*/ 158115 w 1438275"/>
                  <a:gd name="connsiteY509" fmla="*/ 28892 h 101600"/>
                  <a:gd name="connsiteX510" fmla="*/ 152083 w 1438275"/>
                  <a:gd name="connsiteY510" fmla="*/ 50165 h 101600"/>
                  <a:gd name="connsiteX511" fmla="*/ 158115 w 1438275"/>
                  <a:gd name="connsiteY511" fmla="*/ 71438 h 101600"/>
                  <a:gd name="connsiteX512" fmla="*/ 173990 w 1438275"/>
                  <a:gd name="connsiteY512" fmla="*/ 78422 h 101600"/>
                  <a:gd name="connsiteX513" fmla="*/ 183833 w 1438275"/>
                  <a:gd name="connsiteY513" fmla="*/ 75882 h 101600"/>
                  <a:gd name="connsiteX514" fmla="*/ 127317 w 1438275"/>
                  <a:gd name="connsiteY514" fmla="*/ 33655 h 101600"/>
                  <a:gd name="connsiteX515" fmla="*/ 130492 w 1438275"/>
                  <a:gd name="connsiteY515" fmla="*/ 44132 h 101600"/>
                  <a:gd name="connsiteX516" fmla="*/ 104775 w 1438275"/>
                  <a:gd name="connsiteY516" fmla="*/ 44132 h 101600"/>
                  <a:gd name="connsiteX517" fmla="*/ 108902 w 1438275"/>
                  <a:gd name="connsiteY517" fmla="*/ 33338 h 101600"/>
                  <a:gd name="connsiteX518" fmla="*/ 118110 w 1438275"/>
                  <a:gd name="connsiteY518" fmla="*/ 29527 h 101600"/>
                  <a:gd name="connsiteX519" fmla="*/ 127317 w 1438275"/>
                  <a:gd name="connsiteY519" fmla="*/ 33655 h 101600"/>
                  <a:gd name="connsiteX520" fmla="*/ 105092 w 1438275"/>
                  <a:gd name="connsiteY520" fmla="*/ 24765 h 101600"/>
                  <a:gd name="connsiteX521" fmla="*/ 96520 w 1438275"/>
                  <a:gd name="connsiteY521" fmla="*/ 34607 h 101600"/>
                  <a:gd name="connsiteX522" fmla="*/ 93345 w 1438275"/>
                  <a:gd name="connsiteY522" fmla="*/ 50165 h 101600"/>
                  <a:gd name="connsiteX523" fmla="*/ 96838 w 1438275"/>
                  <a:gd name="connsiteY523" fmla="*/ 65722 h 101600"/>
                  <a:gd name="connsiteX524" fmla="*/ 106363 w 1438275"/>
                  <a:gd name="connsiteY524" fmla="*/ 74930 h 101600"/>
                  <a:gd name="connsiteX525" fmla="*/ 120333 w 1438275"/>
                  <a:gd name="connsiteY525" fmla="*/ 78105 h 101600"/>
                  <a:gd name="connsiteX526" fmla="*/ 130175 w 1438275"/>
                  <a:gd name="connsiteY526" fmla="*/ 77152 h 101600"/>
                  <a:gd name="connsiteX527" fmla="*/ 138430 w 1438275"/>
                  <a:gd name="connsiteY527" fmla="*/ 74295 h 101600"/>
                  <a:gd name="connsiteX528" fmla="*/ 138430 w 1438275"/>
                  <a:gd name="connsiteY528" fmla="*/ 65405 h 101600"/>
                  <a:gd name="connsiteX529" fmla="*/ 129858 w 1438275"/>
                  <a:gd name="connsiteY529" fmla="*/ 68263 h 101600"/>
                  <a:gd name="connsiteX530" fmla="*/ 120333 w 1438275"/>
                  <a:gd name="connsiteY530" fmla="*/ 69215 h 101600"/>
                  <a:gd name="connsiteX531" fmla="*/ 108585 w 1438275"/>
                  <a:gd name="connsiteY531" fmla="*/ 64770 h 101600"/>
                  <a:gd name="connsiteX532" fmla="*/ 104140 w 1438275"/>
                  <a:gd name="connsiteY532" fmla="*/ 51752 h 101600"/>
                  <a:gd name="connsiteX533" fmla="*/ 140970 w 1438275"/>
                  <a:gd name="connsiteY533" fmla="*/ 51752 h 101600"/>
                  <a:gd name="connsiteX534" fmla="*/ 140970 w 1438275"/>
                  <a:gd name="connsiteY534" fmla="*/ 46355 h 101600"/>
                  <a:gd name="connsiteX535" fmla="*/ 134620 w 1438275"/>
                  <a:gd name="connsiteY535" fmla="*/ 28257 h 101600"/>
                  <a:gd name="connsiteX536" fmla="*/ 117792 w 1438275"/>
                  <a:gd name="connsiteY536" fmla="*/ 21590 h 101600"/>
                  <a:gd name="connsiteX537" fmla="*/ 105092 w 1438275"/>
                  <a:gd name="connsiteY537" fmla="*/ 24765 h 101600"/>
                  <a:gd name="connsiteX538" fmla="*/ 51752 w 1438275"/>
                  <a:gd name="connsiteY538" fmla="*/ 23495 h 101600"/>
                  <a:gd name="connsiteX539" fmla="*/ 44450 w 1438275"/>
                  <a:gd name="connsiteY539" fmla="*/ 30163 h 101600"/>
                  <a:gd name="connsiteX540" fmla="*/ 43497 w 1438275"/>
                  <a:gd name="connsiteY540" fmla="*/ 30163 h 101600"/>
                  <a:gd name="connsiteX541" fmla="*/ 26988 w 1438275"/>
                  <a:gd name="connsiteY541" fmla="*/ 21272 h 101600"/>
                  <a:gd name="connsiteX542" fmla="*/ 17780 w 1438275"/>
                  <a:gd name="connsiteY542" fmla="*/ 23177 h 101600"/>
                  <a:gd name="connsiteX543" fmla="*/ 10795 w 1438275"/>
                  <a:gd name="connsiteY543" fmla="*/ 29527 h 101600"/>
                  <a:gd name="connsiteX544" fmla="*/ 10160 w 1438275"/>
                  <a:gd name="connsiteY544" fmla="*/ 29527 h 101600"/>
                  <a:gd name="connsiteX545" fmla="*/ 8572 w 1438275"/>
                  <a:gd name="connsiteY545" fmla="*/ 22225 h 101600"/>
                  <a:gd name="connsiteX546" fmla="*/ 0 w 1438275"/>
                  <a:gd name="connsiteY546" fmla="*/ 22225 h 101600"/>
                  <a:gd name="connsiteX547" fmla="*/ 0 w 1438275"/>
                  <a:gd name="connsiteY547" fmla="*/ 76835 h 101600"/>
                  <a:gd name="connsiteX548" fmla="*/ 10795 w 1438275"/>
                  <a:gd name="connsiteY548" fmla="*/ 76835 h 101600"/>
                  <a:gd name="connsiteX549" fmla="*/ 10795 w 1438275"/>
                  <a:gd name="connsiteY549" fmla="*/ 49530 h 101600"/>
                  <a:gd name="connsiteX550" fmla="*/ 13652 w 1438275"/>
                  <a:gd name="connsiteY550" fmla="*/ 35242 h 101600"/>
                  <a:gd name="connsiteX551" fmla="*/ 24130 w 1438275"/>
                  <a:gd name="connsiteY551" fmla="*/ 30163 h 101600"/>
                  <a:gd name="connsiteX552" fmla="*/ 34608 w 1438275"/>
                  <a:gd name="connsiteY552" fmla="*/ 42863 h 101600"/>
                  <a:gd name="connsiteX553" fmla="*/ 34608 w 1438275"/>
                  <a:gd name="connsiteY553" fmla="*/ 77152 h 101600"/>
                  <a:gd name="connsiteX554" fmla="*/ 45402 w 1438275"/>
                  <a:gd name="connsiteY554" fmla="*/ 77152 h 101600"/>
                  <a:gd name="connsiteX555" fmla="*/ 45402 w 1438275"/>
                  <a:gd name="connsiteY555" fmla="*/ 47625 h 101600"/>
                  <a:gd name="connsiteX556" fmla="*/ 48577 w 1438275"/>
                  <a:gd name="connsiteY556" fmla="*/ 34607 h 101600"/>
                  <a:gd name="connsiteX557" fmla="*/ 59055 w 1438275"/>
                  <a:gd name="connsiteY557" fmla="*/ 30163 h 101600"/>
                  <a:gd name="connsiteX558" fmla="*/ 69215 w 1438275"/>
                  <a:gd name="connsiteY558" fmla="*/ 42863 h 101600"/>
                  <a:gd name="connsiteX559" fmla="*/ 69215 w 1438275"/>
                  <a:gd name="connsiteY559" fmla="*/ 77152 h 101600"/>
                  <a:gd name="connsiteX560" fmla="*/ 80010 w 1438275"/>
                  <a:gd name="connsiteY560" fmla="*/ 77152 h 101600"/>
                  <a:gd name="connsiteX561" fmla="*/ 80010 w 1438275"/>
                  <a:gd name="connsiteY561" fmla="*/ 41592 h 101600"/>
                  <a:gd name="connsiteX562" fmla="*/ 75247 w 1438275"/>
                  <a:gd name="connsiteY562" fmla="*/ 26352 h 101600"/>
                  <a:gd name="connsiteX563" fmla="*/ 61277 w 1438275"/>
                  <a:gd name="connsiteY563" fmla="*/ 21590 h 101600"/>
                  <a:gd name="connsiteX564" fmla="*/ 51752 w 1438275"/>
                  <a:gd name="connsiteY564" fmla="*/ 23495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Lst>
                <a:rect l="l" t="t" r="r" b="b"/>
                <a:pathLst>
                  <a:path w="1438275" h="101600">
                    <a:moveTo>
                      <a:pt x="1424305" y="67310"/>
                    </a:moveTo>
                    <a:cubicBezTo>
                      <a:pt x="1422717" y="66040"/>
                      <a:pt x="1422083" y="63817"/>
                      <a:pt x="1422083" y="60642"/>
                    </a:cubicBezTo>
                    <a:lnTo>
                      <a:pt x="1422083" y="30480"/>
                    </a:lnTo>
                    <a:lnTo>
                      <a:pt x="1437640" y="30480"/>
                    </a:lnTo>
                    <a:lnTo>
                      <a:pt x="1437640" y="22225"/>
                    </a:lnTo>
                    <a:lnTo>
                      <a:pt x="1422083" y="22225"/>
                    </a:lnTo>
                    <a:lnTo>
                      <a:pt x="1422083" y="9842"/>
                    </a:lnTo>
                    <a:lnTo>
                      <a:pt x="1415415" y="9842"/>
                    </a:lnTo>
                    <a:lnTo>
                      <a:pt x="1411605" y="21272"/>
                    </a:lnTo>
                    <a:lnTo>
                      <a:pt x="1403667" y="25400"/>
                    </a:lnTo>
                    <a:lnTo>
                      <a:pt x="1403667" y="30163"/>
                    </a:lnTo>
                    <a:lnTo>
                      <a:pt x="1411287" y="30163"/>
                    </a:lnTo>
                    <a:lnTo>
                      <a:pt x="1411287" y="60325"/>
                    </a:lnTo>
                    <a:cubicBezTo>
                      <a:pt x="1411287" y="64770"/>
                      <a:pt x="1411923" y="68263"/>
                      <a:pt x="1413510" y="70802"/>
                    </a:cubicBezTo>
                    <a:cubicBezTo>
                      <a:pt x="1415098" y="73342"/>
                      <a:pt x="1417002" y="74930"/>
                      <a:pt x="1419542" y="76200"/>
                    </a:cubicBezTo>
                    <a:cubicBezTo>
                      <a:pt x="1422083" y="77470"/>
                      <a:pt x="1424623" y="77788"/>
                      <a:pt x="1427798" y="77788"/>
                    </a:cubicBezTo>
                    <a:cubicBezTo>
                      <a:pt x="1429702" y="77788"/>
                      <a:pt x="1431608" y="77470"/>
                      <a:pt x="1433830" y="77152"/>
                    </a:cubicBezTo>
                    <a:cubicBezTo>
                      <a:pt x="1435735" y="76835"/>
                      <a:pt x="1437323" y="76200"/>
                      <a:pt x="1438592" y="75882"/>
                    </a:cubicBezTo>
                    <a:lnTo>
                      <a:pt x="1438592" y="67627"/>
                    </a:lnTo>
                    <a:cubicBezTo>
                      <a:pt x="1436052" y="68580"/>
                      <a:pt x="1433512" y="68897"/>
                      <a:pt x="1430337" y="68897"/>
                    </a:cubicBezTo>
                    <a:cubicBezTo>
                      <a:pt x="1427798" y="69532"/>
                      <a:pt x="1425892" y="68897"/>
                      <a:pt x="1424305" y="67310"/>
                    </a:cubicBezTo>
                    <a:moveTo>
                      <a:pt x="1364298" y="23495"/>
                    </a:moveTo>
                    <a:cubicBezTo>
                      <a:pt x="1361123" y="24765"/>
                      <a:pt x="1358900" y="26988"/>
                      <a:pt x="1356995" y="29845"/>
                    </a:cubicBezTo>
                    <a:lnTo>
                      <a:pt x="1356360" y="29845"/>
                    </a:lnTo>
                    <a:lnTo>
                      <a:pt x="1354773" y="22542"/>
                    </a:lnTo>
                    <a:lnTo>
                      <a:pt x="1346200" y="22542"/>
                    </a:lnTo>
                    <a:lnTo>
                      <a:pt x="1346200" y="77152"/>
                    </a:lnTo>
                    <a:lnTo>
                      <a:pt x="1356995" y="77152"/>
                    </a:lnTo>
                    <a:lnTo>
                      <a:pt x="1356995" y="49530"/>
                    </a:lnTo>
                    <a:cubicBezTo>
                      <a:pt x="1356995" y="43180"/>
                      <a:pt x="1357948" y="38417"/>
                      <a:pt x="1360170" y="35242"/>
                    </a:cubicBezTo>
                    <a:cubicBezTo>
                      <a:pt x="1362392" y="32067"/>
                      <a:pt x="1366202" y="30163"/>
                      <a:pt x="1371600" y="30163"/>
                    </a:cubicBezTo>
                    <a:cubicBezTo>
                      <a:pt x="1379220" y="30163"/>
                      <a:pt x="1383030" y="34290"/>
                      <a:pt x="1383030" y="42863"/>
                    </a:cubicBezTo>
                    <a:lnTo>
                      <a:pt x="1383030" y="77152"/>
                    </a:lnTo>
                    <a:lnTo>
                      <a:pt x="1393825" y="77152"/>
                    </a:lnTo>
                    <a:lnTo>
                      <a:pt x="1393825" y="41592"/>
                    </a:lnTo>
                    <a:cubicBezTo>
                      <a:pt x="1393825" y="34607"/>
                      <a:pt x="1392237" y="29527"/>
                      <a:pt x="1388745" y="26352"/>
                    </a:cubicBezTo>
                    <a:cubicBezTo>
                      <a:pt x="1385252" y="23177"/>
                      <a:pt x="1380490" y="21590"/>
                      <a:pt x="1374140" y="21590"/>
                    </a:cubicBezTo>
                    <a:cubicBezTo>
                      <a:pt x="1370648" y="21590"/>
                      <a:pt x="1367473" y="22225"/>
                      <a:pt x="1364298" y="23495"/>
                    </a:cubicBezTo>
                    <a:moveTo>
                      <a:pt x="1319212" y="33655"/>
                    </a:moveTo>
                    <a:cubicBezTo>
                      <a:pt x="1321117" y="36195"/>
                      <a:pt x="1322387" y="39688"/>
                      <a:pt x="1322387" y="44132"/>
                    </a:cubicBezTo>
                    <a:lnTo>
                      <a:pt x="1296670" y="44132"/>
                    </a:lnTo>
                    <a:cubicBezTo>
                      <a:pt x="1296987" y="39370"/>
                      <a:pt x="1298575" y="35877"/>
                      <a:pt x="1300798" y="33338"/>
                    </a:cubicBezTo>
                    <a:cubicBezTo>
                      <a:pt x="1303020" y="30797"/>
                      <a:pt x="1306195" y="29527"/>
                      <a:pt x="1310005" y="29527"/>
                    </a:cubicBezTo>
                    <a:cubicBezTo>
                      <a:pt x="1314133" y="29845"/>
                      <a:pt x="1317308" y="31115"/>
                      <a:pt x="1319212" y="33655"/>
                    </a:cubicBezTo>
                    <a:moveTo>
                      <a:pt x="1296987" y="24765"/>
                    </a:moveTo>
                    <a:cubicBezTo>
                      <a:pt x="1293177" y="26988"/>
                      <a:pt x="1290320" y="30163"/>
                      <a:pt x="1288415" y="34607"/>
                    </a:cubicBezTo>
                    <a:cubicBezTo>
                      <a:pt x="1286192" y="38735"/>
                      <a:pt x="1285240" y="44132"/>
                      <a:pt x="1285240" y="50165"/>
                    </a:cubicBezTo>
                    <a:cubicBezTo>
                      <a:pt x="1285240" y="56197"/>
                      <a:pt x="1286510" y="61595"/>
                      <a:pt x="1288733" y="65722"/>
                    </a:cubicBezTo>
                    <a:cubicBezTo>
                      <a:pt x="1290955" y="69850"/>
                      <a:pt x="1294130" y="73025"/>
                      <a:pt x="1298258" y="74930"/>
                    </a:cubicBezTo>
                    <a:cubicBezTo>
                      <a:pt x="1302385" y="77152"/>
                      <a:pt x="1307148" y="78105"/>
                      <a:pt x="1312227" y="78105"/>
                    </a:cubicBezTo>
                    <a:cubicBezTo>
                      <a:pt x="1316037" y="78105"/>
                      <a:pt x="1319530" y="77788"/>
                      <a:pt x="1322070" y="77152"/>
                    </a:cubicBezTo>
                    <a:cubicBezTo>
                      <a:pt x="1324927" y="76517"/>
                      <a:pt x="1327467" y="75565"/>
                      <a:pt x="1330325" y="74295"/>
                    </a:cubicBezTo>
                    <a:lnTo>
                      <a:pt x="1330325" y="65405"/>
                    </a:lnTo>
                    <a:cubicBezTo>
                      <a:pt x="1327467" y="66675"/>
                      <a:pt x="1324610" y="67627"/>
                      <a:pt x="1321752" y="68263"/>
                    </a:cubicBezTo>
                    <a:cubicBezTo>
                      <a:pt x="1318895" y="68897"/>
                      <a:pt x="1315720" y="69215"/>
                      <a:pt x="1312227" y="69215"/>
                    </a:cubicBezTo>
                    <a:cubicBezTo>
                      <a:pt x="1307148" y="69215"/>
                      <a:pt x="1303337" y="67627"/>
                      <a:pt x="1300480" y="64770"/>
                    </a:cubicBezTo>
                    <a:cubicBezTo>
                      <a:pt x="1297623" y="61913"/>
                      <a:pt x="1296352" y="57467"/>
                      <a:pt x="1296035" y="51752"/>
                    </a:cubicBezTo>
                    <a:lnTo>
                      <a:pt x="1332865" y="51752"/>
                    </a:lnTo>
                    <a:lnTo>
                      <a:pt x="1332865" y="46355"/>
                    </a:lnTo>
                    <a:cubicBezTo>
                      <a:pt x="1332865" y="38735"/>
                      <a:pt x="1330642" y="32702"/>
                      <a:pt x="1326515" y="28257"/>
                    </a:cubicBezTo>
                    <a:cubicBezTo>
                      <a:pt x="1322387" y="23813"/>
                      <a:pt x="1316673" y="21590"/>
                      <a:pt x="1309687" y="21590"/>
                    </a:cubicBezTo>
                    <a:cubicBezTo>
                      <a:pt x="1304925" y="21590"/>
                      <a:pt x="1300480" y="22542"/>
                      <a:pt x="1296987" y="24765"/>
                    </a:cubicBezTo>
                    <a:moveTo>
                      <a:pt x="1260792" y="77152"/>
                    </a:moveTo>
                    <a:lnTo>
                      <a:pt x="1271587" y="77152"/>
                    </a:lnTo>
                    <a:lnTo>
                      <a:pt x="1271587" y="22542"/>
                    </a:lnTo>
                    <a:lnTo>
                      <a:pt x="1260792" y="22542"/>
                    </a:lnTo>
                    <a:lnTo>
                      <a:pt x="1260792" y="77152"/>
                    </a:lnTo>
                    <a:close/>
                    <a:moveTo>
                      <a:pt x="1261745" y="3175"/>
                    </a:moveTo>
                    <a:cubicBezTo>
                      <a:pt x="1260475" y="4127"/>
                      <a:pt x="1259840" y="5715"/>
                      <a:pt x="1259840" y="7938"/>
                    </a:cubicBezTo>
                    <a:cubicBezTo>
                      <a:pt x="1259840" y="10160"/>
                      <a:pt x="1260475" y="11747"/>
                      <a:pt x="1261745" y="12700"/>
                    </a:cubicBezTo>
                    <a:cubicBezTo>
                      <a:pt x="1263015" y="13652"/>
                      <a:pt x="1264285" y="14288"/>
                      <a:pt x="1266190" y="14288"/>
                    </a:cubicBezTo>
                    <a:cubicBezTo>
                      <a:pt x="1267777" y="14288"/>
                      <a:pt x="1269365" y="13652"/>
                      <a:pt x="1270317" y="12700"/>
                    </a:cubicBezTo>
                    <a:cubicBezTo>
                      <a:pt x="1271270" y="11747"/>
                      <a:pt x="1272223" y="10160"/>
                      <a:pt x="1272223" y="7938"/>
                    </a:cubicBezTo>
                    <a:cubicBezTo>
                      <a:pt x="1272223" y="5715"/>
                      <a:pt x="1271587" y="4127"/>
                      <a:pt x="1270317" y="3175"/>
                    </a:cubicBezTo>
                    <a:cubicBezTo>
                      <a:pt x="1269048" y="2222"/>
                      <a:pt x="1267777" y="1905"/>
                      <a:pt x="1266190" y="1905"/>
                    </a:cubicBezTo>
                    <a:cubicBezTo>
                      <a:pt x="1264602" y="1588"/>
                      <a:pt x="1263015" y="2222"/>
                      <a:pt x="1261745" y="3175"/>
                    </a:cubicBezTo>
                    <a:moveTo>
                      <a:pt x="1235710" y="67310"/>
                    </a:moveTo>
                    <a:cubicBezTo>
                      <a:pt x="1234123" y="66040"/>
                      <a:pt x="1233487" y="63817"/>
                      <a:pt x="1233487" y="60642"/>
                    </a:cubicBezTo>
                    <a:lnTo>
                      <a:pt x="1233487" y="30480"/>
                    </a:lnTo>
                    <a:lnTo>
                      <a:pt x="1249045" y="30480"/>
                    </a:lnTo>
                    <a:lnTo>
                      <a:pt x="1249045" y="22225"/>
                    </a:lnTo>
                    <a:lnTo>
                      <a:pt x="1233487" y="22225"/>
                    </a:lnTo>
                    <a:lnTo>
                      <a:pt x="1233487" y="9842"/>
                    </a:lnTo>
                    <a:lnTo>
                      <a:pt x="1226820" y="9842"/>
                    </a:lnTo>
                    <a:lnTo>
                      <a:pt x="1223010" y="21272"/>
                    </a:lnTo>
                    <a:lnTo>
                      <a:pt x="1215073" y="25400"/>
                    </a:lnTo>
                    <a:lnTo>
                      <a:pt x="1215073" y="30163"/>
                    </a:lnTo>
                    <a:lnTo>
                      <a:pt x="1222692" y="30163"/>
                    </a:lnTo>
                    <a:lnTo>
                      <a:pt x="1222692" y="60325"/>
                    </a:lnTo>
                    <a:cubicBezTo>
                      <a:pt x="1222692" y="64770"/>
                      <a:pt x="1223327" y="68263"/>
                      <a:pt x="1224915" y="70802"/>
                    </a:cubicBezTo>
                    <a:cubicBezTo>
                      <a:pt x="1226502" y="73342"/>
                      <a:pt x="1228408" y="74930"/>
                      <a:pt x="1230948" y="76200"/>
                    </a:cubicBezTo>
                    <a:cubicBezTo>
                      <a:pt x="1233487" y="77152"/>
                      <a:pt x="1236027" y="77788"/>
                      <a:pt x="1239202" y="77788"/>
                    </a:cubicBezTo>
                    <a:cubicBezTo>
                      <a:pt x="1241108" y="77788"/>
                      <a:pt x="1243012" y="77470"/>
                      <a:pt x="1245235" y="77152"/>
                    </a:cubicBezTo>
                    <a:cubicBezTo>
                      <a:pt x="1247140" y="76835"/>
                      <a:pt x="1248727" y="76200"/>
                      <a:pt x="1249998" y="75882"/>
                    </a:cubicBezTo>
                    <a:lnTo>
                      <a:pt x="1249998" y="67627"/>
                    </a:lnTo>
                    <a:cubicBezTo>
                      <a:pt x="1247458" y="68580"/>
                      <a:pt x="1244917" y="68897"/>
                      <a:pt x="1241742" y="68897"/>
                    </a:cubicBezTo>
                    <a:cubicBezTo>
                      <a:pt x="1239202" y="69532"/>
                      <a:pt x="1237298" y="68897"/>
                      <a:pt x="1235710" y="67310"/>
                    </a:cubicBezTo>
                    <a:moveTo>
                      <a:pt x="1194435" y="55563"/>
                    </a:moveTo>
                    <a:cubicBezTo>
                      <a:pt x="1194435" y="60325"/>
                      <a:pt x="1193165" y="63817"/>
                      <a:pt x="1190308" y="66357"/>
                    </a:cubicBezTo>
                    <a:cubicBezTo>
                      <a:pt x="1187450" y="68580"/>
                      <a:pt x="1183958" y="69850"/>
                      <a:pt x="1179830" y="69850"/>
                    </a:cubicBezTo>
                    <a:cubicBezTo>
                      <a:pt x="1176973" y="69850"/>
                      <a:pt x="1175067" y="69215"/>
                      <a:pt x="1173162" y="67945"/>
                    </a:cubicBezTo>
                    <a:cubicBezTo>
                      <a:pt x="1171575" y="66675"/>
                      <a:pt x="1170623" y="64452"/>
                      <a:pt x="1170623" y="61595"/>
                    </a:cubicBezTo>
                    <a:cubicBezTo>
                      <a:pt x="1170623" y="58420"/>
                      <a:pt x="1171892" y="55880"/>
                      <a:pt x="1174115" y="53975"/>
                    </a:cubicBezTo>
                    <a:cubicBezTo>
                      <a:pt x="1176655" y="52070"/>
                      <a:pt x="1180783" y="51117"/>
                      <a:pt x="1187133" y="50800"/>
                    </a:cubicBezTo>
                    <a:lnTo>
                      <a:pt x="1194435" y="50482"/>
                    </a:lnTo>
                    <a:lnTo>
                      <a:pt x="1194435" y="55563"/>
                    </a:lnTo>
                    <a:close/>
                    <a:moveTo>
                      <a:pt x="1174115" y="22860"/>
                    </a:moveTo>
                    <a:cubicBezTo>
                      <a:pt x="1170623" y="23813"/>
                      <a:pt x="1167765" y="24765"/>
                      <a:pt x="1165225" y="26352"/>
                    </a:cubicBezTo>
                    <a:lnTo>
                      <a:pt x="1168717" y="34290"/>
                    </a:lnTo>
                    <a:cubicBezTo>
                      <a:pt x="1170940" y="33020"/>
                      <a:pt x="1173480" y="32067"/>
                      <a:pt x="1176020" y="31432"/>
                    </a:cubicBezTo>
                    <a:cubicBezTo>
                      <a:pt x="1178560" y="30480"/>
                      <a:pt x="1181417" y="30163"/>
                      <a:pt x="1183958" y="30163"/>
                    </a:cubicBezTo>
                    <a:cubicBezTo>
                      <a:pt x="1187133" y="30163"/>
                      <a:pt x="1189990" y="31115"/>
                      <a:pt x="1191577" y="32702"/>
                    </a:cubicBezTo>
                    <a:cubicBezTo>
                      <a:pt x="1193483" y="34290"/>
                      <a:pt x="1194435" y="37147"/>
                      <a:pt x="1194435" y="41275"/>
                    </a:cubicBezTo>
                    <a:lnTo>
                      <a:pt x="1194435" y="44450"/>
                    </a:lnTo>
                    <a:lnTo>
                      <a:pt x="1185227" y="44767"/>
                    </a:lnTo>
                    <a:cubicBezTo>
                      <a:pt x="1176655" y="45085"/>
                      <a:pt x="1169987" y="46672"/>
                      <a:pt x="1165860" y="49530"/>
                    </a:cubicBezTo>
                    <a:cubicBezTo>
                      <a:pt x="1161733" y="52388"/>
                      <a:pt x="1159510" y="56515"/>
                      <a:pt x="1159510" y="62230"/>
                    </a:cubicBezTo>
                    <a:cubicBezTo>
                      <a:pt x="1159510" y="67945"/>
                      <a:pt x="1161098" y="72072"/>
                      <a:pt x="1164273" y="74930"/>
                    </a:cubicBezTo>
                    <a:cubicBezTo>
                      <a:pt x="1167448" y="77788"/>
                      <a:pt x="1171575" y="79057"/>
                      <a:pt x="1176655" y="79057"/>
                    </a:cubicBezTo>
                    <a:cubicBezTo>
                      <a:pt x="1181417" y="79057"/>
                      <a:pt x="1184910" y="78422"/>
                      <a:pt x="1187450" y="76835"/>
                    </a:cubicBezTo>
                    <a:cubicBezTo>
                      <a:pt x="1189990" y="75565"/>
                      <a:pt x="1192530" y="73342"/>
                      <a:pt x="1195070" y="70167"/>
                    </a:cubicBezTo>
                    <a:lnTo>
                      <a:pt x="1195387" y="70167"/>
                    </a:lnTo>
                    <a:lnTo>
                      <a:pt x="1197610" y="77788"/>
                    </a:lnTo>
                    <a:lnTo>
                      <a:pt x="1205230" y="77788"/>
                    </a:lnTo>
                    <a:lnTo>
                      <a:pt x="1205230" y="40005"/>
                    </a:lnTo>
                    <a:cubicBezTo>
                      <a:pt x="1205230" y="33655"/>
                      <a:pt x="1203642" y="28892"/>
                      <a:pt x="1200150" y="25717"/>
                    </a:cubicBezTo>
                    <a:cubicBezTo>
                      <a:pt x="1196658" y="22860"/>
                      <a:pt x="1191577" y="21272"/>
                      <a:pt x="1184910" y="21272"/>
                    </a:cubicBezTo>
                    <a:cubicBezTo>
                      <a:pt x="1181100" y="21590"/>
                      <a:pt x="1177608" y="21907"/>
                      <a:pt x="1174115" y="22860"/>
                    </a:cubicBezTo>
                    <a:moveTo>
                      <a:pt x="1135380" y="35560"/>
                    </a:moveTo>
                    <a:cubicBezTo>
                      <a:pt x="1137602" y="39052"/>
                      <a:pt x="1138555" y="43815"/>
                      <a:pt x="1138555" y="49530"/>
                    </a:cubicBezTo>
                    <a:cubicBezTo>
                      <a:pt x="1138555" y="55563"/>
                      <a:pt x="1137602" y="60325"/>
                      <a:pt x="1135380" y="63817"/>
                    </a:cubicBezTo>
                    <a:cubicBezTo>
                      <a:pt x="1133158" y="67627"/>
                      <a:pt x="1129983" y="69215"/>
                      <a:pt x="1125537" y="69215"/>
                    </a:cubicBezTo>
                    <a:cubicBezTo>
                      <a:pt x="1120140" y="69215"/>
                      <a:pt x="1116330" y="67627"/>
                      <a:pt x="1114425" y="64135"/>
                    </a:cubicBezTo>
                    <a:cubicBezTo>
                      <a:pt x="1112520" y="60642"/>
                      <a:pt x="1111250" y="55880"/>
                      <a:pt x="1111250" y="49530"/>
                    </a:cubicBezTo>
                    <a:lnTo>
                      <a:pt x="1111250" y="47942"/>
                    </a:lnTo>
                    <a:cubicBezTo>
                      <a:pt x="1111250" y="41910"/>
                      <a:pt x="1112520" y="37465"/>
                      <a:pt x="1114425" y="34607"/>
                    </a:cubicBezTo>
                    <a:cubicBezTo>
                      <a:pt x="1116648" y="31750"/>
                      <a:pt x="1120140" y="30163"/>
                      <a:pt x="1125220" y="30163"/>
                    </a:cubicBezTo>
                    <a:cubicBezTo>
                      <a:pt x="1129665" y="30163"/>
                      <a:pt x="1133158" y="32067"/>
                      <a:pt x="1135380" y="35560"/>
                    </a:cubicBezTo>
                    <a:moveTo>
                      <a:pt x="1117600" y="23813"/>
                    </a:moveTo>
                    <a:cubicBezTo>
                      <a:pt x="1115060" y="25400"/>
                      <a:pt x="1112837" y="27305"/>
                      <a:pt x="1111250" y="29845"/>
                    </a:cubicBezTo>
                    <a:lnTo>
                      <a:pt x="1110615" y="29845"/>
                    </a:lnTo>
                    <a:lnTo>
                      <a:pt x="1109027" y="22542"/>
                    </a:lnTo>
                    <a:lnTo>
                      <a:pt x="1100137" y="22542"/>
                    </a:lnTo>
                    <a:lnTo>
                      <a:pt x="1100137" y="101600"/>
                    </a:lnTo>
                    <a:lnTo>
                      <a:pt x="1110933" y="101600"/>
                    </a:lnTo>
                    <a:lnTo>
                      <a:pt x="1110933" y="79375"/>
                    </a:lnTo>
                    <a:cubicBezTo>
                      <a:pt x="1110933" y="78105"/>
                      <a:pt x="1110933" y="76517"/>
                      <a:pt x="1110615" y="74930"/>
                    </a:cubicBezTo>
                    <a:cubicBezTo>
                      <a:pt x="1110298" y="73342"/>
                      <a:pt x="1110298" y="71755"/>
                      <a:pt x="1110298" y="70485"/>
                    </a:cubicBezTo>
                    <a:lnTo>
                      <a:pt x="1110933" y="70485"/>
                    </a:lnTo>
                    <a:cubicBezTo>
                      <a:pt x="1112520" y="72707"/>
                      <a:pt x="1114742" y="74295"/>
                      <a:pt x="1117283" y="75882"/>
                    </a:cubicBezTo>
                    <a:cubicBezTo>
                      <a:pt x="1119823" y="77470"/>
                      <a:pt x="1123315" y="78105"/>
                      <a:pt x="1127442" y="78105"/>
                    </a:cubicBezTo>
                    <a:cubicBezTo>
                      <a:pt x="1134110" y="78105"/>
                      <a:pt x="1139190" y="75565"/>
                      <a:pt x="1143317" y="70802"/>
                    </a:cubicBezTo>
                    <a:cubicBezTo>
                      <a:pt x="1147445" y="66040"/>
                      <a:pt x="1149350" y="59055"/>
                      <a:pt x="1149350" y="49530"/>
                    </a:cubicBezTo>
                    <a:cubicBezTo>
                      <a:pt x="1149350" y="40005"/>
                      <a:pt x="1147445" y="33020"/>
                      <a:pt x="1143317" y="28257"/>
                    </a:cubicBezTo>
                    <a:cubicBezTo>
                      <a:pt x="1139190" y="23495"/>
                      <a:pt x="1134110" y="21272"/>
                      <a:pt x="1127442" y="21272"/>
                    </a:cubicBezTo>
                    <a:cubicBezTo>
                      <a:pt x="1123633" y="21590"/>
                      <a:pt x="1120140" y="22225"/>
                      <a:pt x="1117600" y="23813"/>
                    </a:cubicBezTo>
                    <a:moveTo>
                      <a:pt x="1043305" y="34925"/>
                    </a:moveTo>
                    <a:cubicBezTo>
                      <a:pt x="1045527" y="37782"/>
                      <a:pt x="1046798" y="42863"/>
                      <a:pt x="1046798" y="50165"/>
                    </a:cubicBezTo>
                    <a:lnTo>
                      <a:pt x="1046798" y="52070"/>
                    </a:lnTo>
                    <a:cubicBezTo>
                      <a:pt x="1046798" y="58420"/>
                      <a:pt x="1045527" y="62865"/>
                      <a:pt x="1043305" y="65405"/>
                    </a:cubicBezTo>
                    <a:cubicBezTo>
                      <a:pt x="1041083" y="68263"/>
                      <a:pt x="1037273" y="69532"/>
                      <a:pt x="1032192" y="69532"/>
                    </a:cubicBezTo>
                    <a:cubicBezTo>
                      <a:pt x="1027748" y="69532"/>
                      <a:pt x="1024573" y="67945"/>
                      <a:pt x="1022033" y="64452"/>
                    </a:cubicBezTo>
                    <a:cubicBezTo>
                      <a:pt x="1019810" y="61277"/>
                      <a:pt x="1018540" y="56197"/>
                      <a:pt x="1018540" y="49847"/>
                    </a:cubicBezTo>
                    <a:cubicBezTo>
                      <a:pt x="1018540" y="43497"/>
                      <a:pt x="1019810" y="38417"/>
                      <a:pt x="1022033" y="35242"/>
                    </a:cubicBezTo>
                    <a:cubicBezTo>
                      <a:pt x="1024255" y="31750"/>
                      <a:pt x="1027430" y="30163"/>
                      <a:pt x="1031875" y="30163"/>
                    </a:cubicBezTo>
                    <a:cubicBezTo>
                      <a:pt x="1037273" y="30480"/>
                      <a:pt x="1041083" y="31750"/>
                      <a:pt x="1043305" y="34925"/>
                    </a:cubicBezTo>
                    <a:moveTo>
                      <a:pt x="1013777" y="29210"/>
                    </a:moveTo>
                    <a:cubicBezTo>
                      <a:pt x="1009967" y="34290"/>
                      <a:pt x="1008062" y="41275"/>
                      <a:pt x="1008062" y="50165"/>
                    </a:cubicBezTo>
                    <a:cubicBezTo>
                      <a:pt x="1008062" y="59055"/>
                      <a:pt x="1009967" y="66040"/>
                      <a:pt x="1013777" y="70802"/>
                    </a:cubicBezTo>
                    <a:cubicBezTo>
                      <a:pt x="1017587" y="75882"/>
                      <a:pt x="1022985" y="78422"/>
                      <a:pt x="1029970" y="78422"/>
                    </a:cubicBezTo>
                    <a:cubicBezTo>
                      <a:pt x="1033462" y="78422"/>
                      <a:pt x="1036637" y="77788"/>
                      <a:pt x="1039495" y="76517"/>
                    </a:cubicBezTo>
                    <a:cubicBezTo>
                      <a:pt x="1042352" y="75247"/>
                      <a:pt x="1044575" y="73025"/>
                      <a:pt x="1046480" y="70167"/>
                    </a:cubicBezTo>
                    <a:lnTo>
                      <a:pt x="1046798" y="70167"/>
                    </a:lnTo>
                    <a:cubicBezTo>
                      <a:pt x="1046798" y="70802"/>
                      <a:pt x="1046798" y="72072"/>
                      <a:pt x="1046480" y="73342"/>
                    </a:cubicBezTo>
                    <a:cubicBezTo>
                      <a:pt x="1046480" y="74613"/>
                      <a:pt x="1046480" y="75882"/>
                      <a:pt x="1046480" y="76835"/>
                    </a:cubicBezTo>
                    <a:lnTo>
                      <a:pt x="1046480" y="78740"/>
                    </a:lnTo>
                    <a:cubicBezTo>
                      <a:pt x="1046480" y="83502"/>
                      <a:pt x="1045210" y="86995"/>
                      <a:pt x="1042670" y="89535"/>
                    </a:cubicBezTo>
                    <a:cubicBezTo>
                      <a:pt x="1040130" y="92075"/>
                      <a:pt x="1036637" y="93345"/>
                      <a:pt x="1032510" y="93345"/>
                    </a:cubicBezTo>
                    <a:cubicBezTo>
                      <a:pt x="1028700" y="93345"/>
                      <a:pt x="1024890" y="93027"/>
                      <a:pt x="1021398" y="92392"/>
                    </a:cubicBezTo>
                    <a:cubicBezTo>
                      <a:pt x="1017905" y="91757"/>
                      <a:pt x="1014730" y="90488"/>
                      <a:pt x="1011873" y="89217"/>
                    </a:cubicBezTo>
                    <a:lnTo>
                      <a:pt x="1011873" y="98742"/>
                    </a:lnTo>
                    <a:cubicBezTo>
                      <a:pt x="1014730" y="100013"/>
                      <a:pt x="1017587" y="100647"/>
                      <a:pt x="1021080" y="101282"/>
                    </a:cubicBezTo>
                    <a:cubicBezTo>
                      <a:pt x="1024255" y="101917"/>
                      <a:pt x="1028065" y="102235"/>
                      <a:pt x="1031875" y="102235"/>
                    </a:cubicBezTo>
                    <a:cubicBezTo>
                      <a:pt x="1048702" y="102235"/>
                      <a:pt x="1057275" y="94297"/>
                      <a:pt x="1057275" y="78422"/>
                    </a:cubicBezTo>
                    <a:lnTo>
                      <a:pt x="1057275" y="22860"/>
                    </a:lnTo>
                    <a:lnTo>
                      <a:pt x="1048702" y="22860"/>
                    </a:lnTo>
                    <a:lnTo>
                      <a:pt x="1047433" y="30163"/>
                    </a:lnTo>
                    <a:lnTo>
                      <a:pt x="1046798" y="30163"/>
                    </a:lnTo>
                    <a:cubicBezTo>
                      <a:pt x="1044892" y="27305"/>
                      <a:pt x="1042352" y="25400"/>
                      <a:pt x="1039495" y="23813"/>
                    </a:cubicBezTo>
                    <a:cubicBezTo>
                      <a:pt x="1036637" y="22225"/>
                      <a:pt x="1033462" y="21907"/>
                      <a:pt x="1029970" y="21907"/>
                    </a:cubicBezTo>
                    <a:cubicBezTo>
                      <a:pt x="1022985" y="21590"/>
                      <a:pt x="1017587" y="24130"/>
                      <a:pt x="1013777" y="29210"/>
                    </a:cubicBezTo>
                    <a:moveTo>
                      <a:pt x="964883" y="23495"/>
                    </a:moveTo>
                    <a:cubicBezTo>
                      <a:pt x="961708" y="24765"/>
                      <a:pt x="959485" y="26988"/>
                      <a:pt x="957580" y="29845"/>
                    </a:cubicBezTo>
                    <a:lnTo>
                      <a:pt x="956945" y="29845"/>
                    </a:lnTo>
                    <a:lnTo>
                      <a:pt x="955358" y="22542"/>
                    </a:lnTo>
                    <a:lnTo>
                      <a:pt x="946785" y="22542"/>
                    </a:lnTo>
                    <a:lnTo>
                      <a:pt x="946785" y="77152"/>
                    </a:lnTo>
                    <a:lnTo>
                      <a:pt x="957580" y="77152"/>
                    </a:lnTo>
                    <a:lnTo>
                      <a:pt x="957580" y="49530"/>
                    </a:lnTo>
                    <a:cubicBezTo>
                      <a:pt x="957580" y="43180"/>
                      <a:pt x="958533" y="38417"/>
                      <a:pt x="960755" y="35242"/>
                    </a:cubicBezTo>
                    <a:cubicBezTo>
                      <a:pt x="962977" y="32067"/>
                      <a:pt x="966787" y="30163"/>
                      <a:pt x="972185" y="30163"/>
                    </a:cubicBezTo>
                    <a:cubicBezTo>
                      <a:pt x="979805" y="30163"/>
                      <a:pt x="983615" y="34290"/>
                      <a:pt x="983615" y="42863"/>
                    </a:cubicBezTo>
                    <a:lnTo>
                      <a:pt x="983615" y="77152"/>
                    </a:lnTo>
                    <a:lnTo>
                      <a:pt x="994410" y="77152"/>
                    </a:lnTo>
                    <a:lnTo>
                      <a:pt x="994410" y="41592"/>
                    </a:lnTo>
                    <a:cubicBezTo>
                      <a:pt x="994410" y="34607"/>
                      <a:pt x="992823" y="29527"/>
                      <a:pt x="989330" y="26352"/>
                    </a:cubicBezTo>
                    <a:cubicBezTo>
                      <a:pt x="985837" y="23177"/>
                      <a:pt x="981075" y="21590"/>
                      <a:pt x="974725" y="21590"/>
                    </a:cubicBezTo>
                    <a:cubicBezTo>
                      <a:pt x="971233" y="21590"/>
                      <a:pt x="968058" y="22225"/>
                      <a:pt x="964883" y="23495"/>
                    </a:cubicBezTo>
                    <a:moveTo>
                      <a:pt x="919480" y="77152"/>
                    </a:moveTo>
                    <a:lnTo>
                      <a:pt x="930275" y="77152"/>
                    </a:lnTo>
                    <a:lnTo>
                      <a:pt x="930275" y="22542"/>
                    </a:lnTo>
                    <a:lnTo>
                      <a:pt x="919480" y="22542"/>
                    </a:lnTo>
                    <a:lnTo>
                      <a:pt x="919480" y="77152"/>
                    </a:lnTo>
                    <a:close/>
                    <a:moveTo>
                      <a:pt x="920433" y="3175"/>
                    </a:moveTo>
                    <a:cubicBezTo>
                      <a:pt x="919162" y="4127"/>
                      <a:pt x="918527" y="5715"/>
                      <a:pt x="918527" y="7938"/>
                    </a:cubicBezTo>
                    <a:cubicBezTo>
                      <a:pt x="918527" y="10160"/>
                      <a:pt x="919162" y="11747"/>
                      <a:pt x="920433" y="12700"/>
                    </a:cubicBezTo>
                    <a:cubicBezTo>
                      <a:pt x="921702" y="13652"/>
                      <a:pt x="922973" y="14288"/>
                      <a:pt x="924877" y="14288"/>
                    </a:cubicBezTo>
                    <a:cubicBezTo>
                      <a:pt x="926465" y="14288"/>
                      <a:pt x="928052" y="13652"/>
                      <a:pt x="929005" y="12700"/>
                    </a:cubicBezTo>
                    <a:cubicBezTo>
                      <a:pt x="930275" y="11747"/>
                      <a:pt x="930910" y="10160"/>
                      <a:pt x="930910" y="7938"/>
                    </a:cubicBezTo>
                    <a:cubicBezTo>
                      <a:pt x="930910" y="5715"/>
                      <a:pt x="930275" y="4127"/>
                      <a:pt x="929005" y="3175"/>
                    </a:cubicBezTo>
                    <a:cubicBezTo>
                      <a:pt x="927735" y="2222"/>
                      <a:pt x="926465" y="1905"/>
                      <a:pt x="924877" y="1905"/>
                    </a:cubicBezTo>
                    <a:cubicBezTo>
                      <a:pt x="923290" y="1588"/>
                      <a:pt x="921702" y="2222"/>
                      <a:pt x="920433" y="3175"/>
                    </a:cubicBezTo>
                    <a:moveTo>
                      <a:pt x="890270" y="77152"/>
                    </a:moveTo>
                    <a:lnTo>
                      <a:pt x="911225" y="22542"/>
                    </a:lnTo>
                    <a:lnTo>
                      <a:pt x="899795" y="22542"/>
                    </a:lnTo>
                    <a:lnTo>
                      <a:pt x="888365" y="54610"/>
                    </a:lnTo>
                    <a:cubicBezTo>
                      <a:pt x="887730" y="56832"/>
                      <a:pt x="887095" y="59055"/>
                      <a:pt x="886142" y="61595"/>
                    </a:cubicBezTo>
                    <a:cubicBezTo>
                      <a:pt x="885190" y="64135"/>
                      <a:pt x="884873" y="66357"/>
                      <a:pt x="884555" y="67945"/>
                    </a:cubicBezTo>
                    <a:lnTo>
                      <a:pt x="884237" y="67945"/>
                    </a:lnTo>
                    <a:cubicBezTo>
                      <a:pt x="883920" y="66357"/>
                      <a:pt x="883602" y="64135"/>
                      <a:pt x="882650" y="61595"/>
                    </a:cubicBezTo>
                    <a:cubicBezTo>
                      <a:pt x="882015" y="59055"/>
                      <a:pt x="881062" y="56515"/>
                      <a:pt x="880427" y="54610"/>
                    </a:cubicBezTo>
                    <a:lnTo>
                      <a:pt x="868998" y="22542"/>
                    </a:lnTo>
                    <a:lnTo>
                      <a:pt x="857567" y="22542"/>
                    </a:lnTo>
                    <a:lnTo>
                      <a:pt x="878205" y="77152"/>
                    </a:lnTo>
                    <a:lnTo>
                      <a:pt x="890270" y="77152"/>
                    </a:lnTo>
                    <a:close/>
                    <a:moveTo>
                      <a:pt x="838200" y="77152"/>
                    </a:moveTo>
                    <a:lnTo>
                      <a:pt x="848995" y="77152"/>
                    </a:lnTo>
                    <a:lnTo>
                      <a:pt x="848995" y="22542"/>
                    </a:lnTo>
                    <a:lnTo>
                      <a:pt x="838200" y="22542"/>
                    </a:lnTo>
                    <a:lnTo>
                      <a:pt x="838200" y="77152"/>
                    </a:lnTo>
                    <a:close/>
                    <a:moveTo>
                      <a:pt x="839470" y="3175"/>
                    </a:moveTo>
                    <a:cubicBezTo>
                      <a:pt x="838200" y="4127"/>
                      <a:pt x="837565" y="5715"/>
                      <a:pt x="837565" y="7938"/>
                    </a:cubicBezTo>
                    <a:cubicBezTo>
                      <a:pt x="837565" y="10160"/>
                      <a:pt x="838200" y="11747"/>
                      <a:pt x="839470" y="12700"/>
                    </a:cubicBezTo>
                    <a:cubicBezTo>
                      <a:pt x="840740" y="13652"/>
                      <a:pt x="842010" y="14288"/>
                      <a:pt x="843915" y="14288"/>
                    </a:cubicBezTo>
                    <a:cubicBezTo>
                      <a:pt x="845502" y="14288"/>
                      <a:pt x="847090" y="13652"/>
                      <a:pt x="848042" y="12700"/>
                    </a:cubicBezTo>
                    <a:cubicBezTo>
                      <a:pt x="848995" y="11747"/>
                      <a:pt x="849948" y="10160"/>
                      <a:pt x="849948" y="7938"/>
                    </a:cubicBezTo>
                    <a:cubicBezTo>
                      <a:pt x="849948" y="5715"/>
                      <a:pt x="849312" y="4127"/>
                      <a:pt x="848042" y="3175"/>
                    </a:cubicBezTo>
                    <a:cubicBezTo>
                      <a:pt x="846773" y="2222"/>
                      <a:pt x="845502" y="1905"/>
                      <a:pt x="843915" y="1905"/>
                    </a:cubicBezTo>
                    <a:cubicBezTo>
                      <a:pt x="842010" y="1588"/>
                      <a:pt x="840740" y="2222"/>
                      <a:pt x="839470" y="3175"/>
                    </a:cubicBezTo>
                    <a:moveTo>
                      <a:pt x="812483" y="24765"/>
                    </a:moveTo>
                    <a:cubicBezTo>
                      <a:pt x="809625" y="26988"/>
                      <a:pt x="807402" y="29527"/>
                      <a:pt x="805815" y="32385"/>
                    </a:cubicBezTo>
                    <a:lnTo>
                      <a:pt x="805498" y="32385"/>
                    </a:lnTo>
                    <a:lnTo>
                      <a:pt x="804227" y="22542"/>
                    </a:lnTo>
                    <a:lnTo>
                      <a:pt x="795655" y="22542"/>
                    </a:lnTo>
                    <a:lnTo>
                      <a:pt x="795655" y="77152"/>
                    </a:lnTo>
                    <a:lnTo>
                      <a:pt x="806450" y="77152"/>
                    </a:lnTo>
                    <a:lnTo>
                      <a:pt x="806450" y="48260"/>
                    </a:lnTo>
                    <a:cubicBezTo>
                      <a:pt x="806450" y="44767"/>
                      <a:pt x="807085" y="41592"/>
                      <a:pt x="808673" y="39052"/>
                    </a:cubicBezTo>
                    <a:cubicBezTo>
                      <a:pt x="810260" y="36513"/>
                      <a:pt x="812165" y="34607"/>
                      <a:pt x="814387" y="33338"/>
                    </a:cubicBezTo>
                    <a:cubicBezTo>
                      <a:pt x="816610" y="32067"/>
                      <a:pt x="819467" y="31432"/>
                      <a:pt x="822008" y="31432"/>
                    </a:cubicBezTo>
                    <a:cubicBezTo>
                      <a:pt x="823912" y="31432"/>
                      <a:pt x="825817" y="31750"/>
                      <a:pt x="827405" y="32067"/>
                    </a:cubicBezTo>
                    <a:lnTo>
                      <a:pt x="828675" y="21907"/>
                    </a:lnTo>
                    <a:cubicBezTo>
                      <a:pt x="826770" y="21590"/>
                      <a:pt x="824865" y="21272"/>
                      <a:pt x="822642" y="21272"/>
                    </a:cubicBezTo>
                    <a:cubicBezTo>
                      <a:pt x="818515" y="21590"/>
                      <a:pt x="815023" y="22542"/>
                      <a:pt x="812483" y="24765"/>
                    </a:cubicBezTo>
                    <a:moveTo>
                      <a:pt x="743585" y="64452"/>
                    </a:moveTo>
                    <a:cubicBezTo>
                      <a:pt x="741362" y="61277"/>
                      <a:pt x="740092" y="56515"/>
                      <a:pt x="740092" y="50165"/>
                    </a:cubicBezTo>
                    <a:cubicBezTo>
                      <a:pt x="740092" y="43815"/>
                      <a:pt x="741362" y="39052"/>
                      <a:pt x="743585" y="35560"/>
                    </a:cubicBezTo>
                    <a:cubicBezTo>
                      <a:pt x="745808" y="32067"/>
                      <a:pt x="748983" y="30163"/>
                      <a:pt x="753427" y="30163"/>
                    </a:cubicBezTo>
                    <a:cubicBezTo>
                      <a:pt x="758825" y="30163"/>
                      <a:pt x="762635" y="31750"/>
                      <a:pt x="764858" y="35242"/>
                    </a:cubicBezTo>
                    <a:cubicBezTo>
                      <a:pt x="767080" y="38735"/>
                      <a:pt x="768033" y="43497"/>
                      <a:pt x="768033" y="49847"/>
                    </a:cubicBezTo>
                    <a:lnTo>
                      <a:pt x="768033" y="51435"/>
                    </a:lnTo>
                    <a:cubicBezTo>
                      <a:pt x="768033" y="57467"/>
                      <a:pt x="766762" y="61913"/>
                      <a:pt x="764858" y="64770"/>
                    </a:cubicBezTo>
                    <a:cubicBezTo>
                      <a:pt x="762635" y="67627"/>
                      <a:pt x="759142" y="69215"/>
                      <a:pt x="753745" y="69215"/>
                    </a:cubicBezTo>
                    <a:cubicBezTo>
                      <a:pt x="748983" y="69532"/>
                      <a:pt x="745808" y="67627"/>
                      <a:pt x="743585" y="64452"/>
                    </a:cubicBezTo>
                    <a:moveTo>
                      <a:pt x="761365" y="75882"/>
                    </a:moveTo>
                    <a:cubicBezTo>
                      <a:pt x="763905" y="74295"/>
                      <a:pt x="766127" y="72390"/>
                      <a:pt x="767715" y="69850"/>
                    </a:cubicBezTo>
                    <a:lnTo>
                      <a:pt x="768350" y="69850"/>
                    </a:lnTo>
                    <a:lnTo>
                      <a:pt x="770255" y="77152"/>
                    </a:lnTo>
                    <a:lnTo>
                      <a:pt x="778827" y="77152"/>
                    </a:lnTo>
                    <a:lnTo>
                      <a:pt x="778827" y="0"/>
                    </a:lnTo>
                    <a:lnTo>
                      <a:pt x="768033" y="0"/>
                    </a:lnTo>
                    <a:lnTo>
                      <a:pt x="768033" y="20638"/>
                    </a:lnTo>
                    <a:cubicBezTo>
                      <a:pt x="768033" y="21907"/>
                      <a:pt x="768033" y="23495"/>
                      <a:pt x="768350" y="25400"/>
                    </a:cubicBezTo>
                    <a:cubicBezTo>
                      <a:pt x="768667" y="27305"/>
                      <a:pt x="768667" y="28575"/>
                      <a:pt x="768985" y="29527"/>
                    </a:cubicBezTo>
                    <a:lnTo>
                      <a:pt x="768350" y="29527"/>
                    </a:lnTo>
                    <a:cubicBezTo>
                      <a:pt x="766762" y="27305"/>
                      <a:pt x="764540" y="25400"/>
                      <a:pt x="762000" y="23813"/>
                    </a:cubicBezTo>
                    <a:cubicBezTo>
                      <a:pt x="759460" y="22225"/>
                      <a:pt x="755967" y="21590"/>
                      <a:pt x="751840" y="21590"/>
                    </a:cubicBezTo>
                    <a:cubicBezTo>
                      <a:pt x="745173" y="21590"/>
                      <a:pt x="739775" y="24130"/>
                      <a:pt x="735648" y="28892"/>
                    </a:cubicBezTo>
                    <a:cubicBezTo>
                      <a:pt x="731520" y="33655"/>
                      <a:pt x="729615" y="40957"/>
                      <a:pt x="729615" y="50165"/>
                    </a:cubicBezTo>
                    <a:cubicBezTo>
                      <a:pt x="729615" y="59372"/>
                      <a:pt x="731520" y="66675"/>
                      <a:pt x="735648" y="71438"/>
                    </a:cubicBezTo>
                    <a:cubicBezTo>
                      <a:pt x="739775" y="76200"/>
                      <a:pt x="744855" y="78422"/>
                      <a:pt x="751523" y="78422"/>
                    </a:cubicBezTo>
                    <a:cubicBezTo>
                      <a:pt x="755015" y="78105"/>
                      <a:pt x="758508" y="77470"/>
                      <a:pt x="761365" y="75882"/>
                    </a:cubicBezTo>
                    <a:moveTo>
                      <a:pt x="654050" y="64452"/>
                    </a:moveTo>
                    <a:cubicBezTo>
                      <a:pt x="651827" y="61277"/>
                      <a:pt x="650558" y="56515"/>
                      <a:pt x="650558" y="50165"/>
                    </a:cubicBezTo>
                    <a:cubicBezTo>
                      <a:pt x="650558" y="43815"/>
                      <a:pt x="651827" y="39052"/>
                      <a:pt x="654050" y="35560"/>
                    </a:cubicBezTo>
                    <a:cubicBezTo>
                      <a:pt x="656273" y="32067"/>
                      <a:pt x="659448" y="30163"/>
                      <a:pt x="663892" y="30163"/>
                    </a:cubicBezTo>
                    <a:cubicBezTo>
                      <a:pt x="669290" y="30163"/>
                      <a:pt x="673100" y="31750"/>
                      <a:pt x="675323" y="35242"/>
                    </a:cubicBezTo>
                    <a:cubicBezTo>
                      <a:pt x="677545" y="38735"/>
                      <a:pt x="678498" y="43497"/>
                      <a:pt x="678498" y="49847"/>
                    </a:cubicBezTo>
                    <a:lnTo>
                      <a:pt x="678498" y="51435"/>
                    </a:lnTo>
                    <a:cubicBezTo>
                      <a:pt x="678498" y="57467"/>
                      <a:pt x="677227" y="61913"/>
                      <a:pt x="675323" y="64770"/>
                    </a:cubicBezTo>
                    <a:cubicBezTo>
                      <a:pt x="673100" y="67627"/>
                      <a:pt x="669608" y="69215"/>
                      <a:pt x="664210" y="69215"/>
                    </a:cubicBezTo>
                    <a:cubicBezTo>
                      <a:pt x="659765" y="69532"/>
                      <a:pt x="656273" y="67627"/>
                      <a:pt x="654050" y="64452"/>
                    </a:cubicBezTo>
                    <a:moveTo>
                      <a:pt x="671830" y="75882"/>
                    </a:moveTo>
                    <a:cubicBezTo>
                      <a:pt x="674370" y="74295"/>
                      <a:pt x="676592" y="72390"/>
                      <a:pt x="678180" y="69850"/>
                    </a:cubicBezTo>
                    <a:lnTo>
                      <a:pt x="678815" y="69850"/>
                    </a:lnTo>
                    <a:lnTo>
                      <a:pt x="680720" y="77152"/>
                    </a:lnTo>
                    <a:lnTo>
                      <a:pt x="689292" y="77152"/>
                    </a:lnTo>
                    <a:lnTo>
                      <a:pt x="689292" y="0"/>
                    </a:lnTo>
                    <a:lnTo>
                      <a:pt x="678498" y="0"/>
                    </a:lnTo>
                    <a:lnTo>
                      <a:pt x="678498" y="20638"/>
                    </a:lnTo>
                    <a:cubicBezTo>
                      <a:pt x="678498" y="21907"/>
                      <a:pt x="678498" y="23495"/>
                      <a:pt x="678815" y="25400"/>
                    </a:cubicBezTo>
                    <a:cubicBezTo>
                      <a:pt x="679133" y="27305"/>
                      <a:pt x="679133" y="28575"/>
                      <a:pt x="679450" y="29527"/>
                    </a:cubicBezTo>
                    <a:lnTo>
                      <a:pt x="678815" y="29527"/>
                    </a:lnTo>
                    <a:cubicBezTo>
                      <a:pt x="677227" y="27305"/>
                      <a:pt x="675005" y="25400"/>
                      <a:pt x="672465" y="23813"/>
                    </a:cubicBezTo>
                    <a:cubicBezTo>
                      <a:pt x="669925" y="22225"/>
                      <a:pt x="666433" y="21590"/>
                      <a:pt x="662305" y="21590"/>
                    </a:cubicBezTo>
                    <a:cubicBezTo>
                      <a:pt x="655637" y="21590"/>
                      <a:pt x="650240" y="24130"/>
                      <a:pt x="646112" y="28892"/>
                    </a:cubicBezTo>
                    <a:cubicBezTo>
                      <a:pt x="641985" y="33655"/>
                      <a:pt x="640080" y="40957"/>
                      <a:pt x="640080" y="50165"/>
                    </a:cubicBezTo>
                    <a:cubicBezTo>
                      <a:pt x="640080" y="59372"/>
                      <a:pt x="641985" y="66675"/>
                      <a:pt x="646112" y="71438"/>
                    </a:cubicBezTo>
                    <a:cubicBezTo>
                      <a:pt x="650240" y="76200"/>
                      <a:pt x="655320" y="78422"/>
                      <a:pt x="661987" y="78422"/>
                    </a:cubicBezTo>
                    <a:cubicBezTo>
                      <a:pt x="665798" y="78105"/>
                      <a:pt x="669290" y="77470"/>
                      <a:pt x="671830" y="75882"/>
                    </a:cubicBezTo>
                    <a:moveTo>
                      <a:pt x="596583" y="23495"/>
                    </a:moveTo>
                    <a:cubicBezTo>
                      <a:pt x="593408" y="24765"/>
                      <a:pt x="591185" y="26988"/>
                      <a:pt x="589280" y="29845"/>
                    </a:cubicBezTo>
                    <a:lnTo>
                      <a:pt x="588645" y="29845"/>
                    </a:lnTo>
                    <a:lnTo>
                      <a:pt x="587058" y="22542"/>
                    </a:lnTo>
                    <a:lnTo>
                      <a:pt x="578485" y="22542"/>
                    </a:lnTo>
                    <a:lnTo>
                      <a:pt x="578485" y="77152"/>
                    </a:lnTo>
                    <a:lnTo>
                      <a:pt x="589280" y="77152"/>
                    </a:lnTo>
                    <a:lnTo>
                      <a:pt x="589280" y="49530"/>
                    </a:lnTo>
                    <a:cubicBezTo>
                      <a:pt x="589280" y="43180"/>
                      <a:pt x="590233" y="38417"/>
                      <a:pt x="592455" y="35242"/>
                    </a:cubicBezTo>
                    <a:cubicBezTo>
                      <a:pt x="594677" y="32067"/>
                      <a:pt x="598487" y="30163"/>
                      <a:pt x="603885" y="30163"/>
                    </a:cubicBezTo>
                    <a:cubicBezTo>
                      <a:pt x="611505" y="30163"/>
                      <a:pt x="615315" y="34290"/>
                      <a:pt x="615315" y="42863"/>
                    </a:cubicBezTo>
                    <a:lnTo>
                      <a:pt x="615315" y="77152"/>
                    </a:lnTo>
                    <a:lnTo>
                      <a:pt x="626110" y="77152"/>
                    </a:lnTo>
                    <a:lnTo>
                      <a:pt x="626110" y="41592"/>
                    </a:lnTo>
                    <a:cubicBezTo>
                      <a:pt x="626110" y="34607"/>
                      <a:pt x="624523" y="29527"/>
                      <a:pt x="621030" y="26352"/>
                    </a:cubicBezTo>
                    <a:cubicBezTo>
                      <a:pt x="617537" y="23177"/>
                      <a:pt x="612775" y="21590"/>
                      <a:pt x="606425" y="21590"/>
                    </a:cubicBezTo>
                    <a:cubicBezTo>
                      <a:pt x="602933" y="21590"/>
                      <a:pt x="599758" y="22225"/>
                      <a:pt x="596583" y="23495"/>
                    </a:cubicBezTo>
                    <a:moveTo>
                      <a:pt x="551498" y="55563"/>
                    </a:moveTo>
                    <a:cubicBezTo>
                      <a:pt x="551498" y="60325"/>
                      <a:pt x="550227" y="63817"/>
                      <a:pt x="547370" y="66357"/>
                    </a:cubicBezTo>
                    <a:cubicBezTo>
                      <a:pt x="544512" y="68580"/>
                      <a:pt x="541020" y="69850"/>
                      <a:pt x="536892" y="69850"/>
                    </a:cubicBezTo>
                    <a:cubicBezTo>
                      <a:pt x="534035" y="69850"/>
                      <a:pt x="532130" y="69215"/>
                      <a:pt x="530225" y="67945"/>
                    </a:cubicBezTo>
                    <a:cubicBezTo>
                      <a:pt x="528637" y="66675"/>
                      <a:pt x="527685" y="64452"/>
                      <a:pt x="527685" y="61595"/>
                    </a:cubicBezTo>
                    <a:cubicBezTo>
                      <a:pt x="527685" y="58420"/>
                      <a:pt x="528955" y="55880"/>
                      <a:pt x="531177" y="53975"/>
                    </a:cubicBezTo>
                    <a:cubicBezTo>
                      <a:pt x="533717" y="52070"/>
                      <a:pt x="537845" y="51117"/>
                      <a:pt x="544195" y="50800"/>
                    </a:cubicBezTo>
                    <a:lnTo>
                      <a:pt x="551498" y="50482"/>
                    </a:lnTo>
                    <a:lnTo>
                      <a:pt x="551498" y="55563"/>
                    </a:lnTo>
                    <a:close/>
                    <a:moveTo>
                      <a:pt x="531177" y="22860"/>
                    </a:moveTo>
                    <a:cubicBezTo>
                      <a:pt x="527685" y="23813"/>
                      <a:pt x="524827" y="24765"/>
                      <a:pt x="522287" y="26352"/>
                    </a:cubicBezTo>
                    <a:lnTo>
                      <a:pt x="525780" y="34290"/>
                    </a:lnTo>
                    <a:cubicBezTo>
                      <a:pt x="528002" y="33020"/>
                      <a:pt x="530542" y="32067"/>
                      <a:pt x="533083" y="31432"/>
                    </a:cubicBezTo>
                    <a:cubicBezTo>
                      <a:pt x="535623" y="30480"/>
                      <a:pt x="538480" y="30163"/>
                      <a:pt x="541020" y="30163"/>
                    </a:cubicBezTo>
                    <a:cubicBezTo>
                      <a:pt x="544195" y="30163"/>
                      <a:pt x="547052" y="31115"/>
                      <a:pt x="548640" y="32702"/>
                    </a:cubicBezTo>
                    <a:cubicBezTo>
                      <a:pt x="550227" y="34290"/>
                      <a:pt x="551498" y="37147"/>
                      <a:pt x="551498" y="41275"/>
                    </a:cubicBezTo>
                    <a:lnTo>
                      <a:pt x="551498" y="44450"/>
                    </a:lnTo>
                    <a:lnTo>
                      <a:pt x="542290" y="44767"/>
                    </a:lnTo>
                    <a:cubicBezTo>
                      <a:pt x="533717" y="45085"/>
                      <a:pt x="527050" y="46672"/>
                      <a:pt x="522923" y="49530"/>
                    </a:cubicBezTo>
                    <a:cubicBezTo>
                      <a:pt x="518795" y="52388"/>
                      <a:pt x="516573" y="56515"/>
                      <a:pt x="516573" y="62230"/>
                    </a:cubicBezTo>
                    <a:cubicBezTo>
                      <a:pt x="516573" y="67945"/>
                      <a:pt x="518160" y="72072"/>
                      <a:pt x="521335" y="74930"/>
                    </a:cubicBezTo>
                    <a:cubicBezTo>
                      <a:pt x="524510" y="77470"/>
                      <a:pt x="528637" y="79057"/>
                      <a:pt x="533717" y="79057"/>
                    </a:cubicBezTo>
                    <a:cubicBezTo>
                      <a:pt x="538480" y="79057"/>
                      <a:pt x="541973" y="78422"/>
                      <a:pt x="544512" y="76835"/>
                    </a:cubicBezTo>
                    <a:cubicBezTo>
                      <a:pt x="547052" y="75565"/>
                      <a:pt x="549592" y="73342"/>
                      <a:pt x="552133" y="70167"/>
                    </a:cubicBezTo>
                    <a:lnTo>
                      <a:pt x="552450" y="70167"/>
                    </a:lnTo>
                    <a:lnTo>
                      <a:pt x="554673" y="77788"/>
                    </a:lnTo>
                    <a:lnTo>
                      <a:pt x="562292" y="77788"/>
                    </a:lnTo>
                    <a:lnTo>
                      <a:pt x="562292" y="40005"/>
                    </a:lnTo>
                    <a:cubicBezTo>
                      <a:pt x="562292" y="33655"/>
                      <a:pt x="560705" y="28892"/>
                      <a:pt x="557212" y="25717"/>
                    </a:cubicBezTo>
                    <a:cubicBezTo>
                      <a:pt x="553720" y="22860"/>
                      <a:pt x="548640" y="21272"/>
                      <a:pt x="541973" y="21272"/>
                    </a:cubicBezTo>
                    <a:cubicBezTo>
                      <a:pt x="538162" y="21590"/>
                      <a:pt x="534352" y="21907"/>
                      <a:pt x="531177" y="22860"/>
                    </a:cubicBezTo>
                    <a:moveTo>
                      <a:pt x="479425" y="54292"/>
                    </a:moveTo>
                    <a:cubicBezTo>
                      <a:pt x="478155" y="52388"/>
                      <a:pt x="476250" y="50800"/>
                      <a:pt x="474027" y="49213"/>
                    </a:cubicBezTo>
                    <a:cubicBezTo>
                      <a:pt x="471487" y="47942"/>
                      <a:pt x="468630" y="46355"/>
                      <a:pt x="465455" y="45085"/>
                    </a:cubicBezTo>
                    <a:cubicBezTo>
                      <a:pt x="461962" y="43815"/>
                      <a:pt x="459423" y="42545"/>
                      <a:pt x="457517" y="41592"/>
                    </a:cubicBezTo>
                    <a:cubicBezTo>
                      <a:pt x="455612" y="40640"/>
                      <a:pt x="454342" y="39688"/>
                      <a:pt x="453390" y="38735"/>
                    </a:cubicBezTo>
                    <a:cubicBezTo>
                      <a:pt x="452755" y="37782"/>
                      <a:pt x="452120" y="36513"/>
                      <a:pt x="452120" y="35242"/>
                    </a:cubicBezTo>
                    <a:cubicBezTo>
                      <a:pt x="452120" y="31432"/>
                      <a:pt x="455295" y="29527"/>
                      <a:pt x="461962" y="29527"/>
                    </a:cubicBezTo>
                    <a:cubicBezTo>
                      <a:pt x="464502" y="29527"/>
                      <a:pt x="467042" y="29845"/>
                      <a:pt x="469583" y="30480"/>
                    </a:cubicBezTo>
                    <a:cubicBezTo>
                      <a:pt x="472123" y="31115"/>
                      <a:pt x="474662" y="32067"/>
                      <a:pt x="476885" y="33020"/>
                    </a:cubicBezTo>
                    <a:lnTo>
                      <a:pt x="480377" y="24765"/>
                    </a:lnTo>
                    <a:cubicBezTo>
                      <a:pt x="477520" y="23495"/>
                      <a:pt x="474662" y="22542"/>
                      <a:pt x="471805" y="21907"/>
                    </a:cubicBezTo>
                    <a:cubicBezTo>
                      <a:pt x="468948" y="21272"/>
                      <a:pt x="465773" y="20955"/>
                      <a:pt x="462280" y="20955"/>
                    </a:cubicBezTo>
                    <a:cubicBezTo>
                      <a:pt x="455930" y="20955"/>
                      <a:pt x="450850" y="22225"/>
                      <a:pt x="447040" y="24765"/>
                    </a:cubicBezTo>
                    <a:cubicBezTo>
                      <a:pt x="443230" y="27305"/>
                      <a:pt x="441325" y="30797"/>
                      <a:pt x="441325" y="35560"/>
                    </a:cubicBezTo>
                    <a:cubicBezTo>
                      <a:pt x="441325" y="38417"/>
                      <a:pt x="441960" y="40957"/>
                      <a:pt x="443230" y="42863"/>
                    </a:cubicBezTo>
                    <a:cubicBezTo>
                      <a:pt x="444500" y="44767"/>
                      <a:pt x="446405" y="46672"/>
                      <a:pt x="448627" y="47942"/>
                    </a:cubicBezTo>
                    <a:cubicBezTo>
                      <a:pt x="451167" y="49213"/>
                      <a:pt x="454025" y="50800"/>
                      <a:pt x="457517" y="52070"/>
                    </a:cubicBezTo>
                    <a:cubicBezTo>
                      <a:pt x="461010" y="53340"/>
                      <a:pt x="463867" y="54610"/>
                      <a:pt x="465773" y="55563"/>
                    </a:cubicBezTo>
                    <a:cubicBezTo>
                      <a:pt x="467677" y="56515"/>
                      <a:pt x="468948" y="57785"/>
                      <a:pt x="469583" y="58738"/>
                    </a:cubicBezTo>
                    <a:cubicBezTo>
                      <a:pt x="470217" y="59690"/>
                      <a:pt x="470535" y="60960"/>
                      <a:pt x="470535" y="61913"/>
                    </a:cubicBezTo>
                    <a:cubicBezTo>
                      <a:pt x="470535" y="64135"/>
                      <a:pt x="469583" y="65722"/>
                      <a:pt x="467995" y="66992"/>
                    </a:cubicBezTo>
                    <a:cubicBezTo>
                      <a:pt x="466090" y="68263"/>
                      <a:pt x="463233" y="68897"/>
                      <a:pt x="459105" y="68897"/>
                    </a:cubicBezTo>
                    <a:cubicBezTo>
                      <a:pt x="455930" y="68897"/>
                      <a:pt x="453073" y="68580"/>
                      <a:pt x="449580" y="67627"/>
                    </a:cubicBezTo>
                    <a:cubicBezTo>
                      <a:pt x="446405" y="66675"/>
                      <a:pt x="443548" y="65722"/>
                      <a:pt x="441325" y="64452"/>
                    </a:cubicBezTo>
                    <a:lnTo>
                      <a:pt x="441325" y="73977"/>
                    </a:lnTo>
                    <a:cubicBezTo>
                      <a:pt x="443548" y="75247"/>
                      <a:pt x="446087" y="75882"/>
                      <a:pt x="448945" y="76517"/>
                    </a:cubicBezTo>
                    <a:cubicBezTo>
                      <a:pt x="451802" y="77152"/>
                      <a:pt x="454977" y="77470"/>
                      <a:pt x="458787" y="77470"/>
                    </a:cubicBezTo>
                    <a:cubicBezTo>
                      <a:pt x="465773" y="77470"/>
                      <a:pt x="471170" y="76200"/>
                      <a:pt x="475298" y="73342"/>
                    </a:cubicBezTo>
                    <a:cubicBezTo>
                      <a:pt x="479108" y="70485"/>
                      <a:pt x="481012" y="66357"/>
                      <a:pt x="481012" y="60960"/>
                    </a:cubicBezTo>
                    <a:cubicBezTo>
                      <a:pt x="481330" y="58738"/>
                      <a:pt x="480695" y="56197"/>
                      <a:pt x="479425" y="54292"/>
                    </a:cubicBezTo>
                    <a:moveTo>
                      <a:pt x="417512" y="33655"/>
                    </a:moveTo>
                    <a:cubicBezTo>
                      <a:pt x="419417" y="36195"/>
                      <a:pt x="420687" y="39688"/>
                      <a:pt x="420687" y="44132"/>
                    </a:cubicBezTo>
                    <a:lnTo>
                      <a:pt x="394970" y="44132"/>
                    </a:lnTo>
                    <a:cubicBezTo>
                      <a:pt x="395288" y="39370"/>
                      <a:pt x="396875" y="35877"/>
                      <a:pt x="399097" y="33338"/>
                    </a:cubicBezTo>
                    <a:cubicBezTo>
                      <a:pt x="401320" y="30797"/>
                      <a:pt x="404495" y="29527"/>
                      <a:pt x="408305" y="29527"/>
                    </a:cubicBezTo>
                    <a:cubicBezTo>
                      <a:pt x="412433" y="29845"/>
                      <a:pt x="415608" y="31115"/>
                      <a:pt x="417512" y="33655"/>
                    </a:cubicBezTo>
                    <a:moveTo>
                      <a:pt x="395288" y="24765"/>
                    </a:moveTo>
                    <a:cubicBezTo>
                      <a:pt x="391477" y="26988"/>
                      <a:pt x="388620" y="30163"/>
                      <a:pt x="386715" y="34607"/>
                    </a:cubicBezTo>
                    <a:cubicBezTo>
                      <a:pt x="384810" y="38735"/>
                      <a:pt x="383540" y="44132"/>
                      <a:pt x="383540" y="50165"/>
                    </a:cubicBezTo>
                    <a:cubicBezTo>
                      <a:pt x="383540" y="56197"/>
                      <a:pt x="384810" y="61595"/>
                      <a:pt x="387033" y="65722"/>
                    </a:cubicBezTo>
                    <a:cubicBezTo>
                      <a:pt x="389255" y="69850"/>
                      <a:pt x="392430" y="73025"/>
                      <a:pt x="396558" y="74930"/>
                    </a:cubicBezTo>
                    <a:cubicBezTo>
                      <a:pt x="400685" y="77152"/>
                      <a:pt x="405447" y="78105"/>
                      <a:pt x="410527" y="78105"/>
                    </a:cubicBezTo>
                    <a:cubicBezTo>
                      <a:pt x="414337" y="78105"/>
                      <a:pt x="417830" y="77788"/>
                      <a:pt x="420370" y="77152"/>
                    </a:cubicBezTo>
                    <a:cubicBezTo>
                      <a:pt x="423227" y="76517"/>
                      <a:pt x="426085" y="75565"/>
                      <a:pt x="428625" y="74295"/>
                    </a:cubicBezTo>
                    <a:lnTo>
                      <a:pt x="428625" y="65405"/>
                    </a:lnTo>
                    <a:cubicBezTo>
                      <a:pt x="425767" y="66675"/>
                      <a:pt x="422910" y="67627"/>
                      <a:pt x="420052" y="68263"/>
                    </a:cubicBezTo>
                    <a:cubicBezTo>
                      <a:pt x="417195" y="68897"/>
                      <a:pt x="414337" y="69215"/>
                      <a:pt x="410527" y="69215"/>
                    </a:cubicBezTo>
                    <a:cubicBezTo>
                      <a:pt x="405447" y="69215"/>
                      <a:pt x="401638" y="67627"/>
                      <a:pt x="398780" y="64770"/>
                    </a:cubicBezTo>
                    <a:cubicBezTo>
                      <a:pt x="395922" y="61913"/>
                      <a:pt x="394652" y="57467"/>
                      <a:pt x="394335" y="51752"/>
                    </a:cubicBezTo>
                    <a:lnTo>
                      <a:pt x="431165" y="51752"/>
                    </a:lnTo>
                    <a:lnTo>
                      <a:pt x="431165" y="46355"/>
                    </a:lnTo>
                    <a:cubicBezTo>
                      <a:pt x="431165" y="38735"/>
                      <a:pt x="429260" y="32702"/>
                      <a:pt x="424815" y="28257"/>
                    </a:cubicBezTo>
                    <a:cubicBezTo>
                      <a:pt x="420687" y="23813"/>
                      <a:pt x="414973" y="21590"/>
                      <a:pt x="407987" y="21590"/>
                    </a:cubicBezTo>
                    <a:cubicBezTo>
                      <a:pt x="403225" y="21590"/>
                      <a:pt x="399097" y="22542"/>
                      <a:pt x="395288" y="24765"/>
                    </a:cubicBezTo>
                    <a:moveTo>
                      <a:pt x="340677" y="23495"/>
                    </a:moveTo>
                    <a:cubicBezTo>
                      <a:pt x="337502" y="24765"/>
                      <a:pt x="335280" y="26988"/>
                      <a:pt x="333375" y="29845"/>
                    </a:cubicBezTo>
                    <a:lnTo>
                      <a:pt x="332740" y="29845"/>
                    </a:lnTo>
                    <a:lnTo>
                      <a:pt x="331152" y="22542"/>
                    </a:lnTo>
                    <a:lnTo>
                      <a:pt x="322580" y="22542"/>
                    </a:lnTo>
                    <a:lnTo>
                      <a:pt x="322580" y="77152"/>
                    </a:lnTo>
                    <a:lnTo>
                      <a:pt x="333375" y="77152"/>
                    </a:lnTo>
                    <a:lnTo>
                      <a:pt x="333375" y="49530"/>
                    </a:lnTo>
                    <a:cubicBezTo>
                      <a:pt x="333375" y="43180"/>
                      <a:pt x="334327" y="38417"/>
                      <a:pt x="336550" y="35242"/>
                    </a:cubicBezTo>
                    <a:cubicBezTo>
                      <a:pt x="338772" y="32067"/>
                      <a:pt x="342583" y="30163"/>
                      <a:pt x="347980" y="30163"/>
                    </a:cubicBezTo>
                    <a:cubicBezTo>
                      <a:pt x="355600" y="30163"/>
                      <a:pt x="359410" y="34290"/>
                      <a:pt x="359410" y="42863"/>
                    </a:cubicBezTo>
                    <a:lnTo>
                      <a:pt x="359410" y="77152"/>
                    </a:lnTo>
                    <a:lnTo>
                      <a:pt x="370205" y="77152"/>
                    </a:lnTo>
                    <a:lnTo>
                      <a:pt x="370205" y="41592"/>
                    </a:lnTo>
                    <a:cubicBezTo>
                      <a:pt x="370205" y="34607"/>
                      <a:pt x="368617" y="29527"/>
                      <a:pt x="365125" y="26352"/>
                    </a:cubicBezTo>
                    <a:cubicBezTo>
                      <a:pt x="361633" y="23177"/>
                      <a:pt x="356870" y="21590"/>
                      <a:pt x="350520" y="21590"/>
                    </a:cubicBezTo>
                    <a:cubicBezTo>
                      <a:pt x="347027" y="21590"/>
                      <a:pt x="343852" y="22225"/>
                      <a:pt x="340677" y="23495"/>
                    </a:cubicBezTo>
                    <a:moveTo>
                      <a:pt x="294958" y="77152"/>
                    </a:moveTo>
                    <a:lnTo>
                      <a:pt x="305752" y="77152"/>
                    </a:lnTo>
                    <a:lnTo>
                      <a:pt x="305752" y="22542"/>
                    </a:lnTo>
                    <a:lnTo>
                      <a:pt x="294958" y="22542"/>
                    </a:lnTo>
                    <a:lnTo>
                      <a:pt x="294958" y="77152"/>
                    </a:lnTo>
                    <a:close/>
                    <a:moveTo>
                      <a:pt x="296227" y="3175"/>
                    </a:moveTo>
                    <a:cubicBezTo>
                      <a:pt x="294958" y="4127"/>
                      <a:pt x="294322" y="5715"/>
                      <a:pt x="294322" y="7938"/>
                    </a:cubicBezTo>
                    <a:cubicBezTo>
                      <a:pt x="294322" y="10160"/>
                      <a:pt x="294958" y="11747"/>
                      <a:pt x="296227" y="12700"/>
                    </a:cubicBezTo>
                    <a:cubicBezTo>
                      <a:pt x="297497" y="13652"/>
                      <a:pt x="298767" y="14288"/>
                      <a:pt x="300672" y="14288"/>
                    </a:cubicBezTo>
                    <a:cubicBezTo>
                      <a:pt x="302260" y="14288"/>
                      <a:pt x="303847" y="13652"/>
                      <a:pt x="304800" y="12700"/>
                    </a:cubicBezTo>
                    <a:cubicBezTo>
                      <a:pt x="306070" y="11747"/>
                      <a:pt x="306705" y="10160"/>
                      <a:pt x="306705" y="7938"/>
                    </a:cubicBezTo>
                    <a:cubicBezTo>
                      <a:pt x="306705" y="5715"/>
                      <a:pt x="306070" y="4127"/>
                      <a:pt x="304800" y="3175"/>
                    </a:cubicBezTo>
                    <a:cubicBezTo>
                      <a:pt x="303530" y="2222"/>
                      <a:pt x="302260" y="1905"/>
                      <a:pt x="300672" y="1905"/>
                    </a:cubicBezTo>
                    <a:cubicBezTo>
                      <a:pt x="298767" y="1588"/>
                      <a:pt x="297497" y="2222"/>
                      <a:pt x="296227" y="3175"/>
                    </a:cubicBezTo>
                    <a:moveTo>
                      <a:pt x="275908" y="77470"/>
                    </a:moveTo>
                    <a:cubicBezTo>
                      <a:pt x="278130" y="76835"/>
                      <a:pt x="280352" y="76200"/>
                      <a:pt x="282258" y="74930"/>
                    </a:cubicBezTo>
                    <a:lnTo>
                      <a:pt x="282258" y="65405"/>
                    </a:lnTo>
                    <a:cubicBezTo>
                      <a:pt x="280352" y="66357"/>
                      <a:pt x="278130" y="67310"/>
                      <a:pt x="275908" y="67945"/>
                    </a:cubicBezTo>
                    <a:cubicBezTo>
                      <a:pt x="273685" y="68580"/>
                      <a:pt x="270827" y="68897"/>
                      <a:pt x="267970" y="68897"/>
                    </a:cubicBezTo>
                    <a:cubicBezTo>
                      <a:pt x="263208" y="68897"/>
                      <a:pt x="259715" y="67310"/>
                      <a:pt x="257175" y="64135"/>
                    </a:cubicBezTo>
                    <a:cubicBezTo>
                      <a:pt x="254635" y="60960"/>
                      <a:pt x="253365" y="56197"/>
                      <a:pt x="253365" y="49847"/>
                    </a:cubicBezTo>
                    <a:cubicBezTo>
                      <a:pt x="253365" y="36830"/>
                      <a:pt x="258445" y="30480"/>
                      <a:pt x="268288" y="30480"/>
                    </a:cubicBezTo>
                    <a:cubicBezTo>
                      <a:pt x="270192" y="30480"/>
                      <a:pt x="272415" y="30797"/>
                      <a:pt x="274320" y="31432"/>
                    </a:cubicBezTo>
                    <a:cubicBezTo>
                      <a:pt x="276542" y="32067"/>
                      <a:pt x="278447" y="32702"/>
                      <a:pt x="280352" y="33338"/>
                    </a:cubicBezTo>
                    <a:lnTo>
                      <a:pt x="283527" y="24447"/>
                    </a:lnTo>
                    <a:cubicBezTo>
                      <a:pt x="281622" y="23495"/>
                      <a:pt x="279400" y="22860"/>
                      <a:pt x="276860" y="22225"/>
                    </a:cubicBezTo>
                    <a:cubicBezTo>
                      <a:pt x="274320" y="21590"/>
                      <a:pt x="271463" y="21272"/>
                      <a:pt x="268288" y="21272"/>
                    </a:cubicBezTo>
                    <a:cubicBezTo>
                      <a:pt x="263208" y="21272"/>
                      <a:pt x="258763" y="22225"/>
                      <a:pt x="254952" y="24130"/>
                    </a:cubicBezTo>
                    <a:cubicBezTo>
                      <a:pt x="251142" y="26035"/>
                      <a:pt x="247967" y="29210"/>
                      <a:pt x="245745" y="33338"/>
                    </a:cubicBezTo>
                    <a:cubicBezTo>
                      <a:pt x="243522" y="37465"/>
                      <a:pt x="242252" y="43180"/>
                      <a:pt x="242252" y="49847"/>
                    </a:cubicBezTo>
                    <a:cubicBezTo>
                      <a:pt x="242252" y="59690"/>
                      <a:pt x="244475" y="66675"/>
                      <a:pt x="249238" y="71120"/>
                    </a:cubicBezTo>
                    <a:cubicBezTo>
                      <a:pt x="253683" y="75565"/>
                      <a:pt x="260033" y="77788"/>
                      <a:pt x="267652" y="77788"/>
                    </a:cubicBezTo>
                    <a:cubicBezTo>
                      <a:pt x="270827" y="78105"/>
                      <a:pt x="273367" y="78105"/>
                      <a:pt x="275908" y="77470"/>
                    </a:cubicBezTo>
                    <a:moveTo>
                      <a:pt x="217805" y="77152"/>
                    </a:moveTo>
                    <a:lnTo>
                      <a:pt x="228600" y="77152"/>
                    </a:lnTo>
                    <a:lnTo>
                      <a:pt x="228600" y="22542"/>
                    </a:lnTo>
                    <a:lnTo>
                      <a:pt x="217805" y="22542"/>
                    </a:lnTo>
                    <a:lnTo>
                      <a:pt x="217805" y="77152"/>
                    </a:lnTo>
                    <a:close/>
                    <a:moveTo>
                      <a:pt x="218758" y="3175"/>
                    </a:moveTo>
                    <a:cubicBezTo>
                      <a:pt x="217488" y="4127"/>
                      <a:pt x="216852" y="5715"/>
                      <a:pt x="216852" y="7938"/>
                    </a:cubicBezTo>
                    <a:cubicBezTo>
                      <a:pt x="216852" y="10160"/>
                      <a:pt x="217488" y="11747"/>
                      <a:pt x="218758" y="12700"/>
                    </a:cubicBezTo>
                    <a:cubicBezTo>
                      <a:pt x="220027" y="13652"/>
                      <a:pt x="221297" y="14288"/>
                      <a:pt x="223202" y="14288"/>
                    </a:cubicBezTo>
                    <a:cubicBezTo>
                      <a:pt x="224790" y="14288"/>
                      <a:pt x="226377" y="13652"/>
                      <a:pt x="227330" y="12700"/>
                    </a:cubicBezTo>
                    <a:cubicBezTo>
                      <a:pt x="228600" y="11747"/>
                      <a:pt x="229235" y="10160"/>
                      <a:pt x="229235" y="7938"/>
                    </a:cubicBezTo>
                    <a:cubicBezTo>
                      <a:pt x="229235" y="5715"/>
                      <a:pt x="228600" y="4127"/>
                      <a:pt x="227330" y="3175"/>
                    </a:cubicBezTo>
                    <a:cubicBezTo>
                      <a:pt x="226060" y="2222"/>
                      <a:pt x="224790" y="1905"/>
                      <a:pt x="223202" y="1905"/>
                    </a:cubicBezTo>
                    <a:cubicBezTo>
                      <a:pt x="221615" y="1588"/>
                      <a:pt x="220027" y="2222"/>
                      <a:pt x="218758" y="3175"/>
                    </a:cubicBezTo>
                    <a:moveTo>
                      <a:pt x="166052" y="64452"/>
                    </a:moveTo>
                    <a:cubicBezTo>
                      <a:pt x="163830" y="61277"/>
                      <a:pt x="162560" y="56515"/>
                      <a:pt x="162560" y="50165"/>
                    </a:cubicBezTo>
                    <a:cubicBezTo>
                      <a:pt x="162560" y="43815"/>
                      <a:pt x="163830" y="39052"/>
                      <a:pt x="166052" y="35560"/>
                    </a:cubicBezTo>
                    <a:cubicBezTo>
                      <a:pt x="168275" y="32067"/>
                      <a:pt x="171450" y="30163"/>
                      <a:pt x="175895" y="30163"/>
                    </a:cubicBezTo>
                    <a:cubicBezTo>
                      <a:pt x="181292" y="30163"/>
                      <a:pt x="185102" y="31750"/>
                      <a:pt x="187325" y="35242"/>
                    </a:cubicBezTo>
                    <a:cubicBezTo>
                      <a:pt x="189230" y="38735"/>
                      <a:pt x="190500" y="43497"/>
                      <a:pt x="190500" y="49847"/>
                    </a:cubicBezTo>
                    <a:lnTo>
                      <a:pt x="190500" y="51435"/>
                    </a:lnTo>
                    <a:cubicBezTo>
                      <a:pt x="190500" y="57467"/>
                      <a:pt x="189230" y="61913"/>
                      <a:pt x="187325" y="64770"/>
                    </a:cubicBezTo>
                    <a:cubicBezTo>
                      <a:pt x="185420" y="67627"/>
                      <a:pt x="181610" y="69215"/>
                      <a:pt x="176213" y="69215"/>
                    </a:cubicBezTo>
                    <a:cubicBezTo>
                      <a:pt x="171450" y="69532"/>
                      <a:pt x="168275" y="67627"/>
                      <a:pt x="166052" y="64452"/>
                    </a:cubicBezTo>
                    <a:moveTo>
                      <a:pt x="183833" y="75882"/>
                    </a:moveTo>
                    <a:cubicBezTo>
                      <a:pt x="186372" y="74295"/>
                      <a:pt x="188595" y="72390"/>
                      <a:pt x="190183" y="69850"/>
                    </a:cubicBezTo>
                    <a:lnTo>
                      <a:pt x="190817" y="69850"/>
                    </a:lnTo>
                    <a:lnTo>
                      <a:pt x="192722" y="77152"/>
                    </a:lnTo>
                    <a:lnTo>
                      <a:pt x="201295" y="77152"/>
                    </a:lnTo>
                    <a:lnTo>
                      <a:pt x="201295" y="0"/>
                    </a:lnTo>
                    <a:lnTo>
                      <a:pt x="190500" y="0"/>
                    </a:lnTo>
                    <a:lnTo>
                      <a:pt x="190500" y="20638"/>
                    </a:lnTo>
                    <a:cubicBezTo>
                      <a:pt x="190500" y="21907"/>
                      <a:pt x="190500" y="23495"/>
                      <a:pt x="190817" y="25400"/>
                    </a:cubicBezTo>
                    <a:cubicBezTo>
                      <a:pt x="191135" y="27305"/>
                      <a:pt x="191135" y="28575"/>
                      <a:pt x="191452" y="29527"/>
                    </a:cubicBezTo>
                    <a:lnTo>
                      <a:pt x="190817" y="29527"/>
                    </a:lnTo>
                    <a:cubicBezTo>
                      <a:pt x="189230" y="27305"/>
                      <a:pt x="187008" y="25400"/>
                      <a:pt x="184467" y="23813"/>
                    </a:cubicBezTo>
                    <a:cubicBezTo>
                      <a:pt x="181927" y="22225"/>
                      <a:pt x="178435" y="21590"/>
                      <a:pt x="174308" y="21590"/>
                    </a:cubicBezTo>
                    <a:cubicBezTo>
                      <a:pt x="167640" y="21590"/>
                      <a:pt x="162242" y="24130"/>
                      <a:pt x="158115" y="28892"/>
                    </a:cubicBezTo>
                    <a:cubicBezTo>
                      <a:pt x="153988" y="33655"/>
                      <a:pt x="152083" y="40957"/>
                      <a:pt x="152083" y="50165"/>
                    </a:cubicBezTo>
                    <a:cubicBezTo>
                      <a:pt x="152083" y="59372"/>
                      <a:pt x="153988" y="66675"/>
                      <a:pt x="158115" y="71438"/>
                    </a:cubicBezTo>
                    <a:cubicBezTo>
                      <a:pt x="162242" y="76200"/>
                      <a:pt x="167322" y="78422"/>
                      <a:pt x="173990" y="78422"/>
                    </a:cubicBezTo>
                    <a:cubicBezTo>
                      <a:pt x="177800" y="78105"/>
                      <a:pt x="180975" y="77470"/>
                      <a:pt x="183833" y="75882"/>
                    </a:cubicBezTo>
                    <a:moveTo>
                      <a:pt x="127317" y="33655"/>
                    </a:moveTo>
                    <a:cubicBezTo>
                      <a:pt x="129222" y="36195"/>
                      <a:pt x="130492" y="39688"/>
                      <a:pt x="130492" y="44132"/>
                    </a:cubicBezTo>
                    <a:lnTo>
                      <a:pt x="104775" y="44132"/>
                    </a:lnTo>
                    <a:cubicBezTo>
                      <a:pt x="105092" y="39370"/>
                      <a:pt x="106680" y="35877"/>
                      <a:pt x="108902" y="33338"/>
                    </a:cubicBezTo>
                    <a:cubicBezTo>
                      <a:pt x="111125" y="30797"/>
                      <a:pt x="114300" y="29527"/>
                      <a:pt x="118110" y="29527"/>
                    </a:cubicBezTo>
                    <a:cubicBezTo>
                      <a:pt x="122238" y="29845"/>
                      <a:pt x="125413" y="31115"/>
                      <a:pt x="127317" y="33655"/>
                    </a:cubicBezTo>
                    <a:moveTo>
                      <a:pt x="105092" y="24765"/>
                    </a:moveTo>
                    <a:cubicBezTo>
                      <a:pt x="101283" y="26988"/>
                      <a:pt x="98425" y="30163"/>
                      <a:pt x="96520" y="34607"/>
                    </a:cubicBezTo>
                    <a:cubicBezTo>
                      <a:pt x="94615" y="39052"/>
                      <a:pt x="93345" y="44132"/>
                      <a:pt x="93345" y="50165"/>
                    </a:cubicBezTo>
                    <a:cubicBezTo>
                      <a:pt x="93345" y="56197"/>
                      <a:pt x="94615" y="61595"/>
                      <a:pt x="96838" y="65722"/>
                    </a:cubicBezTo>
                    <a:cubicBezTo>
                      <a:pt x="99060" y="69850"/>
                      <a:pt x="102235" y="73025"/>
                      <a:pt x="106363" y="74930"/>
                    </a:cubicBezTo>
                    <a:cubicBezTo>
                      <a:pt x="110490" y="77152"/>
                      <a:pt x="115252" y="78105"/>
                      <a:pt x="120333" y="78105"/>
                    </a:cubicBezTo>
                    <a:cubicBezTo>
                      <a:pt x="124142" y="78105"/>
                      <a:pt x="127635" y="77788"/>
                      <a:pt x="130175" y="77152"/>
                    </a:cubicBezTo>
                    <a:cubicBezTo>
                      <a:pt x="132715" y="76517"/>
                      <a:pt x="135572" y="75565"/>
                      <a:pt x="138430" y="74295"/>
                    </a:cubicBezTo>
                    <a:lnTo>
                      <a:pt x="138430" y="65405"/>
                    </a:lnTo>
                    <a:cubicBezTo>
                      <a:pt x="135572" y="66675"/>
                      <a:pt x="132715" y="67627"/>
                      <a:pt x="129858" y="68263"/>
                    </a:cubicBezTo>
                    <a:cubicBezTo>
                      <a:pt x="127000" y="68897"/>
                      <a:pt x="123825" y="69215"/>
                      <a:pt x="120333" y="69215"/>
                    </a:cubicBezTo>
                    <a:cubicBezTo>
                      <a:pt x="115252" y="69215"/>
                      <a:pt x="111442" y="67627"/>
                      <a:pt x="108585" y="64770"/>
                    </a:cubicBezTo>
                    <a:cubicBezTo>
                      <a:pt x="105727" y="61913"/>
                      <a:pt x="104458" y="57467"/>
                      <a:pt x="104140" y="51752"/>
                    </a:cubicBezTo>
                    <a:lnTo>
                      <a:pt x="140970" y="51752"/>
                    </a:lnTo>
                    <a:lnTo>
                      <a:pt x="140970" y="46355"/>
                    </a:lnTo>
                    <a:cubicBezTo>
                      <a:pt x="140970" y="38735"/>
                      <a:pt x="138747" y="32702"/>
                      <a:pt x="134620" y="28257"/>
                    </a:cubicBezTo>
                    <a:cubicBezTo>
                      <a:pt x="130492" y="23813"/>
                      <a:pt x="124777" y="21590"/>
                      <a:pt x="117792" y="21590"/>
                    </a:cubicBezTo>
                    <a:cubicBezTo>
                      <a:pt x="113030" y="21590"/>
                      <a:pt x="108902" y="22542"/>
                      <a:pt x="105092" y="24765"/>
                    </a:cubicBezTo>
                    <a:moveTo>
                      <a:pt x="51752" y="23495"/>
                    </a:moveTo>
                    <a:cubicBezTo>
                      <a:pt x="48577" y="25082"/>
                      <a:pt x="46355" y="27305"/>
                      <a:pt x="44450" y="30163"/>
                    </a:cubicBezTo>
                    <a:lnTo>
                      <a:pt x="43497" y="30163"/>
                    </a:lnTo>
                    <a:cubicBezTo>
                      <a:pt x="40640" y="24130"/>
                      <a:pt x="35242" y="21272"/>
                      <a:pt x="26988" y="21272"/>
                    </a:cubicBezTo>
                    <a:cubicBezTo>
                      <a:pt x="23813" y="21272"/>
                      <a:pt x="20638" y="21907"/>
                      <a:pt x="17780" y="23177"/>
                    </a:cubicBezTo>
                    <a:cubicBezTo>
                      <a:pt x="14922" y="24447"/>
                      <a:pt x="12700" y="26670"/>
                      <a:pt x="10795" y="29527"/>
                    </a:cubicBezTo>
                    <a:lnTo>
                      <a:pt x="10160" y="29527"/>
                    </a:lnTo>
                    <a:lnTo>
                      <a:pt x="8572" y="22225"/>
                    </a:lnTo>
                    <a:lnTo>
                      <a:pt x="0" y="22225"/>
                    </a:lnTo>
                    <a:lnTo>
                      <a:pt x="0" y="76835"/>
                    </a:lnTo>
                    <a:lnTo>
                      <a:pt x="10795" y="76835"/>
                    </a:lnTo>
                    <a:lnTo>
                      <a:pt x="10795" y="49530"/>
                    </a:lnTo>
                    <a:cubicBezTo>
                      <a:pt x="10795" y="43180"/>
                      <a:pt x="11747" y="38417"/>
                      <a:pt x="13652" y="35242"/>
                    </a:cubicBezTo>
                    <a:cubicBezTo>
                      <a:pt x="15558" y="32067"/>
                      <a:pt x="19050" y="30163"/>
                      <a:pt x="24130" y="30163"/>
                    </a:cubicBezTo>
                    <a:cubicBezTo>
                      <a:pt x="31115" y="30163"/>
                      <a:pt x="34608" y="34290"/>
                      <a:pt x="34608" y="42863"/>
                    </a:cubicBezTo>
                    <a:lnTo>
                      <a:pt x="34608" y="77152"/>
                    </a:lnTo>
                    <a:lnTo>
                      <a:pt x="45402" y="77152"/>
                    </a:lnTo>
                    <a:lnTo>
                      <a:pt x="45402" y="47625"/>
                    </a:lnTo>
                    <a:cubicBezTo>
                      <a:pt x="45402" y="41910"/>
                      <a:pt x="46355" y="37782"/>
                      <a:pt x="48577" y="34607"/>
                    </a:cubicBezTo>
                    <a:cubicBezTo>
                      <a:pt x="50800" y="31432"/>
                      <a:pt x="54292" y="30163"/>
                      <a:pt x="59055" y="30163"/>
                    </a:cubicBezTo>
                    <a:cubicBezTo>
                      <a:pt x="66040" y="30163"/>
                      <a:pt x="69215" y="34290"/>
                      <a:pt x="69215" y="42863"/>
                    </a:cubicBezTo>
                    <a:lnTo>
                      <a:pt x="69215" y="77152"/>
                    </a:lnTo>
                    <a:lnTo>
                      <a:pt x="80010" y="77152"/>
                    </a:lnTo>
                    <a:lnTo>
                      <a:pt x="80010" y="41592"/>
                    </a:lnTo>
                    <a:cubicBezTo>
                      <a:pt x="80010" y="34607"/>
                      <a:pt x="78422" y="29527"/>
                      <a:pt x="75247" y="26352"/>
                    </a:cubicBezTo>
                    <a:cubicBezTo>
                      <a:pt x="72072" y="23177"/>
                      <a:pt x="67627" y="21590"/>
                      <a:pt x="61277" y="21590"/>
                    </a:cubicBezTo>
                    <a:cubicBezTo>
                      <a:pt x="58102" y="21590"/>
                      <a:pt x="54927" y="22225"/>
                      <a:pt x="51752" y="23495"/>
                    </a:cubicBezTo>
                  </a:path>
                </a:pathLst>
              </a:custGeom>
              <a:grpFill/>
              <a:ln w="3175" cap="flat">
                <a:noFill/>
                <a:prstDash val="solid"/>
                <a:miter/>
              </a:ln>
            </p:spPr>
            <p:txBody>
              <a:bodyPr rtlCol="0" anchor="ctr"/>
              <a:lstStyle/>
              <a:p>
                <a:endParaRPr lang="en-GB">
                  <a:solidFill>
                    <a:srgbClr val="000000"/>
                  </a:solidFill>
                  <a:latin typeface="Verdana"/>
                </a:endParaRPr>
              </a:p>
            </p:txBody>
          </p:sp>
          <p:sp>
            <p:nvSpPr>
              <p:cNvPr id="35" name="Freeform: Shape 34">
                <a:extLst>
                  <a:ext uri="{FF2B5EF4-FFF2-40B4-BE49-F238E27FC236}">
                    <a16:creationId xmlns:a16="http://schemas.microsoft.com/office/drawing/2014/main" id="{1CCE5AD7-F1CB-4B78-A154-F8FE36E71A1A}"/>
                  </a:ext>
                </a:extLst>
              </p:cNvPr>
              <p:cNvSpPr/>
              <p:nvPr/>
            </p:nvSpPr>
            <p:spPr>
              <a:xfrm>
                <a:off x="6091872" y="1913890"/>
                <a:ext cx="1263650" cy="101600"/>
              </a:xfrm>
              <a:custGeom>
                <a:avLst/>
                <a:gdLst>
                  <a:gd name="connsiteX0" fmla="*/ 1251268 w 1263650"/>
                  <a:gd name="connsiteY0" fmla="*/ 34290 h 101600"/>
                  <a:gd name="connsiteX1" fmla="*/ 1254443 w 1263650"/>
                  <a:gd name="connsiteY1" fmla="*/ 44768 h 101600"/>
                  <a:gd name="connsiteX2" fmla="*/ 1228725 w 1263650"/>
                  <a:gd name="connsiteY2" fmla="*/ 44768 h 101600"/>
                  <a:gd name="connsiteX3" fmla="*/ 1232853 w 1263650"/>
                  <a:gd name="connsiteY3" fmla="*/ 33973 h 101600"/>
                  <a:gd name="connsiteX4" fmla="*/ 1242060 w 1263650"/>
                  <a:gd name="connsiteY4" fmla="*/ 30163 h 101600"/>
                  <a:gd name="connsiteX5" fmla="*/ 1251268 w 1263650"/>
                  <a:gd name="connsiteY5" fmla="*/ 34290 h 101600"/>
                  <a:gd name="connsiteX6" fmla="*/ 1229043 w 1263650"/>
                  <a:gd name="connsiteY6" fmla="*/ 25400 h 101600"/>
                  <a:gd name="connsiteX7" fmla="*/ 1220471 w 1263650"/>
                  <a:gd name="connsiteY7" fmla="*/ 35243 h 101600"/>
                  <a:gd name="connsiteX8" fmla="*/ 1217296 w 1263650"/>
                  <a:gd name="connsiteY8" fmla="*/ 50800 h 101600"/>
                  <a:gd name="connsiteX9" fmla="*/ 1220788 w 1263650"/>
                  <a:gd name="connsiteY9" fmla="*/ 66358 h 101600"/>
                  <a:gd name="connsiteX10" fmla="*/ 1230313 w 1263650"/>
                  <a:gd name="connsiteY10" fmla="*/ 75565 h 101600"/>
                  <a:gd name="connsiteX11" fmla="*/ 1244283 w 1263650"/>
                  <a:gd name="connsiteY11" fmla="*/ 78740 h 101600"/>
                  <a:gd name="connsiteX12" fmla="*/ 1254125 w 1263650"/>
                  <a:gd name="connsiteY12" fmla="*/ 77788 h 101600"/>
                  <a:gd name="connsiteX13" fmla="*/ 1262380 w 1263650"/>
                  <a:gd name="connsiteY13" fmla="*/ 74930 h 101600"/>
                  <a:gd name="connsiteX14" fmla="*/ 1262380 w 1263650"/>
                  <a:gd name="connsiteY14" fmla="*/ 66040 h 101600"/>
                  <a:gd name="connsiteX15" fmla="*/ 1253808 w 1263650"/>
                  <a:gd name="connsiteY15" fmla="*/ 68898 h 101600"/>
                  <a:gd name="connsiteX16" fmla="*/ 1244283 w 1263650"/>
                  <a:gd name="connsiteY16" fmla="*/ 69850 h 101600"/>
                  <a:gd name="connsiteX17" fmla="*/ 1232535 w 1263650"/>
                  <a:gd name="connsiteY17" fmla="*/ 65405 h 101600"/>
                  <a:gd name="connsiteX18" fmla="*/ 1228090 w 1263650"/>
                  <a:gd name="connsiteY18" fmla="*/ 52388 h 101600"/>
                  <a:gd name="connsiteX19" fmla="*/ 1264921 w 1263650"/>
                  <a:gd name="connsiteY19" fmla="*/ 52388 h 101600"/>
                  <a:gd name="connsiteX20" fmla="*/ 1264921 w 1263650"/>
                  <a:gd name="connsiteY20" fmla="*/ 46355 h 101600"/>
                  <a:gd name="connsiteX21" fmla="*/ 1258571 w 1263650"/>
                  <a:gd name="connsiteY21" fmla="*/ 28258 h 101600"/>
                  <a:gd name="connsiteX22" fmla="*/ 1241743 w 1263650"/>
                  <a:gd name="connsiteY22" fmla="*/ 21590 h 101600"/>
                  <a:gd name="connsiteX23" fmla="*/ 1229043 w 1263650"/>
                  <a:gd name="connsiteY23" fmla="*/ 25400 h 101600"/>
                  <a:gd name="connsiteX24" fmla="*/ 1191260 w 1263650"/>
                  <a:gd name="connsiteY24" fmla="*/ 77788 h 101600"/>
                  <a:gd name="connsiteX25" fmla="*/ 1212215 w 1263650"/>
                  <a:gd name="connsiteY25" fmla="*/ 23177 h 101600"/>
                  <a:gd name="connsiteX26" fmla="*/ 1200785 w 1263650"/>
                  <a:gd name="connsiteY26" fmla="*/ 23177 h 101600"/>
                  <a:gd name="connsiteX27" fmla="*/ 1189355 w 1263650"/>
                  <a:gd name="connsiteY27" fmla="*/ 55245 h 101600"/>
                  <a:gd name="connsiteX28" fmla="*/ 1187133 w 1263650"/>
                  <a:gd name="connsiteY28" fmla="*/ 62230 h 101600"/>
                  <a:gd name="connsiteX29" fmla="*/ 1185546 w 1263650"/>
                  <a:gd name="connsiteY29" fmla="*/ 68580 h 101600"/>
                  <a:gd name="connsiteX30" fmla="*/ 1185228 w 1263650"/>
                  <a:gd name="connsiteY30" fmla="*/ 68580 h 101600"/>
                  <a:gd name="connsiteX31" fmla="*/ 1183640 w 1263650"/>
                  <a:gd name="connsiteY31" fmla="*/ 62230 h 101600"/>
                  <a:gd name="connsiteX32" fmla="*/ 1181418 w 1263650"/>
                  <a:gd name="connsiteY32" fmla="*/ 55245 h 101600"/>
                  <a:gd name="connsiteX33" fmla="*/ 1169988 w 1263650"/>
                  <a:gd name="connsiteY33" fmla="*/ 23177 h 101600"/>
                  <a:gd name="connsiteX34" fmla="*/ 1158558 w 1263650"/>
                  <a:gd name="connsiteY34" fmla="*/ 23177 h 101600"/>
                  <a:gd name="connsiteX35" fmla="*/ 1179196 w 1263650"/>
                  <a:gd name="connsiteY35" fmla="*/ 77788 h 101600"/>
                  <a:gd name="connsiteX36" fmla="*/ 1191260 w 1263650"/>
                  <a:gd name="connsiteY36" fmla="*/ 77788 h 101600"/>
                  <a:gd name="connsiteX37" fmla="*/ 1139508 w 1263650"/>
                  <a:gd name="connsiteY37" fmla="*/ 77788 h 101600"/>
                  <a:gd name="connsiteX38" fmla="*/ 1150303 w 1263650"/>
                  <a:gd name="connsiteY38" fmla="*/ 77788 h 101600"/>
                  <a:gd name="connsiteX39" fmla="*/ 1150303 w 1263650"/>
                  <a:gd name="connsiteY39" fmla="*/ 23177 h 101600"/>
                  <a:gd name="connsiteX40" fmla="*/ 1139508 w 1263650"/>
                  <a:gd name="connsiteY40" fmla="*/ 23177 h 101600"/>
                  <a:gd name="connsiteX41" fmla="*/ 1139508 w 1263650"/>
                  <a:gd name="connsiteY41" fmla="*/ 77788 h 101600"/>
                  <a:gd name="connsiteX42" fmla="*/ 1140460 w 1263650"/>
                  <a:gd name="connsiteY42" fmla="*/ 3810 h 101600"/>
                  <a:gd name="connsiteX43" fmla="*/ 1138555 w 1263650"/>
                  <a:gd name="connsiteY43" fmla="*/ 8573 h 101600"/>
                  <a:gd name="connsiteX44" fmla="*/ 1140460 w 1263650"/>
                  <a:gd name="connsiteY44" fmla="*/ 13335 h 101600"/>
                  <a:gd name="connsiteX45" fmla="*/ 1144905 w 1263650"/>
                  <a:gd name="connsiteY45" fmla="*/ 14923 h 101600"/>
                  <a:gd name="connsiteX46" fmla="*/ 1149033 w 1263650"/>
                  <a:gd name="connsiteY46" fmla="*/ 13335 h 101600"/>
                  <a:gd name="connsiteX47" fmla="*/ 1150938 w 1263650"/>
                  <a:gd name="connsiteY47" fmla="*/ 8573 h 101600"/>
                  <a:gd name="connsiteX48" fmla="*/ 1149033 w 1263650"/>
                  <a:gd name="connsiteY48" fmla="*/ 3810 h 101600"/>
                  <a:gd name="connsiteX49" fmla="*/ 1144905 w 1263650"/>
                  <a:gd name="connsiteY49" fmla="*/ 2540 h 101600"/>
                  <a:gd name="connsiteX50" fmla="*/ 1140460 w 1263650"/>
                  <a:gd name="connsiteY50" fmla="*/ 3810 h 101600"/>
                  <a:gd name="connsiteX51" fmla="*/ 1114425 w 1263650"/>
                  <a:gd name="connsiteY51" fmla="*/ 67945 h 101600"/>
                  <a:gd name="connsiteX52" fmla="*/ 1112203 w 1263650"/>
                  <a:gd name="connsiteY52" fmla="*/ 61277 h 101600"/>
                  <a:gd name="connsiteX53" fmla="*/ 1112203 w 1263650"/>
                  <a:gd name="connsiteY53" fmla="*/ 31115 h 101600"/>
                  <a:gd name="connsiteX54" fmla="*/ 1127760 w 1263650"/>
                  <a:gd name="connsiteY54" fmla="*/ 31115 h 101600"/>
                  <a:gd name="connsiteX55" fmla="*/ 1127760 w 1263650"/>
                  <a:gd name="connsiteY55" fmla="*/ 22860 h 101600"/>
                  <a:gd name="connsiteX56" fmla="*/ 1112203 w 1263650"/>
                  <a:gd name="connsiteY56" fmla="*/ 22860 h 101600"/>
                  <a:gd name="connsiteX57" fmla="*/ 1112203 w 1263650"/>
                  <a:gd name="connsiteY57" fmla="*/ 10477 h 101600"/>
                  <a:gd name="connsiteX58" fmla="*/ 1105535 w 1263650"/>
                  <a:gd name="connsiteY58" fmla="*/ 10477 h 101600"/>
                  <a:gd name="connsiteX59" fmla="*/ 1101725 w 1263650"/>
                  <a:gd name="connsiteY59" fmla="*/ 21908 h 101600"/>
                  <a:gd name="connsiteX60" fmla="*/ 1093788 w 1263650"/>
                  <a:gd name="connsiteY60" fmla="*/ 26035 h 101600"/>
                  <a:gd name="connsiteX61" fmla="*/ 1093788 w 1263650"/>
                  <a:gd name="connsiteY61" fmla="*/ 30798 h 101600"/>
                  <a:gd name="connsiteX62" fmla="*/ 1101408 w 1263650"/>
                  <a:gd name="connsiteY62" fmla="*/ 30798 h 101600"/>
                  <a:gd name="connsiteX63" fmla="*/ 1101408 w 1263650"/>
                  <a:gd name="connsiteY63" fmla="*/ 60960 h 101600"/>
                  <a:gd name="connsiteX64" fmla="*/ 1103630 w 1263650"/>
                  <a:gd name="connsiteY64" fmla="*/ 71438 h 101600"/>
                  <a:gd name="connsiteX65" fmla="*/ 1109663 w 1263650"/>
                  <a:gd name="connsiteY65" fmla="*/ 76835 h 101600"/>
                  <a:gd name="connsiteX66" fmla="*/ 1117918 w 1263650"/>
                  <a:gd name="connsiteY66" fmla="*/ 78423 h 101600"/>
                  <a:gd name="connsiteX67" fmla="*/ 1123950 w 1263650"/>
                  <a:gd name="connsiteY67" fmla="*/ 77788 h 101600"/>
                  <a:gd name="connsiteX68" fmla="*/ 1128713 w 1263650"/>
                  <a:gd name="connsiteY68" fmla="*/ 76518 h 101600"/>
                  <a:gd name="connsiteX69" fmla="*/ 1128713 w 1263650"/>
                  <a:gd name="connsiteY69" fmla="*/ 68263 h 101600"/>
                  <a:gd name="connsiteX70" fmla="*/ 1120458 w 1263650"/>
                  <a:gd name="connsiteY70" fmla="*/ 69533 h 101600"/>
                  <a:gd name="connsiteX71" fmla="*/ 1114425 w 1263650"/>
                  <a:gd name="connsiteY71" fmla="*/ 67945 h 101600"/>
                  <a:gd name="connsiteX72" fmla="*/ 1073150 w 1263650"/>
                  <a:gd name="connsiteY72" fmla="*/ 56198 h 101600"/>
                  <a:gd name="connsiteX73" fmla="*/ 1069022 w 1263650"/>
                  <a:gd name="connsiteY73" fmla="*/ 66993 h 101600"/>
                  <a:gd name="connsiteX74" fmla="*/ 1058546 w 1263650"/>
                  <a:gd name="connsiteY74" fmla="*/ 70485 h 101600"/>
                  <a:gd name="connsiteX75" fmla="*/ 1051878 w 1263650"/>
                  <a:gd name="connsiteY75" fmla="*/ 68580 h 101600"/>
                  <a:gd name="connsiteX76" fmla="*/ 1049338 w 1263650"/>
                  <a:gd name="connsiteY76" fmla="*/ 62230 h 101600"/>
                  <a:gd name="connsiteX77" fmla="*/ 1052830 w 1263650"/>
                  <a:gd name="connsiteY77" fmla="*/ 54610 h 101600"/>
                  <a:gd name="connsiteX78" fmla="*/ 1065847 w 1263650"/>
                  <a:gd name="connsiteY78" fmla="*/ 51435 h 101600"/>
                  <a:gd name="connsiteX79" fmla="*/ 1073150 w 1263650"/>
                  <a:gd name="connsiteY79" fmla="*/ 51118 h 101600"/>
                  <a:gd name="connsiteX80" fmla="*/ 1073150 w 1263650"/>
                  <a:gd name="connsiteY80" fmla="*/ 56198 h 101600"/>
                  <a:gd name="connsiteX81" fmla="*/ 1052830 w 1263650"/>
                  <a:gd name="connsiteY81" fmla="*/ 23495 h 101600"/>
                  <a:gd name="connsiteX82" fmla="*/ 1043940 w 1263650"/>
                  <a:gd name="connsiteY82" fmla="*/ 26988 h 101600"/>
                  <a:gd name="connsiteX83" fmla="*/ 1047433 w 1263650"/>
                  <a:gd name="connsiteY83" fmla="*/ 34925 h 101600"/>
                  <a:gd name="connsiteX84" fmla="*/ 1054735 w 1263650"/>
                  <a:gd name="connsiteY84" fmla="*/ 32068 h 101600"/>
                  <a:gd name="connsiteX85" fmla="*/ 1062672 w 1263650"/>
                  <a:gd name="connsiteY85" fmla="*/ 30798 h 101600"/>
                  <a:gd name="connsiteX86" fmla="*/ 1070293 w 1263650"/>
                  <a:gd name="connsiteY86" fmla="*/ 33338 h 101600"/>
                  <a:gd name="connsiteX87" fmla="*/ 1073150 w 1263650"/>
                  <a:gd name="connsiteY87" fmla="*/ 41910 h 101600"/>
                  <a:gd name="connsiteX88" fmla="*/ 1073150 w 1263650"/>
                  <a:gd name="connsiteY88" fmla="*/ 45085 h 101600"/>
                  <a:gd name="connsiteX89" fmla="*/ 1063943 w 1263650"/>
                  <a:gd name="connsiteY89" fmla="*/ 45402 h 101600"/>
                  <a:gd name="connsiteX90" fmla="*/ 1044575 w 1263650"/>
                  <a:gd name="connsiteY90" fmla="*/ 50165 h 101600"/>
                  <a:gd name="connsiteX91" fmla="*/ 1038225 w 1263650"/>
                  <a:gd name="connsiteY91" fmla="*/ 62865 h 101600"/>
                  <a:gd name="connsiteX92" fmla="*/ 1042988 w 1263650"/>
                  <a:gd name="connsiteY92" fmla="*/ 75565 h 101600"/>
                  <a:gd name="connsiteX93" fmla="*/ 1055371 w 1263650"/>
                  <a:gd name="connsiteY93" fmla="*/ 79693 h 101600"/>
                  <a:gd name="connsiteX94" fmla="*/ 1066165 w 1263650"/>
                  <a:gd name="connsiteY94" fmla="*/ 77470 h 101600"/>
                  <a:gd name="connsiteX95" fmla="*/ 1073785 w 1263650"/>
                  <a:gd name="connsiteY95" fmla="*/ 70802 h 101600"/>
                  <a:gd name="connsiteX96" fmla="*/ 1074103 w 1263650"/>
                  <a:gd name="connsiteY96" fmla="*/ 70802 h 101600"/>
                  <a:gd name="connsiteX97" fmla="*/ 1076325 w 1263650"/>
                  <a:gd name="connsiteY97" fmla="*/ 78423 h 101600"/>
                  <a:gd name="connsiteX98" fmla="*/ 1083946 w 1263650"/>
                  <a:gd name="connsiteY98" fmla="*/ 78423 h 101600"/>
                  <a:gd name="connsiteX99" fmla="*/ 1083946 w 1263650"/>
                  <a:gd name="connsiteY99" fmla="*/ 41275 h 101600"/>
                  <a:gd name="connsiteX100" fmla="*/ 1078865 w 1263650"/>
                  <a:gd name="connsiteY100" fmla="*/ 26988 h 101600"/>
                  <a:gd name="connsiteX101" fmla="*/ 1063625 w 1263650"/>
                  <a:gd name="connsiteY101" fmla="*/ 22543 h 101600"/>
                  <a:gd name="connsiteX102" fmla="*/ 1052830 w 1263650"/>
                  <a:gd name="connsiteY102" fmla="*/ 23495 h 101600"/>
                  <a:gd name="connsiteX103" fmla="*/ 1012825 w 1263650"/>
                  <a:gd name="connsiteY103" fmla="*/ 77788 h 101600"/>
                  <a:gd name="connsiteX104" fmla="*/ 1033780 w 1263650"/>
                  <a:gd name="connsiteY104" fmla="*/ 23177 h 101600"/>
                  <a:gd name="connsiteX105" fmla="*/ 1022350 w 1263650"/>
                  <a:gd name="connsiteY105" fmla="*/ 23177 h 101600"/>
                  <a:gd name="connsiteX106" fmla="*/ 1010920 w 1263650"/>
                  <a:gd name="connsiteY106" fmla="*/ 55245 h 101600"/>
                  <a:gd name="connsiteX107" fmla="*/ 1008697 w 1263650"/>
                  <a:gd name="connsiteY107" fmla="*/ 62230 h 101600"/>
                  <a:gd name="connsiteX108" fmla="*/ 1007110 w 1263650"/>
                  <a:gd name="connsiteY108" fmla="*/ 68580 h 101600"/>
                  <a:gd name="connsiteX109" fmla="*/ 1006793 w 1263650"/>
                  <a:gd name="connsiteY109" fmla="*/ 68580 h 101600"/>
                  <a:gd name="connsiteX110" fmla="*/ 1005205 w 1263650"/>
                  <a:gd name="connsiteY110" fmla="*/ 62230 h 101600"/>
                  <a:gd name="connsiteX111" fmla="*/ 1002983 w 1263650"/>
                  <a:gd name="connsiteY111" fmla="*/ 55245 h 101600"/>
                  <a:gd name="connsiteX112" fmla="*/ 991553 w 1263650"/>
                  <a:gd name="connsiteY112" fmla="*/ 23177 h 101600"/>
                  <a:gd name="connsiteX113" fmla="*/ 980122 w 1263650"/>
                  <a:gd name="connsiteY113" fmla="*/ 23177 h 101600"/>
                  <a:gd name="connsiteX114" fmla="*/ 1000760 w 1263650"/>
                  <a:gd name="connsiteY114" fmla="*/ 77788 h 101600"/>
                  <a:gd name="connsiteX115" fmla="*/ 1012825 w 1263650"/>
                  <a:gd name="connsiteY115" fmla="*/ 77788 h 101600"/>
                  <a:gd name="connsiteX116" fmla="*/ 940435 w 1263650"/>
                  <a:gd name="connsiteY116" fmla="*/ 36195 h 101600"/>
                  <a:gd name="connsiteX117" fmla="*/ 951547 w 1263650"/>
                  <a:gd name="connsiteY117" fmla="*/ 31115 h 101600"/>
                  <a:gd name="connsiteX118" fmla="*/ 962660 w 1263650"/>
                  <a:gd name="connsiteY118" fmla="*/ 36195 h 101600"/>
                  <a:gd name="connsiteX119" fmla="*/ 966153 w 1263650"/>
                  <a:gd name="connsiteY119" fmla="*/ 50483 h 101600"/>
                  <a:gd name="connsiteX120" fmla="*/ 962660 w 1263650"/>
                  <a:gd name="connsiteY120" fmla="*/ 64770 h 101600"/>
                  <a:gd name="connsiteX121" fmla="*/ 951547 w 1263650"/>
                  <a:gd name="connsiteY121" fmla="*/ 69850 h 101600"/>
                  <a:gd name="connsiteX122" fmla="*/ 940435 w 1263650"/>
                  <a:gd name="connsiteY122" fmla="*/ 64770 h 101600"/>
                  <a:gd name="connsiteX123" fmla="*/ 936943 w 1263650"/>
                  <a:gd name="connsiteY123" fmla="*/ 50483 h 101600"/>
                  <a:gd name="connsiteX124" fmla="*/ 940435 w 1263650"/>
                  <a:gd name="connsiteY124" fmla="*/ 36195 h 101600"/>
                  <a:gd name="connsiteX125" fmla="*/ 973772 w 1263650"/>
                  <a:gd name="connsiteY125" fmla="*/ 34925 h 101600"/>
                  <a:gd name="connsiteX126" fmla="*/ 964883 w 1263650"/>
                  <a:gd name="connsiteY126" fmla="*/ 25400 h 101600"/>
                  <a:gd name="connsiteX127" fmla="*/ 951547 w 1263650"/>
                  <a:gd name="connsiteY127" fmla="*/ 22225 h 101600"/>
                  <a:gd name="connsiteX128" fmla="*/ 932497 w 1263650"/>
                  <a:gd name="connsiteY128" fmla="*/ 29527 h 101600"/>
                  <a:gd name="connsiteX129" fmla="*/ 925513 w 1263650"/>
                  <a:gd name="connsiteY129" fmla="*/ 50483 h 101600"/>
                  <a:gd name="connsiteX130" fmla="*/ 928688 w 1263650"/>
                  <a:gd name="connsiteY130" fmla="*/ 66040 h 101600"/>
                  <a:gd name="connsiteX131" fmla="*/ 937578 w 1263650"/>
                  <a:gd name="connsiteY131" fmla="*/ 75565 h 101600"/>
                  <a:gd name="connsiteX132" fmla="*/ 950595 w 1263650"/>
                  <a:gd name="connsiteY132" fmla="*/ 78740 h 101600"/>
                  <a:gd name="connsiteX133" fmla="*/ 969645 w 1263650"/>
                  <a:gd name="connsiteY133" fmla="*/ 71438 h 101600"/>
                  <a:gd name="connsiteX134" fmla="*/ 976630 w 1263650"/>
                  <a:gd name="connsiteY134" fmla="*/ 50483 h 101600"/>
                  <a:gd name="connsiteX135" fmla="*/ 973772 w 1263650"/>
                  <a:gd name="connsiteY135" fmla="*/ 34925 h 101600"/>
                  <a:gd name="connsiteX136" fmla="*/ 882968 w 1263650"/>
                  <a:gd name="connsiteY136" fmla="*/ 24130 h 101600"/>
                  <a:gd name="connsiteX137" fmla="*/ 875665 w 1263650"/>
                  <a:gd name="connsiteY137" fmla="*/ 30480 h 101600"/>
                  <a:gd name="connsiteX138" fmla="*/ 875030 w 1263650"/>
                  <a:gd name="connsiteY138" fmla="*/ 30480 h 101600"/>
                  <a:gd name="connsiteX139" fmla="*/ 873443 w 1263650"/>
                  <a:gd name="connsiteY139" fmla="*/ 23177 h 101600"/>
                  <a:gd name="connsiteX140" fmla="*/ 864870 w 1263650"/>
                  <a:gd name="connsiteY140" fmla="*/ 23177 h 101600"/>
                  <a:gd name="connsiteX141" fmla="*/ 864870 w 1263650"/>
                  <a:gd name="connsiteY141" fmla="*/ 77788 h 101600"/>
                  <a:gd name="connsiteX142" fmla="*/ 875665 w 1263650"/>
                  <a:gd name="connsiteY142" fmla="*/ 77788 h 101600"/>
                  <a:gd name="connsiteX143" fmla="*/ 875665 w 1263650"/>
                  <a:gd name="connsiteY143" fmla="*/ 50165 h 101600"/>
                  <a:gd name="connsiteX144" fmla="*/ 878840 w 1263650"/>
                  <a:gd name="connsiteY144" fmla="*/ 35877 h 101600"/>
                  <a:gd name="connsiteX145" fmla="*/ 890270 w 1263650"/>
                  <a:gd name="connsiteY145" fmla="*/ 30798 h 101600"/>
                  <a:gd name="connsiteX146" fmla="*/ 901700 w 1263650"/>
                  <a:gd name="connsiteY146" fmla="*/ 43498 h 101600"/>
                  <a:gd name="connsiteX147" fmla="*/ 901700 w 1263650"/>
                  <a:gd name="connsiteY147" fmla="*/ 77788 h 101600"/>
                  <a:gd name="connsiteX148" fmla="*/ 912495 w 1263650"/>
                  <a:gd name="connsiteY148" fmla="*/ 77788 h 101600"/>
                  <a:gd name="connsiteX149" fmla="*/ 912495 w 1263650"/>
                  <a:gd name="connsiteY149" fmla="*/ 42227 h 101600"/>
                  <a:gd name="connsiteX150" fmla="*/ 907415 w 1263650"/>
                  <a:gd name="connsiteY150" fmla="*/ 26988 h 101600"/>
                  <a:gd name="connsiteX151" fmla="*/ 892810 w 1263650"/>
                  <a:gd name="connsiteY151" fmla="*/ 22225 h 101600"/>
                  <a:gd name="connsiteX152" fmla="*/ 882968 w 1263650"/>
                  <a:gd name="connsiteY152" fmla="*/ 24130 h 101600"/>
                  <a:gd name="connsiteX153" fmla="*/ 818833 w 1263650"/>
                  <a:gd name="connsiteY153" fmla="*/ 24130 h 101600"/>
                  <a:gd name="connsiteX154" fmla="*/ 811530 w 1263650"/>
                  <a:gd name="connsiteY154" fmla="*/ 30480 h 101600"/>
                  <a:gd name="connsiteX155" fmla="*/ 810895 w 1263650"/>
                  <a:gd name="connsiteY155" fmla="*/ 30480 h 101600"/>
                  <a:gd name="connsiteX156" fmla="*/ 809308 w 1263650"/>
                  <a:gd name="connsiteY156" fmla="*/ 23177 h 101600"/>
                  <a:gd name="connsiteX157" fmla="*/ 800735 w 1263650"/>
                  <a:gd name="connsiteY157" fmla="*/ 23177 h 101600"/>
                  <a:gd name="connsiteX158" fmla="*/ 800735 w 1263650"/>
                  <a:gd name="connsiteY158" fmla="*/ 77788 h 101600"/>
                  <a:gd name="connsiteX159" fmla="*/ 811530 w 1263650"/>
                  <a:gd name="connsiteY159" fmla="*/ 77788 h 101600"/>
                  <a:gd name="connsiteX160" fmla="*/ 811530 w 1263650"/>
                  <a:gd name="connsiteY160" fmla="*/ 50165 h 101600"/>
                  <a:gd name="connsiteX161" fmla="*/ 814705 w 1263650"/>
                  <a:gd name="connsiteY161" fmla="*/ 35877 h 101600"/>
                  <a:gd name="connsiteX162" fmla="*/ 826135 w 1263650"/>
                  <a:gd name="connsiteY162" fmla="*/ 30798 h 101600"/>
                  <a:gd name="connsiteX163" fmla="*/ 837565 w 1263650"/>
                  <a:gd name="connsiteY163" fmla="*/ 43498 h 101600"/>
                  <a:gd name="connsiteX164" fmla="*/ 837565 w 1263650"/>
                  <a:gd name="connsiteY164" fmla="*/ 77788 h 101600"/>
                  <a:gd name="connsiteX165" fmla="*/ 848360 w 1263650"/>
                  <a:gd name="connsiteY165" fmla="*/ 77788 h 101600"/>
                  <a:gd name="connsiteX166" fmla="*/ 848360 w 1263650"/>
                  <a:gd name="connsiteY166" fmla="*/ 42227 h 101600"/>
                  <a:gd name="connsiteX167" fmla="*/ 843280 w 1263650"/>
                  <a:gd name="connsiteY167" fmla="*/ 26988 h 101600"/>
                  <a:gd name="connsiteX168" fmla="*/ 828675 w 1263650"/>
                  <a:gd name="connsiteY168" fmla="*/ 22225 h 101600"/>
                  <a:gd name="connsiteX169" fmla="*/ 818833 w 1263650"/>
                  <a:gd name="connsiteY169" fmla="*/ 24130 h 101600"/>
                  <a:gd name="connsiteX170" fmla="*/ 773113 w 1263650"/>
                  <a:gd name="connsiteY170" fmla="*/ 77788 h 101600"/>
                  <a:gd name="connsiteX171" fmla="*/ 783908 w 1263650"/>
                  <a:gd name="connsiteY171" fmla="*/ 77788 h 101600"/>
                  <a:gd name="connsiteX172" fmla="*/ 783908 w 1263650"/>
                  <a:gd name="connsiteY172" fmla="*/ 23177 h 101600"/>
                  <a:gd name="connsiteX173" fmla="*/ 773113 w 1263650"/>
                  <a:gd name="connsiteY173" fmla="*/ 23177 h 101600"/>
                  <a:gd name="connsiteX174" fmla="*/ 773113 w 1263650"/>
                  <a:gd name="connsiteY174" fmla="*/ 77788 h 101600"/>
                  <a:gd name="connsiteX175" fmla="*/ 774383 w 1263650"/>
                  <a:gd name="connsiteY175" fmla="*/ 3810 h 101600"/>
                  <a:gd name="connsiteX176" fmla="*/ 772478 w 1263650"/>
                  <a:gd name="connsiteY176" fmla="*/ 8573 h 101600"/>
                  <a:gd name="connsiteX177" fmla="*/ 774383 w 1263650"/>
                  <a:gd name="connsiteY177" fmla="*/ 13335 h 101600"/>
                  <a:gd name="connsiteX178" fmla="*/ 778828 w 1263650"/>
                  <a:gd name="connsiteY178" fmla="*/ 14923 h 101600"/>
                  <a:gd name="connsiteX179" fmla="*/ 782955 w 1263650"/>
                  <a:gd name="connsiteY179" fmla="*/ 13335 h 101600"/>
                  <a:gd name="connsiteX180" fmla="*/ 784860 w 1263650"/>
                  <a:gd name="connsiteY180" fmla="*/ 8573 h 101600"/>
                  <a:gd name="connsiteX181" fmla="*/ 782955 w 1263650"/>
                  <a:gd name="connsiteY181" fmla="*/ 3810 h 101600"/>
                  <a:gd name="connsiteX182" fmla="*/ 778828 w 1263650"/>
                  <a:gd name="connsiteY182" fmla="*/ 2540 h 101600"/>
                  <a:gd name="connsiteX183" fmla="*/ 774383 w 1263650"/>
                  <a:gd name="connsiteY183" fmla="*/ 3810 h 101600"/>
                  <a:gd name="connsiteX184" fmla="*/ 716280 w 1263650"/>
                  <a:gd name="connsiteY184" fmla="*/ 35560 h 101600"/>
                  <a:gd name="connsiteX185" fmla="*/ 719772 w 1263650"/>
                  <a:gd name="connsiteY185" fmla="*/ 50800 h 101600"/>
                  <a:gd name="connsiteX186" fmla="*/ 719772 w 1263650"/>
                  <a:gd name="connsiteY186" fmla="*/ 52705 h 101600"/>
                  <a:gd name="connsiteX187" fmla="*/ 716280 w 1263650"/>
                  <a:gd name="connsiteY187" fmla="*/ 66040 h 101600"/>
                  <a:gd name="connsiteX188" fmla="*/ 705168 w 1263650"/>
                  <a:gd name="connsiteY188" fmla="*/ 70168 h 101600"/>
                  <a:gd name="connsiteX189" fmla="*/ 695008 w 1263650"/>
                  <a:gd name="connsiteY189" fmla="*/ 65088 h 101600"/>
                  <a:gd name="connsiteX190" fmla="*/ 691515 w 1263650"/>
                  <a:gd name="connsiteY190" fmla="*/ 50483 h 101600"/>
                  <a:gd name="connsiteX191" fmla="*/ 695008 w 1263650"/>
                  <a:gd name="connsiteY191" fmla="*/ 35877 h 101600"/>
                  <a:gd name="connsiteX192" fmla="*/ 704850 w 1263650"/>
                  <a:gd name="connsiteY192" fmla="*/ 30798 h 101600"/>
                  <a:gd name="connsiteX193" fmla="*/ 716280 w 1263650"/>
                  <a:gd name="connsiteY193" fmla="*/ 35560 h 101600"/>
                  <a:gd name="connsiteX194" fmla="*/ 686435 w 1263650"/>
                  <a:gd name="connsiteY194" fmla="*/ 29845 h 101600"/>
                  <a:gd name="connsiteX195" fmla="*/ 680720 w 1263650"/>
                  <a:gd name="connsiteY195" fmla="*/ 50800 h 101600"/>
                  <a:gd name="connsiteX196" fmla="*/ 686435 w 1263650"/>
                  <a:gd name="connsiteY196" fmla="*/ 71438 h 101600"/>
                  <a:gd name="connsiteX197" fmla="*/ 702628 w 1263650"/>
                  <a:gd name="connsiteY197" fmla="*/ 79058 h 101600"/>
                  <a:gd name="connsiteX198" fmla="*/ 712153 w 1263650"/>
                  <a:gd name="connsiteY198" fmla="*/ 77152 h 101600"/>
                  <a:gd name="connsiteX199" fmla="*/ 719138 w 1263650"/>
                  <a:gd name="connsiteY199" fmla="*/ 70802 h 101600"/>
                  <a:gd name="connsiteX200" fmla="*/ 719455 w 1263650"/>
                  <a:gd name="connsiteY200" fmla="*/ 70802 h 101600"/>
                  <a:gd name="connsiteX201" fmla="*/ 719138 w 1263650"/>
                  <a:gd name="connsiteY201" fmla="*/ 73977 h 101600"/>
                  <a:gd name="connsiteX202" fmla="*/ 719138 w 1263650"/>
                  <a:gd name="connsiteY202" fmla="*/ 77470 h 101600"/>
                  <a:gd name="connsiteX203" fmla="*/ 719138 w 1263650"/>
                  <a:gd name="connsiteY203" fmla="*/ 79375 h 101600"/>
                  <a:gd name="connsiteX204" fmla="*/ 715328 w 1263650"/>
                  <a:gd name="connsiteY204" fmla="*/ 90170 h 101600"/>
                  <a:gd name="connsiteX205" fmla="*/ 705168 w 1263650"/>
                  <a:gd name="connsiteY205" fmla="*/ 93980 h 101600"/>
                  <a:gd name="connsiteX206" fmla="*/ 694055 w 1263650"/>
                  <a:gd name="connsiteY206" fmla="*/ 93027 h 101600"/>
                  <a:gd name="connsiteX207" fmla="*/ 684530 w 1263650"/>
                  <a:gd name="connsiteY207" fmla="*/ 89852 h 101600"/>
                  <a:gd name="connsiteX208" fmla="*/ 684530 w 1263650"/>
                  <a:gd name="connsiteY208" fmla="*/ 99377 h 101600"/>
                  <a:gd name="connsiteX209" fmla="*/ 693738 w 1263650"/>
                  <a:gd name="connsiteY209" fmla="*/ 101918 h 101600"/>
                  <a:gd name="connsiteX210" fmla="*/ 704533 w 1263650"/>
                  <a:gd name="connsiteY210" fmla="*/ 102870 h 101600"/>
                  <a:gd name="connsiteX211" fmla="*/ 729933 w 1263650"/>
                  <a:gd name="connsiteY211" fmla="*/ 79058 h 101600"/>
                  <a:gd name="connsiteX212" fmla="*/ 729933 w 1263650"/>
                  <a:gd name="connsiteY212" fmla="*/ 23495 h 101600"/>
                  <a:gd name="connsiteX213" fmla="*/ 721043 w 1263650"/>
                  <a:gd name="connsiteY213" fmla="*/ 23495 h 101600"/>
                  <a:gd name="connsiteX214" fmla="*/ 719772 w 1263650"/>
                  <a:gd name="connsiteY214" fmla="*/ 30798 h 101600"/>
                  <a:gd name="connsiteX215" fmla="*/ 719138 w 1263650"/>
                  <a:gd name="connsiteY215" fmla="*/ 30798 h 101600"/>
                  <a:gd name="connsiteX216" fmla="*/ 711835 w 1263650"/>
                  <a:gd name="connsiteY216" fmla="*/ 24448 h 101600"/>
                  <a:gd name="connsiteX217" fmla="*/ 702310 w 1263650"/>
                  <a:gd name="connsiteY217" fmla="*/ 22543 h 101600"/>
                  <a:gd name="connsiteX218" fmla="*/ 686435 w 1263650"/>
                  <a:gd name="connsiteY218" fmla="*/ 29845 h 101600"/>
                  <a:gd name="connsiteX219" fmla="*/ 637858 w 1263650"/>
                  <a:gd name="connsiteY219" fmla="*/ 24130 h 101600"/>
                  <a:gd name="connsiteX220" fmla="*/ 630555 w 1263650"/>
                  <a:gd name="connsiteY220" fmla="*/ 30480 h 101600"/>
                  <a:gd name="connsiteX221" fmla="*/ 629920 w 1263650"/>
                  <a:gd name="connsiteY221" fmla="*/ 30480 h 101600"/>
                  <a:gd name="connsiteX222" fmla="*/ 628333 w 1263650"/>
                  <a:gd name="connsiteY222" fmla="*/ 23177 h 101600"/>
                  <a:gd name="connsiteX223" fmla="*/ 619760 w 1263650"/>
                  <a:gd name="connsiteY223" fmla="*/ 23177 h 101600"/>
                  <a:gd name="connsiteX224" fmla="*/ 619760 w 1263650"/>
                  <a:gd name="connsiteY224" fmla="*/ 77788 h 101600"/>
                  <a:gd name="connsiteX225" fmla="*/ 630555 w 1263650"/>
                  <a:gd name="connsiteY225" fmla="*/ 77788 h 101600"/>
                  <a:gd name="connsiteX226" fmla="*/ 630555 w 1263650"/>
                  <a:gd name="connsiteY226" fmla="*/ 50165 h 101600"/>
                  <a:gd name="connsiteX227" fmla="*/ 633730 w 1263650"/>
                  <a:gd name="connsiteY227" fmla="*/ 35877 h 101600"/>
                  <a:gd name="connsiteX228" fmla="*/ 645160 w 1263650"/>
                  <a:gd name="connsiteY228" fmla="*/ 30798 h 101600"/>
                  <a:gd name="connsiteX229" fmla="*/ 656590 w 1263650"/>
                  <a:gd name="connsiteY229" fmla="*/ 43498 h 101600"/>
                  <a:gd name="connsiteX230" fmla="*/ 656590 w 1263650"/>
                  <a:gd name="connsiteY230" fmla="*/ 77788 h 101600"/>
                  <a:gd name="connsiteX231" fmla="*/ 667385 w 1263650"/>
                  <a:gd name="connsiteY231" fmla="*/ 77788 h 101600"/>
                  <a:gd name="connsiteX232" fmla="*/ 667385 w 1263650"/>
                  <a:gd name="connsiteY232" fmla="*/ 42227 h 101600"/>
                  <a:gd name="connsiteX233" fmla="*/ 662305 w 1263650"/>
                  <a:gd name="connsiteY233" fmla="*/ 26988 h 101600"/>
                  <a:gd name="connsiteX234" fmla="*/ 647700 w 1263650"/>
                  <a:gd name="connsiteY234" fmla="*/ 22225 h 101600"/>
                  <a:gd name="connsiteX235" fmla="*/ 637858 w 1263650"/>
                  <a:gd name="connsiteY235" fmla="*/ 24130 h 101600"/>
                  <a:gd name="connsiteX236" fmla="*/ 592138 w 1263650"/>
                  <a:gd name="connsiteY236" fmla="*/ 77788 h 101600"/>
                  <a:gd name="connsiteX237" fmla="*/ 602933 w 1263650"/>
                  <a:gd name="connsiteY237" fmla="*/ 77788 h 101600"/>
                  <a:gd name="connsiteX238" fmla="*/ 602933 w 1263650"/>
                  <a:gd name="connsiteY238" fmla="*/ 23177 h 101600"/>
                  <a:gd name="connsiteX239" fmla="*/ 592138 w 1263650"/>
                  <a:gd name="connsiteY239" fmla="*/ 23177 h 101600"/>
                  <a:gd name="connsiteX240" fmla="*/ 592138 w 1263650"/>
                  <a:gd name="connsiteY240" fmla="*/ 77788 h 101600"/>
                  <a:gd name="connsiteX241" fmla="*/ 593408 w 1263650"/>
                  <a:gd name="connsiteY241" fmla="*/ 3810 h 101600"/>
                  <a:gd name="connsiteX242" fmla="*/ 591503 w 1263650"/>
                  <a:gd name="connsiteY242" fmla="*/ 8573 h 101600"/>
                  <a:gd name="connsiteX243" fmla="*/ 593408 w 1263650"/>
                  <a:gd name="connsiteY243" fmla="*/ 13335 h 101600"/>
                  <a:gd name="connsiteX244" fmla="*/ 597853 w 1263650"/>
                  <a:gd name="connsiteY244" fmla="*/ 14923 h 101600"/>
                  <a:gd name="connsiteX245" fmla="*/ 601980 w 1263650"/>
                  <a:gd name="connsiteY245" fmla="*/ 13335 h 101600"/>
                  <a:gd name="connsiteX246" fmla="*/ 603885 w 1263650"/>
                  <a:gd name="connsiteY246" fmla="*/ 8573 h 101600"/>
                  <a:gd name="connsiteX247" fmla="*/ 601980 w 1263650"/>
                  <a:gd name="connsiteY247" fmla="*/ 3810 h 101600"/>
                  <a:gd name="connsiteX248" fmla="*/ 597853 w 1263650"/>
                  <a:gd name="connsiteY248" fmla="*/ 2540 h 101600"/>
                  <a:gd name="connsiteX249" fmla="*/ 593408 w 1263650"/>
                  <a:gd name="connsiteY249" fmla="*/ 3810 h 101600"/>
                  <a:gd name="connsiteX250" fmla="*/ 566103 w 1263650"/>
                  <a:gd name="connsiteY250" fmla="*/ 25400 h 101600"/>
                  <a:gd name="connsiteX251" fmla="*/ 559435 w 1263650"/>
                  <a:gd name="connsiteY251" fmla="*/ 33020 h 101600"/>
                  <a:gd name="connsiteX252" fmla="*/ 559118 w 1263650"/>
                  <a:gd name="connsiteY252" fmla="*/ 33020 h 101600"/>
                  <a:gd name="connsiteX253" fmla="*/ 557847 w 1263650"/>
                  <a:gd name="connsiteY253" fmla="*/ 23177 h 101600"/>
                  <a:gd name="connsiteX254" fmla="*/ 549275 w 1263650"/>
                  <a:gd name="connsiteY254" fmla="*/ 23177 h 101600"/>
                  <a:gd name="connsiteX255" fmla="*/ 549275 w 1263650"/>
                  <a:gd name="connsiteY255" fmla="*/ 77788 h 101600"/>
                  <a:gd name="connsiteX256" fmla="*/ 560070 w 1263650"/>
                  <a:gd name="connsiteY256" fmla="*/ 77788 h 101600"/>
                  <a:gd name="connsiteX257" fmla="*/ 560070 w 1263650"/>
                  <a:gd name="connsiteY257" fmla="*/ 48895 h 101600"/>
                  <a:gd name="connsiteX258" fmla="*/ 562293 w 1263650"/>
                  <a:gd name="connsiteY258" fmla="*/ 39688 h 101600"/>
                  <a:gd name="connsiteX259" fmla="*/ 568008 w 1263650"/>
                  <a:gd name="connsiteY259" fmla="*/ 33973 h 101600"/>
                  <a:gd name="connsiteX260" fmla="*/ 575628 w 1263650"/>
                  <a:gd name="connsiteY260" fmla="*/ 32068 h 101600"/>
                  <a:gd name="connsiteX261" fmla="*/ 581025 w 1263650"/>
                  <a:gd name="connsiteY261" fmla="*/ 32702 h 101600"/>
                  <a:gd name="connsiteX262" fmla="*/ 582295 w 1263650"/>
                  <a:gd name="connsiteY262" fmla="*/ 22543 h 101600"/>
                  <a:gd name="connsiteX263" fmla="*/ 576263 w 1263650"/>
                  <a:gd name="connsiteY263" fmla="*/ 21908 h 101600"/>
                  <a:gd name="connsiteX264" fmla="*/ 566103 w 1263650"/>
                  <a:gd name="connsiteY264" fmla="*/ 25400 h 101600"/>
                  <a:gd name="connsiteX265" fmla="*/ 521653 w 1263650"/>
                  <a:gd name="connsiteY265" fmla="*/ 34290 h 101600"/>
                  <a:gd name="connsiteX266" fmla="*/ 524828 w 1263650"/>
                  <a:gd name="connsiteY266" fmla="*/ 44768 h 101600"/>
                  <a:gd name="connsiteX267" fmla="*/ 499110 w 1263650"/>
                  <a:gd name="connsiteY267" fmla="*/ 44768 h 101600"/>
                  <a:gd name="connsiteX268" fmla="*/ 503238 w 1263650"/>
                  <a:gd name="connsiteY268" fmla="*/ 33973 h 101600"/>
                  <a:gd name="connsiteX269" fmla="*/ 512445 w 1263650"/>
                  <a:gd name="connsiteY269" fmla="*/ 30163 h 101600"/>
                  <a:gd name="connsiteX270" fmla="*/ 521653 w 1263650"/>
                  <a:gd name="connsiteY270" fmla="*/ 34290 h 101600"/>
                  <a:gd name="connsiteX271" fmla="*/ 499428 w 1263650"/>
                  <a:gd name="connsiteY271" fmla="*/ 25400 h 101600"/>
                  <a:gd name="connsiteX272" fmla="*/ 490855 w 1263650"/>
                  <a:gd name="connsiteY272" fmla="*/ 35243 h 101600"/>
                  <a:gd name="connsiteX273" fmla="*/ 487680 w 1263650"/>
                  <a:gd name="connsiteY273" fmla="*/ 50800 h 101600"/>
                  <a:gd name="connsiteX274" fmla="*/ 491172 w 1263650"/>
                  <a:gd name="connsiteY274" fmla="*/ 66358 h 101600"/>
                  <a:gd name="connsiteX275" fmla="*/ 500697 w 1263650"/>
                  <a:gd name="connsiteY275" fmla="*/ 75565 h 101600"/>
                  <a:gd name="connsiteX276" fmla="*/ 514668 w 1263650"/>
                  <a:gd name="connsiteY276" fmla="*/ 78740 h 101600"/>
                  <a:gd name="connsiteX277" fmla="*/ 524510 w 1263650"/>
                  <a:gd name="connsiteY277" fmla="*/ 77788 h 101600"/>
                  <a:gd name="connsiteX278" fmla="*/ 532765 w 1263650"/>
                  <a:gd name="connsiteY278" fmla="*/ 74930 h 101600"/>
                  <a:gd name="connsiteX279" fmla="*/ 532765 w 1263650"/>
                  <a:gd name="connsiteY279" fmla="*/ 66040 h 101600"/>
                  <a:gd name="connsiteX280" fmla="*/ 524193 w 1263650"/>
                  <a:gd name="connsiteY280" fmla="*/ 68898 h 101600"/>
                  <a:gd name="connsiteX281" fmla="*/ 514668 w 1263650"/>
                  <a:gd name="connsiteY281" fmla="*/ 69850 h 101600"/>
                  <a:gd name="connsiteX282" fmla="*/ 502920 w 1263650"/>
                  <a:gd name="connsiteY282" fmla="*/ 65405 h 101600"/>
                  <a:gd name="connsiteX283" fmla="*/ 498475 w 1263650"/>
                  <a:gd name="connsiteY283" fmla="*/ 52388 h 101600"/>
                  <a:gd name="connsiteX284" fmla="*/ 535305 w 1263650"/>
                  <a:gd name="connsiteY284" fmla="*/ 52388 h 101600"/>
                  <a:gd name="connsiteX285" fmla="*/ 535305 w 1263650"/>
                  <a:gd name="connsiteY285" fmla="*/ 46355 h 101600"/>
                  <a:gd name="connsiteX286" fmla="*/ 528955 w 1263650"/>
                  <a:gd name="connsiteY286" fmla="*/ 28258 h 101600"/>
                  <a:gd name="connsiteX287" fmla="*/ 512128 w 1263650"/>
                  <a:gd name="connsiteY287" fmla="*/ 21590 h 101600"/>
                  <a:gd name="connsiteX288" fmla="*/ 499428 w 1263650"/>
                  <a:gd name="connsiteY288" fmla="*/ 25400 h 101600"/>
                  <a:gd name="connsiteX289" fmla="*/ 481330 w 1263650"/>
                  <a:gd name="connsiteY289" fmla="*/ 23177 h 101600"/>
                  <a:gd name="connsiteX290" fmla="*/ 467678 w 1263650"/>
                  <a:gd name="connsiteY290" fmla="*/ 23177 h 101600"/>
                  <a:gd name="connsiteX291" fmla="*/ 467678 w 1263650"/>
                  <a:gd name="connsiteY291" fmla="*/ 19685 h 101600"/>
                  <a:gd name="connsiteX292" fmla="*/ 475615 w 1263650"/>
                  <a:gd name="connsiteY292" fmla="*/ 8890 h 101600"/>
                  <a:gd name="connsiteX293" fmla="*/ 480060 w 1263650"/>
                  <a:gd name="connsiteY293" fmla="*/ 9208 h 101600"/>
                  <a:gd name="connsiteX294" fmla="*/ 483870 w 1263650"/>
                  <a:gd name="connsiteY294" fmla="*/ 10160 h 101600"/>
                  <a:gd name="connsiteX295" fmla="*/ 486728 w 1263650"/>
                  <a:gd name="connsiteY295" fmla="*/ 1905 h 101600"/>
                  <a:gd name="connsiteX296" fmla="*/ 481647 w 1263650"/>
                  <a:gd name="connsiteY296" fmla="*/ 635 h 101600"/>
                  <a:gd name="connsiteX297" fmla="*/ 475297 w 1263650"/>
                  <a:gd name="connsiteY297" fmla="*/ 0 h 101600"/>
                  <a:gd name="connsiteX298" fmla="*/ 461963 w 1263650"/>
                  <a:gd name="connsiteY298" fmla="*/ 4445 h 101600"/>
                  <a:gd name="connsiteX299" fmla="*/ 457200 w 1263650"/>
                  <a:gd name="connsiteY299" fmla="*/ 19368 h 101600"/>
                  <a:gd name="connsiteX300" fmla="*/ 457200 w 1263650"/>
                  <a:gd name="connsiteY300" fmla="*/ 22860 h 101600"/>
                  <a:gd name="connsiteX301" fmla="*/ 447993 w 1263650"/>
                  <a:gd name="connsiteY301" fmla="*/ 26352 h 101600"/>
                  <a:gd name="connsiteX302" fmla="*/ 447993 w 1263650"/>
                  <a:gd name="connsiteY302" fmla="*/ 31433 h 101600"/>
                  <a:gd name="connsiteX303" fmla="*/ 457200 w 1263650"/>
                  <a:gd name="connsiteY303" fmla="*/ 31433 h 101600"/>
                  <a:gd name="connsiteX304" fmla="*/ 457200 w 1263650"/>
                  <a:gd name="connsiteY304" fmla="*/ 78105 h 101600"/>
                  <a:gd name="connsiteX305" fmla="*/ 467995 w 1263650"/>
                  <a:gd name="connsiteY305" fmla="*/ 78105 h 101600"/>
                  <a:gd name="connsiteX306" fmla="*/ 467995 w 1263650"/>
                  <a:gd name="connsiteY306" fmla="*/ 31433 h 101600"/>
                  <a:gd name="connsiteX307" fmla="*/ 481647 w 1263650"/>
                  <a:gd name="connsiteY307" fmla="*/ 31433 h 101600"/>
                  <a:gd name="connsiteX308" fmla="*/ 481647 w 1263650"/>
                  <a:gd name="connsiteY308" fmla="*/ 23177 h 101600"/>
                  <a:gd name="connsiteX309" fmla="*/ 445135 w 1263650"/>
                  <a:gd name="connsiteY309" fmla="*/ 23177 h 101600"/>
                  <a:gd name="connsiteX310" fmla="*/ 431483 w 1263650"/>
                  <a:gd name="connsiteY310" fmla="*/ 23177 h 101600"/>
                  <a:gd name="connsiteX311" fmla="*/ 431483 w 1263650"/>
                  <a:gd name="connsiteY311" fmla="*/ 19685 h 101600"/>
                  <a:gd name="connsiteX312" fmla="*/ 439420 w 1263650"/>
                  <a:gd name="connsiteY312" fmla="*/ 8890 h 101600"/>
                  <a:gd name="connsiteX313" fmla="*/ 443865 w 1263650"/>
                  <a:gd name="connsiteY313" fmla="*/ 9208 h 101600"/>
                  <a:gd name="connsiteX314" fmla="*/ 447675 w 1263650"/>
                  <a:gd name="connsiteY314" fmla="*/ 10160 h 101600"/>
                  <a:gd name="connsiteX315" fmla="*/ 450533 w 1263650"/>
                  <a:gd name="connsiteY315" fmla="*/ 1905 h 101600"/>
                  <a:gd name="connsiteX316" fmla="*/ 445453 w 1263650"/>
                  <a:gd name="connsiteY316" fmla="*/ 635 h 101600"/>
                  <a:gd name="connsiteX317" fmla="*/ 439103 w 1263650"/>
                  <a:gd name="connsiteY317" fmla="*/ 0 h 101600"/>
                  <a:gd name="connsiteX318" fmla="*/ 425768 w 1263650"/>
                  <a:gd name="connsiteY318" fmla="*/ 4445 h 101600"/>
                  <a:gd name="connsiteX319" fmla="*/ 421005 w 1263650"/>
                  <a:gd name="connsiteY319" fmla="*/ 19368 h 101600"/>
                  <a:gd name="connsiteX320" fmla="*/ 421005 w 1263650"/>
                  <a:gd name="connsiteY320" fmla="*/ 22860 h 101600"/>
                  <a:gd name="connsiteX321" fmla="*/ 411797 w 1263650"/>
                  <a:gd name="connsiteY321" fmla="*/ 26352 h 101600"/>
                  <a:gd name="connsiteX322" fmla="*/ 411797 w 1263650"/>
                  <a:gd name="connsiteY322" fmla="*/ 31433 h 101600"/>
                  <a:gd name="connsiteX323" fmla="*/ 421005 w 1263650"/>
                  <a:gd name="connsiteY323" fmla="*/ 31433 h 101600"/>
                  <a:gd name="connsiteX324" fmla="*/ 421005 w 1263650"/>
                  <a:gd name="connsiteY324" fmla="*/ 78105 h 101600"/>
                  <a:gd name="connsiteX325" fmla="*/ 431800 w 1263650"/>
                  <a:gd name="connsiteY325" fmla="*/ 78105 h 101600"/>
                  <a:gd name="connsiteX326" fmla="*/ 431800 w 1263650"/>
                  <a:gd name="connsiteY326" fmla="*/ 31433 h 101600"/>
                  <a:gd name="connsiteX327" fmla="*/ 445453 w 1263650"/>
                  <a:gd name="connsiteY327" fmla="*/ 31433 h 101600"/>
                  <a:gd name="connsiteX328" fmla="*/ 445453 w 1263650"/>
                  <a:gd name="connsiteY328" fmla="*/ 23177 h 101600"/>
                  <a:gd name="connsiteX329" fmla="*/ 367983 w 1263650"/>
                  <a:gd name="connsiteY329" fmla="*/ 36195 h 101600"/>
                  <a:gd name="connsiteX330" fmla="*/ 379095 w 1263650"/>
                  <a:gd name="connsiteY330" fmla="*/ 31115 h 101600"/>
                  <a:gd name="connsiteX331" fmla="*/ 390208 w 1263650"/>
                  <a:gd name="connsiteY331" fmla="*/ 36195 h 101600"/>
                  <a:gd name="connsiteX332" fmla="*/ 393700 w 1263650"/>
                  <a:gd name="connsiteY332" fmla="*/ 50483 h 101600"/>
                  <a:gd name="connsiteX333" fmla="*/ 390208 w 1263650"/>
                  <a:gd name="connsiteY333" fmla="*/ 64770 h 101600"/>
                  <a:gd name="connsiteX334" fmla="*/ 379095 w 1263650"/>
                  <a:gd name="connsiteY334" fmla="*/ 69850 h 101600"/>
                  <a:gd name="connsiteX335" fmla="*/ 367983 w 1263650"/>
                  <a:gd name="connsiteY335" fmla="*/ 64770 h 101600"/>
                  <a:gd name="connsiteX336" fmla="*/ 364490 w 1263650"/>
                  <a:gd name="connsiteY336" fmla="*/ 50483 h 101600"/>
                  <a:gd name="connsiteX337" fmla="*/ 367983 w 1263650"/>
                  <a:gd name="connsiteY337" fmla="*/ 36195 h 101600"/>
                  <a:gd name="connsiteX338" fmla="*/ 401638 w 1263650"/>
                  <a:gd name="connsiteY338" fmla="*/ 34925 h 101600"/>
                  <a:gd name="connsiteX339" fmla="*/ 392748 w 1263650"/>
                  <a:gd name="connsiteY339" fmla="*/ 25400 h 101600"/>
                  <a:gd name="connsiteX340" fmla="*/ 379413 w 1263650"/>
                  <a:gd name="connsiteY340" fmla="*/ 22225 h 101600"/>
                  <a:gd name="connsiteX341" fmla="*/ 360363 w 1263650"/>
                  <a:gd name="connsiteY341" fmla="*/ 29527 h 101600"/>
                  <a:gd name="connsiteX342" fmla="*/ 353378 w 1263650"/>
                  <a:gd name="connsiteY342" fmla="*/ 50483 h 101600"/>
                  <a:gd name="connsiteX343" fmla="*/ 356553 w 1263650"/>
                  <a:gd name="connsiteY343" fmla="*/ 66040 h 101600"/>
                  <a:gd name="connsiteX344" fmla="*/ 365443 w 1263650"/>
                  <a:gd name="connsiteY344" fmla="*/ 75565 h 101600"/>
                  <a:gd name="connsiteX345" fmla="*/ 378460 w 1263650"/>
                  <a:gd name="connsiteY345" fmla="*/ 78740 h 101600"/>
                  <a:gd name="connsiteX346" fmla="*/ 397510 w 1263650"/>
                  <a:gd name="connsiteY346" fmla="*/ 71438 h 101600"/>
                  <a:gd name="connsiteX347" fmla="*/ 404495 w 1263650"/>
                  <a:gd name="connsiteY347" fmla="*/ 50483 h 101600"/>
                  <a:gd name="connsiteX348" fmla="*/ 401638 w 1263650"/>
                  <a:gd name="connsiteY348" fmla="*/ 34925 h 101600"/>
                  <a:gd name="connsiteX349" fmla="*/ 290195 w 1263650"/>
                  <a:gd name="connsiteY349" fmla="*/ 77788 h 101600"/>
                  <a:gd name="connsiteX350" fmla="*/ 287973 w 1263650"/>
                  <a:gd name="connsiteY350" fmla="*/ 83820 h 101600"/>
                  <a:gd name="connsiteX351" fmla="*/ 283528 w 1263650"/>
                  <a:gd name="connsiteY351" fmla="*/ 90805 h 101600"/>
                  <a:gd name="connsiteX352" fmla="*/ 275908 w 1263650"/>
                  <a:gd name="connsiteY352" fmla="*/ 93345 h 101600"/>
                  <a:gd name="connsiteX353" fmla="*/ 272415 w 1263650"/>
                  <a:gd name="connsiteY353" fmla="*/ 93027 h 101600"/>
                  <a:gd name="connsiteX354" fmla="*/ 269875 w 1263650"/>
                  <a:gd name="connsiteY354" fmla="*/ 92710 h 101600"/>
                  <a:gd name="connsiteX355" fmla="*/ 269875 w 1263650"/>
                  <a:gd name="connsiteY355" fmla="*/ 101283 h 101600"/>
                  <a:gd name="connsiteX356" fmla="*/ 273050 w 1263650"/>
                  <a:gd name="connsiteY356" fmla="*/ 101918 h 101600"/>
                  <a:gd name="connsiteX357" fmla="*/ 277495 w 1263650"/>
                  <a:gd name="connsiteY357" fmla="*/ 102235 h 101600"/>
                  <a:gd name="connsiteX358" fmla="*/ 290195 w 1263650"/>
                  <a:gd name="connsiteY358" fmla="*/ 97790 h 101600"/>
                  <a:gd name="connsiteX359" fmla="*/ 298133 w 1263650"/>
                  <a:gd name="connsiteY359" fmla="*/ 85408 h 101600"/>
                  <a:gd name="connsiteX360" fmla="*/ 321628 w 1263650"/>
                  <a:gd name="connsiteY360" fmla="*/ 23177 h 101600"/>
                  <a:gd name="connsiteX361" fmla="*/ 310198 w 1263650"/>
                  <a:gd name="connsiteY361" fmla="*/ 23177 h 101600"/>
                  <a:gd name="connsiteX362" fmla="*/ 299403 w 1263650"/>
                  <a:gd name="connsiteY362" fmla="*/ 54293 h 101600"/>
                  <a:gd name="connsiteX363" fmla="*/ 296863 w 1263650"/>
                  <a:gd name="connsiteY363" fmla="*/ 61595 h 101600"/>
                  <a:gd name="connsiteX364" fmla="*/ 295275 w 1263650"/>
                  <a:gd name="connsiteY364" fmla="*/ 67945 h 101600"/>
                  <a:gd name="connsiteX365" fmla="*/ 294958 w 1263650"/>
                  <a:gd name="connsiteY365" fmla="*/ 67945 h 101600"/>
                  <a:gd name="connsiteX366" fmla="*/ 293688 w 1263650"/>
                  <a:gd name="connsiteY366" fmla="*/ 61595 h 101600"/>
                  <a:gd name="connsiteX367" fmla="*/ 291465 w 1263650"/>
                  <a:gd name="connsiteY367" fmla="*/ 54927 h 101600"/>
                  <a:gd name="connsiteX368" fmla="*/ 280035 w 1263650"/>
                  <a:gd name="connsiteY368" fmla="*/ 23813 h 101600"/>
                  <a:gd name="connsiteX369" fmla="*/ 268605 w 1263650"/>
                  <a:gd name="connsiteY369" fmla="*/ 23813 h 101600"/>
                  <a:gd name="connsiteX370" fmla="*/ 290195 w 1263650"/>
                  <a:gd name="connsiteY370" fmla="*/ 77788 h 101600"/>
                  <a:gd name="connsiteX371" fmla="*/ 254000 w 1263650"/>
                  <a:gd name="connsiteY371" fmla="*/ 50165 h 101600"/>
                  <a:gd name="connsiteX372" fmla="*/ 250825 w 1263650"/>
                  <a:gd name="connsiteY372" fmla="*/ 64770 h 101600"/>
                  <a:gd name="connsiteX373" fmla="*/ 240983 w 1263650"/>
                  <a:gd name="connsiteY373" fmla="*/ 69850 h 101600"/>
                  <a:gd name="connsiteX374" fmla="*/ 229870 w 1263650"/>
                  <a:gd name="connsiteY374" fmla="*/ 64770 h 101600"/>
                  <a:gd name="connsiteX375" fmla="*/ 227013 w 1263650"/>
                  <a:gd name="connsiteY375" fmla="*/ 50165 h 101600"/>
                  <a:gd name="connsiteX376" fmla="*/ 227013 w 1263650"/>
                  <a:gd name="connsiteY376" fmla="*/ 49213 h 101600"/>
                  <a:gd name="connsiteX377" fmla="*/ 230188 w 1263650"/>
                  <a:gd name="connsiteY377" fmla="*/ 34925 h 101600"/>
                  <a:gd name="connsiteX378" fmla="*/ 240983 w 1263650"/>
                  <a:gd name="connsiteY378" fmla="*/ 30163 h 101600"/>
                  <a:gd name="connsiteX379" fmla="*/ 254000 w 1263650"/>
                  <a:gd name="connsiteY379" fmla="*/ 50165 h 101600"/>
                  <a:gd name="connsiteX380" fmla="*/ 215583 w 1263650"/>
                  <a:gd name="connsiteY380" fmla="*/ 635 h 101600"/>
                  <a:gd name="connsiteX381" fmla="*/ 215583 w 1263650"/>
                  <a:gd name="connsiteY381" fmla="*/ 77788 h 101600"/>
                  <a:gd name="connsiteX382" fmla="*/ 223520 w 1263650"/>
                  <a:gd name="connsiteY382" fmla="*/ 77788 h 101600"/>
                  <a:gd name="connsiteX383" fmla="*/ 225425 w 1263650"/>
                  <a:gd name="connsiteY383" fmla="*/ 71120 h 101600"/>
                  <a:gd name="connsiteX384" fmla="*/ 226378 w 1263650"/>
                  <a:gd name="connsiteY384" fmla="*/ 71120 h 101600"/>
                  <a:gd name="connsiteX385" fmla="*/ 232728 w 1263650"/>
                  <a:gd name="connsiteY385" fmla="*/ 76518 h 101600"/>
                  <a:gd name="connsiteX386" fmla="*/ 242888 w 1263650"/>
                  <a:gd name="connsiteY386" fmla="*/ 78740 h 101600"/>
                  <a:gd name="connsiteX387" fmla="*/ 258763 w 1263650"/>
                  <a:gd name="connsiteY387" fmla="*/ 71438 h 101600"/>
                  <a:gd name="connsiteX388" fmla="*/ 264795 w 1263650"/>
                  <a:gd name="connsiteY388" fmla="*/ 50165 h 101600"/>
                  <a:gd name="connsiteX389" fmla="*/ 258763 w 1263650"/>
                  <a:gd name="connsiteY389" fmla="*/ 28893 h 101600"/>
                  <a:gd name="connsiteX390" fmla="*/ 242888 w 1263650"/>
                  <a:gd name="connsiteY390" fmla="*/ 21908 h 101600"/>
                  <a:gd name="connsiteX391" fmla="*/ 232728 w 1263650"/>
                  <a:gd name="connsiteY391" fmla="*/ 24130 h 101600"/>
                  <a:gd name="connsiteX392" fmla="*/ 226378 w 1263650"/>
                  <a:gd name="connsiteY392" fmla="*/ 29845 h 101600"/>
                  <a:gd name="connsiteX393" fmla="*/ 225743 w 1263650"/>
                  <a:gd name="connsiteY393" fmla="*/ 29845 h 101600"/>
                  <a:gd name="connsiteX394" fmla="*/ 226060 w 1263650"/>
                  <a:gd name="connsiteY394" fmla="*/ 25083 h 101600"/>
                  <a:gd name="connsiteX395" fmla="*/ 226060 w 1263650"/>
                  <a:gd name="connsiteY395" fmla="*/ 18733 h 101600"/>
                  <a:gd name="connsiteX396" fmla="*/ 226060 w 1263650"/>
                  <a:gd name="connsiteY396" fmla="*/ 635 h 101600"/>
                  <a:gd name="connsiteX397" fmla="*/ 215583 w 1263650"/>
                  <a:gd name="connsiteY397" fmla="*/ 635 h 101600"/>
                  <a:gd name="connsiteX398" fmla="*/ 137478 w 1263650"/>
                  <a:gd name="connsiteY398" fmla="*/ 65088 h 101600"/>
                  <a:gd name="connsiteX399" fmla="*/ 133985 w 1263650"/>
                  <a:gd name="connsiteY399" fmla="*/ 50800 h 101600"/>
                  <a:gd name="connsiteX400" fmla="*/ 137478 w 1263650"/>
                  <a:gd name="connsiteY400" fmla="*/ 36195 h 101600"/>
                  <a:gd name="connsiteX401" fmla="*/ 147320 w 1263650"/>
                  <a:gd name="connsiteY401" fmla="*/ 30798 h 101600"/>
                  <a:gd name="connsiteX402" fmla="*/ 158750 w 1263650"/>
                  <a:gd name="connsiteY402" fmla="*/ 35877 h 101600"/>
                  <a:gd name="connsiteX403" fmla="*/ 161925 w 1263650"/>
                  <a:gd name="connsiteY403" fmla="*/ 50483 h 101600"/>
                  <a:gd name="connsiteX404" fmla="*/ 161925 w 1263650"/>
                  <a:gd name="connsiteY404" fmla="*/ 52070 h 101600"/>
                  <a:gd name="connsiteX405" fmla="*/ 158750 w 1263650"/>
                  <a:gd name="connsiteY405" fmla="*/ 65405 h 101600"/>
                  <a:gd name="connsiteX406" fmla="*/ 147638 w 1263650"/>
                  <a:gd name="connsiteY406" fmla="*/ 69850 h 101600"/>
                  <a:gd name="connsiteX407" fmla="*/ 137478 w 1263650"/>
                  <a:gd name="connsiteY407" fmla="*/ 65088 h 101600"/>
                  <a:gd name="connsiteX408" fmla="*/ 155258 w 1263650"/>
                  <a:gd name="connsiteY408" fmla="*/ 76518 h 101600"/>
                  <a:gd name="connsiteX409" fmla="*/ 161608 w 1263650"/>
                  <a:gd name="connsiteY409" fmla="*/ 70485 h 101600"/>
                  <a:gd name="connsiteX410" fmla="*/ 162243 w 1263650"/>
                  <a:gd name="connsiteY410" fmla="*/ 70485 h 101600"/>
                  <a:gd name="connsiteX411" fmla="*/ 164148 w 1263650"/>
                  <a:gd name="connsiteY411" fmla="*/ 77788 h 101600"/>
                  <a:gd name="connsiteX412" fmla="*/ 172720 w 1263650"/>
                  <a:gd name="connsiteY412" fmla="*/ 77788 h 101600"/>
                  <a:gd name="connsiteX413" fmla="*/ 172720 w 1263650"/>
                  <a:gd name="connsiteY413" fmla="*/ 635 h 101600"/>
                  <a:gd name="connsiteX414" fmla="*/ 161925 w 1263650"/>
                  <a:gd name="connsiteY414" fmla="*/ 635 h 101600"/>
                  <a:gd name="connsiteX415" fmla="*/ 161925 w 1263650"/>
                  <a:gd name="connsiteY415" fmla="*/ 21273 h 101600"/>
                  <a:gd name="connsiteX416" fmla="*/ 162243 w 1263650"/>
                  <a:gd name="connsiteY416" fmla="*/ 26035 h 101600"/>
                  <a:gd name="connsiteX417" fmla="*/ 162878 w 1263650"/>
                  <a:gd name="connsiteY417" fmla="*/ 30163 h 101600"/>
                  <a:gd name="connsiteX418" fmla="*/ 162243 w 1263650"/>
                  <a:gd name="connsiteY418" fmla="*/ 30163 h 101600"/>
                  <a:gd name="connsiteX419" fmla="*/ 155893 w 1263650"/>
                  <a:gd name="connsiteY419" fmla="*/ 24448 h 101600"/>
                  <a:gd name="connsiteX420" fmla="*/ 145733 w 1263650"/>
                  <a:gd name="connsiteY420" fmla="*/ 22225 h 101600"/>
                  <a:gd name="connsiteX421" fmla="*/ 129540 w 1263650"/>
                  <a:gd name="connsiteY421" fmla="*/ 29527 h 101600"/>
                  <a:gd name="connsiteX422" fmla="*/ 123508 w 1263650"/>
                  <a:gd name="connsiteY422" fmla="*/ 50800 h 101600"/>
                  <a:gd name="connsiteX423" fmla="*/ 129540 w 1263650"/>
                  <a:gd name="connsiteY423" fmla="*/ 72073 h 101600"/>
                  <a:gd name="connsiteX424" fmla="*/ 145415 w 1263650"/>
                  <a:gd name="connsiteY424" fmla="*/ 79058 h 101600"/>
                  <a:gd name="connsiteX425" fmla="*/ 155258 w 1263650"/>
                  <a:gd name="connsiteY425" fmla="*/ 76518 h 101600"/>
                  <a:gd name="connsiteX426" fmla="*/ 80328 w 1263650"/>
                  <a:gd name="connsiteY426" fmla="*/ 24130 h 101600"/>
                  <a:gd name="connsiteX427" fmla="*/ 73025 w 1263650"/>
                  <a:gd name="connsiteY427" fmla="*/ 30480 h 101600"/>
                  <a:gd name="connsiteX428" fmla="*/ 72390 w 1263650"/>
                  <a:gd name="connsiteY428" fmla="*/ 30480 h 101600"/>
                  <a:gd name="connsiteX429" fmla="*/ 70803 w 1263650"/>
                  <a:gd name="connsiteY429" fmla="*/ 23177 h 101600"/>
                  <a:gd name="connsiteX430" fmla="*/ 62230 w 1263650"/>
                  <a:gd name="connsiteY430" fmla="*/ 23177 h 101600"/>
                  <a:gd name="connsiteX431" fmla="*/ 62230 w 1263650"/>
                  <a:gd name="connsiteY431" fmla="*/ 77788 h 101600"/>
                  <a:gd name="connsiteX432" fmla="*/ 73025 w 1263650"/>
                  <a:gd name="connsiteY432" fmla="*/ 77788 h 101600"/>
                  <a:gd name="connsiteX433" fmla="*/ 73025 w 1263650"/>
                  <a:gd name="connsiteY433" fmla="*/ 50165 h 101600"/>
                  <a:gd name="connsiteX434" fmla="*/ 76200 w 1263650"/>
                  <a:gd name="connsiteY434" fmla="*/ 35877 h 101600"/>
                  <a:gd name="connsiteX435" fmla="*/ 87630 w 1263650"/>
                  <a:gd name="connsiteY435" fmla="*/ 30798 h 101600"/>
                  <a:gd name="connsiteX436" fmla="*/ 99060 w 1263650"/>
                  <a:gd name="connsiteY436" fmla="*/ 43498 h 101600"/>
                  <a:gd name="connsiteX437" fmla="*/ 99060 w 1263650"/>
                  <a:gd name="connsiteY437" fmla="*/ 77788 h 101600"/>
                  <a:gd name="connsiteX438" fmla="*/ 109855 w 1263650"/>
                  <a:gd name="connsiteY438" fmla="*/ 77788 h 101600"/>
                  <a:gd name="connsiteX439" fmla="*/ 109855 w 1263650"/>
                  <a:gd name="connsiteY439" fmla="*/ 42227 h 101600"/>
                  <a:gd name="connsiteX440" fmla="*/ 104775 w 1263650"/>
                  <a:gd name="connsiteY440" fmla="*/ 26988 h 101600"/>
                  <a:gd name="connsiteX441" fmla="*/ 90170 w 1263650"/>
                  <a:gd name="connsiteY441" fmla="*/ 22225 h 101600"/>
                  <a:gd name="connsiteX442" fmla="*/ 80328 w 1263650"/>
                  <a:gd name="connsiteY442" fmla="*/ 24130 h 101600"/>
                  <a:gd name="connsiteX443" fmla="*/ 34925 w 1263650"/>
                  <a:gd name="connsiteY443" fmla="*/ 56198 h 101600"/>
                  <a:gd name="connsiteX444" fmla="*/ 30798 w 1263650"/>
                  <a:gd name="connsiteY444" fmla="*/ 66993 h 101600"/>
                  <a:gd name="connsiteX445" fmla="*/ 20320 w 1263650"/>
                  <a:gd name="connsiteY445" fmla="*/ 70485 h 101600"/>
                  <a:gd name="connsiteX446" fmla="*/ 13653 w 1263650"/>
                  <a:gd name="connsiteY446" fmla="*/ 68580 h 101600"/>
                  <a:gd name="connsiteX447" fmla="*/ 11113 w 1263650"/>
                  <a:gd name="connsiteY447" fmla="*/ 62230 h 101600"/>
                  <a:gd name="connsiteX448" fmla="*/ 14605 w 1263650"/>
                  <a:gd name="connsiteY448" fmla="*/ 54610 h 101600"/>
                  <a:gd name="connsiteX449" fmla="*/ 27623 w 1263650"/>
                  <a:gd name="connsiteY449" fmla="*/ 51435 h 101600"/>
                  <a:gd name="connsiteX450" fmla="*/ 34925 w 1263650"/>
                  <a:gd name="connsiteY450" fmla="*/ 51118 h 101600"/>
                  <a:gd name="connsiteX451" fmla="*/ 34925 w 1263650"/>
                  <a:gd name="connsiteY451" fmla="*/ 56198 h 101600"/>
                  <a:gd name="connsiteX452" fmla="*/ 14605 w 1263650"/>
                  <a:gd name="connsiteY452" fmla="*/ 23495 h 101600"/>
                  <a:gd name="connsiteX453" fmla="*/ 5715 w 1263650"/>
                  <a:gd name="connsiteY453" fmla="*/ 26988 h 101600"/>
                  <a:gd name="connsiteX454" fmla="*/ 9208 w 1263650"/>
                  <a:gd name="connsiteY454" fmla="*/ 34925 h 101600"/>
                  <a:gd name="connsiteX455" fmla="*/ 16510 w 1263650"/>
                  <a:gd name="connsiteY455" fmla="*/ 32068 h 101600"/>
                  <a:gd name="connsiteX456" fmla="*/ 24448 w 1263650"/>
                  <a:gd name="connsiteY456" fmla="*/ 30798 h 101600"/>
                  <a:gd name="connsiteX457" fmla="*/ 32068 w 1263650"/>
                  <a:gd name="connsiteY457" fmla="*/ 33338 h 101600"/>
                  <a:gd name="connsiteX458" fmla="*/ 34925 w 1263650"/>
                  <a:gd name="connsiteY458" fmla="*/ 41910 h 101600"/>
                  <a:gd name="connsiteX459" fmla="*/ 34925 w 1263650"/>
                  <a:gd name="connsiteY459" fmla="*/ 45085 h 101600"/>
                  <a:gd name="connsiteX460" fmla="*/ 25718 w 1263650"/>
                  <a:gd name="connsiteY460" fmla="*/ 45402 h 101600"/>
                  <a:gd name="connsiteX461" fmla="*/ 6350 w 1263650"/>
                  <a:gd name="connsiteY461" fmla="*/ 50165 h 101600"/>
                  <a:gd name="connsiteX462" fmla="*/ 0 w 1263650"/>
                  <a:gd name="connsiteY462" fmla="*/ 62865 h 101600"/>
                  <a:gd name="connsiteX463" fmla="*/ 4763 w 1263650"/>
                  <a:gd name="connsiteY463" fmla="*/ 75565 h 101600"/>
                  <a:gd name="connsiteX464" fmla="*/ 17145 w 1263650"/>
                  <a:gd name="connsiteY464" fmla="*/ 79693 h 101600"/>
                  <a:gd name="connsiteX465" fmla="*/ 27940 w 1263650"/>
                  <a:gd name="connsiteY465" fmla="*/ 77470 h 101600"/>
                  <a:gd name="connsiteX466" fmla="*/ 35560 w 1263650"/>
                  <a:gd name="connsiteY466" fmla="*/ 70802 h 101600"/>
                  <a:gd name="connsiteX467" fmla="*/ 35878 w 1263650"/>
                  <a:gd name="connsiteY467" fmla="*/ 70802 h 101600"/>
                  <a:gd name="connsiteX468" fmla="*/ 38100 w 1263650"/>
                  <a:gd name="connsiteY468" fmla="*/ 78423 h 101600"/>
                  <a:gd name="connsiteX469" fmla="*/ 45720 w 1263650"/>
                  <a:gd name="connsiteY469" fmla="*/ 78423 h 101600"/>
                  <a:gd name="connsiteX470" fmla="*/ 45720 w 1263650"/>
                  <a:gd name="connsiteY470" fmla="*/ 41275 h 101600"/>
                  <a:gd name="connsiteX471" fmla="*/ 40640 w 1263650"/>
                  <a:gd name="connsiteY471" fmla="*/ 26988 h 101600"/>
                  <a:gd name="connsiteX472" fmla="*/ 25400 w 1263650"/>
                  <a:gd name="connsiteY472" fmla="*/ 22543 h 101600"/>
                  <a:gd name="connsiteX473" fmla="*/ 14605 w 1263650"/>
                  <a:gd name="connsiteY473" fmla="*/ 23495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Lst>
                <a:rect l="l" t="t" r="r" b="b"/>
                <a:pathLst>
                  <a:path w="1263650" h="101600">
                    <a:moveTo>
                      <a:pt x="1251268" y="34290"/>
                    </a:moveTo>
                    <a:cubicBezTo>
                      <a:pt x="1253172" y="36830"/>
                      <a:pt x="1254443" y="40323"/>
                      <a:pt x="1254443" y="44768"/>
                    </a:cubicBezTo>
                    <a:lnTo>
                      <a:pt x="1228725" y="44768"/>
                    </a:lnTo>
                    <a:cubicBezTo>
                      <a:pt x="1229043" y="40005"/>
                      <a:pt x="1230630" y="36513"/>
                      <a:pt x="1232853" y="33973"/>
                    </a:cubicBezTo>
                    <a:cubicBezTo>
                      <a:pt x="1235075" y="31433"/>
                      <a:pt x="1238250" y="30163"/>
                      <a:pt x="1242060" y="30163"/>
                    </a:cubicBezTo>
                    <a:cubicBezTo>
                      <a:pt x="1246188" y="30480"/>
                      <a:pt x="1249363" y="31750"/>
                      <a:pt x="1251268" y="34290"/>
                    </a:cubicBezTo>
                    <a:moveTo>
                      <a:pt x="1229043" y="25400"/>
                    </a:moveTo>
                    <a:cubicBezTo>
                      <a:pt x="1225233" y="27623"/>
                      <a:pt x="1222375" y="30798"/>
                      <a:pt x="1220471" y="35243"/>
                    </a:cubicBezTo>
                    <a:cubicBezTo>
                      <a:pt x="1218247" y="39370"/>
                      <a:pt x="1217296" y="44768"/>
                      <a:pt x="1217296" y="50800"/>
                    </a:cubicBezTo>
                    <a:cubicBezTo>
                      <a:pt x="1217296" y="56833"/>
                      <a:pt x="1218565" y="62230"/>
                      <a:pt x="1220788" y="66358"/>
                    </a:cubicBezTo>
                    <a:cubicBezTo>
                      <a:pt x="1223010" y="70485"/>
                      <a:pt x="1226185" y="73660"/>
                      <a:pt x="1230313" y="75565"/>
                    </a:cubicBezTo>
                    <a:cubicBezTo>
                      <a:pt x="1234440" y="77788"/>
                      <a:pt x="1239203" y="78740"/>
                      <a:pt x="1244283" y="78740"/>
                    </a:cubicBezTo>
                    <a:cubicBezTo>
                      <a:pt x="1248093" y="78740"/>
                      <a:pt x="1251585" y="78423"/>
                      <a:pt x="1254125" y="77788"/>
                    </a:cubicBezTo>
                    <a:cubicBezTo>
                      <a:pt x="1256983" y="77152"/>
                      <a:pt x="1259522" y="76200"/>
                      <a:pt x="1262380" y="74930"/>
                    </a:cubicBezTo>
                    <a:lnTo>
                      <a:pt x="1262380" y="66040"/>
                    </a:lnTo>
                    <a:cubicBezTo>
                      <a:pt x="1259522" y="67310"/>
                      <a:pt x="1256665" y="68263"/>
                      <a:pt x="1253808" y="68898"/>
                    </a:cubicBezTo>
                    <a:cubicBezTo>
                      <a:pt x="1250950" y="69533"/>
                      <a:pt x="1247775" y="69850"/>
                      <a:pt x="1244283" y="69850"/>
                    </a:cubicBezTo>
                    <a:cubicBezTo>
                      <a:pt x="1239203" y="69850"/>
                      <a:pt x="1235393" y="68263"/>
                      <a:pt x="1232535" y="65405"/>
                    </a:cubicBezTo>
                    <a:cubicBezTo>
                      <a:pt x="1229678" y="62548"/>
                      <a:pt x="1228090" y="58102"/>
                      <a:pt x="1228090" y="52388"/>
                    </a:cubicBezTo>
                    <a:lnTo>
                      <a:pt x="1264921" y="52388"/>
                    </a:lnTo>
                    <a:lnTo>
                      <a:pt x="1264921" y="46355"/>
                    </a:lnTo>
                    <a:cubicBezTo>
                      <a:pt x="1264921" y="38735"/>
                      <a:pt x="1262697" y="32702"/>
                      <a:pt x="1258571" y="28258"/>
                    </a:cubicBezTo>
                    <a:cubicBezTo>
                      <a:pt x="1254443" y="23813"/>
                      <a:pt x="1248728" y="21590"/>
                      <a:pt x="1241743" y="21590"/>
                    </a:cubicBezTo>
                    <a:cubicBezTo>
                      <a:pt x="1236980" y="22225"/>
                      <a:pt x="1232853" y="23177"/>
                      <a:pt x="1229043" y="25400"/>
                    </a:cubicBezTo>
                    <a:moveTo>
                      <a:pt x="1191260" y="77788"/>
                    </a:moveTo>
                    <a:lnTo>
                      <a:pt x="1212215" y="23177"/>
                    </a:lnTo>
                    <a:lnTo>
                      <a:pt x="1200785" y="23177"/>
                    </a:lnTo>
                    <a:lnTo>
                      <a:pt x="1189355" y="55245"/>
                    </a:lnTo>
                    <a:cubicBezTo>
                      <a:pt x="1188721" y="57468"/>
                      <a:pt x="1188085" y="59690"/>
                      <a:pt x="1187133" y="62230"/>
                    </a:cubicBezTo>
                    <a:cubicBezTo>
                      <a:pt x="1186180" y="64770"/>
                      <a:pt x="1185863" y="66993"/>
                      <a:pt x="1185546" y="68580"/>
                    </a:cubicBezTo>
                    <a:lnTo>
                      <a:pt x="1185228" y="68580"/>
                    </a:lnTo>
                    <a:cubicBezTo>
                      <a:pt x="1184910" y="66993"/>
                      <a:pt x="1184593" y="64770"/>
                      <a:pt x="1183640" y="62230"/>
                    </a:cubicBezTo>
                    <a:cubicBezTo>
                      <a:pt x="1183005" y="59690"/>
                      <a:pt x="1182053" y="57150"/>
                      <a:pt x="1181418" y="55245"/>
                    </a:cubicBezTo>
                    <a:lnTo>
                      <a:pt x="1169988" y="23177"/>
                    </a:lnTo>
                    <a:lnTo>
                      <a:pt x="1158558" y="23177"/>
                    </a:lnTo>
                    <a:lnTo>
                      <a:pt x="1179196" y="77788"/>
                    </a:lnTo>
                    <a:lnTo>
                      <a:pt x="1191260" y="77788"/>
                    </a:lnTo>
                    <a:close/>
                    <a:moveTo>
                      <a:pt x="1139508" y="77788"/>
                    </a:moveTo>
                    <a:lnTo>
                      <a:pt x="1150303" y="77788"/>
                    </a:lnTo>
                    <a:lnTo>
                      <a:pt x="1150303" y="23177"/>
                    </a:lnTo>
                    <a:lnTo>
                      <a:pt x="1139508" y="23177"/>
                    </a:lnTo>
                    <a:lnTo>
                      <a:pt x="1139508" y="77788"/>
                    </a:lnTo>
                    <a:close/>
                    <a:moveTo>
                      <a:pt x="1140460" y="3810"/>
                    </a:moveTo>
                    <a:cubicBezTo>
                      <a:pt x="1139190" y="4763"/>
                      <a:pt x="1138555" y="6350"/>
                      <a:pt x="1138555" y="8573"/>
                    </a:cubicBezTo>
                    <a:cubicBezTo>
                      <a:pt x="1138555" y="10795"/>
                      <a:pt x="1139190" y="12383"/>
                      <a:pt x="1140460" y="13335"/>
                    </a:cubicBezTo>
                    <a:cubicBezTo>
                      <a:pt x="1141730" y="14288"/>
                      <a:pt x="1143000" y="14923"/>
                      <a:pt x="1144905" y="14923"/>
                    </a:cubicBezTo>
                    <a:cubicBezTo>
                      <a:pt x="1146493" y="14923"/>
                      <a:pt x="1148080" y="14288"/>
                      <a:pt x="1149033" y="13335"/>
                    </a:cubicBezTo>
                    <a:cubicBezTo>
                      <a:pt x="1150303" y="12383"/>
                      <a:pt x="1150938" y="10795"/>
                      <a:pt x="1150938" y="8573"/>
                    </a:cubicBezTo>
                    <a:cubicBezTo>
                      <a:pt x="1150938" y="6350"/>
                      <a:pt x="1150303" y="4763"/>
                      <a:pt x="1149033" y="3810"/>
                    </a:cubicBezTo>
                    <a:cubicBezTo>
                      <a:pt x="1147763" y="2858"/>
                      <a:pt x="1146493" y="2540"/>
                      <a:pt x="1144905" y="2540"/>
                    </a:cubicBezTo>
                    <a:cubicBezTo>
                      <a:pt x="1143318" y="2223"/>
                      <a:pt x="1141730" y="2858"/>
                      <a:pt x="1140460" y="3810"/>
                    </a:cubicBezTo>
                    <a:moveTo>
                      <a:pt x="1114425" y="67945"/>
                    </a:moveTo>
                    <a:cubicBezTo>
                      <a:pt x="1112838" y="66675"/>
                      <a:pt x="1112203" y="64452"/>
                      <a:pt x="1112203" y="61277"/>
                    </a:cubicBezTo>
                    <a:lnTo>
                      <a:pt x="1112203" y="31115"/>
                    </a:lnTo>
                    <a:lnTo>
                      <a:pt x="1127760" y="31115"/>
                    </a:lnTo>
                    <a:lnTo>
                      <a:pt x="1127760" y="22860"/>
                    </a:lnTo>
                    <a:lnTo>
                      <a:pt x="1112203" y="22860"/>
                    </a:lnTo>
                    <a:lnTo>
                      <a:pt x="1112203" y="10477"/>
                    </a:lnTo>
                    <a:lnTo>
                      <a:pt x="1105535" y="10477"/>
                    </a:lnTo>
                    <a:lnTo>
                      <a:pt x="1101725" y="21908"/>
                    </a:lnTo>
                    <a:lnTo>
                      <a:pt x="1093788" y="26035"/>
                    </a:lnTo>
                    <a:lnTo>
                      <a:pt x="1093788" y="30798"/>
                    </a:lnTo>
                    <a:lnTo>
                      <a:pt x="1101408" y="30798"/>
                    </a:lnTo>
                    <a:lnTo>
                      <a:pt x="1101408" y="60960"/>
                    </a:lnTo>
                    <a:cubicBezTo>
                      <a:pt x="1101408" y="65405"/>
                      <a:pt x="1102043" y="68898"/>
                      <a:pt x="1103630" y="71438"/>
                    </a:cubicBezTo>
                    <a:cubicBezTo>
                      <a:pt x="1105218" y="73977"/>
                      <a:pt x="1107122" y="75565"/>
                      <a:pt x="1109663" y="76835"/>
                    </a:cubicBezTo>
                    <a:cubicBezTo>
                      <a:pt x="1112203" y="77788"/>
                      <a:pt x="1114743" y="78423"/>
                      <a:pt x="1117918" y="78423"/>
                    </a:cubicBezTo>
                    <a:cubicBezTo>
                      <a:pt x="1119822" y="78423"/>
                      <a:pt x="1121728" y="78105"/>
                      <a:pt x="1123950" y="77788"/>
                    </a:cubicBezTo>
                    <a:cubicBezTo>
                      <a:pt x="1125855" y="77470"/>
                      <a:pt x="1127443" y="76835"/>
                      <a:pt x="1128713" y="76518"/>
                    </a:cubicBezTo>
                    <a:lnTo>
                      <a:pt x="1128713" y="68263"/>
                    </a:lnTo>
                    <a:cubicBezTo>
                      <a:pt x="1126172" y="69215"/>
                      <a:pt x="1123633" y="69533"/>
                      <a:pt x="1120458" y="69533"/>
                    </a:cubicBezTo>
                    <a:cubicBezTo>
                      <a:pt x="1117918" y="70168"/>
                      <a:pt x="1116013" y="69533"/>
                      <a:pt x="1114425" y="67945"/>
                    </a:cubicBezTo>
                    <a:moveTo>
                      <a:pt x="1073150" y="56198"/>
                    </a:moveTo>
                    <a:cubicBezTo>
                      <a:pt x="1073150" y="60960"/>
                      <a:pt x="1071880" y="64452"/>
                      <a:pt x="1069022" y="66993"/>
                    </a:cubicBezTo>
                    <a:cubicBezTo>
                      <a:pt x="1066165" y="69215"/>
                      <a:pt x="1062672" y="70485"/>
                      <a:pt x="1058546" y="70485"/>
                    </a:cubicBezTo>
                    <a:cubicBezTo>
                      <a:pt x="1055688" y="70485"/>
                      <a:pt x="1053783" y="69850"/>
                      <a:pt x="1051878" y="68580"/>
                    </a:cubicBezTo>
                    <a:cubicBezTo>
                      <a:pt x="1050290" y="67310"/>
                      <a:pt x="1049338" y="65088"/>
                      <a:pt x="1049338" y="62230"/>
                    </a:cubicBezTo>
                    <a:cubicBezTo>
                      <a:pt x="1049338" y="59055"/>
                      <a:pt x="1050608" y="56515"/>
                      <a:pt x="1052830" y="54610"/>
                    </a:cubicBezTo>
                    <a:cubicBezTo>
                      <a:pt x="1055371" y="52705"/>
                      <a:pt x="1059497" y="51752"/>
                      <a:pt x="1065847" y="51435"/>
                    </a:cubicBezTo>
                    <a:lnTo>
                      <a:pt x="1073150" y="51118"/>
                    </a:lnTo>
                    <a:lnTo>
                      <a:pt x="1073150" y="56198"/>
                    </a:lnTo>
                    <a:close/>
                    <a:moveTo>
                      <a:pt x="1052830" y="23495"/>
                    </a:moveTo>
                    <a:cubicBezTo>
                      <a:pt x="1049338" y="24448"/>
                      <a:pt x="1046480" y="25400"/>
                      <a:pt x="1043940" y="26988"/>
                    </a:cubicBezTo>
                    <a:lnTo>
                      <a:pt x="1047433" y="34925"/>
                    </a:lnTo>
                    <a:cubicBezTo>
                      <a:pt x="1049655" y="33655"/>
                      <a:pt x="1052196" y="32702"/>
                      <a:pt x="1054735" y="32068"/>
                    </a:cubicBezTo>
                    <a:cubicBezTo>
                      <a:pt x="1057275" y="31115"/>
                      <a:pt x="1060133" y="30798"/>
                      <a:pt x="1062672" y="30798"/>
                    </a:cubicBezTo>
                    <a:cubicBezTo>
                      <a:pt x="1065847" y="30798"/>
                      <a:pt x="1068705" y="31750"/>
                      <a:pt x="1070293" y="33338"/>
                    </a:cubicBezTo>
                    <a:cubicBezTo>
                      <a:pt x="1072197" y="34925"/>
                      <a:pt x="1073150" y="37783"/>
                      <a:pt x="1073150" y="41910"/>
                    </a:cubicBezTo>
                    <a:lnTo>
                      <a:pt x="1073150" y="45085"/>
                    </a:lnTo>
                    <a:lnTo>
                      <a:pt x="1063943" y="45402"/>
                    </a:lnTo>
                    <a:cubicBezTo>
                      <a:pt x="1055371" y="45720"/>
                      <a:pt x="1048703" y="47308"/>
                      <a:pt x="1044575" y="50165"/>
                    </a:cubicBezTo>
                    <a:cubicBezTo>
                      <a:pt x="1040447" y="53023"/>
                      <a:pt x="1038225" y="57150"/>
                      <a:pt x="1038225" y="62865"/>
                    </a:cubicBezTo>
                    <a:cubicBezTo>
                      <a:pt x="1038225" y="68580"/>
                      <a:pt x="1039813" y="72708"/>
                      <a:pt x="1042988" y="75565"/>
                    </a:cubicBezTo>
                    <a:cubicBezTo>
                      <a:pt x="1046163" y="78105"/>
                      <a:pt x="1050290" y="79693"/>
                      <a:pt x="1055371" y="79693"/>
                    </a:cubicBezTo>
                    <a:cubicBezTo>
                      <a:pt x="1059815" y="79693"/>
                      <a:pt x="1063625" y="79058"/>
                      <a:pt x="1066165" y="77470"/>
                    </a:cubicBezTo>
                    <a:cubicBezTo>
                      <a:pt x="1068705" y="76200"/>
                      <a:pt x="1071246" y="73977"/>
                      <a:pt x="1073785" y="70802"/>
                    </a:cubicBezTo>
                    <a:lnTo>
                      <a:pt x="1074103" y="70802"/>
                    </a:lnTo>
                    <a:lnTo>
                      <a:pt x="1076325" y="78423"/>
                    </a:lnTo>
                    <a:lnTo>
                      <a:pt x="1083946" y="78423"/>
                    </a:lnTo>
                    <a:lnTo>
                      <a:pt x="1083946" y="41275"/>
                    </a:lnTo>
                    <a:cubicBezTo>
                      <a:pt x="1083946" y="34925"/>
                      <a:pt x="1082358" y="30163"/>
                      <a:pt x="1078865" y="26988"/>
                    </a:cubicBezTo>
                    <a:cubicBezTo>
                      <a:pt x="1075372" y="24130"/>
                      <a:pt x="1070293" y="22543"/>
                      <a:pt x="1063625" y="22543"/>
                    </a:cubicBezTo>
                    <a:cubicBezTo>
                      <a:pt x="1059815" y="22225"/>
                      <a:pt x="1056322" y="22543"/>
                      <a:pt x="1052830" y="23495"/>
                    </a:cubicBezTo>
                    <a:moveTo>
                      <a:pt x="1012825" y="77788"/>
                    </a:moveTo>
                    <a:lnTo>
                      <a:pt x="1033780" y="23177"/>
                    </a:lnTo>
                    <a:lnTo>
                      <a:pt x="1022350" y="23177"/>
                    </a:lnTo>
                    <a:lnTo>
                      <a:pt x="1010920" y="55245"/>
                    </a:lnTo>
                    <a:cubicBezTo>
                      <a:pt x="1010285" y="57468"/>
                      <a:pt x="1009650" y="59690"/>
                      <a:pt x="1008697" y="62230"/>
                    </a:cubicBezTo>
                    <a:cubicBezTo>
                      <a:pt x="1007745" y="64770"/>
                      <a:pt x="1007428" y="66993"/>
                      <a:pt x="1007110" y="68580"/>
                    </a:cubicBezTo>
                    <a:lnTo>
                      <a:pt x="1006793" y="68580"/>
                    </a:lnTo>
                    <a:cubicBezTo>
                      <a:pt x="1006475" y="66993"/>
                      <a:pt x="1006158" y="64770"/>
                      <a:pt x="1005205" y="62230"/>
                    </a:cubicBezTo>
                    <a:cubicBezTo>
                      <a:pt x="1004570" y="59690"/>
                      <a:pt x="1003618" y="57150"/>
                      <a:pt x="1002983" y="55245"/>
                    </a:cubicBezTo>
                    <a:lnTo>
                      <a:pt x="991553" y="23177"/>
                    </a:lnTo>
                    <a:lnTo>
                      <a:pt x="980122" y="23177"/>
                    </a:lnTo>
                    <a:lnTo>
                      <a:pt x="1000760" y="77788"/>
                    </a:lnTo>
                    <a:lnTo>
                      <a:pt x="1012825" y="77788"/>
                    </a:lnTo>
                    <a:close/>
                    <a:moveTo>
                      <a:pt x="940435" y="36195"/>
                    </a:moveTo>
                    <a:cubicBezTo>
                      <a:pt x="942658" y="32702"/>
                      <a:pt x="946468" y="31115"/>
                      <a:pt x="951547" y="31115"/>
                    </a:cubicBezTo>
                    <a:cubicBezTo>
                      <a:pt x="956628" y="31115"/>
                      <a:pt x="960438" y="32702"/>
                      <a:pt x="962660" y="36195"/>
                    </a:cubicBezTo>
                    <a:cubicBezTo>
                      <a:pt x="964883" y="39688"/>
                      <a:pt x="966153" y="44450"/>
                      <a:pt x="966153" y="50483"/>
                    </a:cubicBezTo>
                    <a:cubicBezTo>
                      <a:pt x="966153" y="56515"/>
                      <a:pt x="964883" y="61595"/>
                      <a:pt x="962660" y="64770"/>
                    </a:cubicBezTo>
                    <a:cubicBezTo>
                      <a:pt x="960438" y="67945"/>
                      <a:pt x="956628" y="69850"/>
                      <a:pt x="951547" y="69850"/>
                    </a:cubicBezTo>
                    <a:cubicBezTo>
                      <a:pt x="946468" y="69850"/>
                      <a:pt x="942658" y="68263"/>
                      <a:pt x="940435" y="64770"/>
                    </a:cubicBezTo>
                    <a:cubicBezTo>
                      <a:pt x="938213" y="61277"/>
                      <a:pt x="936943" y="56515"/>
                      <a:pt x="936943" y="50483"/>
                    </a:cubicBezTo>
                    <a:cubicBezTo>
                      <a:pt x="936943" y="44133"/>
                      <a:pt x="937895" y="39370"/>
                      <a:pt x="940435" y="36195"/>
                    </a:cubicBezTo>
                    <a:moveTo>
                      <a:pt x="973772" y="34925"/>
                    </a:moveTo>
                    <a:cubicBezTo>
                      <a:pt x="971550" y="30798"/>
                      <a:pt x="968693" y="27623"/>
                      <a:pt x="964883" y="25400"/>
                    </a:cubicBezTo>
                    <a:cubicBezTo>
                      <a:pt x="961072" y="23177"/>
                      <a:pt x="956628" y="22225"/>
                      <a:pt x="951547" y="22225"/>
                    </a:cubicBezTo>
                    <a:cubicBezTo>
                      <a:pt x="943610" y="22225"/>
                      <a:pt x="937260" y="24765"/>
                      <a:pt x="932497" y="29527"/>
                    </a:cubicBezTo>
                    <a:cubicBezTo>
                      <a:pt x="927735" y="34290"/>
                      <a:pt x="925513" y="41275"/>
                      <a:pt x="925513" y="50483"/>
                    </a:cubicBezTo>
                    <a:cubicBezTo>
                      <a:pt x="925513" y="56515"/>
                      <a:pt x="926465" y="61595"/>
                      <a:pt x="928688" y="66040"/>
                    </a:cubicBezTo>
                    <a:cubicBezTo>
                      <a:pt x="930910" y="70168"/>
                      <a:pt x="933768" y="73343"/>
                      <a:pt x="937578" y="75565"/>
                    </a:cubicBezTo>
                    <a:cubicBezTo>
                      <a:pt x="941388" y="77788"/>
                      <a:pt x="945833" y="78740"/>
                      <a:pt x="950595" y="78740"/>
                    </a:cubicBezTo>
                    <a:cubicBezTo>
                      <a:pt x="958533" y="78740"/>
                      <a:pt x="964883" y="76200"/>
                      <a:pt x="969645" y="71438"/>
                    </a:cubicBezTo>
                    <a:cubicBezTo>
                      <a:pt x="974408" y="66358"/>
                      <a:pt x="976630" y="59373"/>
                      <a:pt x="976630" y="50483"/>
                    </a:cubicBezTo>
                    <a:cubicBezTo>
                      <a:pt x="977265" y="44450"/>
                      <a:pt x="975995" y="39052"/>
                      <a:pt x="973772" y="34925"/>
                    </a:cubicBezTo>
                    <a:moveTo>
                      <a:pt x="882968" y="24130"/>
                    </a:moveTo>
                    <a:cubicBezTo>
                      <a:pt x="879793" y="25400"/>
                      <a:pt x="877570" y="27623"/>
                      <a:pt x="875665" y="30480"/>
                    </a:cubicBezTo>
                    <a:lnTo>
                      <a:pt x="875030" y="30480"/>
                    </a:lnTo>
                    <a:lnTo>
                      <a:pt x="873443" y="23177"/>
                    </a:lnTo>
                    <a:lnTo>
                      <a:pt x="864870" y="23177"/>
                    </a:lnTo>
                    <a:lnTo>
                      <a:pt x="864870" y="77788"/>
                    </a:lnTo>
                    <a:lnTo>
                      <a:pt x="875665" y="77788"/>
                    </a:lnTo>
                    <a:lnTo>
                      <a:pt x="875665" y="50165"/>
                    </a:lnTo>
                    <a:cubicBezTo>
                      <a:pt x="875665" y="43815"/>
                      <a:pt x="876618" y="39052"/>
                      <a:pt x="878840" y="35877"/>
                    </a:cubicBezTo>
                    <a:cubicBezTo>
                      <a:pt x="881063" y="32702"/>
                      <a:pt x="884872" y="30798"/>
                      <a:pt x="890270" y="30798"/>
                    </a:cubicBezTo>
                    <a:cubicBezTo>
                      <a:pt x="897890" y="30798"/>
                      <a:pt x="901700" y="34925"/>
                      <a:pt x="901700" y="43498"/>
                    </a:cubicBezTo>
                    <a:lnTo>
                      <a:pt x="901700" y="77788"/>
                    </a:lnTo>
                    <a:lnTo>
                      <a:pt x="912495" y="77788"/>
                    </a:lnTo>
                    <a:lnTo>
                      <a:pt x="912495" y="42227"/>
                    </a:lnTo>
                    <a:cubicBezTo>
                      <a:pt x="912495" y="35243"/>
                      <a:pt x="910908" y="30163"/>
                      <a:pt x="907415" y="26988"/>
                    </a:cubicBezTo>
                    <a:cubicBezTo>
                      <a:pt x="903922" y="23813"/>
                      <a:pt x="899160" y="22225"/>
                      <a:pt x="892810" y="22225"/>
                    </a:cubicBezTo>
                    <a:cubicBezTo>
                      <a:pt x="889318" y="22225"/>
                      <a:pt x="885825" y="22860"/>
                      <a:pt x="882968" y="24130"/>
                    </a:cubicBezTo>
                    <a:moveTo>
                      <a:pt x="818833" y="24130"/>
                    </a:moveTo>
                    <a:cubicBezTo>
                      <a:pt x="815658" y="25400"/>
                      <a:pt x="813435" y="27623"/>
                      <a:pt x="811530" y="30480"/>
                    </a:cubicBezTo>
                    <a:lnTo>
                      <a:pt x="810895" y="30480"/>
                    </a:lnTo>
                    <a:lnTo>
                      <a:pt x="809308" y="23177"/>
                    </a:lnTo>
                    <a:lnTo>
                      <a:pt x="800735" y="23177"/>
                    </a:lnTo>
                    <a:lnTo>
                      <a:pt x="800735" y="77788"/>
                    </a:lnTo>
                    <a:lnTo>
                      <a:pt x="811530" y="77788"/>
                    </a:lnTo>
                    <a:lnTo>
                      <a:pt x="811530" y="50165"/>
                    </a:lnTo>
                    <a:cubicBezTo>
                      <a:pt x="811530" y="43815"/>
                      <a:pt x="812483" y="39052"/>
                      <a:pt x="814705" y="35877"/>
                    </a:cubicBezTo>
                    <a:cubicBezTo>
                      <a:pt x="816928" y="32702"/>
                      <a:pt x="820738" y="30798"/>
                      <a:pt x="826135" y="30798"/>
                    </a:cubicBezTo>
                    <a:cubicBezTo>
                      <a:pt x="833755" y="30798"/>
                      <a:pt x="837565" y="34925"/>
                      <a:pt x="837565" y="43498"/>
                    </a:cubicBezTo>
                    <a:lnTo>
                      <a:pt x="837565" y="77788"/>
                    </a:lnTo>
                    <a:lnTo>
                      <a:pt x="848360" y="77788"/>
                    </a:lnTo>
                    <a:lnTo>
                      <a:pt x="848360" y="42227"/>
                    </a:lnTo>
                    <a:cubicBezTo>
                      <a:pt x="848360" y="35243"/>
                      <a:pt x="846772" y="30163"/>
                      <a:pt x="843280" y="26988"/>
                    </a:cubicBezTo>
                    <a:cubicBezTo>
                      <a:pt x="839788" y="23813"/>
                      <a:pt x="835025" y="22225"/>
                      <a:pt x="828675" y="22225"/>
                    </a:cubicBezTo>
                    <a:cubicBezTo>
                      <a:pt x="825183" y="22225"/>
                      <a:pt x="822008" y="22860"/>
                      <a:pt x="818833" y="24130"/>
                    </a:cubicBezTo>
                    <a:moveTo>
                      <a:pt x="773113" y="77788"/>
                    </a:moveTo>
                    <a:lnTo>
                      <a:pt x="783908" y="77788"/>
                    </a:lnTo>
                    <a:lnTo>
                      <a:pt x="783908" y="23177"/>
                    </a:lnTo>
                    <a:lnTo>
                      <a:pt x="773113" y="23177"/>
                    </a:lnTo>
                    <a:lnTo>
                      <a:pt x="773113" y="77788"/>
                    </a:lnTo>
                    <a:close/>
                    <a:moveTo>
                      <a:pt x="774383" y="3810"/>
                    </a:moveTo>
                    <a:cubicBezTo>
                      <a:pt x="773113" y="4763"/>
                      <a:pt x="772478" y="6350"/>
                      <a:pt x="772478" y="8573"/>
                    </a:cubicBezTo>
                    <a:cubicBezTo>
                      <a:pt x="772478" y="10795"/>
                      <a:pt x="773113" y="12383"/>
                      <a:pt x="774383" y="13335"/>
                    </a:cubicBezTo>
                    <a:cubicBezTo>
                      <a:pt x="775653" y="14288"/>
                      <a:pt x="776922" y="14923"/>
                      <a:pt x="778828" y="14923"/>
                    </a:cubicBezTo>
                    <a:cubicBezTo>
                      <a:pt x="780415" y="14923"/>
                      <a:pt x="782003" y="14288"/>
                      <a:pt x="782955" y="13335"/>
                    </a:cubicBezTo>
                    <a:cubicBezTo>
                      <a:pt x="784225" y="12383"/>
                      <a:pt x="784860" y="10795"/>
                      <a:pt x="784860" y="8573"/>
                    </a:cubicBezTo>
                    <a:cubicBezTo>
                      <a:pt x="784860" y="6350"/>
                      <a:pt x="784225" y="4763"/>
                      <a:pt x="782955" y="3810"/>
                    </a:cubicBezTo>
                    <a:cubicBezTo>
                      <a:pt x="781685" y="2858"/>
                      <a:pt x="780415" y="2540"/>
                      <a:pt x="778828" y="2540"/>
                    </a:cubicBezTo>
                    <a:cubicBezTo>
                      <a:pt x="776922" y="2223"/>
                      <a:pt x="775653" y="2858"/>
                      <a:pt x="774383" y="3810"/>
                    </a:cubicBezTo>
                    <a:moveTo>
                      <a:pt x="716280" y="35560"/>
                    </a:moveTo>
                    <a:cubicBezTo>
                      <a:pt x="718503" y="38418"/>
                      <a:pt x="719772" y="43498"/>
                      <a:pt x="719772" y="50800"/>
                    </a:cubicBezTo>
                    <a:lnTo>
                      <a:pt x="719772" y="52705"/>
                    </a:lnTo>
                    <a:cubicBezTo>
                      <a:pt x="719772" y="59055"/>
                      <a:pt x="718503" y="63500"/>
                      <a:pt x="716280" y="66040"/>
                    </a:cubicBezTo>
                    <a:cubicBezTo>
                      <a:pt x="714058" y="68898"/>
                      <a:pt x="710247" y="70168"/>
                      <a:pt x="705168" y="70168"/>
                    </a:cubicBezTo>
                    <a:cubicBezTo>
                      <a:pt x="700722" y="70168"/>
                      <a:pt x="697547" y="68580"/>
                      <a:pt x="695008" y="65088"/>
                    </a:cubicBezTo>
                    <a:cubicBezTo>
                      <a:pt x="692785" y="61913"/>
                      <a:pt x="691515" y="56833"/>
                      <a:pt x="691515" y="50483"/>
                    </a:cubicBezTo>
                    <a:cubicBezTo>
                      <a:pt x="691515" y="44133"/>
                      <a:pt x="692785" y="39052"/>
                      <a:pt x="695008" y="35877"/>
                    </a:cubicBezTo>
                    <a:cubicBezTo>
                      <a:pt x="697230" y="32385"/>
                      <a:pt x="700405" y="30798"/>
                      <a:pt x="704850" y="30798"/>
                    </a:cubicBezTo>
                    <a:cubicBezTo>
                      <a:pt x="709930" y="31115"/>
                      <a:pt x="713740" y="32385"/>
                      <a:pt x="716280" y="35560"/>
                    </a:cubicBezTo>
                    <a:moveTo>
                      <a:pt x="686435" y="29845"/>
                    </a:moveTo>
                    <a:cubicBezTo>
                      <a:pt x="682625" y="34925"/>
                      <a:pt x="680720" y="41910"/>
                      <a:pt x="680720" y="50800"/>
                    </a:cubicBezTo>
                    <a:cubicBezTo>
                      <a:pt x="680720" y="59690"/>
                      <a:pt x="682625" y="66675"/>
                      <a:pt x="686435" y="71438"/>
                    </a:cubicBezTo>
                    <a:cubicBezTo>
                      <a:pt x="690245" y="76518"/>
                      <a:pt x="695643" y="79058"/>
                      <a:pt x="702628" y="79058"/>
                    </a:cubicBezTo>
                    <a:cubicBezTo>
                      <a:pt x="706120" y="79058"/>
                      <a:pt x="709295" y="78423"/>
                      <a:pt x="712153" y="77152"/>
                    </a:cubicBezTo>
                    <a:cubicBezTo>
                      <a:pt x="715010" y="75883"/>
                      <a:pt x="717233" y="73660"/>
                      <a:pt x="719138" y="70802"/>
                    </a:cubicBezTo>
                    <a:lnTo>
                      <a:pt x="719455" y="70802"/>
                    </a:lnTo>
                    <a:cubicBezTo>
                      <a:pt x="719455" y="71438"/>
                      <a:pt x="719455" y="72708"/>
                      <a:pt x="719138" y="73977"/>
                    </a:cubicBezTo>
                    <a:cubicBezTo>
                      <a:pt x="719138" y="75248"/>
                      <a:pt x="719138" y="76518"/>
                      <a:pt x="719138" y="77470"/>
                    </a:cubicBezTo>
                    <a:lnTo>
                      <a:pt x="719138" y="79375"/>
                    </a:lnTo>
                    <a:cubicBezTo>
                      <a:pt x="719138" y="84138"/>
                      <a:pt x="717868" y="87630"/>
                      <a:pt x="715328" y="90170"/>
                    </a:cubicBezTo>
                    <a:cubicBezTo>
                      <a:pt x="712788" y="92710"/>
                      <a:pt x="709295" y="93980"/>
                      <a:pt x="705168" y="93980"/>
                    </a:cubicBezTo>
                    <a:cubicBezTo>
                      <a:pt x="701358" y="93980"/>
                      <a:pt x="697547" y="93663"/>
                      <a:pt x="694055" y="93027"/>
                    </a:cubicBezTo>
                    <a:cubicBezTo>
                      <a:pt x="690563" y="92393"/>
                      <a:pt x="687388" y="91123"/>
                      <a:pt x="684530" y="89852"/>
                    </a:cubicBezTo>
                    <a:lnTo>
                      <a:pt x="684530" y="99377"/>
                    </a:lnTo>
                    <a:cubicBezTo>
                      <a:pt x="687388" y="100648"/>
                      <a:pt x="690245" y="101283"/>
                      <a:pt x="693738" y="101918"/>
                    </a:cubicBezTo>
                    <a:cubicBezTo>
                      <a:pt x="696913" y="102552"/>
                      <a:pt x="700722" y="102870"/>
                      <a:pt x="704533" y="102870"/>
                    </a:cubicBezTo>
                    <a:cubicBezTo>
                      <a:pt x="721360" y="102870"/>
                      <a:pt x="729933" y="94933"/>
                      <a:pt x="729933" y="79058"/>
                    </a:cubicBezTo>
                    <a:lnTo>
                      <a:pt x="729933" y="23495"/>
                    </a:lnTo>
                    <a:lnTo>
                      <a:pt x="721043" y="23495"/>
                    </a:lnTo>
                    <a:lnTo>
                      <a:pt x="719772" y="30798"/>
                    </a:lnTo>
                    <a:lnTo>
                      <a:pt x="719138" y="30798"/>
                    </a:lnTo>
                    <a:cubicBezTo>
                      <a:pt x="717233" y="27940"/>
                      <a:pt x="714693" y="26035"/>
                      <a:pt x="711835" y="24448"/>
                    </a:cubicBezTo>
                    <a:cubicBezTo>
                      <a:pt x="708978" y="23177"/>
                      <a:pt x="705803" y="22543"/>
                      <a:pt x="702310" y="22543"/>
                    </a:cubicBezTo>
                    <a:cubicBezTo>
                      <a:pt x="695960" y="22225"/>
                      <a:pt x="690563" y="24765"/>
                      <a:pt x="686435" y="29845"/>
                    </a:cubicBezTo>
                    <a:moveTo>
                      <a:pt x="637858" y="24130"/>
                    </a:moveTo>
                    <a:cubicBezTo>
                      <a:pt x="634683" y="25400"/>
                      <a:pt x="632460" y="27623"/>
                      <a:pt x="630555" y="30480"/>
                    </a:cubicBezTo>
                    <a:lnTo>
                      <a:pt x="629920" y="30480"/>
                    </a:lnTo>
                    <a:lnTo>
                      <a:pt x="628333" y="23177"/>
                    </a:lnTo>
                    <a:lnTo>
                      <a:pt x="619760" y="23177"/>
                    </a:lnTo>
                    <a:lnTo>
                      <a:pt x="619760" y="77788"/>
                    </a:lnTo>
                    <a:lnTo>
                      <a:pt x="630555" y="77788"/>
                    </a:lnTo>
                    <a:lnTo>
                      <a:pt x="630555" y="50165"/>
                    </a:lnTo>
                    <a:cubicBezTo>
                      <a:pt x="630555" y="43815"/>
                      <a:pt x="631508" y="39052"/>
                      <a:pt x="633730" y="35877"/>
                    </a:cubicBezTo>
                    <a:cubicBezTo>
                      <a:pt x="635953" y="32702"/>
                      <a:pt x="639763" y="30798"/>
                      <a:pt x="645160" y="30798"/>
                    </a:cubicBezTo>
                    <a:cubicBezTo>
                      <a:pt x="652780" y="30798"/>
                      <a:pt x="656590" y="34925"/>
                      <a:pt x="656590" y="43498"/>
                    </a:cubicBezTo>
                    <a:lnTo>
                      <a:pt x="656590" y="77788"/>
                    </a:lnTo>
                    <a:lnTo>
                      <a:pt x="667385" y="77788"/>
                    </a:lnTo>
                    <a:lnTo>
                      <a:pt x="667385" y="42227"/>
                    </a:lnTo>
                    <a:cubicBezTo>
                      <a:pt x="667385" y="35243"/>
                      <a:pt x="665797" y="30163"/>
                      <a:pt x="662305" y="26988"/>
                    </a:cubicBezTo>
                    <a:cubicBezTo>
                      <a:pt x="658813" y="23813"/>
                      <a:pt x="654050" y="22225"/>
                      <a:pt x="647700" y="22225"/>
                    </a:cubicBezTo>
                    <a:cubicBezTo>
                      <a:pt x="644208" y="22225"/>
                      <a:pt x="640715" y="22860"/>
                      <a:pt x="637858" y="24130"/>
                    </a:cubicBezTo>
                    <a:moveTo>
                      <a:pt x="592138" y="77788"/>
                    </a:moveTo>
                    <a:lnTo>
                      <a:pt x="602933" y="77788"/>
                    </a:lnTo>
                    <a:lnTo>
                      <a:pt x="602933" y="23177"/>
                    </a:lnTo>
                    <a:lnTo>
                      <a:pt x="592138" y="23177"/>
                    </a:lnTo>
                    <a:lnTo>
                      <a:pt x="592138" y="77788"/>
                    </a:lnTo>
                    <a:close/>
                    <a:moveTo>
                      <a:pt x="593408" y="3810"/>
                    </a:moveTo>
                    <a:cubicBezTo>
                      <a:pt x="592138" y="4763"/>
                      <a:pt x="591503" y="6350"/>
                      <a:pt x="591503" y="8573"/>
                    </a:cubicBezTo>
                    <a:cubicBezTo>
                      <a:pt x="591503" y="10795"/>
                      <a:pt x="592138" y="12383"/>
                      <a:pt x="593408" y="13335"/>
                    </a:cubicBezTo>
                    <a:cubicBezTo>
                      <a:pt x="594678" y="14288"/>
                      <a:pt x="595947" y="14923"/>
                      <a:pt x="597853" y="14923"/>
                    </a:cubicBezTo>
                    <a:cubicBezTo>
                      <a:pt x="599440" y="14923"/>
                      <a:pt x="601028" y="14288"/>
                      <a:pt x="601980" y="13335"/>
                    </a:cubicBezTo>
                    <a:cubicBezTo>
                      <a:pt x="603250" y="12383"/>
                      <a:pt x="603885" y="10795"/>
                      <a:pt x="603885" y="8573"/>
                    </a:cubicBezTo>
                    <a:cubicBezTo>
                      <a:pt x="603885" y="6350"/>
                      <a:pt x="603250" y="4763"/>
                      <a:pt x="601980" y="3810"/>
                    </a:cubicBezTo>
                    <a:cubicBezTo>
                      <a:pt x="600710" y="2858"/>
                      <a:pt x="599440" y="2540"/>
                      <a:pt x="597853" y="2540"/>
                    </a:cubicBezTo>
                    <a:cubicBezTo>
                      <a:pt x="595947" y="2223"/>
                      <a:pt x="594678" y="2858"/>
                      <a:pt x="593408" y="3810"/>
                    </a:cubicBezTo>
                    <a:moveTo>
                      <a:pt x="566103" y="25400"/>
                    </a:moveTo>
                    <a:cubicBezTo>
                      <a:pt x="563245" y="27623"/>
                      <a:pt x="561022" y="30163"/>
                      <a:pt x="559435" y="33020"/>
                    </a:cubicBezTo>
                    <a:lnTo>
                      <a:pt x="559118" y="33020"/>
                    </a:lnTo>
                    <a:lnTo>
                      <a:pt x="557847" y="23177"/>
                    </a:lnTo>
                    <a:lnTo>
                      <a:pt x="549275" y="23177"/>
                    </a:lnTo>
                    <a:lnTo>
                      <a:pt x="549275" y="77788"/>
                    </a:lnTo>
                    <a:lnTo>
                      <a:pt x="560070" y="77788"/>
                    </a:lnTo>
                    <a:lnTo>
                      <a:pt x="560070" y="48895"/>
                    </a:lnTo>
                    <a:cubicBezTo>
                      <a:pt x="560070" y="45402"/>
                      <a:pt x="560705" y="42227"/>
                      <a:pt x="562293" y="39688"/>
                    </a:cubicBezTo>
                    <a:cubicBezTo>
                      <a:pt x="563880" y="37148"/>
                      <a:pt x="565785" y="35243"/>
                      <a:pt x="568008" y="33973"/>
                    </a:cubicBezTo>
                    <a:cubicBezTo>
                      <a:pt x="570230" y="32702"/>
                      <a:pt x="573088" y="32068"/>
                      <a:pt x="575628" y="32068"/>
                    </a:cubicBezTo>
                    <a:cubicBezTo>
                      <a:pt x="577533" y="32068"/>
                      <a:pt x="579438" y="32385"/>
                      <a:pt x="581025" y="32702"/>
                    </a:cubicBezTo>
                    <a:lnTo>
                      <a:pt x="582295" y="22543"/>
                    </a:lnTo>
                    <a:cubicBezTo>
                      <a:pt x="580390" y="22225"/>
                      <a:pt x="578485" y="21908"/>
                      <a:pt x="576263" y="21908"/>
                    </a:cubicBezTo>
                    <a:cubicBezTo>
                      <a:pt x="572453" y="22225"/>
                      <a:pt x="568960" y="23177"/>
                      <a:pt x="566103" y="25400"/>
                    </a:cubicBezTo>
                    <a:moveTo>
                      <a:pt x="521653" y="34290"/>
                    </a:moveTo>
                    <a:cubicBezTo>
                      <a:pt x="523558" y="36830"/>
                      <a:pt x="524828" y="40323"/>
                      <a:pt x="524828" y="44768"/>
                    </a:cubicBezTo>
                    <a:lnTo>
                      <a:pt x="499110" y="44768"/>
                    </a:lnTo>
                    <a:cubicBezTo>
                      <a:pt x="499428" y="40005"/>
                      <a:pt x="501015" y="36513"/>
                      <a:pt x="503238" y="33973"/>
                    </a:cubicBezTo>
                    <a:cubicBezTo>
                      <a:pt x="505460" y="31433"/>
                      <a:pt x="508635" y="30163"/>
                      <a:pt x="512445" y="30163"/>
                    </a:cubicBezTo>
                    <a:cubicBezTo>
                      <a:pt x="516572" y="30480"/>
                      <a:pt x="519747" y="31750"/>
                      <a:pt x="521653" y="34290"/>
                    </a:cubicBezTo>
                    <a:moveTo>
                      <a:pt x="499428" y="25400"/>
                    </a:moveTo>
                    <a:cubicBezTo>
                      <a:pt x="495618" y="27623"/>
                      <a:pt x="492760" y="30798"/>
                      <a:pt x="490855" y="35243"/>
                    </a:cubicBezTo>
                    <a:cubicBezTo>
                      <a:pt x="488633" y="39370"/>
                      <a:pt x="487680" y="44768"/>
                      <a:pt x="487680" y="50800"/>
                    </a:cubicBezTo>
                    <a:cubicBezTo>
                      <a:pt x="487680" y="56833"/>
                      <a:pt x="488950" y="62230"/>
                      <a:pt x="491172" y="66358"/>
                    </a:cubicBezTo>
                    <a:cubicBezTo>
                      <a:pt x="493395" y="70485"/>
                      <a:pt x="496570" y="73660"/>
                      <a:pt x="500697" y="75565"/>
                    </a:cubicBezTo>
                    <a:cubicBezTo>
                      <a:pt x="504825" y="77788"/>
                      <a:pt x="509588" y="78740"/>
                      <a:pt x="514668" y="78740"/>
                    </a:cubicBezTo>
                    <a:cubicBezTo>
                      <a:pt x="518478" y="78740"/>
                      <a:pt x="521970" y="78423"/>
                      <a:pt x="524510" y="77788"/>
                    </a:cubicBezTo>
                    <a:cubicBezTo>
                      <a:pt x="527368" y="77152"/>
                      <a:pt x="529908" y="76200"/>
                      <a:pt x="532765" y="74930"/>
                    </a:cubicBezTo>
                    <a:lnTo>
                      <a:pt x="532765" y="66040"/>
                    </a:lnTo>
                    <a:cubicBezTo>
                      <a:pt x="529908" y="67310"/>
                      <a:pt x="527050" y="68263"/>
                      <a:pt x="524193" y="68898"/>
                    </a:cubicBezTo>
                    <a:cubicBezTo>
                      <a:pt x="521335" y="69533"/>
                      <a:pt x="518160" y="69850"/>
                      <a:pt x="514668" y="69850"/>
                    </a:cubicBezTo>
                    <a:cubicBezTo>
                      <a:pt x="509588" y="69850"/>
                      <a:pt x="505778" y="68263"/>
                      <a:pt x="502920" y="65405"/>
                    </a:cubicBezTo>
                    <a:cubicBezTo>
                      <a:pt x="500063" y="62548"/>
                      <a:pt x="498475" y="58102"/>
                      <a:pt x="498475" y="52388"/>
                    </a:cubicBezTo>
                    <a:lnTo>
                      <a:pt x="535305" y="52388"/>
                    </a:lnTo>
                    <a:lnTo>
                      <a:pt x="535305" y="46355"/>
                    </a:lnTo>
                    <a:cubicBezTo>
                      <a:pt x="535305" y="38735"/>
                      <a:pt x="533083" y="32702"/>
                      <a:pt x="528955" y="28258"/>
                    </a:cubicBezTo>
                    <a:cubicBezTo>
                      <a:pt x="524828" y="23813"/>
                      <a:pt x="519113" y="21590"/>
                      <a:pt x="512128" y="21590"/>
                    </a:cubicBezTo>
                    <a:cubicBezTo>
                      <a:pt x="507365" y="22225"/>
                      <a:pt x="503238" y="23177"/>
                      <a:pt x="499428" y="25400"/>
                    </a:cubicBezTo>
                    <a:moveTo>
                      <a:pt x="481330" y="23177"/>
                    </a:moveTo>
                    <a:lnTo>
                      <a:pt x="467678" y="23177"/>
                    </a:lnTo>
                    <a:lnTo>
                      <a:pt x="467678" y="19685"/>
                    </a:lnTo>
                    <a:cubicBezTo>
                      <a:pt x="467678" y="12700"/>
                      <a:pt x="470218" y="8890"/>
                      <a:pt x="475615" y="8890"/>
                    </a:cubicBezTo>
                    <a:cubicBezTo>
                      <a:pt x="477203" y="8890"/>
                      <a:pt x="478472" y="8890"/>
                      <a:pt x="480060" y="9208"/>
                    </a:cubicBezTo>
                    <a:cubicBezTo>
                      <a:pt x="481330" y="9525"/>
                      <a:pt x="482918" y="9843"/>
                      <a:pt x="483870" y="10160"/>
                    </a:cubicBezTo>
                    <a:lnTo>
                      <a:pt x="486728" y="1905"/>
                    </a:lnTo>
                    <a:cubicBezTo>
                      <a:pt x="485458" y="1588"/>
                      <a:pt x="483553" y="952"/>
                      <a:pt x="481647" y="635"/>
                    </a:cubicBezTo>
                    <a:cubicBezTo>
                      <a:pt x="479743" y="318"/>
                      <a:pt x="477520" y="0"/>
                      <a:pt x="475297" y="0"/>
                    </a:cubicBezTo>
                    <a:cubicBezTo>
                      <a:pt x="469583" y="0"/>
                      <a:pt x="465138" y="1588"/>
                      <a:pt x="461963" y="4445"/>
                    </a:cubicBezTo>
                    <a:cubicBezTo>
                      <a:pt x="458788" y="7302"/>
                      <a:pt x="457200" y="12383"/>
                      <a:pt x="457200" y="19368"/>
                    </a:cubicBezTo>
                    <a:lnTo>
                      <a:pt x="457200" y="22860"/>
                    </a:lnTo>
                    <a:lnTo>
                      <a:pt x="447993" y="26352"/>
                    </a:lnTo>
                    <a:lnTo>
                      <a:pt x="447993" y="31433"/>
                    </a:lnTo>
                    <a:lnTo>
                      <a:pt x="457200" y="31433"/>
                    </a:lnTo>
                    <a:lnTo>
                      <a:pt x="457200" y="78105"/>
                    </a:lnTo>
                    <a:lnTo>
                      <a:pt x="467995" y="78105"/>
                    </a:lnTo>
                    <a:lnTo>
                      <a:pt x="467995" y="31433"/>
                    </a:lnTo>
                    <a:lnTo>
                      <a:pt x="481647" y="31433"/>
                    </a:lnTo>
                    <a:lnTo>
                      <a:pt x="481647" y="23177"/>
                    </a:lnTo>
                    <a:close/>
                    <a:moveTo>
                      <a:pt x="445135" y="23177"/>
                    </a:moveTo>
                    <a:lnTo>
                      <a:pt x="431483" y="23177"/>
                    </a:lnTo>
                    <a:lnTo>
                      <a:pt x="431483" y="19685"/>
                    </a:lnTo>
                    <a:cubicBezTo>
                      <a:pt x="431483" y="12700"/>
                      <a:pt x="434022" y="8890"/>
                      <a:pt x="439420" y="8890"/>
                    </a:cubicBezTo>
                    <a:cubicBezTo>
                      <a:pt x="441008" y="8890"/>
                      <a:pt x="442278" y="8890"/>
                      <a:pt x="443865" y="9208"/>
                    </a:cubicBezTo>
                    <a:cubicBezTo>
                      <a:pt x="445135" y="9525"/>
                      <a:pt x="446722" y="9843"/>
                      <a:pt x="447675" y="10160"/>
                    </a:cubicBezTo>
                    <a:lnTo>
                      <a:pt x="450533" y="1905"/>
                    </a:lnTo>
                    <a:cubicBezTo>
                      <a:pt x="449263" y="1588"/>
                      <a:pt x="447358" y="952"/>
                      <a:pt x="445453" y="635"/>
                    </a:cubicBezTo>
                    <a:cubicBezTo>
                      <a:pt x="443547" y="318"/>
                      <a:pt x="441325" y="0"/>
                      <a:pt x="439103" y="0"/>
                    </a:cubicBezTo>
                    <a:cubicBezTo>
                      <a:pt x="433388" y="0"/>
                      <a:pt x="428943" y="1588"/>
                      <a:pt x="425768" y="4445"/>
                    </a:cubicBezTo>
                    <a:cubicBezTo>
                      <a:pt x="422593" y="7302"/>
                      <a:pt x="421005" y="12383"/>
                      <a:pt x="421005" y="19368"/>
                    </a:cubicBezTo>
                    <a:lnTo>
                      <a:pt x="421005" y="22860"/>
                    </a:lnTo>
                    <a:lnTo>
                      <a:pt x="411797" y="26352"/>
                    </a:lnTo>
                    <a:lnTo>
                      <a:pt x="411797" y="31433"/>
                    </a:lnTo>
                    <a:lnTo>
                      <a:pt x="421005" y="31433"/>
                    </a:lnTo>
                    <a:lnTo>
                      <a:pt x="421005" y="78105"/>
                    </a:lnTo>
                    <a:lnTo>
                      <a:pt x="431800" y="78105"/>
                    </a:lnTo>
                    <a:lnTo>
                      <a:pt x="431800" y="31433"/>
                    </a:lnTo>
                    <a:lnTo>
                      <a:pt x="445453" y="31433"/>
                    </a:lnTo>
                    <a:lnTo>
                      <a:pt x="445453" y="23177"/>
                    </a:lnTo>
                    <a:close/>
                    <a:moveTo>
                      <a:pt x="367983" y="36195"/>
                    </a:moveTo>
                    <a:cubicBezTo>
                      <a:pt x="370205" y="32702"/>
                      <a:pt x="374015" y="31115"/>
                      <a:pt x="379095" y="31115"/>
                    </a:cubicBezTo>
                    <a:cubicBezTo>
                      <a:pt x="384175" y="31115"/>
                      <a:pt x="387985" y="32702"/>
                      <a:pt x="390208" y="36195"/>
                    </a:cubicBezTo>
                    <a:cubicBezTo>
                      <a:pt x="392430" y="39688"/>
                      <a:pt x="393700" y="44450"/>
                      <a:pt x="393700" y="50483"/>
                    </a:cubicBezTo>
                    <a:cubicBezTo>
                      <a:pt x="393700" y="56515"/>
                      <a:pt x="392430" y="61595"/>
                      <a:pt x="390208" y="64770"/>
                    </a:cubicBezTo>
                    <a:cubicBezTo>
                      <a:pt x="387985" y="67945"/>
                      <a:pt x="384175" y="69850"/>
                      <a:pt x="379095" y="69850"/>
                    </a:cubicBezTo>
                    <a:cubicBezTo>
                      <a:pt x="374015" y="69850"/>
                      <a:pt x="370205" y="68263"/>
                      <a:pt x="367983" y="64770"/>
                    </a:cubicBezTo>
                    <a:cubicBezTo>
                      <a:pt x="365760" y="61277"/>
                      <a:pt x="364490" y="56515"/>
                      <a:pt x="364490" y="50483"/>
                    </a:cubicBezTo>
                    <a:cubicBezTo>
                      <a:pt x="364490" y="44133"/>
                      <a:pt x="365760" y="39370"/>
                      <a:pt x="367983" y="36195"/>
                    </a:cubicBezTo>
                    <a:moveTo>
                      <a:pt x="401638" y="34925"/>
                    </a:moveTo>
                    <a:cubicBezTo>
                      <a:pt x="399415" y="30798"/>
                      <a:pt x="396558" y="27623"/>
                      <a:pt x="392748" y="25400"/>
                    </a:cubicBezTo>
                    <a:cubicBezTo>
                      <a:pt x="388938" y="23177"/>
                      <a:pt x="384493" y="22225"/>
                      <a:pt x="379413" y="22225"/>
                    </a:cubicBezTo>
                    <a:cubicBezTo>
                      <a:pt x="371475" y="22225"/>
                      <a:pt x="365125" y="24765"/>
                      <a:pt x="360363" y="29527"/>
                    </a:cubicBezTo>
                    <a:cubicBezTo>
                      <a:pt x="355600" y="34290"/>
                      <a:pt x="353378" y="41275"/>
                      <a:pt x="353378" y="50483"/>
                    </a:cubicBezTo>
                    <a:cubicBezTo>
                      <a:pt x="353378" y="56515"/>
                      <a:pt x="354330" y="61595"/>
                      <a:pt x="356553" y="66040"/>
                    </a:cubicBezTo>
                    <a:cubicBezTo>
                      <a:pt x="358775" y="70168"/>
                      <a:pt x="361633" y="73343"/>
                      <a:pt x="365443" y="75565"/>
                    </a:cubicBezTo>
                    <a:cubicBezTo>
                      <a:pt x="369253" y="77788"/>
                      <a:pt x="373698" y="78740"/>
                      <a:pt x="378460" y="78740"/>
                    </a:cubicBezTo>
                    <a:cubicBezTo>
                      <a:pt x="386398" y="78740"/>
                      <a:pt x="392748" y="76200"/>
                      <a:pt x="397510" y="71438"/>
                    </a:cubicBezTo>
                    <a:cubicBezTo>
                      <a:pt x="402273" y="66358"/>
                      <a:pt x="404495" y="59373"/>
                      <a:pt x="404495" y="50483"/>
                    </a:cubicBezTo>
                    <a:cubicBezTo>
                      <a:pt x="404813" y="44450"/>
                      <a:pt x="403860" y="39052"/>
                      <a:pt x="401638" y="34925"/>
                    </a:cubicBezTo>
                    <a:moveTo>
                      <a:pt x="290195" y="77788"/>
                    </a:moveTo>
                    <a:lnTo>
                      <a:pt x="287973" y="83820"/>
                    </a:lnTo>
                    <a:cubicBezTo>
                      <a:pt x="287020" y="86677"/>
                      <a:pt x="285433" y="89218"/>
                      <a:pt x="283528" y="90805"/>
                    </a:cubicBezTo>
                    <a:cubicBezTo>
                      <a:pt x="281623" y="92710"/>
                      <a:pt x="279083" y="93345"/>
                      <a:pt x="275908" y="93345"/>
                    </a:cubicBezTo>
                    <a:cubicBezTo>
                      <a:pt x="274638" y="93345"/>
                      <a:pt x="273685" y="93345"/>
                      <a:pt x="272415" y="93027"/>
                    </a:cubicBezTo>
                    <a:cubicBezTo>
                      <a:pt x="271463" y="93027"/>
                      <a:pt x="270510" y="92710"/>
                      <a:pt x="269875" y="92710"/>
                    </a:cubicBezTo>
                    <a:lnTo>
                      <a:pt x="269875" y="101283"/>
                    </a:lnTo>
                    <a:cubicBezTo>
                      <a:pt x="270828" y="101600"/>
                      <a:pt x="271780" y="101600"/>
                      <a:pt x="273050" y="101918"/>
                    </a:cubicBezTo>
                    <a:cubicBezTo>
                      <a:pt x="274320" y="102235"/>
                      <a:pt x="275590" y="102235"/>
                      <a:pt x="277495" y="102235"/>
                    </a:cubicBezTo>
                    <a:cubicBezTo>
                      <a:pt x="282893" y="102235"/>
                      <a:pt x="287020" y="100648"/>
                      <a:pt x="290195" y="97790"/>
                    </a:cubicBezTo>
                    <a:cubicBezTo>
                      <a:pt x="293370" y="94933"/>
                      <a:pt x="296228" y="90488"/>
                      <a:pt x="298133" y="85408"/>
                    </a:cubicBezTo>
                    <a:lnTo>
                      <a:pt x="321628" y="23177"/>
                    </a:lnTo>
                    <a:lnTo>
                      <a:pt x="310198" y="23177"/>
                    </a:lnTo>
                    <a:lnTo>
                      <a:pt x="299403" y="54293"/>
                    </a:lnTo>
                    <a:cubicBezTo>
                      <a:pt x="298450" y="56833"/>
                      <a:pt x="297815" y="59055"/>
                      <a:pt x="296863" y="61595"/>
                    </a:cubicBezTo>
                    <a:cubicBezTo>
                      <a:pt x="295910" y="64135"/>
                      <a:pt x="295593" y="66040"/>
                      <a:pt x="295275" y="67945"/>
                    </a:cubicBezTo>
                    <a:lnTo>
                      <a:pt x="294958" y="67945"/>
                    </a:lnTo>
                    <a:cubicBezTo>
                      <a:pt x="294640" y="65723"/>
                      <a:pt x="294323" y="63500"/>
                      <a:pt x="293688" y="61595"/>
                    </a:cubicBezTo>
                    <a:cubicBezTo>
                      <a:pt x="293053" y="59373"/>
                      <a:pt x="292100" y="57150"/>
                      <a:pt x="291465" y="54927"/>
                    </a:cubicBezTo>
                    <a:lnTo>
                      <a:pt x="280035" y="23813"/>
                    </a:lnTo>
                    <a:lnTo>
                      <a:pt x="268605" y="23813"/>
                    </a:lnTo>
                    <a:lnTo>
                      <a:pt x="290195" y="77788"/>
                    </a:lnTo>
                    <a:close/>
                    <a:moveTo>
                      <a:pt x="254000" y="50165"/>
                    </a:moveTo>
                    <a:cubicBezTo>
                      <a:pt x="254000" y="56515"/>
                      <a:pt x="253048" y="61277"/>
                      <a:pt x="250825" y="64770"/>
                    </a:cubicBezTo>
                    <a:cubicBezTo>
                      <a:pt x="248603" y="68263"/>
                      <a:pt x="245428" y="69850"/>
                      <a:pt x="240983" y="69850"/>
                    </a:cubicBezTo>
                    <a:cubicBezTo>
                      <a:pt x="235585" y="69850"/>
                      <a:pt x="231775" y="68263"/>
                      <a:pt x="229870" y="64770"/>
                    </a:cubicBezTo>
                    <a:cubicBezTo>
                      <a:pt x="227965" y="61277"/>
                      <a:pt x="227013" y="56515"/>
                      <a:pt x="227013" y="50165"/>
                    </a:cubicBezTo>
                    <a:lnTo>
                      <a:pt x="227013" y="49213"/>
                    </a:lnTo>
                    <a:cubicBezTo>
                      <a:pt x="227013" y="42863"/>
                      <a:pt x="228283" y="38100"/>
                      <a:pt x="230188" y="34925"/>
                    </a:cubicBezTo>
                    <a:cubicBezTo>
                      <a:pt x="232093" y="31750"/>
                      <a:pt x="235903" y="30163"/>
                      <a:pt x="240983" y="30163"/>
                    </a:cubicBezTo>
                    <a:cubicBezTo>
                      <a:pt x="249555" y="30798"/>
                      <a:pt x="254000" y="37465"/>
                      <a:pt x="254000" y="50165"/>
                    </a:cubicBezTo>
                    <a:moveTo>
                      <a:pt x="215583" y="635"/>
                    </a:moveTo>
                    <a:lnTo>
                      <a:pt x="215583" y="77788"/>
                    </a:lnTo>
                    <a:lnTo>
                      <a:pt x="223520" y="77788"/>
                    </a:lnTo>
                    <a:lnTo>
                      <a:pt x="225425" y="71120"/>
                    </a:lnTo>
                    <a:lnTo>
                      <a:pt x="226378" y="71120"/>
                    </a:lnTo>
                    <a:cubicBezTo>
                      <a:pt x="227965" y="73343"/>
                      <a:pt x="229870" y="74930"/>
                      <a:pt x="232728" y="76518"/>
                    </a:cubicBezTo>
                    <a:cubicBezTo>
                      <a:pt x="235268" y="78105"/>
                      <a:pt x="238760" y="78740"/>
                      <a:pt x="242888" y="78740"/>
                    </a:cubicBezTo>
                    <a:cubicBezTo>
                      <a:pt x="249555" y="78740"/>
                      <a:pt x="254635" y="76200"/>
                      <a:pt x="258763" y="71438"/>
                    </a:cubicBezTo>
                    <a:cubicBezTo>
                      <a:pt x="262890" y="66675"/>
                      <a:pt x="264795" y="59690"/>
                      <a:pt x="264795" y="50165"/>
                    </a:cubicBezTo>
                    <a:cubicBezTo>
                      <a:pt x="264795" y="40958"/>
                      <a:pt x="262890" y="33655"/>
                      <a:pt x="258763" y="28893"/>
                    </a:cubicBezTo>
                    <a:cubicBezTo>
                      <a:pt x="254635" y="24130"/>
                      <a:pt x="249555" y="21908"/>
                      <a:pt x="242888" y="21908"/>
                    </a:cubicBezTo>
                    <a:cubicBezTo>
                      <a:pt x="238760" y="21908"/>
                      <a:pt x="235268" y="22543"/>
                      <a:pt x="232728" y="24130"/>
                    </a:cubicBezTo>
                    <a:cubicBezTo>
                      <a:pt x="230188" y="25718"/>
                      <a:pt x="227965" y="27623"/>
                      <a:pt x="226378" y="29845"/>
                    </a:cubicBezTo>
                    <a:lnTo>
                      <a:pt x="225743" y="29845"/>
                    </a:lnTo>
                    <a:cubicBezTo>
                      <a:pt x="225743" y="28893"/>
                      <a:pt x="226060" y="27305"/>
                      <a:pt x="226060" y="25083"/>
                    </a:cubicBezTo>
                    <a:cubicBezTo>
                      <a:pt x="226060" y="22860"/>
                      <a:pt x="226060" y="20955"/>
                      <a:pt x="226060" y="18733"/>
                    </a:cubicBezTo>
                    <a:lnTo>
                      <a:pt x="226060" y="635"/>
                    </a:lnTo>
                    <a:lnTo>
                      <a:pt x="215583" y="635"/>
                    </a:lnTo>
                    <a:close/>
                    <a:moveTo>
                      <a:pt x="137478" y="65088"/>
                    </a:moveTo>
                    <a:cubicBezTo>
                      <a:pt x="135255" y="61913"/>
                      <a:pt x="133985" y="57150"/>
                      <a:pt x="133985" y="50800"/>
                    </a:cubicBezTo>
                    <a:cubicBezTo>
                      <a:pt x="133985" y="44450"/>
                      <a:pt x="135255" y="39688"/>
                      <a:pt x="137478" y="36195"/>
                    </a:cubicBezTo>
                    <a:cubicBezTo>
                      <a:pt x="139700" y="32702"/>
                      <a:pt x="142875" y="30798"/>
                      <a:pt x="147320" y="30798"/>
                    </a:cubicBezTo>
                    <a:cubicBezTo>
                      <a:pt x="152718" y="30798"/>
                      <a:pt x="156528" y="32385"/>
                      <a:pt x="158750" y="35877"/>
                    </a:cubicBezTo>
                    <a:cubicBezTo>
                      <a:pt x="160655" y="39370"/>
                      <a:pt x="161925" y="44133"/>
                      <a:pt x="161925" y="50483"/>
                    </a:cubicBezTo>
                    <a:lnTo>
                      <a:pt x="161925" y="52070"/>
                    </a:lnTo>
                    <a:cubicBezTo>
                      <a:pt x="161925" y="58102"/>
                      <a:pt x="160655" y="62548"/>
                      <a:pt x="158750" y="65405"/>
                    </a:cubicBezTo>
                    <a:cubicBezTo>
                      <a:pt x="156845" y="68263"/>
                      <a:pt x="153035" y="69850"/>
                      <a:pt x="147638" y="69850"/>
                    </a:cubicBezTo>
                    <a:cubicBezTo>
                      <a:pt x="143193" y="70168"/>
                      <a:pt x="139700" y="68263"/>
                      <a:pt x="137478" y="65088"/>
                    </a:cubicBezTo>
                    <a:moveTo>
                      <a:pt x="155258" y="76518"/>
                    </a:moveTo>
                    <a:cubicBezTo>
                      <a:pt x="157798" y="74930"/>
                      <a:pt x="160020" y="73025"/>
                      <a:pt x="161608" y="70485"/>
                    </a:cubicBezTo>
                    <a:lnTo>
                      <a:pt x="162243" y="70485"/>
                    </a:lnTo>
                    <a:lnTo>
                      <a:pt x="164148" y="77788"/>
                    </a:lnTo>
                    <a:lnTo>
                      <a:pt x="172720" y="77788"/>
                    </a:lnTo>
                    <a:lnTo>
                      <a:pt x="172720" y="635"/>
                    </a:lnTo>
                    <a:lnTo>
                      <a:pt x="161925" y="635"/>
                    </a:lnTo>
                    <a:lnTo>
                      <a:pt x="161925" y="21273"/>
                    </a:lnTo>
                    <a:cubicBezTo>
                      <a:pt x="161925" y="22543"/>
                      <a:pt x="161925" y="24130"/>
                      <a:pt x="162243" y="26035"/>
                    </a:cubicBezTo>
                    <a:cubicBezTo>
                      <a:pt x="162560" y="27940"/>
                      <a:pt x="162560" y="29210"/>
                      <a:pt x="162878" y="30163"/>
                    </a:cubicBezTo>
                    <a:lnTo>
                      <a:pt x="162243" y="30163"/>
                    </a:lnTo>
                    <a:cubicBezTo>
                      <a:pt x="160655" y="27940"/>
                      <a:pt x="158433" y="26035"/>
                      <a:pt x="155893" y="24448"/>
                    </a:cubicBezTo>
                    <a:cubicBezTo>
                      <a:pt x="153353" y="22860"/>
                      <a:pt x="149860" y="22225"/>
                      <a:pt x="145733" y="22225"/>
                    </a:cubicBezTo>
                    <a:cubicBezTo>
                      <a:pt x="139065" y="22225"/>
                      <a:pt x="133668" y="24765"/>
                      <a:pt x="129540" y="29527"/>
                    </a:cubicBezTo>
                    <a:cubicBezTo>
                      <a:pt x="125413" y="34290"/>
                      <a:pt x="123508" y="41593"/>
                      <a:pt x="123508" y="50800"/>
                    </a:cubicBezTo>
                    <a:cubicBezTo>
                      <a:pt x="123508" y="60008"/>
                      <a:pt x="125413" y="67310"/>
                      <a:pt x="129540" y="72073"/>
                    </a:cubicBezTo>
                    <a:cubicBezTo>
                      <a:pt x="133668" y="76835"/>
                      <a:pt x="138748" y="79058"/>
                      <a:pt x="145415" y="79058"/>
                    </a:cubicBezTo>
                    <a:cubicBezTo>
                      <a:pt x="149225" y="78740"/>
                      <a:pt x="152718" y="78105"/>
                      <a:pt x="155258" y="76518"/>
                    </a:cubicBezTo>
                    <a:moveTo>
                      <a:pt x="80328" y="24130"/>
                    </a:moveTo>
                    <a:cubicBezTo>
                      <a:pt x="77153" y="25400"/>
                      <a:pt x="74930" y="27623"/>
                      <a:pt x="73025" y="30480"/>
                    </a:cubicBezTo>
                    <a:lnTo>
                      <a:pt x="72390" y="30480"/>
                    </a:lnTo>
                    <a:lnTo>
                      <a:pt x="70803" y="23177"/>
                    </a:lnTo>
                    <a:lnTo>
                      <a:pt x="62230" y="23177"/>
                    </a:lnTo>
                    <a:lnTo>
                      <a:pt x="62230" y="77788"/>
                    </a:lnTo>
                    <a:lnTo>
                      <a:pt x="73025" y="77788"/>
                    </a:lnTo>
                    <a:lnTo>
                      <a:pt x="73025" y="50165"/>
                    </a:lnTo>
                    <a:cubicBezTo>
                      <a:pt x="73025" y="43815"/>
                      <a:pt x="73978" y="39052"/>
                      <a:pt x="76200" y="35877"/>
                    </a:cubicBezTo>
                    <a:cubicBezTo>
                      <a:pt x="78423" y="32702"/>
                      <a:pt x="82233" y="30798"/>
                      <a:pt x="87630" y="30798"/>
                    </a:cubicBezTo>
                    <a:cubicBezTo>
                      <a:pt x="95250" y="30798"/>
                      <a:pt x="99060" y="34925"/>
                      <a:pt x="99060" y="43498"/>
                    </a:cubicBezTo>
                    <a:lnTo>
                      <a:pt x="99060" y="77788"/>
                    </a:lnTo>
                    <a:lnTo>
                      <a:pt x="109855" y="77788"/>
                    </a:lnTo>
                    <a:lnTo>
                      <a:pt x="109855" y="42227"/>
                    </a:lnTo>
                    <a:cubicBezTo>
                      <a:pt x="109855" y="35243"/>
                      <a:pt x="108268" y="30163"/>
                      <a:pt x="104775" y="26988"/>
                    </a:cubicBezTo>
                    <a:cubicBezTo>
                      <a:pt x="101283" y="23813"/>
                      <a:pt x="96520" y="22225"/>
                      <a:pt x="90170" y="22225"/>
                    </a:cubicBezTo>
                    <a:cubicBezTo>
                      <a:pt x="86678" y="22225"/>
                      <a:pt x="83185" y="22860"/>
                      <a:pt x="80328" y="24130"/>
                    </a:cubicBezTo>
                    <a:moveTo>
                      <a:pt x="34925" y="56198"/>
                    </a:moveTo>
                    <a:cubicBezTo>
                      <a:pt x="34925" y="60960"/>
                      <a:pt x="33655" y="64452"/>
                      <a:pt x="30798" y="66993"/>
                    </a:cubicBezTo>
                    <a:cubicBezTo>
                      <a:pt x="27940" y="69215"/>
                      <a:pt x="24448" y="70485"/>
                      <a:pt x="20320" y="70485"/>
                    </a:cubicBezTo>
                    <a:cubicBezTo>
                      <a:pt x="17463" y="70485"/>
                      <a:pt x="15558" y="69850"/>
                      <a:pt x="13653" y="68580"/>
                    </a:cubicBezTo>
                    <a:cubicBezTo>
                      <a:pt x="12065" y="67310"/>
                      <a:pt x="11113" y="65088"/>
                      <a:pt x="11113" y="62230"/>
                    </a:cubicBezTo>
                    <a:cubicBezTo>
                      <a:pt x="11113" y="59055"/>
                      <a:pt x="12383" y="56515"/>
                      <a:pt x="14605" y="54610"/>
                    </a:cubicBezTo>
                    <a:cubicBezTo>
                      <a:pt x="17145" y="52705"/>
                      <a:pt x="21273" y="51752"/>
                      <a:pt x="27623" y="51435"/>
                    </a:cubicBezTo>
                    <a:lnTo>
                      <a:pt x="34925" y="51118"/>
                    </a:lnTo>
                    <a:lnTo>
                      <a:pt x="34925" y="56198"/>
                    </a:lnTo>
                    <a:close/>
                    <a:moveTo>
                      <a:pt x="14605" y="23495"/>
                    </a:moveTo>
                    <a:cubicBezTo>
                      <a:pt x="11113" y="24448"/>
                      <a:pt x="8255" y="25400"/>
                      <a:pt x="5715" y="26988"/>
                    </a:cubicBezTo>
                    <a:lnTo>
                      <a:pt x="9208" y="34925"/>
                    </a:lnTo>
                    <a:cubicBezTo>
                      <a:pt x="11430" y="33655"/>
                      <a:pt x="13970" y="32702"/>
                      <a:pt x="16510" y="32068"/>
                    </a:cubicBezTo>
                    <a:cubicBezTo>
                      <a:pt x="19050" y="31433"/>
                      <a:pt x="21908" y="30798"/>
                      <a:pt x="24448" y="30798"/>
                    </a:cubicBezTo>
                    <a:cubicBezTo>
                      <a:pt x="27623" y="30798"/>
                      <a:pt x="30480" y="31750"/>
                      <a:pt x="32068" y="33338"/>
                    </a:cubicBezTo>
                    <a:cubicBezTo>
                      <a:pt x="33973" y="34925"/>
                      <a:pt x="34925" y="37783"/>
                      <a:pt x="34925" y="41910"/>
                    </a:cubicBezTo>
                    <a:lnTo>
                      <a:pt x="34925" y="45085"/>
                    </a:lnTo>
                    <a:lnTo>
                      <a:pt x="25718" y="45402"/>
                    </a:lnTo>
                    <a:cubicBezTo>
                      <a:pt x="17145" y="45720"/>
                      <a:pt x="10478" y="47308"/>
                      <a:pt x="6350" y="50165"/>
                    </a:cubicBezTo>
                    <a:cubicBezTo>
                      <a:pt x="2223" y="53023"/>
                      <a:pt x="0" y="57150"/>
                      <a:pt x="0" y="62865"/>
                    </a:cubicBezTo>
                    <a:cubicBezTo>
                      <a:pt x="0" y="68580"/>
                      <a:pt x="1588" y="72708"/>
                      <a:pt x="4763" y="75565"/>
                    </a:cubicBezTo>
                    <a:cubicBezTo>
                      <a:pt x="7938" y="78105"/>
                      <a:pt x="12065" y="79693"/>
                      <a:pt x="17145" y="79693"/>
                    </a:cubicBezTo>
                    <a:cubicBezTo>
                      <a:pt x="21908" y="79693"/>
                      <a:pt x="25400" y="79058"/>
                      <a:pt x="27940" y="77470"/>
                    </a:cubicBezTo>
                    <a:cubicBezTo>
                      <a:pt x="30480" y="76200"/>
                      <a:pt x="33020" y="73977"/>
                      <a:pt x="35560" y="70802"/>
                    </a:cubicBezTo>
                    <a:lnTo>
                      <a:pt x="35878" y="70802"/>
                    </a:lnTo>
                    <a:lnTo>
                      <a:pt x="38100" y="78423"/>
                    </a:lnTo>
                    <a:lnTo>
                      <a:pt x="45720" y="78423"/>
                    </a:lnTo>
                    <a:lnTo>
                      <a:pt x="45720" y="41275"/>
                    </a:lnTo>
                    <a:cubicBezTo>
                      <a:pt x="45720" y="34925"/>
                      <a:pt x="44133" y="30163"/>
                      <a:pt x="40640" y="26988"/>
                    </a:cubicBezTo>
                    <a:cubicBezTo>
                      <a:pt x="37148" y="24130"/>
                      <a:pt x="32068" y="22543"/>
                      <a:pt x="25400" y="22543"/>
                    </a:cubicBezTo>
                    <a:cubicBezTo>
                      <a:pt x="21590" y="22225"/>
                      <a:pt x="18098" y="22543"/>
                      <a:pt x="14605" y="23495"/>
                    </a:cubicBezTo>
                  </a:path>
                </a:pathLst>
              </a:custGeom>
              <a:grpFill/>
              <a:ln w="3175" cap="flat">
                <a:noFill/>
                <a:prstDash val="solid"/>
                <a:miter/>
              </a:ln>
            </p:spPr>
            <p:txBody>
              <a:bodyPr rtlCol="0" anchor="ctr"/>
              <a:lstStyle/>
              <a:p>
                <a:endParaRPr lang="en-GB">
                  <a:solidFill>
                    <a:srgbClr val="000000"/>
                  </a:solidFill>
                  <a:latin typeface="Verdana"/>
                </a:endParaRPr>
              </a:p>
            </p:txBody>
          </p:sp>
          <p:sp>
            <p:nvSpPr>
              <p:cNvPr id="36" name="Freeform: Shape 35">
                <a:extLst>
                  <a:ext uri="{FF2B5EF4-FFF2-40B4-BE49-F238E27FC236}">
                    <a16:creationId xmlns:a16="http://schemas.microsoft.com/office/drawing/2014/main" id="{7044FA68-7FEE-4C11-93E9-3FAFF800A8AF}"/>
                  </a:ext>
                </a:extLst>
              </p:cNvPr>
              <p:cNvSpPr/>
              <p:nvPr/>
            </p:nvSpPr>
            <p:spPr>
              <a:xfrm>
                <a:off x="6089015" y="1792605"/>
                <a:ext cx="1438275" cy="101600"/>
              </a:xfrm>
              <a:custGeom>
                <a:avLst/>
                <a:gdLst>
                  <a:gd name="connsiteX0" fmla="*/ 1423988 w 1438275"/>
                  <a:gd name="connsiteY0" fmla="*/ 67310 h 101600"/>
                  <a:gd name="connsiteX1" fmla="*/ 1421765 w 1438275"/>
                  <a:gd name="connsiteY1" fmla="*/ 60643 h 101600"/>
                  <a:gd name="connsiteX2" fmla="*/ 1421765 w 1438275"/>
                  <a:gd name="connsiteY2" fmla="*/ 30480 h 101600"/>
                  <a:gd name="connsiteX3" fmla="*/ 1437322 w 1438275"/>
                  <a:gd name="connsiteY3" fmla="*/ 30480 h 101600"/>
                  <a:gd name="connsiteX4" fmla="*/ 1437322 w 1438275"/>
                  <a:gd name="connsiteY4" fmla="*/ 22225 h 101600"/>
                  <a:gd name="connsiteX5" fmla="*/ 1421765 w 1438275"/>
                  <a:gd name="connsiteY5" fmla="*/ 22225 h 101600"/>
                  <a:gd name="connsiteX6" fmla="*/ 1421765 w 1438275"/>
                  <a:gd name="connsiteY6" fmla="*/ 9843 h 101600"/>
                  <a:gd name="connsiteX7" fmla="*/ 1415097 w 1438275"/>
                  <a:gd name="connsiteY7" fmla="*/ 9843 h 101600"/>
                  <a:gd name="connsiteX8" fmla="*/ 1411288 w 1438275"/>
                  <a:gd name="connsiteY8" fmla="*/ 21273 h 101600"/>
                  <a:gd name="connsiteX9" fmla="*/ 1403350 w 1438275"/>
                  <a:gd name="connsiteY9" fmla="*/ 25400 h 101600"/>
                  <a:gd name="connsiteX10" fmla="*/ 1403350 w 1438275"/>
                  <a:gd name="connsiteY10" fmla="*/ 30163 h 101600"/>
                  <a:gd name="connsiteX11" fmla="*/ 1410970 w 1438275"/>
                  <a:gd name="connsiteY11" fmla="*/ 30163 h 101600"/>
                  <a:gd name="connsiteX12" fmla="*/ 1410970 w 1438275"/>
                  <a:gd name="connsiteY12" fmla="*/ 60325 h 101600"/>
                  <a:gd name="connsiteX13" fmla="*/ 1413192 w 1438275"/>
                  <a:gd name="connsiteY13" fmla="*/ 70803 h 101600"/>
                  <a:gd name="connsiteX14" fmla="*/ 1419225 w 1438275"/>
                  <a:gd name="connsiteY14" fmla="*/ 76200 h 101600"/>
                  <a:gd name="connsiteX15" fmla="*/ 1427480 w 1438275"/>
                  <a:gd name="connsiteY15" fmla="*/ 77788 h 101600"/>
                  <a:gd name="connsiteX16" fmla="*/ 1433513 w 1438275"/>
                  <a:gd name="connsiteY16" fmla="*/ 77153 h 101600"/>
                  <a:gd name="connsiteX17" fmla="*/ 1438275 w 1438275"/>
                  <a:gd name="connsiteY17" fmla="*/ 75883 h 101600"/>
                  <a:gd name="connsiteX18" fmla="*/ 1438275 w 1438275"/>
                  <a:gd name="connsiteY18" fmla="*/ 67628 h 101600"/>
                  <a:gd name="connsiteX19" fmla="*/ 1430020 w 1438275"/>
                  <a:gd name="connsiteY19" fmla="*/ 68898 h 101600"/>
                  <a:gd name="connsiteX20" fmla="*/ 1423988 w 1438275"/>
                  <a:gd name="connsiteY20" fmla="*/ 67310 h 101600"/>
                  <a:gd name="connsiteX21" fmla="*/ 1363980 w 1438275"/>
                  <a:gd name="connsiteY21" fmla="*/ 23495 h 101600"/>
                  <a:gd name="connsiteX22" fmla="*/ 1356678 w 1438275"/>
                  <a:gd name="connsiteY22" fmla="*/ 29845 h 101600"/>
                  <a:gd name="connsiteX23" fmla="*/ 1356042 w 1438275"/>
                  <a:gd name="connsiteY23" fmla="*/ 29845 h 101600"/>
                  <a:gd name="connsiteX24" fmla="*/ 1354455 w 1438275"/>
                  <a:gd name="connsiteY24" fmla="*/ 22543 h 101600"/>
                  <a:gd name="connsiteX25" fmla="*/ 1345882 w 1438275"/>
                  <a:gd name="connsiteY25" fmla="*/ 22543 h 101600"/>
                  <a:gd name="connsiteX26" fmla="*/ 1345882 w 1438275"/>
                  <a:gd name="connsiteY26" fmla="*/ 77153 h 101600"/>
                  <a:gd name="connsiteX27" fmla="*/ 1356678 w 1438275"/>
                  <a:gd name="connsiteY27" fmla="*/ 77153 h 101600"/>
                  <a:gd name="connsiteX28" fmla="*/ 1356678 w 1438275"/>
                  <a:gd name="connsiteY28" fmla="*/ 49530 h 101600"/>
                  <a:gd name="connsiteX29" fmla="*/ 1359853 w 1438275"/>
                  <a:gd name="connsiteY29" fmla="*/ 35243 h 101600"/>
                  <a:gd name="connsiteX30" fmla="*/ 1371282 w 1438275"/>
                  <a:gd name="connsiteY30" fmla="*/ 30163 h 101600"/>
                  <a:gd name="connsiteX31" fmla="*/ 1382395 w 1438275"/>
                  <a:gd name="connsiteY31" fmla="*/ 42863 h 101600"/>
                  <a:gd name="connsiteX32" fmla="*/ 1382395 w 1438275"/>
                  <a:gd name="connsiteY32" fmla="*/ 77153 h 101600"/>
                  <a:gd name="connsiteX33" fmla="*/ 1393190 w 1438275"/>
                  <a:gd name="connsiteY33" fmla="*/ 77153 h 101600"/>
                  <a:gd name="connsiteX34" fmla="*/ 1393190 w 1438275"/>
                  <a:gd name="connsiteY34" fmla="*/ 41593 h 101600"/>
                  <a:gd name="connsiteX35" fmla="*/ 1388110 w 1438275"/>
                  <a:gd name="connsiteY35" fmla="*/ 26353 h 101600"/>
                  <a:gd name="connsiteX36" fmla="*/ 1373505 w 1438275"/>
                  <a:gd name="connsiteY36" fmla="*/ 21590 h 101600"/>
                  <a:gd name="connsiteX37" fmla="*/ 1363980 w 1438275"/>
                  <a:gd name="connsiteY37" fmla="*/ 23495 h 101600"/>
                  <a:gd name="connsiteX38" fmla="*/ 1318578 w 1438275"/>
                  <a:gd name="connsiteY38" fmla="*/ 33655 h 101600"/>
                  <a:gd name="connsiteX39" fmla="*/ 1321753 w 1438275"/>
                  <a:gd name="connsiteY39" fmla="*/ 44133 h 101600"/>
                  <a:gd name="connsiteX40" fmla="*/ 1296035 w 1438275"/>
                  <a:gd name="connsiteY40" fmla="*/ 44133 h 101600"/>
                  <a:gd name="connsiteX41" fmla="*/ 1300163 w 1438275"/>
                  <a:gd name="connsiteY41" fmla="*/ 33338 h 101600"/>
                  <a:gd name="connsiteX42" fmla="*/ 1309370 w 1438275"/>
                  <a:gd name="connsiteY42" fmla="*/ 29528 h 101600"/>
                  <a:gd name="connsiteX43" fmla="*/ 1318578 w 1438275"/>
                  <a:gd name="connsiteY43" fmla="*/ 33655 h 101600"/>
                  <a:gd name="connsiteX44" fmla="*/ 1296353 w 1438275"/>
                  <a:gd name="connsiteY44" fmla="*/ 24765 h 101600"/>
                  <a:gd name="connsiteX45" fmla="*/ 1287780 w 1438275"/>
                  <a:gd name="connsiteY45" fmla="*/ 34608 h 101600"/>
                  <a:gd name="connsiteX46" fmla="*/ 1284605 w 1438275"/>
                  <a:gd name="connsiteY46" fmla="*/ 50165 h 101600"/>
                  <a:gd name="connsiteX47" fmla="*/ 1288097 w 1438275"/>
                  <a:gd name="connsiteY47" fmla="*/ 65723 h 101600"/>
                  <a:gd name="connsiteX48" fmla="*/ 1297622 w 1438275"/>
                  <a:gd name="connsiteY48" fmla="*/ 74930 h 101600"/>
                  <a:gd name="connsiteX49" fmla="*/ 1311592 w 1438275"/>
                  <a:gd name="connsiteY49" fmla="*/ 78105 h 101600"/>
                  <a:gd name="connsiteX50" fmla="*/ 1321435 w 1438275"/>
                  <a:gd name="connsiteY50" fmla="*/ 77153 h 101600"/>
                  <a:gd name="connsiteX51" fmla="*/ 1329690 w 1438275"/>
                  <a:gd name="connsiteY51" fmla="*/ 74295 h 101600"/>
                  <a:gd name="connsiteX52" fmla="*/ 1329690 w 1438275"/>
                  <a:gd name="connsiteY52" fmla="*/ 65405 h 101600"/>
                  <a:gd name="connsiteX53" fmla="*/ 1321117 w 1438275"/>
                  <a:gd name="connsiteY53" fmla="*/ 68263 h 101600"/>
                  <a:gd name="connsiteX54" fmla="*/ 1311592 w 1438275"/>
                  <a:gd name="connsiteY54" fmla="*/ 69215 h 101600"/>
                  <a:gd name="connsiteX55" fmla="*/ 1299845 w 1438275"/>
                  <a:gd name="connsiteY55" fmla="*/ 64770 h 101600"/>
                  <a:gd name="connsiteX56" fmla="*/ 1295400 w 1438275"/>
                  <a:gd name="connsiteY56" fmla="*/ 51753 h 101600"/>
                  <a:gd name="connsiteX57" fmla="*/ 1332230 w 1438275"/>
                  <a:gd name="connsiteY57" fmla="*/ 51753 h 101600"/>
                  <a:gd name="connsiteX58" fmla="*/ 1332230 w 1438275"/>
                  <a:gd name="connsiteY58" fmla="*/ 45720 h 101600"/>
                  <a:gd name="connsiteX59" fmla="*/ 1325880 w 1438275"/>
                  <a:gd name="connsiteY59" fmla="*/ 27623 h 101600"/>
                  <a:gd name="connsiteX60" fmla="*/ 1309053 w 1438275"/>
                  <a:gd name="connsiteY60" fmla="*/ 20955 h 101600"/>
                  <a:gd name="connsiteX61" fmla="*/ 1296353 w 1438275"/>
                  <a:gd name="connsiteY61" fmla="*/ 24765 h 101600"/>
                  <a:gd name="connsiteX62" fmla="*/ 1243013 w 1438275"/>
                  <a:gd name="connsiteY62" fmla="*/ 23495 h 101600"/>
                  <a:gd name="connsiteX63" fmla="*/ 1235710 w 1438275"/>
                  <a:gd name="connsiteY63" fmla="*/ 30163 h 101600"/>
                  <a:gd name="connsiteX64" fmla="*/ 1234757 w 1438275"/>
                  <a:gd name="connsiteY64" fmla="*/ 30163 h 101600"/>
                  <a:gd name="connsiteX65" fmla="*/ 1218247 w 1438275"/>
                  <a:gd name="connsiteY65" fmla="*/ 21273 h 101600"/>
                  <a:gd name="connsiteX66" fmla="*/ 1209040 w 1438275"/>
                  <a:gd name="connsiteY66" fmla="*/ 23178 h 101600"/>
                  <a:gd name="connsiteX67" fmla="*/ 1202055 w 1438275"/>
                  <a:gd name="connsiteY67" fmla="*/ 29528 h 101600"/>
                  <a:gd name="connsiteX68" fmla="*/ 1201420 w 1438275"/>
                  <a:gd name="connsiteY68" fmla="*/ 29528 h 101600"/>
                  <a:gd name="connsiteX69" fmla="*/ 1199832 w 1438275"/>
                  <a:gd name="connsiteY69" fmla="*/ 22225 h 101600"/>
                  <a:gd name="connsiteX70" fmla="*/ 1191260 w 1438275"/>
                  <a:gd name="connsiteY70" fmla="*/ 22225 h 101600"/>
                  <a:gd name="connsiteX71" fmla="*/ 1191260 w 1438275"/>
                  <a:gd name="connsiteY71" fmla="*/ 76835 h 101600"/>
                  <a:gd name="connsiteX72" fmla="*/ 1202055 w 1438275"/>
                  <a:gd name="connsiteY72" fmla="*/ 76835 h 101600"/>
                  <a:gd name="connsiteX73" fmla="*/ 1202055 w 1438275"/>
                  <a:gd name="connsiteY73" fmla="*/ 49213 h 101600"/>
                  <a:gd name="connsiteX74" fmla="*/ 1204913 w 1438275"/>
                  <a:gd name="connsiteY74" fmla="*/ 34925 h 101600"/>
                  <a:gd name="connsiteX75" fmla="*/ 1215390 w 1438275"/>
                  <a:gd name="connsiteY75" fmla="*/ 29845 h 101600"/>
                  <a:gd name="connsiteX76" fmla="*/ 1225867 w 1438275"/>
                  <a:gd name="connsiteY76" fmla="*/ 42545 h 101600"/>
                  <a:gd name="connsiteX77" fmla="*/ 1225867 w 1438275"/>
                  <a:gd name="connsiteY77" fmla="*/ 76835 h 101600"/>
                  <a:gd name="connsiteX78" fmla="*/ 1236663 w 1438275"/>
                  <a:gd name="connsiteY78" fmla="*/ 76835 h 101600"/>
                  <a:gd name="connsiteX79" fmla="*/ 1236663 w 1438275"/>
                  <a:gd name="connsiteY79" fmla="*/ 47308 h 101600"/>
                  <a:gd name="connsiteX80" fmla="*/ 1239838 w 1438275"/>
                  <a:gd name="connsiteY80" fmla="*/ 34290 h 101600"/>
                  <a:gd name="connsiteX81" fmla="*/ 1250315 w 1438275"/>
                  <a:gd name="connsiteY81" fmla="*/ 29845 h 101600"/>
                  <a:gd name="connsiteX82" fmla="*/ 1260475 w 1438275"/>
                  <a:gd name="connsiteY82" fmla="*/ 42545 h 101600"/>
                  <a:gd name="connsiteX83" fmla="*/ 1260475 w 1438275"/>
                  <a:gd name="connsiteY83" fmla="*/ 76835 h 101600"/>
                  <a:gd name="connsiteX84" fmla="*/ 1271270 w 1438275"/>
                  <a:gd name="connsiteY84" fmla="*/ 76835 h 101600"/>
                  <a:gd name="connsiteX85" fmla="*/ 1271270 w 1438275"/>
                  <a:gd name="connsiteY85" fmla="*/ 41275 h 101600"/>
                  <a:gd name="connsiteX86" fmla="*/ 1266507 w 1438275"/>
                  <a:gd name="connsiteY86" fmla="*/ 26035 h 101600"/>
                  <a:gd name="connsiteX87" fmla="*/ 1252538 w 1438275"/>
                  <a:gd name="connsiteY87" fmla="*/ 21273 h 101600"/>
                  <a:gd name="connsiteX88" fmla="*/ 1243013 w 1438275"/>
                  <a:gd name="connsiteY88" fmla="*/ 23495 h 101600"/>
                  <a:gd name="connsiteX89" fmla="*/ 1163320 w 1438275"/>
                  <a:gd name="connsiteY89" fmla="*/ 35560 h 101600"/>
                  <a:gd name="connsiteX90" fmla="*/ 1166495 w 1438275"/>
                  <a:gd name="connsiteY90" fmla="*/ 49530 h 101600"/>
                  <a:gd name="connsiteX91" fmla="*/ 1163320 w 1438275"/>
                  <a:gd name="connsiteY91" fmla="*/ 63818 h 101600"/>
                  <a:gd name="connsiteX92" fmla="*/ 1153478 w 1438275"/>
                  <a:gd name="connsiteY92" fmla="*/ 69215 h 101600"/>
                  <a:gd name="connsiteX93" fmla="*/ 1142365 w 1438275"/>
                  <a:gd name="connsiteY93" fmla="*/ 64135 h 101600"/>
                  <a:gd name="connsiteX94" fmla="*/ 1139190 w 1438275"/>
                  <a:gd name="connsiteY94" fmla="*/ 49530 h 101600"/>
                  <a:gd name="connsiteX95" fmla="*/ 1139190 w 1438275"/>
                  <a:gd name="connsiteY95" fmla="*/ 47943 h 101600"/>
                  <a:gd name="connsiteX96" fmla="*/ 1142365 w 1438275"/>
                  <a:gd name="connsiteY96" fmla="*/ 34608 h 101600"/>
                  <a:gd name="connsiteX97" fmla="*/ 1153160 w 1438275"/>
                  <a:gd name="connsiteY97" fmla="*/ 30163 h 101600"/>
                  <a:gd name="connsiteX98" fmla="*/ 1163320 w 1438275"/>
                  <a:gd name="connsiteY98" fmla="*/ 35560 h 101600"/>
                  <a:gd name="connsiteX99" fmla="*/ 1145540 w 1438275"/>
                  <a:gd name="connsiteY99" fmla="*/ 23813 h 101600"/>
                  <a:gd name="connsiteX100" fmla="*/ 1139190 w 1438275"/>
                  <a:gd name="connsiteY100" fmla="*/ 29845 h 101600"/>
                  <a:gd name="connsiteX101" fmla="*/ 1138555 w 1438275"/>
                  <a:gd name="connsiteY101" fmla="*/ 29845 h 101600"/>
                  <a:gd name="connsiteX102" fmla="*/ 1136967 w 1438275"/>
                  <a:gd name="connsiteY102" fmla="*/ 22543 h 101600"/>
                  <a:gd name="connsiteX103" fmla="*/ 1128078 w 1438275"/>
                  <a:gd name="connsiteY103" fmla="*/ 22543 h 101600"/>
                  <a:gd name="connsiteX104" fmla="*/ 1128078 w 1438275"/>
                  <a:gd name="connsiteY104" fmla="*/ 101600 h 101600"/>
                  <a:gd name="connsiteX105" fmla="*/ 1138872 w 1438275"/>
                  <a:gd name="connsiteY105" fmla="*/ 101600 h 101600"/>
                  <a:gd name="connsiteX106" fmla="*/ 1138872 w 1438275"/>
                  <a:gd name="connsiteY106" fmla="*/ 79375 h 101600"/>
                  <a:gd name="connsiteX107" fmla="*/ 1138555 w 1438275"/>
                  <a:gd name="connsiteY107" fmla="*/ 74930 h 101600"/>
                  <a:gd name="connsiteX108" fmla="*/ 1138238 w 1438275"/>
                  <a:gd name="connsiteY108" fmla="*/ 70485 h 101600"/>
                  <a:gd name="connsiteX109" fmla="*/ 1138872 w 1438275"/>
                  <a:gd name="connsiteY109" fmla="*/ 70485 h 101600"/>
                  <a:gd name="connsiteX110" fmla="*/ 1145222 w 1438275"/>
                  <a:gd name="connsiteY110" fmla="*/ 75883 h 101600"/>
                  <a:gd name="connsiteX111" fmla="*/ 1155382 w 1438275"/>
                  <a:gd name="connsiteY111" fmla="*/ 78105 h 101600"/>
                  <a:gd name="connsiteX112" fmla="*/ 1171257 w 1438275"/>
                  <a:gd name="connsiteY112" fmla="*/ 70803 h 101600"/>
                  <a:gd name="connsiteX113" fmla="*/ 1177290 w 1438275"/>
                  <a:gd name="connsiteY113" fmla="*/ 49530 h 101600"/>
                  <a:gd name="connsiteX114" fmla="*/ 1171257 w 1438275"/>
                  <a:gd name="connsiteY114" fmla="*/ 28258 h 101600"/>
                  <a:gd name="connsiteX115" fmla="*/ 1155382 w 1438275"/>
                  <a:gd name="connsiteY115" fmla="*/ 21273 h 101600"/>
                  <a:gd name="connsiteX116" fmla="*/ 1145540 w 1438275"/>
                  <a:gd name="connsiteY116" fmla="*/ 23813 h 101600"/>
                  <a:gd name="connsiteX117" fmla="*/ 1077913 w 1438275"/>
                  <a:gd name="connsiteY117" fmla="*/ 35560 h 101600"/>
                  <a:gd name="connsiteX118" fmla="*/ 1089025 w 1438275"/>
                  <a:gd name="connsiteY118" fmla="*/ 30480 h 101600"/>
                  <a:gd name="connsiteX119" fmla="*/ 1100138 w 1438275"/>
                  <a:gd name="connsiteY119" fmla="*/ 35560 h 101600"/>
                  <a:gd name="connsiteX120" fmla="*/ 1103630 w 1438275"/>
                  <a:gd name="connsiteY120" fmla="*/ 49848 h 101600"/>
                  <a:gd name="connsiteX121" fmla="*/ 1100138 w 1438275"/>
                  <a:gd name="connsiteY121" fmla="*/ 64135 h 101600"/>
                  <a:gd name="connsiteX122" fmla="*/ 1089025 w 1438275"/>
                  <a:gd name="connsiteY122" fmla="*/ 69215 h 101600"/>
                  <a:gd name="connsiteX123" fmla="*/ 1077913 w 1438275"/>
                  <a:gd name="connsiteY123" fmla="*/ 64135 h 101600"/>
                  <a:gd name="connsiteX124" fmla="*/ 1074420 w 1438275"/>
                  <a:gd name="connsiteY124" fmla="*/ 49848 h 101600"/>
                  <a:gd name="connsiteX125" fmla="*/ 1077913 w 1438275"/>
                  <a:gd name="connsiteY125" fmla="*/ 35560 h 101600"/>
                  <a:gd name="connsiteX126" fmla="*/ 1111567 w 1438275"/>
                  <a:gd name="connsiteY126" fmla="*/ 34290 h 101600"/>
                  <a:gd name="connsiteX127" fmla="*/ 1102678 w 1438275"/>
                  <a:gd name="connsiteY127" fmla="*/ 24765 h 101600"/>
                  <a:gd name="connsiteX128" fmla="*/ 1089342 w 1438275"/>
                  <a:gd name="connsiteY128" fmla="*/ 21590 h 101600"/>
                  <a:gd name="connsiteX129" fmla="*/ 1070292 w 1438275"/>
                  <a:gd name="connsiteY129" fmla="*/ 28893 h 101600"/>
                  <a:gd name="connsiteX130" fmla="*/ 1063307 w 1438275"/>
                  <a:gd name="connsiteY130" fmla="*/ 49848 h 101600"/>
                  <a:gd name="connsiteX131" fmla="*/ 1066482 w 1438275"/>
                  <a:gd name="connsiteY131" fmla="*/ 65405 h 101600"/>
                  <a:gd name="connsiteX132" fmla="*/ 1075372 w 1438275"/>
                  <a:gd name="connsiteY132" fmla="*/ 74930 h 101600"/>
                  <a:gd name="connsiteX133" fmla="*/ 1088390 w 1438275"/>
                  <a:gd name="connsiteY133" fmla="*/ 78105 h 101600"/>
                  <a:gd name="connsiteX134" fmla="*/ 1107440 w 1438275"/>
                  <a:gd name="connsiteY134" fmla="*/ 70803 h 101600"/>
                  <a:gd name="connsiteX135" fmla="*/ 1114425 w 1438275"/>
                  <a:gd name="connsiteY135" fmla="*/ 49848 h 101600"/>
                  <a:gd name="connsiteX136" fmla="*/ 1111567 w 1438275"/>
                  <a:gd name="connsiteY136" fmla="*/ 34290 h 101600"/>
                  <a:gd name="connsiteX137" fmla="*/ 1049655 w 1438275"/>
                  <a:gd name="connsiteY137" fmla="*/ 0 h 101600"/>
                  <a:gd name="connsiteX138" fmla="*/ 1038860 w 1438275"/>
                  <a:gd name="connsiteY138" fmla="*/ 0 h 101600"/>
                  <a:gd name="connsiteX139" fmla="*/ 1038860 w 1438275"/>
                  <a:gd name="connsiteY139" fmla="*/ 77153 h 101600"/>
                  <a:gd name="connsiteX140" fmla="*/ 1049655 w 1438275"/>
                  <a:gd name="connsiteY140" fmla="*/ 77153 h 101600"/>
                  <a:gd name="connsiteX141" fmla="*/ 1049655 w 1438275"/>
                  <a:gd name="connsiteY141" fmla="*/ 0 h 101600"/>
                  <a:gd name="connsiteX142" fmla="*/ 1011555 w 1438275"/>
                  <a:gd name="connsiteY142" fmla="*/ 33655 h 101600"/>
                  <a:gd name="connsiteX143" fmla="*/ 1014730 w 1438275"/>
                  <a:gd name="connsiteY143" fmla="*/ 44133 h 101600"/>
                  <a:gd name="connsiteX144" fmla="*/ 989013 w 1438275"/>
                  <a:gd name="connsiteY144" fmla="*/ 44133 h 101600"/>
                  <a:gd name="connsiteX145" fmla="*/ 993140 w 1438275"/>
                  <a:gd name="connsiteY145" fmla="*/ 33338 h 101600"/>
                  <a:gd name="connsiteX146" fmla="*/ 1002347 w 1438275"/>
                  <a:gd name="connsiteY146" fmla="*/ 29528 h 101600"/>
                  <a:gd name="connsiteX147" fmla="*/ 1011555 w 1438275"/>
                  <a:gd name="connsiteY147" fmla="*/ 33655 h 101600"/>
                  <a:gd name="connsiteX148" fmla="*/ 989330 w 1438275"/>
                  <a:gd name="connsiteY148" fmla="*/ 24765 h 101600"/>
                  <a:gd name="connsiteX149" fmla="*/ 980757 w 1438275"/>
                  <a:gd name="connsiteY149" fmla="*/ 34608 h 101600"/>
                  <a:gd name="connsiteX150" fmla="*/ 977582 w 1438275"/>
                  <a:gd name="connsiteY150" fmla="*/ 50165 h 101600"/>
                  <a:gd name="connsiteX151" fmla="*/ 981075 w 1438275"/>
                  <a:gd name="connsiteY151" fmla="*/ 65723 h 101600"/>
                  <a:gd name="connsiteX152" fmla="*/ 990600 w 1438275"/>
                  <a:gd name="connsiteY152" fmla="*/ 74930 h 101600"/>
                  <a:gd name="connsiteX153" fmla="*/ 1004570 w 1438275"/>
                  <a:gd name="connsiteY153" fmla="*/ 78105 h 101600"/>
                  <a:gd name="connsiteX154" fmla="*/ 1014413 w 1438275"/>
                  <a:gd name="connsiteY154" fmla="*/ 77153 h 101600"/>
                  <a:gd name="connsiteX155" fmla="*/ 1022667 w 1438275"/>
                  <a:gd name="connsiteY155" fmla="*/ 74295 h 101600"/>
                  <a:gd name="connsiteX156" fmla="*/ 1022667 w 1438275"/>
                  <a:gd name="connsiteY156" fmla="*/ 65405 h 101600"/>
                  <a:gd name="connsiteX157" fmla="*/ 1014095 w 1438275"/>
                  <a:gd name="connsiteY157" fmla="*/ 68263 h 101600"/>
                  <a:gd name="connsiteX158" fmla="*/ 1004570 w 1438275"/>
                  <a:gd name="connsiteY158" fmla="*/ 69215 h 101600"/>
                  <a:gd name="connsiteX159" fmla="*/ 992822 w 1438275"/>
                  <a:gd name="connsiteY159" fmla="*/ 64770 h 101600"/>
                  <a:gd name="connsiteX160" fmla="*/ 988378 w 1438275"/>
                  <a:gd name="connsiteY160" fmla="*/ 51753 h 101600"/>
                  <a:gd name="connsiteX161" fmla="*/ 1025207 w 1438275"/>
                  <a:gd name="connsiteY161" fmla="*/ 51753 h 101600"/>
                  <a:gd name="connsiteX162" fmla="*/ 1025207 w 1438275"/>
                  <a:gd name="connsiteY162" fmla="*/ 45720 h 101600"/>
                  <a:gd name="connsiteX163" fmla="*/ 1018857 w 1438275"/>
                  <a:gd name="connsiteY163" fmla="*/ 27623 h 101600"/>
                  <a:gd name="connsiteX164" fmla="*/ 1002030 w 1438275"/>
                  <a:gd name="connsiteY164" fmla="*/ 20955 h 101600"/>
                  <a:gd name="connsiteX165" fmla="*/ 989330 w 1438275"/>
                  <a:gd name="connsiteY165" fmla="*/ 24765 h 101600"/>
                  <a:gd name="connsiteX166" fmla="*/ 951547 w 1438275"/>
                  <a:gd name="connsiteY166" fmla="*/ 77153 h 101600"/>
                  <a:gd name="connsiteX167" fmla="*/ 972503 w 1438275"/>
                  <a:gd name="connsiteY167" fmla="*/ 22543 h 101600"/>
                  <a:gd name="connsiteX168" fmla="*/ 961072 w 1438275"/>
                  <a:gd name="connsiteY168" fmla="*/ 22543 h 101600"/>
                  <a:gd name="connsiteX169" fmla="*/ 949642 w 1438275"/>
                  <a:gd name="connsiteY169" fmla="*/ 54610 h 101600"/>
                  <a:gd name="connsiteX170" fmla="*/ 947420 w 1438275"/>
                  <a:gd name="connsiteY170" fmla="*/ 61595 h 101600"/>
                  <a:gd name="connsiteX171" fmla="*/ 945832 w 1438275"/>
                  <a:gd name="connsiteY171" fmla="*/ 67945 h 101600"/>
                  <a:gd name="connsiteX172" fmla="*/ 945515 w 1438275"/>
                  <a:gd name="connsiteY172" fmla="*/ 67945 h 101600"/>
                  <a:gd name="connsiteX173" fmla="*/ 943928 w 1438275"/>
                  <a:gd name="connsiteY173" fmla="*/ 61595 h 101600"/>
                  <a:gd name="connsiteX174" fmla="*/ 941705 w 1438275"/>
                  <a:gd name="connsiteY174" fmla="*/ 54610 h 101600"/>
                  <a:gd name="connsiteX175" fmla="*/ 930275 w 1438275"/>
                  <a:gd name="connsiteY175" fmla="*/ 22543 h 101600"/>
                  <a:gd name="connsiteX176" fmla="*/ 918845 w 1438275"/>
                  <a:gd name="connsiteY176" fmla="*/ 22543 h 101600"/>
                  <a:gd name="connsiteX177" fmla="*/ 939482 w 1438275"/>
                  <a:gd name="connsiteY177" fmla="*/ 77153 h 101600"/>
                  <a:gd name="connsiteX178" fmla="*/ 951547 w 1438275"/>
                  <a:gd name="connsiteY178" fmla="*/ 77153 h 101600"/>
                  <a:gd name="connsiteX179" fmla="*/ 902017 w 1438275"/>
                  <a:gd name="connsiteY179" fmla="*/ 33655 h 101600"/>
                  <a:gd name="connsiteX180" fmla="*/ 905192 w 1438275"/>
                  <a:gd name="connsiteY180" fmla="*/ 44133 h 101600"/>
                  <a:gd name="connsiteX181" fmla="*/ 879475 w 1438275"/>
                  <a:gd name="connsiteY181" fmla="*/ 44133 h 101600"/>
                  <a:gd name="connsiteX182" fmla="*/ 883603 w 1438275"/>
                  <a:gd name="connsiteY182" fmla="*/ 33338 h 101600"/>
                  <a:gd name="connsiteX183" fmla="*/ 892810 w 1438275"/>
                  <a:gd name="connsiteY183" fmla="*/ 29528 h 101600"/>
                  <a:gd name="connsiteX184" fmla="*/ 902017 w 1438275"/>
                  <a:gd name="connsiteY184" fmla="*/ 33655 h 101600"/>
                  <a:gd name="connsiteX185" fmla="*/ 879792 w 1438275"/>
                  <a:gd name="connsiteY185" fmla="*/ 24765 h 101600"/>
                  <a:gd name="connsiteX186" fmla="*/ 871220 w 1438275"/>
                  <a:gd name="connsiteY186" fmla="*/ 34608 h 101600"/>
                  <a:gd name="connsiteX187" fmla="*/ 868045 w 1438275"/>
                  <a:gd name="connsiteY187" fmla="*/ 50165 h 101600"/>
                  <a:gd name="connsiteX188" fmla="*/ 871538 w 1438275"/>
                  <a:gd name="connsiteY188" fmla="*/ 65723 h 101600"/>
                  <a:gd name="connsiteX189" fmla="*/ 881063 w 1438275"/>
                  <a:gd name="connsiteY189" fmla="*/ 74930 h 101600"/>
                  <a:gd name="connsiteX190" fmla="*/ 895032 w 1438275"/>
                  <a:gd name="connsiteY190" fmla="*/ 78105 h 101600"/>
                  <a:gd name="connsiteX191" fmla="*/ 904875 w 1438275"/>
                  <a:gd name="connsiteY191" fmla="*/ 77153 h 101600"/>
                  <a:gd name="connsiteX192" fmla="*/ 913130 w 1438275"/>
                  <a:gd name="connsiteY192" fmla="*/ 74295 h 101600"/>
                  <a:gd name="connsiteX193" fmla="*/ 913130 w 1438275"/>
                  <a:gd name="connsiteY193" fmla="*/ 65405 h 101600"/>
                  <a:gd name="connsiteX194" fmla="*/ 904557 w 1438275"/>
                  <a:gd name="connsiteY194" fmla="*/ 68263 h 101600"/>
                  <a:gd name="connsiteX195" fmla="*/ 895032 w 1438275"/>
                  <a:gd name="connsiteY195" fmla="*/ 69215 h 101600"/>
                  <a:gd name="connsiteX196" fmla="*/ 883285 w 1438275"/>
                  <a:gd name="connsiteY196" fmla="*/ 64770 h 101600"/>
                  <a:gd name="connsiteX197" fmla="*/ 878840 w 1438275"/>
                  <a:gd name="connsiteY197" fmla="*/ 51753 h 101600"/>
                  <a:gd name="connsiteX198" fmla="*/ 915670 w 1438275"/>
                  <a:gd name="connsiteY198" fmla="*/ 51753 h 101600"/>
                  <a:gd name="connsiteX199" fmla="*/ 915670 w 1438275"/>
                  <a:gd name="connsiteY199" fmla="*/ 45720 h 101600"/>
                  <a:gd name="connsiteX200" fmla="*/ 909320 w 1438275"/>
                  <a:gd name="connsiteY200" fmla="*/ 27623 h 101600"/>
                  <a:gd name="connsiteX201" fmla="*/ 892492 w 1438275"/>
                  <a:gd name="connsiteY201" fmla="*/ 20955 h 101600"/>
                  <a:gd name="connsiteX202" fmla="*/ 879792 w 1438275"/>
                  <a:gd name="connsiteY202" fmla="*/ 24765 h 101600"/>
                  <a:gd name="connsiteX203" fmla="*/ 819467 w 1438275"/>
                  <a:gd name="connsiteY203" fmla="*/ 64453 h 101600"/>
                  <a:gd name="connsiteX204" fmla="*/ 815975 w 1438275"/>
                  <a:gd name="connsiteY204" fmla="*/ 50165 h 101600"/>
                  <a:gd name="connsiteX205" fmla="*/ 819467 w 1438275"/>
                  <a:gd name="connsiteY205" fmla="*/ 35560 h 101600"/>
                  <a:gd name="connsiteX206" fmla="*/ 829310 w 1438275"/>
                  <a:gd name="connsiteY206" fmla="*/ 30163 h 101600"/>
                  <a:gd name="connsiteX207" fmla="*/ 840740 w 1438275"/>
                  <a:gd name="connsiteY207" fmla="*/ 35243 h 101600"/>
                  <a:gd name="connsiteX208" fmla="*/ 843915 w 1438275"/>
                  <a:gd name="connsiteY208" fmla="*/ 49848 h 101600"/>
                  <a:gd name="connsiteX209" fmla="*/ 843915 w 1438275"/>
                  <a:gd name="connsiteY209" fmla="*/ 51435 h 101600"/>
                  <a:gd name="connsiteX210" fmla="*/ 840740 w 1438275"/>
                  <a:gd name="connsiteY210" fmla="*/ 64770 h 101600"/>
                  <a:gd name="connsiteX211" fmla="*/ 829628 w 1438275"/>
                  <a:gd name="connsiteY211" fmla="*/ 69215 h 101600"/>
                  <a:gd name="connsiteX212" fmla="*/ 819467 w 1438275"/>
                  <a:gd name="connsiteY212" fmla="*/ 64453 h 101600"/>
                  <a:gd name="connsiteX213" fmla="*/ 837247 w 1438275"/>
                  <a:gd name="connsiteY213" fmla="*/ 75883 h 101600"/>
                  <a:gd name="connsiteX214" fmla="*/ 843597 w 1438275"/>
                  <a:gd name="connsiteY214" fmla="*/ 69850 h 101600"/>
                  <a:gd name="connsiteX215" fmla="*/ 844232 w 1438275"/>
                  <a:gd name="connsiteY215" fmla="*/ 69850 h 101600"/>
                  <a:gd name="connsiteX216" fmla="*/ 846138 w 1438275"/>
                  <a:gd name="connsiteY216" fmla="*/ 77153 h 101600"/>
                  <a:gd name="connsiteX217" fmla="*/ 854710 w 1438275"/>
                  <a:gd name="connsiteY217" fmla="*/ 77153 h 101600"/>
                  <a:gd name="connsiteX218" fmla="*/ 854710 w 1438275"/>
                  <a:gd name="connsiteY218" fmla="*/ 0 h 101600"/>
                  <a:gd name="connsiteX219" fmla="*/ 843915 w 1438275"/>
                  <a:gd name="connsiteY219" fmla="*/ 0 h 101600"/>
                  <a:gd name="connsiteX220" fmla="*/ 843915 w 1438275"/>
                  <a:gd name="connsiteY220" fmla="*/ 20638 h 101600"/>
                  <a:gd name="connsiteX221" fmla="*/ 844232 w 1438275"/>
                  <a:gd name="connsiteY221" fmla="*/ 25400 h 101600"/>
                  <a:gd name="connsiteX222" fmla="*/ 844867 w 1438275"/>
                  <a:gd name="connsiteY222" fmla="*/ 29528 h 101600"/>
                  <a:gd name="connsiteX223" fmla="*/ 844232 w 1438275"/>
                  <a:gd name="connsiteY223" fmla="*/ 29528 h 101600"/>
                  <a:gd name="connsiteX224" fmla="*/ 837882 w 1438275"/>
                  <a:gd name="connsiteY224" fmla="*/ 23813 h 101600"/>
                  <a:gd name="connsiteX225" fmla="*/ 827722 w 1438275"/>
                  <a:gd name="connsiteY225" fmla="*/ 21590 h 101600"/>
                  <a:gd name="connsiteX226" fmla="*/ 811530 w 1438275"/>
                  <a:gd name="connsiteY226" fmla="*/ 28893 h 101600"/>
                  <a:gd name="connsiteX227" fmla="*/ 805497 w 1438275"/>
                  <a:gd name="connsiteY227" fmla="*/ 50165 h 101600"/>
                  <a:gd name="connsiteX228" fmla="*/ 811530 w 1438275"/>
                  <a:gd name="connsiteY228" fmla="*/ 71438 h 101600"/>
                  <a:gd name="connsiteX229" fmla="*/ 827405 w 1438275"/>
                  <a:gd name="connsiteY229" fmla="*/ 78423 h 101600"/>
                  <a:gd name="connsiteX230" fmla="*/ 837247 w 1438275"/>
                  <a:gd name="connsiteY230" fmla="*/ 75883 h 101600"/>
                  <a:gd name="connsiteX231" fmla="*/ 756920 w 1438275"/>
                  <a:gd name="connsiteY231" fmla="*/ 67310 h 101600"/>
                  <a:gd name="connsiteX232" fmla="*/ 754697 w 1438275"/>
                  <a:gd name="connsiteY232" fmla="*/ 60643 h 101600"/>
                  <a:gd name="connsiteX233" fmla="*/ 754697 w 1438275"/>
                  <a:gd name="connsiteY233" fmla="*/ 30480 h 101600"/>
                  <a:gd name="connsiteX234" fmla="*/ 770255 w 1438275"/>
                  <a:gd name="connsiteY234" fmla="*/ 30480 h 101600"/>
                  <a:gd name="connsiteX235" fmla="*/ 770255 w 1438275"/>
                  <a:gd name="connsiteY235" fmla="*/ 22225 h 101600"/>
                  <a:gd name="connsiteX236" fmla="*/ 754697 w 1438275"/>
                  <a:gd name="connsiteY236" fmla="*/ 22225 h 101600"/>
                  <a:gd name="connsiteX237" fmla="*/ 754697 w 1438275"/>
                  <a:gd name="connsiteY237" fmla="*/ 9843 h 101600"/>
                  <a:gd name="connsiteX238" fmla="*/ 748030 w 1438275"/>
                  <a:gd name="connsiteY238" fmla="*/ 9843 h 101600"/>
                  <a:gd name="connsiteX239" fmla="*/ 744220 w 1438275"/>
                  <a:gd name="connsiteY239" fmla="*/ 21273 h 101600"/>
                  <a:gd name="connsiteX240" fmla="*/ 736282 w 1438275"/>
                  <a:gd name="connsiteY240" fmla="*/ 25400 h 101600"/>
                  <a:gd name="connsiteX241" fmla="*/ 736282 w 1438275"/>
                  <a:gd name="connsiteY241" fmla="*/ 30163 h 101600"/>
                  <a:gd name="connsiteX242" fmla="*/ 743903 w 1438275"/>
                  <a:gd name="connsiteY242" fmla="*/ 30163 h 101600"/>
                  <a:gd name="connsiteX243" fmla="*/ 743903 w 1438275"/>
                  <a:gd name="connsiteY243" fmla="*/ 60325 h 101600"/>
                  <a:gd name="connsiteX244" fmla="*/ 746125 w 1438275"/>
                  <a:gd name="connsiteY244" fmla="*/ 70803 h 101600"/>
                  <a:gd name="connsiteX245" fmla="*/ 752157 w 1438275"/>
                  <a:gd name="connsiteY245" fmla="*/ 76200 h 101600"/>
                  <a:gd name="connsiteX246" fmla="*/ 760413 w 1438275"/>
                  <a:gd name="connsiteY246" fmla="*/ 77788 h 101600"/>
                  <a:gd name="connsiteX247" fmla="*/ 766445 w 1438275"/>
                  <a:gd name="connsiteY247" fmla="*/ 77153 h 101600"/>
                  <a:gd name="connsiteX248" fmla="*/ 771207 w 1438275"/>
                  <a:gd name="connsiteY248" fmla="*/ 75883 h 101600"/>
                  <a:gd name="connsiteX249" fmla="*/ 771207 w 1438275"/>
                  <a:gd name="connsiteY249" fmla="*/ 67628 h 101600"/>
                  <a:gd name="connsiteX250" fmla="*/ 762953 w 1438275"/>
                  <a:gd name="connsiteY250" fmla="*/ 68898 h 101600"/>
                  <a:gd name="connsiteX251" fmla="*/ 756920 w 1438275"/>
                  <a:gd name="connsiteY251" fmla="*/ 67310 h 101600"/>
                  <a:gd name="connsiteX252" fmla="*/ 715645 w 1438275"/>
                  <a:gd name="connsiteY252" fmla="*/ 33655 h 101600"/>
                  <a:gd name="connsiteX253" fmla="*/ 718820 w 1438275"/>
                  <a:gd name="connsiteY253" fmla="*/ 44133 h 101600"/>
                  <a:gd name="connsiteX254" fmla="*/ 693103 w 1438275"/>
                  <a:gd name="connsiteY254" fmla="*/ 44133 h 101600"/>
                  <a:gd name="connsiteX255" fmla="*/ 697230 w 1438275"/>
                  <a:gd name="connsiteY255" fmla="*/ 33338 h 101600"/>
                  <a:gd name="connsiteX256" fmla="*/ 706438 w 1438275"/>
                  <a:gd name="connsiteY256" fmla="*/ 29528 h 101600"/>
                  <a:gd name="connsiteX257" fmla="*/ 715645 w 1438275"/>
                  <a:gd name="connsiteY257" fmla="*/ 33655 h 101600"/>
                  <a:gd name="connsiteX258" fmla="*/ 693420 w 1438275"/>
                  <a:gd name="connsiteY258" fmla="*/ 24765 h 101600"/>
                  <a:gd name="connsiteX259" fmla="*/ 684847 w 1438275"/>
                  <a:gd name="connsiteY259" fmla="*/ 34608 h 101600"/>
                  <a:gd name="connsiteX260" fmla="*/ 681672 w 1438275"/>
                  <a:gd name="connsiteY260" fmla="*/ 50165 h 101600"/>
                  <a:gd name="connsiteX261" fmla="*/ 685165 w 1438275"/>
                  <a:gd name="connsiteY261" fmla="*/ 65723 h 101600"/>
                  <a:gd name="connsiteX262" fmla="*/ 694690 w 1438275"/>
                  <a:gd name="connsiteY262" fmla="*/ 74930 h 101600"/>
                  <a:gd name="connsiteX263" fmla="*/ 708660 w 1438275"/>
                  <a:gd name="connsiteY263" fmla="*/ 78105 h 101600"/>
                  <a:gd name="connsiteX264" fmla="*/ 718503 w 1438275"/>
                  <a:gd name="connsiteY264" fmla="*/ 77153 h 101600"/>
                  <a:gd name="connsiteX265" fmla="*/ 726757 w 1438275"/>
                  <a:gd name="connsiteY265" fmla="*/ 74295 h 101600"/>
                  <a:gd name="connsiteX266" fmla="*/ 726757 w 1438275"/>
                  <a:gd name="connsiteY266" fmla="*/ 65405 h 101600"/>
                  <a:gd name="connsiteX267" fmla="*/ 718185 w 1438275"/>
                  <a:gd name="connsiteY267" fmla="*/ 68263 h 101600"/>
                  <a:gd name="connsiteX268" fmla="*/ 708660 w 1438275"/>
                  <a:gd name="connsiteY268" fmla="*/ 69215 h 101600"/>
                  <a:gd name="connsiteX269" fmla="*/ 696913 w 1438275"/>
                  <a:gd name="connsiteY269" fmla="*/ 64770 h 101600"/>
                  <a:gd name="connsiteX270" fmla="*/ 692467 w 1438275"/>
                  <a:gd name="connsiteY270" fmla="*/ 51753 h 101600"/>
                  <a:gd name="connsiteX271" fmla="*/ 729297 w 1438275"/>
                  <a:gd name="connsiteY271" fmla="*/ 51753 h 101600"/>
                  <a:gd name="connsiteX272" fmla="*/ 729297 w 1438275"/>
                  <a:gd name="connsiteY272" fmla="*/ 45720 h 101600"/>
                  <a:gd name="connsiteX273" fmla="*/ 722947 w 1438275"/>
                  <a:gd name="connsiteY273" fmla="*/ 27623 h 101600"/>
                  <a:gd name="connsiteX274" fmla="*/ 706120 w 1438275"/>
                  <a:gd name="connsiteY274" fmla="*/ 20955 h 101600"/>
                  <a:gd name="connsiteX275" fmla="*/ 693420 w 1438275"/>
                  <a:gd name="connsiteY275" fmla="*/ 24765 h 101600"/>
                  <a:gd name="connsiteX276" fmla="*/ 628015 w 1438275"/>
                  <a:gd name="connsiteY276" fmla="*/ 0 h 101600"/>
                  <a:gd name="connsiteX277" fmla="*/ 628015 w 1438275"/>
                  <a:gd name="connsiteY277" fmla="*/ 77153 h 101600"/>
                  <a:gd name="connsiteX278" fmla="*/ 638810 w 1438275"/>
                  <a:gd name="connsiteY278" fmla="*/ 77153 h 101600"/>
                  <a:gd name="connsiteX279" fmla="*/ 638810 w 1438275"/>
                  <a:gd name="connsiteY279" fmla="*/ 58103 h 101600"/>
                  <a:gd name="connsiteX280" fmla="*/ 645160 w 1438275"/>
                  <a:gd name="connsiteY280" fmla="*/ 52705 h 101600"/>
                  <a:gd name="connsiteX281" fmla="*/ 663257 w 1438275"/>
                  <a:gd name="connsiteY281" fmla="*/ 77153 h 101600"/>
                  <a:gd name="connsiteX282" fmla="*/ 675957 w 1438275"/>
                  <a:gd name="connsiteY282" fmla="*/ 77153 h 101600"/>
                  <a:gd name="connsiteX283" fmla="*/ 652463 w 1438275"/>
                  <a:gd name="connsiteY283" fmla="*/ 45720 h 101600"/>
                  <a:gd name="connsiteX284" fmla="*/ 674370 w 1438275"/>
                  <a:gd name="connsiteY284" fmla="*/ 22225 h 101600"/>
                  <a:gd name="connsiteX285" fmla="*/ 661988 w 1438275"/>
                  <a:gd name="connsiteY285" fmla="*/ 22225 h 101600"/>
                  <a:gd name="connsiteX286" fmla="*/ 645160 w 1438275"/>
                  <a:gd name="connsiteY286" fmla="*/ 40323 h 101600"/>
                  <a:gd name="connsiteX287" fmla="*/ 641667 w 1438275"/>
                  <a:gd name="connsiteY287" fmla="*/ 44450 h 101600"/>
                  <a:gd name="connsiteX288" fmla="*/ 638492 w 1438275"/>
                  <a:gd name="connsiteY288" fmla="*/ 48578 h 101600"/>
                  <a:gd name="connsiteX289" fmla="*/ 638175 w 1438275"/>
                  <a:gd name="connsiteY289" fmla="*/ 48578 h 101600"/>
                  <a:gd name="connsiteX290" fmla="*/ 638492 w 1438275"/>
                  <a:gd name="connsiteY290" fmla="*/ 43498 h 101600"/>
                  <a:gd name="connsiteX291" fmla="*/ 638810 w 1438275"/>
                  <a:gd name="connsiteY291" fmla="*/ 38735 h 101600"/>
                  <a:gd name="connsiteX292" fmla="*/ 638810 w 1438275"/>
                  <a:gd name="connsiteY292" fmla="*/ 0 h 101600"/>
                  <a:gd name="connsiteX293" fmla="*/ 628015 w 1438275"/>
                  <a:gd name="connsiteY293" fmla="*/ 0 h 101600"/>
                  <a:gd name="connsiteX294" fmla="*/ 601980 w 1438275"/>
                  <a:gd name="connsiteY294" fmla="*/ 24765 h 101600"/>
                  <a:gd name="connsiteX295" fmla="*/ 595313 w 1438275"/>
                  <a:gd name="connsiteY295" fmla="*/ 32385 h 101600"/>
                  <a:gd name="connsiteX296" fmla="*/ 594995 w 1438275"/>
                  <a:gd name="connsiteY296" fmla="*/ 32385 h 101600"/>
                  <a:gd name="connsiteX297" fmla="*/ 593725 w 1438275"/>
                  <a:gd name="connsiteY297" fmla="*/ 22543 h 101600"/>
                  <a:gd name="connsiteX298" fmla="*/ 585153 w 1438275"/>
                  <a:gd name="connsiteY298" fmla="*/ 22543 h 101600"/>
                  <a:gd name="connsiteX299" fmla="*/ 585153 w 1438275"/>
                  <a:gd name="connsiteY299" fmla="*/ 77153 h 101600"/>
                  <a:gd name="connsiteX300" fmla="*/ 595947 w 1438275"/>
                  <a:gd name="connsiteY300" fmla="*/ 77153 h 101600"/>
                  <a:gd name="connsiteX301" fmla="*/ 595947 w 1438275"/>
                  <a:gd name="connsiteY301" fmla="*/ 48260 h 101600"/>
                  <a:gd name="connsiteX302" fmla="*/ 598170 w 1438275"/>
                  <a:gd name="connsiteY302" fmla="*/ 39053 h 101600"/>
                  <a:gd name="connsiteX303" fmla="*/ 603885 w 1438275"/>
                  <a:gd name="connsiteY303" fmla="*/ 33338 h 101600"/>
                  <a:gd name="connsiteX304" fmla="*/ 611505 w 1438275"/>
                  <a:gd name="connsiteY304" fmla="*/ 31433 h 101600"/>
                  <a:gd name="connsiteX305" fmla="*/ 616903 w 1438275"/>
                  <a:gd name="connsiteY305" fmla="*/ 32068 h 101600"/>
                  <a:gd name="connsiteX306" fmla="*/ 618172 w 1438275"/>
                  <a:gd name="connsiteY306" fmla="*/ 21908 h 101600"/>
                  <a:gd name="connsiteX307" fmla="*/ 612140 w 1438275"/>
                  <a:gd name="connsiteY307" fmla="*/ 21273 h 101600"/>
                  <a:gd name="connsiteX308" fmla="*/ 601980 w 1438275"/>
                  <a:gd name="connsiteY308" fmla="*/ 24765 h 101600"/>
                  <a:gd name="connsiteX309" fmla="*/ 557530 w 1438275"/>
                  <a:gd name="connsiteY309" fmla="*/ 55563 h 101600"/>
                  <a:gd name="connsiteX310" fmla="*/ 553403 w 1438275"/>
                  <a:gd name="connsiteY310" fmla="*/ 66358 h 101600"/>
                  <a:gd name="connsiteX311" fmla="*/ 542925 w 1438275"/>
                  <a:gd name="connsiteY311" fmla="*/ 69850 h 101600"/>
                  <a:gd name="connsiteX312" fmla="*/ 536257 w 1438275"/>
                  <a:gd name="connsiteY312" fmla="*/ 67945 h 101600"/>
                  <a:gd name="connsiteX313" fmla="*/ 533717 w 1438275"/>
                  <a:gd name="connsiteY313" fmla="*/ 61595 h 101600"/>
                  <a:gd name="connsiteX314" fmla="*/ 537210 w 1438275"/>
                  <a:gd name="connsiteY314" fmla="*/ 53975 h 101600"/>
                  <a:gd name="connsiteX315" fmla="*/ 550228 w 1438275"/>
                  <a:gd name="connsiteY315" fmla="*/ 50800 h 101600"/>
                  <a:gd name="connsiteX316" fmla="*/ 557530 w 1438275"/>
                  <a:gd name="connsiteY316" fmla="*/ 50483 h 101600"/>
                  <a:gd name="connsiteX317" fmla="*/ 557530 w 1438275"/>
                  <a:gd name="connsiteY317" fmla="*/ 55563 h 101600"/>
                  <a:gd name="connsiteX318" fmla="*/ 537210 w 1438275"/>
                  <a:gd name="connsiteY318" fmla="*/ 22860 h 101600"/>
                  <a:gd name="connsiteX319" fmla="*/ 528320 w 1438275"/>
                  <a:gd name="connsiteY319" fmla="*/ 26353 h 101600"/>
                  <a:gd name="connsiteX320" fmla="*/ 531813 w 1438275"/>
                  <a:gd name="connsiteY320" fmla="*/ 34290 h 101600"/>
                  <a:gd name="connsiteX321" fmla="*/ 539115 w 1438275"/>
                  <a:gd name="connsiteY321" fmla="*/ 31433 h 101600"/>
                  <a:gd name="connsiteX322" fmla="*/ 547053 w 1438275"/>
                  <a:gd name="connsiteY322" fmla="*/ 30163 h 101600"/>
                  <a:gd name="connsiteX323" fmla="*/ 554672 w 1438275"/>
                  <a:gd name="connsiteY323" fmla="*/ 32703 h 101600"/>
                  <a:gd name="connsiteX324" fmla="*/ 557530 w 1438275"/>
                  <a:gd name="connsiteY324" fmla="*/ 41275 h 101600"/>
                  <a:gd name="connsiteX325" fmla="*/ 557530 w 1438275"/>
                  <a:gd name="connsiteY325" fmla="*/ 44450 h 101600"/>
                  <a:gd name="connsiteX326" fmla="*/ 548322 w 1438275"/>
                  <a:gd name="connsiteY326" fmla="*/ 44768 h 101600"/>
                  <a:gd name="connsiteX327" fmla="*/ 528955 w 1438275"/>
                  <a:gd name="connsiteY327" fmla="*/ 49530 h 101600"/>
                  <a:gd name="connsiteX328" fmla="*/ 522605 w 1438275"/>
                  <a:gd name="connsiteY328" fmla="*/ 62230 h 101600"/>
                  <a:gd name="connsiteX329" fmla="*/ 527367 w 1438275"/>
                  <a:gd name="connsiteY329" fmla="*/ 74930 h 101600"/>
                  <a:gd name="connsiteX330" fmla="*/ 539750 w 1438275"/>
                  <a:gd name="connsiteY330" fmla="*/ 79058 h 101600"/>
                  <a:gd name="connsiteX331" fmla="*/ 550545 w 1438275"/>
                  <a:gd name="connsiteY331" fmla="*/ 76835 h 101600"/>
                  <a:gd name="connsiteX332" fmla="*/ 558165 w 1438275"/>
                  <a:gd name="connsiteY332" fmla="*/ 70168 h 101600"/>
                  <a:gd name="connsiteX333" fmla="*/ 558482 w 1438275"/>
                  <a:gd name="connsiteY333" fmla="*/ 70168 h 101600"/>
                  <a:gd name="connsiteX334" fmla="*/ 560705 w 1438275"/>
                  <a:gd name="connsiteY334" fmla="*/ 77788 h 101600"/>
                  <a:gd name="connsiteX335" fmla="*/ 568325 w 1438275"/>
                  <a:gd name="connsiteY335" fmla="*/ 77788 h 101600"/>
                  <a:gd name="connsiteX336" fmla="*/ 568325 w 1438275"/>
                  <a:gd name="connsiteY336" fmla="*/ 40640 h 101600"/>
                  <a:gd name="connsiteX337" fmla="*/ 563245 w 1438275"/>
                  <a:gd name="connsiteY337" fmla="*/ 26353 h 101600"/>
                  <a:gd name="connsiteX338" fmla="*/ 548005 w 1438275"/>
                  <a:gd name="connsiteY338" fmla="*/ 21908 h 101600"/>
                  <a:gd name="connsiteX339" fmla="*/ 537210 w 1438275"/>
                  <a:gd name="connsiteY339" fmla="*/ 22860 h 101600"/>
                  <a:gd name="connsiteX340" fmla="*/ 481647 w 1438275"/>
                  <a:gd name="connsiteY340" fmla="*/ 23495 h 101600"/>
                  <a:gd name="connsiteX341" fmla="*/ 474345 w 1438275"/>
                  <a:gd name="connsiteY341" fmla="*/ 30163 h 101600"/>
                  <a:gd name="connsiteX342" fmla="*/ 473392 w 1438275"/>
                  <a:gd name="connsiteY342" fmla="*/ 30163 h 101600"/>
                  <a:gd name="connsiteX343" fmla="*/ 456882 w 1438275"/>
                  <a:gd name="connsiteY343" fmla="*/ 21273 h 101600"/>
                  <a:gd name="connsiteX344" fmla="*/ 447675 w 1438275"/>
                  <a:gd name="connsiteY344" fmla="*/ 23178 h 101600"/>
                  <a:gd name="connsiteX345" fmla="*/ 440690 w 1438275"/>
                  <a:gd name="connsiteY345" fmla="*/ 29528 h 101600"/>
                  <a:gd name="connsiteX346" fmla="*/ 440055 w 1438275"/>
                  <a:gd name="connsiteY346" fmla="*/ 29528 h 101600"/>
                  <a:gd name="connsiteX347" fmla="*/ 438467 w 1438275"/>
                  <a:gd name="connsiteY347" fmla="*/ 22225 h 101600"/>
                  <a:gd name="connsiteX348" fmla="*/ 429895 w 1438275"/>
                  <a:gd name="connsiteY348" fmla="*/ 22225 h 101600"/>
                  <a:gd name="connsiteX349" fmla="*/ 429895 w 1438275"/>
                  <a:gd name="connsiteY349" fmla="*/ 76835 h 101600"/>
                  <a:gd name="connsiteX350" fmla="*/ 440690 w 1438275"/>
                  <a:gd name="connsiteY350" fmla="*/ 76835 h 101600"/>
                  <a:gd name="connsiteX351" fmla="*/ 440690 w 1438275"/>
                  <a:gd name="connsiteY351" fmla="*/ 49213 h 101600"/>
                  <a:gd name="connsiteX352" fmla="*/ 443547 w 1438275"/>
                  <a:gd name="connsiteY352" fmla="*/ 34925 h 101600"/>
                  <a:gd name="connsiteX353" fmla="*/ 454025 w 1438275"/>
                  <a:gd name="connsiteY353" fmla="*/ 29845 h 101600"/>
                  <a:gd name="connsiteX354" fmla="*/ 464503 w 1438275"/>
                  <a:gd name="connsiteY354" fmla="*/ 42545 h 101600"/>
                  <a:gd name="connsiteX355" fmla="*/ 464503 w 1438275"/>
                  <a:gd name="connsiteY355" fmla="*/ 76835 h 101600"/>
                  <a:gd name="connsiteX356" fmla="*/ 475297 w 1438275"/>
                  <a:gd name="connsiteY356" fmla="*/ 76835 h 101600"/>
                  <a:gd name="connsiteX357" fmla="*/ 475297 w 1438275"/>
                  <a:gd name="connsiteY357" fmla="*/ 47308 h 101600"/>
                  <a:gd name="connsiteX358" fmla="*/ 478472 w 1438275"/>
                  <a:gd name="connsiteY358" fmla="*/ 34290 h 101600"/>
                  <a:gd name="connsiteX359" fmla="*/ 488950 w 1438275"/>
                  <a:gd name="connsiteY359" fmla="*/ 29845 h 101600"/>
                  <a:gd name="connsiteX360" fmla="*/ 499110 w 1438275"/>
                  <a:gd name="connsiteY360" fmla="*/ 42545 h 101600"/>
                  <a:gd name="connsiteX361" fmla="*/ 499110 w 1438275"/>
                  <a:gd name="connsiteY361" fmla="*/ 76835 h 101600"/>
                  <a:gd name="connsiteX362" fmla="*/ 509905 w 1438275"/>
                  <a:gd name="connsiteY362" fmla="*/ 76835 h 101600"/>
                  <a:gd name="connsiteX363" fmla="*/ 509905 w 1438275"/>
                  <a:gd name="connsiteY363" fmla="*/ 41275 h 101600"/>
                  <a:gd name="connsiteX364" fmla="*/ 505142 w 1438275"/>
                  <a:gd name="connsiteY364" fmla="*/ 26035 h 101600"/>
                  <a:gd name="connsiteX365" fmla="*/ 491172 w 1438275"/>
                  <a:gd name="connsiteY365" fmla="*/ 21273 h 101600"/>
                  <a:gd name="connsiteX366" fmla="*/ 481647 w 1438275"/>
                  <a:gd name="connsiteY366" fmla="*/ 23495 h 101600"/>
                  <a:gd name="connsiteX367" fmla="*/ 339725 w 1438275"/>
                  <a:gd name="connsiteY367" fmla="*/ 0 h 101600"/>
                  <a:gd name="connsiteX368" fmla="*/ 339725 w 1438275"/>
                  <a:gd name="connsiteY368" fmla="*/ 77153 h 101600"/>
                  <a:gd name="connsiteX369" fmla="*/ 350520 w 1438275"/>
                  <a:gd name="connsiteY369" fmla="*/ 77153 h 101600"/>
                  <a:gd name="connsiteX370" fmla="*/ 350520 w 1438275"/>
                  <a:gd name="connsiteY370" fmla="*/ 49530 h 101600"/>
                  <a:gd name="connsiteX371" fmla="*/ 353695 w 1438275"/>
                  <a:gd name="connsiteY371" fmla="*/ 35243 h 101600"/>
                  <a:gd name="connsiteX372" fmla="*/ 365125 w 1438275"/>
                  <a:gd name="connsiteY372" fmla="*/ 30163 h 101600"/>
                  <a:gd name="connsiteX373" fmla="*/ 376555 w 1438275"/>
                  <a:gd name="connsiteY373" fmla="*/ 42863 h 101600"/>
                  <a:gd name="connsiteX374" fmla="*/ 376555 w 1438275"/>
                  <a:gd name="connsiteY374" fmla="*/ 77153 h 101600"/>
                  <a:gd name="connsiteX375" fmla="*/ 387350 w 1438275"/>
                  <a:gd name="connsiteY375" fmla="*/ 77153 h 101600"/>
                  <a:gd name="connsiteX376" fmla="*/ 387350 w 1438275"/>
                  <a:gd name="connsiteY376" fmla="*/ 41593 h 101600"/>
                  <a:gd name="connsiteX377" fmla="*/ 382270 w 1438275"/>
                  <a:gd name="connsiteY377" fmla="*/ 26353 h 101600"/>
                  <a:gd name="connsiteX378" fmla="*/ 367347 w 1438275"/>
                  <a:gd name="connsiteY378" fmla="*/ 21590 h 101600"/>
                  <a:gd name="connsiteX379" fmla="*/ 357822 w 1438275"/>
                  <a:gd name="connsiteY379" fmla="*/ 23813 h 101600"/>
                  <a:gd name="connsiteX380" fmla="*/ 350838 w 1438275"/>
                  <a:gd name="connsiteY380" fmla="*/ 30163 h 101600"/>
                  <a:gd name="connsiteX381" fmla="*/ 350202 w 1438275"/>
                  <a:gd name="connsiteY381" fmla="*/ 30163 h 101600"/>
                  <a:gd name="connsiteX382" fmla="*/ 350520 w 1438275"/>
                  <a:gd name="connsiteY382" fmla="*/ 26035 h 101600"/>
                  <a:gd name="connsiteX383" fmla="*/ 350838 w 1438275"/>
                  <a:gd name="connsiteY383" fmla="*/ 20955 h 101600"/>
                  <a:gd name="connsiteX384" fmla="*/ 350838 w 1438275"/>
                  <a:gd name="connsiteY384" fmla="*/ 318 h 101600"/>
                  <a:gd name="connsiteX385" fmla="*/ 339725 w 1438275"/>
                  <a:gd name="connsiteY385" fmla="*/ 318 h 101600"/>
                  <a:gd name="connsiteX386" fmla="*/ 308927 w 1438275"/>
                  <a:gd name="connsiteY386" fmla="*/ 34925 h 101600"/>
                  <a:gd name="connsiteX387" fmla="*/ 312420 w 1438275"/>
                  <a:gd name="connsiteY387" fmla="*/ 50165 h 101600"/>
                  <a:gd name="connsiteX388" fmla="*/ 312420 w 1438275"/>
                  <a:gd name="connsiteY388" fmla="*/ 52070 h 101600"/>
                  <a:gd name="connsiteX389" fmla="*/ 308927 w 1438275"/>
                  <a:gd name="connsiteY389" fmla="*/ 65405 h 101600"/>
                  <a:gd name="connsiteX390" fmla="*/ 297815 w 1438275"/>
                  <a:gd name="connsiteY390" fmla="*/ 69533 h 101600"/>
                  <a:gd name="connsiteX391" fmla="*/ 287655 w 1438275"/>
                  <a:gd name="connsiteY391" fmla="*/ 64453 h 101600"/>
                  <a:gd name="connsiteX392" fmla="*/ 284163 w 1438275"/>
                  <a:gd name="connsiteY392" fmla="*/ 49848 h 101600"/>
                  <a:gd name="connsiteX393" fmla="*/ 287655 w 1438275"/>
                  <a:gd name="connsiteY393" fmla="*/ 35243 h 101600"/>
                  <a:gd name="connsiteX394" fmla="*/ 297497 w 1438275"/>
                  <a:gd name="connsiteY394" fmla="*/ 30163 h 101600"/>
                  <a:gd name="connsiteX395" fmla="*/ 308927 w 1438275"/>
                  <a:gd name="connsiteY395" fmla="*/ 34925 h 101600"/>
                  <a:gd name="connsiteX396" fmla="*/ 279400 w 1438275"/>
                  <a:gd name="connsiteY396" fmla="*/ 29210 h 101600"/>
                  <a:gd name="connsiteX397" fmla="*/ 273685 w 1438275"/>
                  <a:gd name="connsiteY397" fmla="*/ 50165 h 101600"/>
                  <a:gd name="connsiteX398" fmla="*/ 279400 w 1438275"/>
                  <a:gd name="connsiteY398" fmla="*/ 70803 h 101600"/>
                  <a:gd name="connsiteX399" fmla="*/ 295592 w 1438275"/>
                  <a:gd name="connsiteY399" fmla="*/ 78423 h 101600"/>
                  <a:gd name="connsiteX400" fmla="*/ 305117 w 1438275"/>
                  <a:gd name="connsiteY400" fmla="*/ 76518 h 101600"/>
                  <a:gd name="connsiteX401" fmla="*/ 312102 w 1438275"/>
                  <a:gd name="connsiteY401" fmla="*/ 70168 h 101600"/>
                  <a:gd name="connsiteX402" fmla="*/ 312420 w 1438275"/>
                  <a:gd name="connsiteY402" fmla="*/ 70168 h 101600"/>
                  <a:gd name="connsiteX403" fmla="*/ 312102 w 1438275"/>
                  <a:gd name="connsiteY403" fmla="*/ 73343 h 101600"/>
                  <a:gd name="connsiteX404" fmla="*/ 312102 w 1438275"/>
                  <a:gd name="connsiteY404" fmla="*/ 76835 h 101600"/>
                  <a:gd name="connsiteX405" fmla="*/ 312102 w 1438275"/>
                  <a:gd name="connsiteY405" fmla="*/ 78740 h 101600"/>
                  <a:gd name="connsiteX406" fmla="*/ 308292 w 1438275"/>
                  <a:gd name="connsiteY406" fmla="*/ 89535 h 101600"/>
                  <a:gd name="connsiteX407" fmla="*/ 298132 w 1438275"/>
                  <a:gd name="connsiteY407" fmla="*/ 93345 h 101600"/>
                  <a:gd name="connsiteX408" fmla="*/ 287020 w 1438275"/>
                  <a:gd name="connsiteY408" fmla="*/ 92393 h 101600"/>
                  <a:gd name="connsiteX409" fmla="*/ 277495 w 1438275"/>
                  <a:gd name="connsiteY409" fmla="*/ 89218 h 101600"/>
                  <a:gd name="connsiteX410" fmla="*/ 277495 w 1438275"/>
                  <a:gd name="connsiteY410" fmla="*/ 98743 h 101600"/>
                  <a:gd name="connsiteX411" fmla="*/ 286702 w 1438275"/>
                  <a:gd name="connsiteY411" fmla="*/ 101283 h 101600"/>
                  <a:gd name="connsiteX412" fmla="*/ 297497 w 1438275"/>
                  <a:gd name="connsiteY412" fmla="*/ 102235 h 101600"/>
                  <a:gd name="connsiteX413" fmla="*/ 322897 w 1438275"/>
                  <a:gd name="connsiteY413" fmla="*/ 78423 h 101600"/>
                  <a:gd name="connsiteX414" fmla="*/ 322897 w 1438275"/>
                  <a:gd name="connsiteY414" fmla="*/ 22860 h 101600"/>
                  <a:gd name="connsiteX415" fmla="*/ 314007 w 1438275"/>
                  <a:gd name="connsiteY415" fmla="*/ 22860 h 101600"/>
                  <a:gd name="connsiteX416" fmla="*/ 312738 w 1438275"/>
                  <a:gd name="connsiteY416" fmla="*/ 30163 h 101600"/>
                  <a:gd name="connsiteX417" fmla="*/ 312102 w 1438275"/>
                  <a:gd name="connsiteY417" fmla="*/ 30163 h 101600"/>
                  <a:gd name="connsiteX418" fmla="*/ 304800 w 1438275"/>
                  <a:gd name="connsiteY418" fmla="*/ 23813 h 101600"/>
                  <a:gd name="connsiteX419" fmla="*/ 295275 w 1438275"/>
                  <a:gd name="connsiteY419" fmla="*/ 21908 h 101600"/>
                  <a:gd name="connsiteX420" fmla="*/ 279400 w 1438275"/>
                  <a:gd name="connsiteY420" fmla="*/ 29210 h 101600"/>
                  <a:gd name="connsiteX421" fmla="*/ 249238 w 1438275"/>
                  <a:gd name="connsiteY421" fmla="*/ 22543 h 101600"/>
                  <a:gd name="connsiteX422" fmla="*/ 249238 w 1438275"/>
                  <a:gd name="connsiteY422" fmla="*/ 50165 h 101600"/>
                  <a:gd name="connsiteX423" fmla="*/ 246063 w 1438275"/>
                  <a:gd name="connsiteY423" fmla="*/ 64453 h 101600"/>
                  <a:gd name="connsiteX424" fmla="*/ 234315 w 1438275"/>
                  <a:gd name="connsiteY424" fmla="*/ 69533 h 101600"/>
                  <a:gd name="connsiteX425" fmla="*/ 226060 w 1438275"/>
                  <a:gd name="connsiteY425" fmla="*/ 66358 h 101600"/>
                  <a:gd name="connsiteX426" fmla="*/ 223520 w 1438275"/>
                  <a:gd name="connsiteY426" fmla="*/ 56833 h 101600"/>
                  <a:gd name="connsiteX427" fmla="*/ 223520 w 1438275"/>
                  <a:gd name="connsiteY427" fmla="*/ 22543 h 101600"/>
                  <a:gd name="connsiteX428" fmla="*/ 212725 w 1438275"/>
                  <a:gd name="connsiteY428" fmla="*/ 22543 h 101600"/>
                  <a:gd name="connsiteX429" fmla="*/ 212725 w 1438275"/>
                  <a:gd name="connsiteY429" fmla="*/ 58420 h 101600"/>
                  <a:gd name="connsiteX430" fmla="*/ 217805 w 1438275"/>
                  <a:gd name="connsiteY430" fmla="*/ 73660 h 101600"/>
                  <a:gd name="connsiteX431" fmla="*/ 232410 w 1438275"/>
                  <a:gd name="connsiteY431" fmla="*/ 78423 h 101600"/>
                  <a:gd name="connsiteX432" fmla="*/ 242252 w 1438275"/>
                  <a:gd name="connsiteY432" fmla="*/ 76518 h 101600"/>
                  <a:gd name="connsiteX433" fmla="*/ 249555 w 1438275"/>
                  <a:gd name="connsiteY433" fmla="*/ 70168 h 101600"/>
                  <a:gd name="connsiteX434" fmla="*/ 250190 w 1438275"/>
                  <a:gd name="connsiteY434" fmla="*/ 70168 h 101600"/>
                  <a:gd name="connsiteX435" fmla="*/ 251777 w 1438275"/>
                  <a:gd name="connsiteY435" fmla="*/ 77470 h 101600"/>
                  <a:gd name="connsiteX436" fmla="*/ 260350 w 1438275"/>
                  <a:gd name="connsiteY436" fmla="*/ 77470 h 101600"/>
                  <a:gd name="connsiteX437" fmla="*/ 260350 w 1438275"/>
                  <a:gd name="connsiteY437" fmla="*/ 22860 h 101600"/>
                  <a:gd name="connsiteX438" fmla="*/ 249238 w 1438275"/>
                  <a:gd name="connsiteY438" fmla="*/ 22860 h 101600"/>
                  <a:gd name="connsiteX439" fmla="*/ 162242 w 1438275"/>
                  <a:gd name="connsiteY439" fmla="*/ 35560 h 101600"/>
                  <a:gd name="connsiteX440" fmla="*/ 173355 w 1438275"/>
                  <a:gd name="connsiteY440" fmla="*/ 30480 h 101600"/>
                  <a:gd name="connsiteX441" fmla="*/ 184467 w 1438275"/>
                  <a:gd name="connsiteY441" fmla="*/ 35560 h 101600"/>
                  <a:gd name="connsiteX442" fmla="*/ 187960 w 1438275"/>
                  <a:gd name="connsiteY442" fmla="*/ 49848 h 101600"/>
                  <a:gd name="connsiteX443" fmla="*/ 184467 w 1438275"/>
                  <a:gd name="connsiteY443" fmla="*/ 64135 h 101600"/>
                  <a:gd name="connsiteX444" fmla="*/ 173355 w 1438275"/>
                  <a:gd name="connsiteY444" fmla="*/ 69215 h 101600"/>
                  <a:gd name="connsiteX445" fmla="*/ 162242 w 1438275"/>
                  <a:gd name="connsiteY445" fmla="*/ 64135 h 101600"/>
                  <a:gd name="connsiteX446" fmla="*/ 158750 w 1438275"/>
                  <a:gd name="connsiteY446" fmla="*/ 49848 h 101600"/>
                  <a:gd name="connsiteX447" fmla="*/ 162242 w 1438275"/>
                  <a:gd name="connsiteY447" fmla="*/ 35560 h 101600"/>
                  <a:gd name="connsiteX448" fmla="*/ 195897 w 1438275"/>
                  <a:gd name="connsiteY448" fmla="*/ 34290 h 101600"/>
                  <a:gd name="connsiteX449" fmla="*/ 187007 w 1438275"/>
                  <a:gd name="connsiteY449" fmla="*/ 24765 h 101600"/>
                  <a:gd name="connsiteX450" fmla="*/ 173672 w 1438275"/>
                  <a:gd name="connsiteY450" fmla="*/ 21590 h 101600"/>
                  <a:gd name="connsiteX451" fmla="*/ 154622 w 1438275"/>
                  <a:gd name="connsiteY451" fmla="*/ 28893 h 101600"/>
                  <a:gd name="connsiteX452" fmla="*/ 147638 w 1438275"/>
                  <a:gd name="connsiteY452" fmla="*/ 49848 h 101600"/>
                  <a:gd name="connsiteX453" fmla="*/ 150813 w 1438275"/>
                  <a:gd name="connsiteY453" fmla="*/ 65405 h 101600"/>
                  <a:gd name="connsiteX454" fmla="*/ 159702 w 1438275"/>
                  <a:gd name="connsiteY454" fmla="*/ 74930 h 101600"/>
                  <a:gd name="connsiteX455" fmla="*/ 172720 w 1438275"/>
                  <a:gd name="connsiteY455" fmla="*/ 78105 h 101600"/>
                  <a:gd name="connsiteX456" fmla="*/ 191770 w 1438275"/>
                  <a:gd name="connsiteY456" fmla="*/ 70803 h 101600"/>
                  <a:gd name="connsiteX457" fmla="*/ 198755 w 1438275"/>
                  <a:gd name="connsiteY457" fmla="*/ 49848 h 101600"/>
                  <a:gd name="connsiteX458" fmla="*/ 195897 w 1438275"/>
                  <a:gd name="connsiteY458" fmla="*/ 34290 h 101600"/>
                  <a:gd name="connsiteX459" fmla="*/ 127000 w 1438275"/>
                  <a:gd name="connsiteY459" fmla="*/ 24765 h 101600"/>
                  <a:gd name="connsiteX460" fmla="*/ 120332 w 1438275"/>
                  <a:gd name="connsiteY460" fmla="*/ 32385 h 101600"/>
                  <a:gd name="connsiteX461" fmla="*/ 120015 w 1438275"/>
                  <a:gd name="connsiteY461" fmla="*/ 32385 h 101600"/>
                  <a:gd name="connsiteX462" fmla="*/ 118745 w 1438275"/>
                  <a:gd name="connsiteY462" fmla="*/ 22543 h 101600"/>
                  <a:gd name="connsiteX463" fmla="*/ 110172 w 1438275"/>
                  <a:gd name="connsiteY463" fmla="*/ 22543 h 101600"/>
                  <a:gd name="connsiteX464" fmla="*/ 110172 w 1438275"/>
                  <a:gd name="connsiteY464" fmla="*/ 77153 h 101600"/>
                  <a:gd name="connsiteX465" fmla="*/ 120967 w 1438275"/>
                  <a:gd name="connsiteY465" fmla="*/ 77153 h 101600"/>
                  <a:gd name="connsiteX466" fmla="*/ 120967 w 1438275"/>
                  <a:gd name="connsiteY466" fmla="*/ 48260 h 101600"/>
                  <a:gd name="connsiteX467" fmla="*/ 123190 w 1438275"/>
                  <a:gd name="connsiteY467" fmla="*/ 39053 h 101600"/>
                  <a:gd name="connsiteX468" fmla="*/ 128905 w 1438275"/>
                  <a:gd name="connsiteY468" fmla="*/ 33338 h 101600"/>
                  <a:gd name="connsiteX469" fmla="*/ 136525 w 1438275"/>
                  <a:gd name="connsiteY469" fmla="*/ 31433 h 101600"/>
                  <a:gd name="connsiteX470" fmla="*/ 141922 w 1438275"/>
                  <a:gd name="connsiteY470" fmla="*/ 32068 h 101600"/>
                  <a:gd name="connsiteX471" fmla="*/ 143192 w 1438275"/>
                  <a:gd name="connsiteY471" fmla="*/ 21908 h 101600"/>
                  <a:gd name="connsiteX472" fmla="*/ 137160 w 1438275"/>
                  <a:gd name="connsiteY472" fmla="*/ 21273 h 101600"/>
                  <a:gd name="connsiteX473" fmla="*/ 127000 w 1438275"/>
                  <a:gd name="connsiteY473" fmla="*/ 24765 h 101600"/>
                  <a:gd name="connsiteX474" fmla="*/ 45720 w 1438275"/>
                  <a:gd name="connsiteY474" fmla="*/ 0 h 101600"/>
                  <a:gd name="connsiteX475" fmla="*/ 45720 w 1438275"/>
                  <a:gd name="connsiteY475" fmla="*/ 77153 h 101600"/>
                  <a:gd name="connsiteX476" fmla="*/ 56515 w 1438275"/>
                  <a:gd name="connsiteY476" fmla="*/ 77153 h 101600"/>
                  <a:gd name="connsiteX477" fmla="*/ 56515 w 1438275"/>
                  <a:gd name="connsiteY477" fmla="*/ 49530 h 101600"/>
                  <a:gd name="connsiteX478" fmla="*/ 59690 w 1438275"/>
                  <a:gd name="connsiteY478" fmla="*/ 35243 h 101600"/>
                  <a:gd name="connsiteX479" fmla="*/ 71120 w 1438275"/>
                  <a:gd name="connsiteY479" fmla="*/ 30163 h 101600"/>
                  <a:gd name="connsiteX480" fmla="*/ 82550 w 1438275"/>
                  <a:gd name="connsiteY480" fmla="*/ 42863 h 101600"/>
                  <a:gd name="connsiteX481" fmla="*/ 82550 w 1438275"/>
                  <a:gd name="connsiteY481" fmla="*/ 77153 h 101600"/>
                  <a:gd name="connsiteX482" fmla="*/ 93345 w 1438275"/>
                  <a:gd name="connsiteY482" fmla="*/ 77153 h 101600"/>
                  <a:gd name="connsiteX483" fmla="*/ 93345 w 1438275"/>
                  <a:gd name="connsiteY483" fmla="*/ 41593 h 101600"/>
                  <a:gd name="connsiteX484" fmla="*/ 88265 w 1438275"/>
                  <a:gd name="connsiteY484" fmla="*/ 26353 h 101600"/>
                  <a:gd name="connsiteX485" fmla="*/ 73342 w 1438275"/>
                  <a:gd name="connsiteY485" fmla="*/ 21590 h 101600"/>
                  <a:gd name="connsiteX486" fmla="*/ 63817 w 1438275"/>
                  <a:gd name="connsiteY486" fmla="*/ 23813 h 101600"/>
                  <a:gd name="connsiteX487" fmla="*/ 56832 w 1438275"/>
                  <a:gd name="connsiteY487" fmla="*/ 30163 h 101600"/>
                  <a:gd name="connsiteX488" fmla="*/ 56197 w 1438275"/>
                  <a:gd name="connsiteY488" fmla="*/ 30163 h 101600"/>
                  <a:gd name="connsiteX489" fmla="*/ 56515 w 1438275"/>
                  <a:gd name="connsiteY489" fmla="*/ 26035 h 101600"/>
                  <a:gd name="connsiteX490" fmla="*/ 56832 w 1438275"/>
                  <a:gd name="connsiteY490" fmla="*/ 20955 h 101600"/>
                  <a:gd name="connsiteX491" fmla="*/ 56832 w 1438275"/>
                  <a:gd name="connsiteY491" fmla="*/ 318 h 101600"/>
                  <a:gd name="connsiteX492" fmla="*/ 45720 w 1438275"/>
                  <a:gd name="connsiteY492" fmla="*/ 318 h 101600"/>
                  <a:gd name="connsiteX493" fmla="*/ 20638 w 1438275"/>
                  <a:gd name="connsiteY493" fmla="*/ 67310 h 101600"/>
                  <a:gd name="connsiteX494" fmla="*/ 18415 w 1438275"/>
                  <a:gd name="connsiteY494" fmla="*/ 60643 h 101600"/>
                  <a:gd name="connsiteX495" fmla="*/ 18415 w 1438275"/>
                  <a:gd name="connsiteY495" fmla="*/ 30480 h 101600"/>
                  <a:gd name="connsiteX496" fmla="*/ 33972 w 1438275"/>
                  <a:gd name="connsiteY496" fmla="*/ 30480 h 101600"/>
                  <a:gd name="connsiteX497" fmla="*/ 33972 w 1438275"/>
                  <a:gd name="connsiteY497" fmla="*/ 22225 h 101600"/>
                  <a:gd name="connsiteX498" fmla="*/ 18415 w 1438275"/>
                  <a:gd name="connsiteY498" fmla="*/ 22225 h 101600"/>
                  <a:gd name="connsiteX499" fmla="*/ 18415 w 1438275"/>
                  <a:gd name="connsiteY499" fmla="*/ 9843 h 101600"/>
                  <a:gd name="connsiteX500" fmla="*/ 11747 w 1438275"/>
                  <a:gd name="connsiteY500" fmla="*/ 9843 h 101600"/>
                  <a:gd name="connsiteX501" fmla="*/ 7938 w 1438275"/>
                  <a:gd name="connsiteY501" fmla="*/ 21273 h 101600"/>
                  <a:gd name="connsiteX502" fmla="*/ 0 w 1438275"/>
                  <a:gd name="connsiteY502" fmla="*/ 25400 h 101600"/>
                  <a:gd name="connsiteX503" fmla="*/ 0 w 1438275"/>
                  <a:gd name="connsiteY503" fmla="*/ 30163 h 101600"/>
                  <a:gd name="connsiteX504" fmla="*/ 7620 w 1438275"/>
                  <a:gd name="connsiteY504" fmla="*/ 30163 h 101600"/>
                  <a:gd name="connsiteX505" fmla="*/ 7620 w 1438275"/>
                  <a:gd name="connsiteY505" fmla="*/ 60325 h 101600"/>
                  <a:gd name="connsiteX506" fmla="*/ 9842 w 1438275"/>
                  <a:gd name="connsiteY506" fmla="*/ 70803 h 101600"/>
                  <a:gd name="connsiteX507" fmla="*/ 15875 w 1438275"/>
                  <a:gd name="connsiteY507" fmla="*/ 76200 h 101600"/>
                  <a:gd name="connsiteX508" fmla="*/ 24130 w 1438275"/>
                  <a:gd name="connsiteY508" fmla="*/ 77788 h 101600"/>
                  <a:gd name="connsiteX509" fmla="*/ 30163 w 1438275"/>
                  <a:gd name="connsiteY509" fmla="*/ 77153 h 101600"/>
                  <a:gd name="connsiteX510" fmla="*/ 34925 w 1438275"/>
                  <a:gd name="connsiteY510" fmla="*/ 75883 h 101600"/>
                  <a:gd name="connsiteX511" fmla="*/ 34925 w 1438275"/>
                  <a:gd name="connsiteY511" fmla="*/ 67628 h 101600"/>
                  <a:gd name="connsiteX512" fmla="*/ 26670 w 1438275"/>
                  <a:gd name="connsiteY512" fmla="*/ 68898 h 101600"/>
                  <a:gd name="connsiteX513" fmla="*/ 20638 w 1438275"/>
                  <a:gd name="connsiteY513" fmla="*/ 6731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Lst>
                <a:rect l="l" t="t" r="r" b="b"/>
                <a:pathLst>
                  <a:path w="1438275" h="101600">
                    <a:moveTo>
                      <a:pt x="1423988" y="67310"/>
                    </a:moveTo>
                    <a:cubicBezTo>
                      <a:pt x="1422400" y="66040"/>
                      <a:pt x="1421765" y="63818"/>
                      <a:pt x="1421765" y="60643"/>
                    </a:cubicBezTo>
                    <a:lnTo>
                      <a:pt x="1421765" y="30480"/>
                    </a:lnTo>
                    <a:lnTo>
                      <a:pt x="1437322" y="30480"/>
                    </a:lnTo>
                    <a:lnTo>
                      <a:pt x="1437322" y="22225"/>
                    </a:lnTo>
                    <a:lnTo>
                      <a:pt x="1421765" y="22225"/>
                    </a:lnTo>
                    <a:lnTo>
                      <a:pt x="1421765" y="9843"/>
                    </a:lnTo>
                    <a:lnTo>
                      <a:pt x="1415097" y="9843"/>
                    </a:lnTo>
                    <a:lnTo>
                      <a:pt x="1411288" y="21273"/>
                    </a:lnTo>
                    <a:lnTo>
                      <a:pt x="1403350" y="25400"/>
                    </a:lnTo>
                    <a:lnTo>
                      <a:pt x="1403350" y="30163"/>
                    </a:lnTo>
                    <a:lnTo>
                      <a:pt x="1410970" y="30163"/>
                    </a:lnTo>
                    <a:lnTo>
                      <a:pt x="1410970" y="60325"/>
                    </a:lnTo>
                    <a:cubicBezTo>
                      <a:pt x="1410970" y="64770"/>
                      <a:pt x="1411605" y="68263"/>
                      <a:pt x="1413192" y="70803"/>
                    </a:cubicBezTo>
                    <a:cubicBezTo>
                      <a:pt x="1414780" y="73343"/>
                      <a:pt x="1416685" y="74930"/>
                      <a:pt x="1419225" y="76200"/>
                    </a:cubicBezTo>
                    <a:cubicBezTo>
                      <a:pt x="1421765" y="77153"/>
                      <a:pt x="1424305" y="77788"/>
                      <a:pt x="1427480" y="77788"/>
                    </a:cubicBezTo>
                    <a:cubicBezTo>
                      <a:pt x="1429385" y="77788"/>
                      <a:pt x="1431290" y="77470"/>
                      <a:pt x="1433513" y="77153"/>
                    </a:cubicBezTo>
                    <a:cubicBezTo>
                      <a:pt x="1435417" y="76835"/>
                      <a:pt x="1437005" y="76200"/>
                      <a:pt x="1438275" y="75883"/>
                    </a:cubicBezTo>
                    <a:lnTo>
                      <a:pt x="1438275" y="67628"/>
                    </a:lnTo>
                    <a:cubicBezTo>
                      <a:pt x="1435735" y="68580"/>
                      <a:pt x="1433195" y="68898"/>
                      <a:pt x="1430020" y="68898"/>
                    </a:cubicBezTo>
                    <a:cubicBezTo>
                      <a:pt x="1427480" y="69533"/>
                      <a:pt x="1425575" y="68898"/>
                      <a:pt x="1423988" y="67310"/>
                    </a:cubicBezTo>
                    <a:moveTo>
                      <a:pt x="1363980" y="23495"/>
                    </a:moveTo>
                    <a:cubicBezTo>
                      <a:pt x="1360805" y="24765"/>
                      <a:pt x="1358582" y="26988"/>
                      <a:pt x="1356678" y="29845"/>
                    </a:cubicBezTo>
                    <a:lnTo>
                      <a:pt x="1356042" y="29845"/>
                    </a:lnTo>
                    <a:lnTo>
                      <a:pt x="1354455" y="22543"/>
                    </a:lnTo>
                    <a:lnTo>
                      <a:pt x="1345882" y="22543"/>
                    </a:lnTo>
                    <a:lnTo>
                      <a:pt x="1345882" y="77153"/>
                    </a:lnTo>
                    <a:lnTo>
                      <a:pt x="1356678" y="77153"/>
                    </a:lnTo>
                    <a:lnTo>
                      <a:pt x="1356678" y="49530"/>
                    </a:lnTo>
                    <a:cubicBezTo>
                      <a:pt x="1356678" y="43180"/>
                      <a:pt x="1357630" y="38418"/>
                      <a:pt x="1359853" y="35243"/>
                    </a:cubicBezTo>
                    <a:cubicBezTo>
                      <a:pt x="1362075" y="32068"/>
                      <a:pt x="1365885" y="30163"/>
                      <a:pt x="1371282" y="30163"/>
                    </a:cubicBezTo>
                    <a:cubicBezTo>
                      <a:pt x="1378903" y="30163"/>
                      <a:pt x="1382395" y="34290"/>
                      <a:pt x="1382395" y="42863"/>
                    </a:cubicBezTo>
                    <a:lnTo>
                      <a:pt x="1382395" y="77153"/>
                    </a:lnTo>
                    <a:lnTo>
                      <a:pt x="1393190" y="77153"/>
                    </a:lnTo>
                    <a:lnTo>
                      <a:pt x="1393190" y="41593"/>
                    </a:lnTo>
                    <a:cubicBezTo>
                      <a:pt x="1393190" y="34608"/>
                      <a:pt x="1391603" y="29528"/>
                      <a:pt x="1388110" y="26353"/>
                    </a:cubicBezTo>
                    <a:cubicBezTo>
                      <a:pt x="1384617" y="23178"/>
                      <a:pt x="1379855" y="21590"/>
                      <a:pt x="1373505" y="21590"/>
                    </a:cubicBezTo>
                    <a:cubicBezTo>
                      <a:pt x="1370330" y="21590"/>
                      <a:pt x="1367155" y="22225"/>
                      <a:pt x="1363980" y="23495"/>
                    </a:cubicBezTo>
                    <a:moveTo>
                      <a:pt x="1318578" y="33655"/>
                    </a:moveTo>
                    <a:cubicBezTo>
                      <a:pt x="1320482" y="36195"/>
                      <a:pt x="1321753" y="39688"/>
                      <a:pt x="1321753" y="44133"/>
                    </a:cubicBezTo>
                    <a:lnTo>
                      <a:pt x="1296035" y="44133"/>
                    </a:lnTo>
                    <a:cubicBezTo>
                      <a:pt x="1296353" y="39370"/>
                      <a:pt x="1297940" y="35878"/>
                      <a:pt x="1300163" y="33338"/>
                    </a:cubicBezTo>
                    <a:cubicBezTo>
                      <a:pt x="1302385" y="30798"/>
                      <a:pt x="1305560" y="29528"/>
                      <a:pt x="1309370" y="29528"/>
                    </a:cubicBezTo>
                    <a:cubicBezTo>
                      <a:pt x="1313497" y="29845"/>
                      <a:pt x="1316672" y="31115"/>
                      <a:pt x="1318578" y="33655"/>
                    </a:cubicBezTo>
                    <a:moveTo>
                      <a:pt x="1296353" y="24765"/>
                    </a:moveTo>
                    <a:cubicBezTo>
                      <a:pt x="1292542" y="26988"/>
                      <a:pt x="1289685" y="30163"/>
                      <a:pt x="1287780" y="34608"/>
                    </a:cubicBezTo>
                    <a:cubicBezTo>
                      <a:pt x="1285557" y="38735"/>
                      <a:pt x="1284605" y="44133"/>
                      <a:pt x="1284605" y="50165"/>
                    </a:cubicBezTo>
                    <a:cubicBezTo>
                      <a:pt x="1284605" y="56198"/>
                      <a:pt x="1285875" y="61595"/>
                      <a:pt x="1288097" y="65723"/>
                    </a:cubicBezTo>
                    <a:cubicBezTo>
                      <a:pt x="1290320" y="69850"/>
                      <a:pt x="1293495" y="73025"/>
                      <a:pt x="1297622" y="74930"/>
                    </a:cubicBezTo>
                    <a:cubicBezTo>
                      <a:pt x="1301750" y="77153"/>
                      <a:pt x="1306513" y="78105"/>
                      <a:pt x="1311592" y="78105"/>
                    </a:cubicBezTo>
                    <a:cubicBezTo>
                      <a:pt x="1315403" y="78105"/>
                      <a:pt x="1318895" y="77788"/>
                      <a:pt x="1321435" y="77153"/>
                    </a:cubicBezTo>
                    <a:cubicBezTo>
                      <a:pt x="1324292" y="76518"/>
                      <a:pt x="1326832" y="75565"/>
                      <a:pt x="1329690" y="74295"/>
                    </a:cubicBezTo>
                    <a:lnTo>
                      <a:pt x="1329690" y="65405"/>
                    </a:lnTo>
                    <a:cubicBezTo>
                      <a:pt x="1326832" y="66675"/>
                      <a:pt x="1323975" y="67628"/>
                      <a:pt x="1321117" y="68263"/>
                    </a:cubicBezTo>
                    <a:cubicBezTo>
                      <a:pt x="1318260" y="68898"/>
                      <a:pt x="1315085" y="69215"/>
                      <a:pt x="1311592" y="69215"/>
                    </a:cubicBezTo>
                    <a:cubicBezTo>
                      <a:pt x="1306513" y="69215"/>
                      <a:pt x="1302703" y="67628"/>
                      <a:pt x="1299845" y="64770"/>
                    </a:cubicBezTo>
                    <a:cubicBezTo>
                      <a:pt x="1296988" y="61913"/>
                      <a:pt x="1295400" y="57468"/>
                      <a:pt x="1295400" y="51753"/>
                    </a:cubicBezTo>
                    <a:lnTo>
                      <a:pt x="1332230" y="51753"/>
                    </a:lnTo>
                    <a:lnTo>
                      <a:pt x="1332230" y="45720"/>
                    </a:lnTo>
                    <a:cubicBezTo>
                      <a:pt x="1332230" y="38100"/>
                      <a:pt x="1330007" y="32068"/>
                      <a:pt x="1325880" y="27623"/>
                    </a:cubicBezTo>
                    <a:cubicBezTo>
                      <a:pt x="1321753" y="23178"/>
                      <a:pt x="1316038" y="20955"/>
                      <a:pt x="1309053" y="20955"/>
                    </a:cubicBezTo>
                    <a:cubicBezTo>
                      <a:pt x="1304607" y="21590"/>
                      <a:pt x="1300163" y="22543"/>
                      <a:pt x="1296353" y="24765"/>
                    </a:cubicBezTo>
                    <a:moveTo>
                      <a:pt x="1243013" y="23495"/>
                    </a:moveTo>
                    <a:cubicBezTo>
                      <a:pt x="1239838" y="25083"/>
                      <a:pt x="1237297" y="27305"/>
                      <a:pt x="1235710" y="30163"/>
                    </a:cubicBezTo>
                    <a:lnTo>
                      <a:pt x="1234757" y="30163"/>
                    </a:lnTo>
                    <a:cubicBezTo>
                      <a:pt x="1231900" y="24130"/>
                      <a:pt x="1226503" y="21273"/>
                      <a:pt x="1218247" y="21273"/>
                    </a:cubicBezTo>
                    <a:cubicBezTo>
                      <a:pt x="1215072" y="21273"/>
                      <a:pt x="1211897" y="21908"/>
                      <a:pt x="1209040" y="23178"/>
                    </a:cubicBezTo>
                    <a:cubicBezTo>
                      <a:pt x="1206182" y="24448"/>
                      <a:pt x="1203960" y="26670"/>
                      <a:pt x="1202055" y="29528"/>
                    </a:cubicBezTo>
                    <a:lnTo>
                      <a:pt x="1201420" y="29528"/>
                    </a:lnTo>
                    <a:lnTo>
                      <a:pt x="1199832" y="22225"/>
                    </a:lnTo>
                    <a:lnTo>
                      <a:pt x="1191260" y="22225"/>
                    </a:lnTo>
                    <a:lnTo>
                      <a:pt x="1191260" y="76835"/>
                    </a:lnTo>
                    <a:lnTo>
                      <a:pt x="1202055" y="76835"/>
                    </a:lnTo>
                    <a:lnTo>
                      <a:pt x="1202055" y="49213"/>
                    </a:lnTo>
                    <a:cubicBezTo>
                      <a:pt x="1202055" y="42863"/>
                      <a:pt x="1203007" y="38100"/>
                      <a:pt x="1204913" y="34925"/>
                    </a:cubicBezTo>
                    <a:cubicBezTo>
                      <a:pt x="1206817" y="31750"/>
                      <a:pt x="1210310" y="29845"/>
                      <a:pt x="1215390" y="29845"/>
                    </a:cubicBezTo>
                    <a:cubicBezTo>
                      <a:pt x="1222375" y="29845"/>
                      <a:pt x="1225867" y="33973"/>
                      <a:pt x="1225867" y="42545"/>
                    </a:cubicBezTo>
                    <a:lnTo>
                      <a:pt x="1225867" y="76835"/>
                    </a:lnTo>
                    <a:lnTo>
                      <a:pt x="1236663" y="76835"/>
                    </a:lnTo>
                    <a:lnTo>
                      <a:pt x="1236663" y="47308"/>
                    </a:lnTo>
                    <a:cubicBezTo>
                      <a:pt x="1236663" y="41593"/>
                      <a:pt x="1237615" y="37465"/>
                      <a:pt x="1239838" y="34290"/>
                    </a:cubicBezTo>
                    <a:cubicBezTo>
                      <a:pt x="1242060" y="31433"/>
                      <a:pt x="1245553" y="29845"/>
                      <a:pt x="1250315" y="29845"/>
                    </a:cubicBezTo>
                    <a:cubicBezTo>
                      <a:pt x="1257300" y="29845"/>
                      <a:pt x="1260475" y="33973"/>
                      <a:pt x="1260475" y="42545"/>
                    </a:cubicBezTo>
                    <a:lnTo>
                      <a:pt x="1260475" y="76835"/>
                    </a:lnTo>
                    <a:lnTo>
                      <a:pt x="1271270" y="76835"/>
                    </a:lnTo>
                    <a:lnTo>
                      <a:pt x="1271270" y="41275"/>
                    </a:lnTo>
                    <a:cubicBezTo>
                      <a:pt x="1271270" y="34290"/>
                      <a:pt x="1269682" y="29210"/>
                      <a:pt x="1266507" y="26035"/>
                    </a:cubicBezTo>
                    <a:cubicBezTo>
                      <a:pt x="1263332" y="22860"/>
                      <a:pt x="1258888" y="21273"/>
                      <a:pt x="1252538" y="21273"/>
                    </a:cubicBezTo>
                    <a:cubicBezTo>
                      <a:pt x="1249363" y="21590"/>
                      <a:pt x="1246188" y="22225"/>
                      <a:pt x="1243013" y="23495"/>
                    </a:cubicBezTo>
                    <a:moveTo>
                      <a:pt x="1163320" y="35560"/>
                    </a:moveTo>
                    <a:cubicBezTo>
                      <a:pt x="1165542" y="39053"/>
                      <a:pt x="1166495" y="43815"/>
                      <a:pt x="1166495" y="49530"/>
                    </a:cubicBezTo>
                    <a:cubicBezTo>
                      <a:pt x="1166495" y="55563"/>
                      <a:pt x="1165542" y="60325"/>
                      <a:pt x="1163320" y="63818"/>
                    </a:cubicBezTo>
                    <a:cubicBezTo>
                      <a:pt x="1161097" y="67628"/>
                      <a:pt x="1157922" y="69215"/>
                      <a:pt x="1153478" y="69215"/>
                    </a:cubicBezTo>
                    <a:cubicBezTo>
                      <a:pt x="1148080" y="69215"/>
                      <a:pt x="1144270" y="67628"/>
                      <a:pt x="1142365" y="64135"/>
                    </a:cubicBezTo>
                    <a:cubicBezTo>
                      <a:pt x="1140460" y="60643"/>
                      <a:pt x="1139190" y="55880"/>
                      <a:pt x="1139190" y="49530"/>
                    </a:cubicBezTo>
                    <a:lnTo>
                      <a:pt x="1139190" y="47943"/>
                    </a:lnTo>
                    <a:cubicBezTo>
                      <a:pt x="1139190" y="41910"/>
                      <a:pt x="1140460" y="37465"/>
                      <a:pt x="1142365" y="34608"/>
                    </a:cubicBezTo>
                    <a:cubicBezTo>
                      <a:pt x="1144588" y="31750"/>
                      <a:pt x="1148080" y="30163"/>
                      <a:pt x="1153160" y="30163"/>
                    </a:cubicBezTo>
                    <a:cubicBezTo>
                      <a:pt x="1157922" y="30163"/>
                      <a:pt x="1161097" y="32068"/>
                      <a:pt x="1163320" y="35560"/>
                    </a:cubicBezTo>
                    <a:moveTo>
                      <a:pt x="1145540" y="23813"/>
                    </a:moveTo>
                    <a:cubicBezTo>
                      <a:pt x="1143000" y="25400"/>
                      <a:pt x="1140778" y="27305"/>
                      <a:pt x="1139190" y="29845"/>
                    </a:cubicBezTo>
                    <a:lnTo>
                      <a:pt x="1138555" y="29845"/>
                    </a:lnTo>
                    <a:lnTo>
                      <a:pt x="1136967" y="22543"/>
                    </a:lnTo>
                    <a:lnTo>
                      <a:pt x="1128078" y="22543"/>
                    </a:lnTo>
                    <a:lnTo>
                      <a:pt x="1128078" y="101600"/>
                    </a:lnTo>
                    <a:lnTo>
                      <a:pt x="1138872" y="101600"/>
                    </a:lnTo>
                    <a:lnTo>
                      <a:pt x="1138872" y="79375"/>
                    </a:lnTo>
                    <a:cubicBezTo>
                      <a:pt x="1138872" y="78105"/>
                      <a:pt x="1138872" y="76518"/>
                      <a:pt x="1138555" y="74930"/>
                    </a:cubicBezTo>
                    <a:cubicBezTo>
                      <a:pt x="1138238" y="73343"/>
                      <a:pt x="1138238" y="71755"/>
                      <a:pt x="1138238" y="70485"/>
                    </a:cubicBezTo>
                    <a:lnTo>
                      <a:pt x="1138872" y="70485"/>
                    </a:lnTo>
                    <a:cubicBezTo>
                      <a:pt x="1140460" y="72708"/>
                      <a:pt x="1142682" y="74295"/>
                      <a:pt x="1145222" y="75883"/>
                    </a:cubicBezTo>
                    <a:cubicBezTo>
                      <a:pt x="1147763" y="77470"/>
                      <a:pt x="1151255" y="78105"/>
                      <a:pt x="1155382" y="78105"/>
                    </a:cubicBezTo>
                    <a:cubicBezTo>
                      <a:pt x="1162050" y="78105"/>
                      <a:pt x="1167130" y="75565"/>
                      <a:pt x="1171257" y="70803"/>
                    </a:cubicBezTo>
                    <a:cubicBezTo>
                      <a:pt x="1175385" y="66040"/>
                      <a:pt x="1177290" y="59055"/>
                      <a:pt x="1177290" y="49530"/>
                    </a:cubicBezTo>
                    <a:cubicBezTo>
                      <a:pt x="1177290" y="40005"/>
                      <a:pt x="1175385" y="33020"/>
                      <a:pt x="1171257" y="28258"/>
                    </a:cubicBezTo>
                    <a:cubicBezTo>
                      <a:pt x="1167130" y="23495"/>
                      <a:pt x="1162050" y="21273"/>
                      <a:pt x="1155382" y="21273"/>
                    </a:cubicBezTo>
                    <a:cubicBezTo>
                      <a:pt x="1151572" y="21590"/>
                      <a:pt x="1148080" y="22225"/>
                      <a:pt x="1145540" y="23813"/>
                    </a:cubicBezTo>
                    <a:moveTo>
                      <a:pt x="1077913" y="35560"/>
                    </a:moveTo>
                    <a:cubicBezTo>
                      <a:pt x="1080135" y="32068"/>
                      <a:pt x="1083945" y="30480"/>
                      <a:pt x="1089025" y="30480"/>
                    </a:cubicBezTo>
                    <a:cubicBezTo>
                      <a:pt x="1094105" y="30480"/>
                      <a:pt x="1097915" y="32068"/>
                      <a:pt x="1100138" y="35560"/>
                    </a:cubicBezTo>
                    <a:cubicBezTo>
                      <a:pt x="1102360" y="39053"/>
                      <a:pt x="1103630" y="43815"/>
                      <a:pt x="1103630" y="49848"/>
                    </a:cubicBezTo>
                    <a:cubicBezTo>
                      <a:pt x="1103630" y="55880"/>
                      <a:pt x="1102360" y="60960"/>
                      <a:pt x="1100138" y="64135"/>
                    </a:cubicBezTo>
                    <a:cubicBezTo>
                      <a:pt x="1097915" y="67628"/>
                      <a:pt x="1094105" y="69215"/>
                      <a:pt x="1089025" y="69215"/>
                    </a:cubicBezTo>
                    <a:cubicBezTo>
                      <a:pt x="1083945" y="69215"/>
                      <a:pt x="1080135" y="67628"/>
                      <a:pt x="1077913" y="64135"/>
                    </a:cubicBezTo>
                    <a:cubicBezTo>
                      <a:pt x="1075690" y="60643"/>
                      <a:pt x="1074420" y="55880"/>
                      <a:pt x="1074420" y="49848"/>
                    </a:cubicBezTo>
                    <a:cubicBezTo>
                      <a:pt x="1074420" y="43498"/>
                      <a:pt x="1075690" y="38735"/>
                      <a:pt x="1077913" y="35560"/>
                    </a:cubicBezTo>
                    <a:moveTo>
                      <a:pt x="1111567" y="34290"/>
                    </a:moveTo>
                    <a:cubicBezTo>
                      <a:pt x="1109345" y="30163"/>
                      <a:pt x="1106488" y="26988"/>
                      <a:pt x="1102678" y="24765"/>
                    </a:cubicBezTo>
                    <a:cubicBezTo>
                      <a:pt x="1098867" y="22543"/>
                      <a:pt x="1094422" y="21590"/>
                      <a:pt x="1089342" y="21590"/>
                    </a:cubicBezTo>
                    <a:cubicBezTo>
                      <a:pt x="1081405" y="21590"/>
                      <a:pt x="1075055" y="24130"/>
                      <a:pt x="1070292" y="28893"/>
                    </a:cubicBezTo>
                    <a:cubicBezTo>
                      <a:pt x="1065530" y="33655"/>
                      <a:pt x="1063307" y="40640"/>
                      <a:pt x="1063307" y="49848"/>
                    </a:cubicBezTo>
                    <a:cubicBezTo>
                      <a:pt x="1063307" y="55880"/>
                      <a:pt x="1064260" y="60960"/>
                      <a:pt x="1066482" y="65405"/>
                    </a:cubicBezTo>
                    <a:cubicBezTo>
                      <a:pt x="1068705" y="69533"/>
                      <a:pt x="1071563" y="72708"/>
                      <a:pt x="1075372" y="74930"/>
                    </a:cubicBezTo>
                    <a:cubicBezTo>
                      <a:pt x="1079182" y="77153"/>
                      <a:pt x="1083628" y="78105"/>
                      <a:pt x="1088390" y="78105"/>
                    </a:cubicBezTo>
                    <a:cubicBezTo>
                      <a:pt x="1096328" y="78105"/>
                      <a:pt x="1102678" y="75565"/>
                      <a:pt x="1107440" y="70803"/>
                    </a:cubicBezTo>
                    <a:cubicBezTo>
                      <a:pt x="1112203" y="65723"/>
                      <a:pt x="1114425" y="58738"/>
                      <a:pt x="1114425" y="49848"/>
                    </a:cubicBezTo>
                    <a:cubicBezTo>
                      <a:pt x="1114742" y="43815"/>
                      <a:pt x="1113790" y="38418"/>
                      <a:pt x="1111567" y="34290"/>
                    </a:cubicBezTo>
                    <a:moveTo>
                      <a:pt x="1049655" y="0"/>
                    </a:moveTo>
                    <a:lnTo>
                      <a:pt x="1038860" y="0"/>
                    </a:lnTo>
                    <a:lnTo>
                      <a:pt x="1038860" y="77153"/>
                    </a:lnTo>
                    <a:lnTo>
                      <a:pt x="1049655" y="77153"/>
                    </a:lnTo>
                    <a:lnTo>
                      <a:pt x="1049655" y="0"/>
                    </a:lnTo>
                    <a:close/>
                    <a:moveTo>
                      <a:pt x="1011555" y="33655"/>
                    </a:moveTo>
                    <a:cubicBezTo>
                      <a:pt x="1013460" y="36195"/>
                      <a:pt x="1014730" y="39688"/>
                      <a:pt x="1014730" y="44133"/>
                    </a:cubicBezTo>
                    <a:lnTo>
                      <a:pt x="989013" y="44133"/>
                    </a:lnTo>
                    <a:cubicBezTo>
                      <a:pt x="989330" y="39370"/>
                      <a:pt x="990917" y="35878"/>
                      <a:pt x="993140" y="33338"/>
                    </a:cubicBezTo>
                    <a:cubicBezTo>
                      <a:pt x="995363" y="30798"/>
                      <a:pt x="998538" y="29528"/>
                      <a:pt x="1002347" y="29528"/>
                    </a:cubicBezTo>
                    <a:cubicBezTo>
                      <a:pt x="1006475" y="29845"/>
                      <a:pt x="1009650" y="31115"/>
                      <a:pt x="1011555" y="33655"/>
                    </a:cubicBezTo>
                    <a:moveTo>
                      <a:pt x="989330" y="24765"/>
                    </a:moveTo>
                    <a:cubicBezTo>
                      <a:pt x="985520" y="26988"/>
                      <a:pt x="982663" y="30163"/>
                      <a:pt x="980757" y="34608"/>
                    </a:cubicBezTo>
                    <a:cubicBezTo>
                      <a:pt x="978853" y="39053"/>
                      <a:pt x="977582" y="44133"/>
                      <a:pt x="977582" y="50165"/>
                    </a:cubicBezTo>
                    <a:cubicBezTo>
                      <a:pt x="977582" y="56198"/>
                      <a:pt x="978853" y="61595"/>
                      <a:pt x="981075" y="65723"/>
                    </a:cubicBezTo>
                    <a:cubicBezTo>
                      <a:pt x="983297" y="69850"/>
                      <a:pt x="986472" y="73025"/>
                      <a:pt x="990600" y="74930"/>
                    </a:cubicBezTo>
                    <a:cubicBezTo>
                      <a:pt x="994728" y="77153"/>
                      <a:pt x="999490" y="78105"/>
                      <a:pt x="1004570" y="78105"/>
                    </a:cubicBezTo>
                    <a:cubicBezTo>
                      <a:pt x="1008380" y="78105"/>
                      <a:pt x="1011872" y="77788"/>
                      <a:pt x="1014413" y="77153"/>
                    </a:cubicBezTo>
                    <a:cubicBezTo>
                      <a:pt x="1017270" y="76518"/>
                      <a:pt x="1019810" y="75565"/>
                      <a:pt x="1022667" y="74295"/>
                    </a:cubicBezTo>
                    <a:lnTo>
                      <a:pt x="1022667" y="65405"/>
                    </a:lnTo>
                    <a:cubicBezTo>
                      <a:pt x="1019810" y="66675"/>
                      <a:pt x="1016953" y="67628"/>
                      <a:pt x="1014095" y="68263"/>
                    </a:cubicBezTo>
                    <a:cubicBezTo>
                      <a:pt x="1011238" y="68898"/>
                      <a:pt x="1008063" y="69215"/>
                      <a:pt x="1004570" y="69215"/>
                    </a:cubicBezTo>
                    <a:cubicBezTo>
                      <a:pt x="999490" y="69215"/>
                      <a:pt x="995680" y="67628"/>
                      <a:pt x="992822" y="64770"/>
                    </a:cubicBezTo>
                    <a:cubicBezTo>
                      <a:pt x="989965" y="61913"/>
                      <a:pt x="988695" y="57468"/>
                      <a:pt x="988378" y="51753"/>
                    </a:cubicBezTo>
                    <a:lnTo>
                      <a:pt x="1025207" y="51753"/>
                    </a:lnTo>
                    <a:lnTo>
                      <a:pt x="1025207" y="45720"/>
                    </a:lnTo>
                    <a:cubicBezTo>
                      <a:pt x="1025207" y="38100"/>
                      <a:pt x="1022985" y="32068"/>
                      <a:pt x="1018857" y="27623"/>
                    </a:cubicBezTo>
                    <a:cubicBezTo>
                      <a:pt x="1014730" y="23178"/>
                      <a:pt x="1009015" y="20955"/>
                      <a:pt x="1002030" y="20955"/>
                    </a:cubicBezTo>
                    <a:cubicBezTo>
                      <a:pt x="997585" y="21590"/>
                      <a:pt x="993140" y="22543"/>
                      <a:pt x="989330" y="24765"/>
                    </a:cubicBezTo>
                    <a:moveTo>
                      <a:pt x="951547" y="77153"/>
                    </a:moveTo>
                    <a:lnTo>
                      <a:pt x="972503" y="22543"/>
                    </a:lnTo>
                    <a:lnTo>
                      <a:pt x="961072" y="22543"/>
                    </a:lnTo>
                    <a:lnTo>
                      <a:pt x="949642" y="54610"/>
                    </a:lnTo>
                    <a:cubicBezTo>
                      <a:pt x="949007" y="56833"/>
                      <a:pt x="948372" y="59055"/>
                      <a:pt x="947420" y="61595"/>
                    </a:cubicBezTo>
                    <a:cubicBezTo>
                      <a:pt x="946467" y="64135"/>
                      <a:pt x="946150" y="66358"/>
                      <a:pt x="945832" y="67945"/>
                    </a:cubicBezTo>
                    <a:lnTo>
                      <a:pt x="945515" y="67945"/>
                    </a:lnTo>
                    <a:cubicBezTo>
                      <a:pt x="945197" y="66358"/>
                      <a:pt x="944880" y="64135"/>
                      <a:pt x="943928" y="61595"/>
                    </a:cubicBezTo>
                    <a:cubicBezTo>
                      <a:pt x="943292" y="59055"/>
                      <a:pt x="942340" y="56515"/>
                      <a:pt x="941705" y="54610"/>
                    </a:cubicBezTo>
                    <a:lnTo>
                      <a:pt x="930275" y="22543"/>
                    </a:lnTo>
                    <a:lnTo>
                      <a:pt x="918845" y="22543"/>
                    </a:lnTo>
                    <a:lnTo>
                      <a:pt x="939482" y="77153"/>
                    </a:lnTo>
                    <a:lnTo>
                      <a:pt x="951547" y="77153"/>
                    </a:lnTo>
                    <a:close/>
                    <a:moveTo>
                      <a:pt x="902017" y="33655"/>
                    </a:moveTo>
                    <a:cubicBezTo>
                      <a:pt x="903922" y="36195"/>
                      <a:pt x="905192" y="39688"/>
                      <a:pt x="905192" y="44133"/>
                    </a:cubicBezTo>
                    <a:lnTo>
                      <a:pt x="879475" y="44133"/>
                    </a:lnTo>
                    <a:cubicBezTo>
                      <a:pt x="879792" y="39370"/>
                      <a:pt x="881380" y="35878"/>
                      <a:pt x="883603" y="33338"/>
                    </a:cubicBezTo>
                    <a:cubicBezTo>
                      <a:pt x="885825" y="30798"/>
                      <a:pt x="889000" y="29528"/>
                      <a:pt x="892810" y="29528"/>
                    </a:cubicBezTo>
                    <a:cubicBezTo>
                      <a:pt x="896938" y="29845"/>
                      <a:pt x="900113" y="31115"/>
                      <a:pt x="902017" y="33655"/>
                    </a:cubicBezTo>
                    <a:moveTo>
                      <a:pt x="879792" y="24765"/>
                    </a:moveTo>
                    <a:cubicBezTo>
                      <a:pt x="875982" y="26988"/>
                      <a:pt x="873125" y="30163"/>
                      <a:pt x="871220" y="34608"/>
                    </a:cubicBezTo>
                    <a:cubicBezTo>
                      <a:pt x="868997" y="38735"/>
                      <a:pt x="868045" y="44133"/>
                      <a:pt x="868045" y="50165"/>
                    </a:cubicBezTo>
                    <a:cubicBezTo>
                      <a:pt x="868045" y="56198"/>
                      <a:pt x="869315" y="61595"/>
                      <a:pt x="871538" y="65723"/>
                    </a:cubicBezTo>
                    <a:cubicBezTo>
                      <a:pt x="873760" y="69850"/>
                      <a:pt x="876935" y="73025"/>
                      <a:pt x="881063" y="74930"/>
                    </a:cubicBezTo>
                    <a:cubicBezTo>
                      <a:pt x="885190" y="77153"/>
                      <a:pt x="889953" y="78105"/>
                      <a:pt x="895032" y="78105"/>
                    </a:cubicBezTo>
                    <a:cubicBezTo>
                      <a:pt x="898842" y="78105"/>
                      <a:pt x="902335" y="77788"/>
                      <a:pt x="904875" y="77153"/>
                    </a:cubicBezTo>
                    <a:cubicBezTo>
                      <a:pt x="907732" y="76518"/>
                      <a:pt x="910272" y="75565"/>
                      <a:pt x="913130" y="74295"/>
                    </a:cubicBezTo>
                    <a:lnTo>
                      <a:pt x="913130" y="65405"/>
                    </a:lnTo>
                    <a:cubicBezTo>
                      <a:pt x="910272" y="66675"/>
                      <a:pt x="907415" y="67628"/>
                      <a:pt x="904557" y="68263"/>
                    </a:cubicBezTo>
                    <a:cubicBezTo>
                      <a:pt x="901700" y="68898"/>
                      <a:pt x="898525" y="69215"/>
                      <a:pt x="895032" y="69215"/>
                    </a:cubicBezTo>
                    <a:cubicBezTo>
                      <a:pt x="889953" y="69215"/>
                      <a:pt x="886142" y="67628"/>
                      <a:pt x="883285" y="64770"/>
                    </a:cubicBezTo>
                    <a:cubicBezTo>
                      <a:pt x="880428" y="61913"/>
                      <a:pt x="879157" y="57468"/>
                      <a:pt x="878840" y="51753"/>
                    </a:cubicBezTo>
                    <a:lnTo>
                      <a:pt x="915670" y="51753"/>
                    </a:lnTo>
                    <a:lnTo>
                      <a:pt x="915670" y="45720"/>
                    </a:lnTo>
                    <a:cubicBezTo>
                      <a:pt x="915670" y="38100"/>
                      <a:pt x="913447" y="32068"/>
                      <a:pt x="909320" y="27623"/>
                    </a:cubicBezTo>
                    <a:cubicBezTo>
                      <a:pt x="905192" y="23178"/>
                      <a:pt x="899478" y="20955"/>
                      <a:pt x="892492" y="20955"/>
                    </a:cubicBezTo>
                    <a:cubicBezTo>
                      <a:pt x="888047" y="21590"/>
                      <a:pt x="883603" y="22543"/>
                      <a:pt x="879792" y="24765"/>
                    </a:cubicBezTo>
                    <a:moveTo>
                      <a:pt x="819467" y="64453"/>
                    </a:moveTo>
                    <a:cubicBezTo>
                      <a:pt x="817245" y="61278"/>
                      <a:pt x="815975" y="56515"/>
                      <a:pt x="815975" y="50165"/>
                    </a:cubicBezTo>
                    <a:cubicBezTo>
                      <a:pt x="815975" y="43815"/>
                      <a:pt x="817245" y="39053"/>
                      <a:pt x="819467" y="35560"/>
                    </a:cubicBezTo>
                    <a:cubicBezTo>
                      <a:pt x="821690" y="32068"/>
                      <a:pt x="824865" y="30163"/>
                      <a:pt x="829310" y="30163"/>
                    </a:cubicBezTo>
                    <a:cubicBezTo>
                      <a:pt x="834707" y="30163"/>
                      <a:pt x="838517" y="31750"/>
                      <a:pt x="840740" y="35243"/>
                    </a:cubicBezTo>
                    <a:cubicBezTo>
                      <a:pt x="842963" y="38735"/>
                      <a:pt x="843915" y="43498"/>
                      <a:pt x="843915" y="49848"/>
                    </a:cubicBezTo>
                    <a:lnTo>
                      <a:pt x="843915" y="51435"/>
                    </a:lnTo>
                    <a:cubicBezTo>
                      <a:pt x="843915" y="57468"/>
                      <a:pt x="842645" y="61913"/>
                      <a:pt x="840740" y="64770"/>
                    </a:cubicBezTo>
                    <a:cubicBezTo>
                      <a:pt x="838517" y="67628"/>
                      <a:pt x="835025" y="69215"/>
                      <a:pt x="829628" y="69215"/>
                    </a:cubicBezTo>
                    <a:cubicBezTo>
                      <a:pt x="825182" y="69533"/>
                      <a:pt x="821690" y="67628"/>
                      <a:pt x="819467" y="64453"/>
                    </a:cubicBezTo>
                    <a:moveTo>
                      <a:pt x="837247" y="75883"/>
                    </a:moveTo>
                    <a:cubicBezTo>
                      <a:pt x="839788" y="74295"/>
                      <a:pt x="842010" y="72390"/>
                      <a:pt x="843597" y="69850"/>
                    </a:cubicBezTo>
                    <a:lnTo>
                      <a:pt x="844232" y="69850"/>
                    </a:lnTo>
                    <a:lnTo>
                      <a:pt x="846138" y="77153"/>
                    </a:lnTo>
                    <a:lnTo>
                      <a:pt x="854710" y="77153"/>
                    </a:lnTo>
                    <a:lnTo>
                      <a:pt x="854710" y="0"/>
                    </a:lnTo>
                    <a:lnTo>
                      <a:pt x="843915" y="0"/>
                    </a:lnTo>
                    <a:lnTo>
                      <a:pt x="843915" y="20638"/>
                    </a:lnTo>
                    <a:cubicBezTo>
                      <a:pt x="843915" y="21908"/>
                      <a:pt x="843915" y="23495"/>
                      <a:pt x="844232" y="25400"/>
                    </a:cubicBezTo>
                    <a:cubicBezTo>
                      <a:pt x="844550" y="27305"/>
                      <a:pt x="844550" y="28575"/>
                      <a:pt x="844867" y="29528"/>
                    </a:cubicBezTo>
                    <a:lnTo>
                      <a:pt x="844232" y="29528"/>
                    </a:lnTo>
                    <a:cubicBezTo>
                      <a:pt x="842645" y="27305"/>
                      <a:pt x="840422" y="25400"/>
                      <a:pt x="837882" y="23813"/>
                    </a:cubicBezTo>
                    <a:cubicBezTo>
                      <a:pt x="835342" y="22225"/>
                      <a:pt x="831850" y="21590"/>
                      <a:pt x="827722" y="21590"/>
                    </a:cubicBezTo>
                    <a:cubicBezTo>
                      <a:pt x="821055" y="21590"/>
                      <a:pt x="815657" y="24130"/>
                      <a:pt x="811530" y="28893"/>
                    </a:cubicBezTo>
                    <a:cubicBezTo>
                      <a:pt x="807403" y="33655"/>
                      <a:pt x="805497" y="40958"/>
                      <a:pt x="805497" y="50165"/>
                    </a:cubicBezTo>
                    <a:cubicBezTo>
                      <a:pt x="805497" y="59373"/>
                      <a:pt x="807403" y="66675"/>
                      <a:pt x="811530" y="71438"/>
                    </a:cubicBezTo>
                    <a:cubicBezTo>
                      <a:pt x="815657" y="76200"/>
                      <a:pt x="820738" y="78423"/>
                      <a:pt x="827405" y="78423"/>
                    </a:cubicBezTo>
                    <a:cubicBezTo>
                      <a:pt x="831215" y="78105"/>
                      <a:pt x="834707" y="77470"/>
                      <a:pt x="837247" y="75883"/>
                    </a:cubicBezTo>
                    <a:moveTo>
                      <a:pt x="756920" y="67310"/>
                    </a:moveTo>
                    <a:cubicBezTo>
                      <a:pt x="755332" y="66040"/>
                      <a:pt x="754697" y="63818"/>
                      <a:pt x="754697" y="60643"/>
                    </a:cubicBezTo>
                    <a:lnTo>
                      <a:pt x="754697" y="30480"/>
                    </a:lnTo>
                    <a:lnTo>
                      <a:pt x="770255" y="30480"/>
                    </a:lnTo>
                    <a:lnTo>
                      <a:pt x="770255" y="22225"/>
                    </a:lnTo>
                    <a:lnTo>
                      <a:pt x="754697" y="22225"/>
                    </a:lnTo>
                    <a:lnTo>
                      <a:pt x="754697" y="9843"/>
                    </a:lnTo>
                    <a:lnTo>
                      <a:pt x="748030" y="9843"/>
                    </a:lnTo>
                    <a:lnTo>
                      <a:pt x="744220" y="21273"/>
                    </a:lnTo>
                    <a:lnTo>
                      <a:pt x="736282" y="25400"/>
                    </a:lnTo>
                    <a:lnTo>
                      <a:pt x="736282" y="30163"/>
                    </a:lnTo>
                    <a:lnTo>
                      <a:pt x="743903" y="30163"/>
                    </a:lnTo>
                    <a:lnTo>
                      <a:pt x="743903" y="60325"/>
                    </a:lnTo>
                    <a:cubicBezTo>
                      <a:pt x="743903" y="64770"/>
                      <a:pt x="744538" y="68263"/>
                      <a:pt x="746125" y="70803"/>
                    </a:cubicBezTo>
                    <a:cubicBezTo>
                      <a:pt x="747713" y="73343"/>
                      <a:pt x="749617" y="74930"/>
                      <a:pt x="752157" y="76200"/>
                    </a:cubicBezTo>
                    <a:cubicBezTo>
                      <a:pt x="754697" y="77153"/>
                      <a:pt x="757238" y="77788"/>
                      <a:pt x="760413" y="77788"/>
                    </a:cubicBezTo>
                    <a:cubicBezTo>
                      <a:pt x="762317" y="77788"/>
                      <a:pt x="764222" y="77470"/>
                      <a:pt x="766445" y="77153"/>
                    </a:cubicBezTo>
                    <a:cubicBezTo>
                      <a:pt x="768350" y="76835"/>
                      <a:pt x="769938" y="76200"/>
                      <a:pt x="771207" y="75883"/>
                    </a:cubicBezTo>
                    <a:lnTo>
                      <a:pt x="771207" y="67628"/>
                    </a:lnTo>
                    <a:cubicBezTo>
                      <a:pt x="768667" y="68580"/>
                      <a:pt x="766128" y="68898"/>
                      <a:pt x="762953" y="68898"/>
                    </a:cubicBezTo>
                    <a:cubicBezTo>
                      <a:pt x="760413" y="69533"/>
                      <a:pt x="758507" y="68898"/>
                      <a:pt x="756920" y="67310"/>
                    </a:cubicBezTo>
                    <a:moveTo>
                      <a:pt x="715645" y="33655"/>
                    </a:moveTo>
                    <a:cubicBezTo>
                      <a:pt x="717550" y="36195"/>
                      <a:pt x="718820" y="39688"/>
                      <a:pt x="718820" y="44133"/>
                    </a:cubicBezTo>
                    <a:lnTo>
                      <a:pt x="693103" y="44133"/>
                    </a:lnTo>
                    <a:cubicBezTo>
                      <a:pt x="693420" y="39370"/>
                      <a:pt x="695007" y="35878"/>
                      <a:pt x="697230" y="33338"/>
                    </a:cubicBezTo>
                    <a:cubicBezTo>
                      <a:pt x="699453" y="30798"/>
                      <a:pt x="702628" y="29528"/>
                      <a:pt x="706438" y="29528"/>
                    </a:cubicBezTo>
                    <a:cubicBezTo>
                      <a:pt x="710565" y="29845"/>
                      <a:pt x="713740" y="31115"/>
                      <a:pt x="715645" y="33655"/>
                    </a:cubicBezTo>
                    <a:moveTo>
                      <a:pt x="693420" y="24765"/>
                    </a:moveTo>
                    <a:cubicBezTo>
                      <a:pt x="689610" y="26988"/>
                      <a:pt x="686753" y="30163"/>
                      <a:pt x="684847" y="34608"/>
                    </a:cubicBezTo>
                    <a:cubicBezTo>
                      <a:pt x="682625" y="38735"/>
                      <a:pt x="681672" y="44133"/>
                      <a:pt x="681672" y="50165"/>
                    </a:cubicBezTo>
                    <a:cubicBezTo>
                      <a:pt x="681672" y="56198"/>
                      <a:pt x="682942" y="61595"/>
                      <a:pt x="685165" y="65723"/>
                    </a:cubicBezTo>
                    <a:cubicBezTo>
                      <a:pt x="687388" y="69850"/>
                      <a:pt x="690563" y="73025"/>
                      <a:pt x="694690" y="74930"/>
                    </a:cubicBezTo>
                    <a:cubicBezTo>
                      <a:pt x="698817" y="77153"/>
                      <a:pt x="703580" y="78105"/>
                      <a:pt x="708660" y="78105"/>
                    </a:cubicBezTo>
                    <a:cubicBezTo>
                      <a:pt x="712470" y="78105"/>
                      <a:pt x="715963" y="77788"/>
                      <a:pt x="718503" y="77153"/>
                    </a:cubicBezTo>
                    <a:cubicBezTo>
                      <a:pt x="721360" y="76518"/>
                      <a:pt x="723900" y="75565"/>
                      <a:pt x="726757" y="74295"/>
                    </a:cubicBezTo>
                    <a:lnTo>
                      <a:pt x="726757" y="65405"/>
                    </a:lnTo>
                    <a:cubicBezTo>
                      <a:pt x="723900" y="66675"/>
                      <a:pt x="721042" y="67628"/>
                      <a:pt x="718185" y="68263"/>
                    </a:cubicBezTo>
                    <a:cubicBezTo>
                      <a:pt x="715328" y="68898"/>
                      <a:pt x="712153" y="69215"/>
                      <a:pt x="708660" y="69215"/>
                    </a:cubicBezTo>
                    <a:cubicBezTo>
                      <a:pt x="703580" y="69215"/>
                      <a:pt x="699770" y="67628"/>
                      <a:pt x="696913" y="64770"/>
                    </a:cubicBezTo>
                    <a:cubicBezTo>
                      <a:pt x="694055" y="61913"/>
                      <a:pt x="692785" y="57468"/>
                      <a:pt x="692467" y="51753"/>
                    </a:cubicBezTo>
                    <a:lnTo>
                      <a:pt x="729297" y="51753"/>
                    </a:lnTo>
                    <a:lnTo>
                      <a:pt x="729297" y="45720"/>
                    </a:lnTo>
                    <a:cubicBezTo>
                      <a:pt x="729297" y="38100"/>
                      <a:pt x="727075" y="32068"/>
                      <a:pt x="722947" y="27623"/>
                    </a:cubicBezTo>
                    <a:cubicBezTo>
                      <a:pt x="718820" y="23178"/>
                      <a:pt x="713105" y="20955"/>
                      <a:pt x="706120" y="20955"/>
                    </a:cubicBezTo>
                    <a:cubicBezTo>
                      <a:pt x="701357" y="21590"/>
                      <a:pt x="697230" y="22543"/>
                      <a:pt x="693420" y="24765"/>
                    </a:cubicBezTo>
                    <a:moveTo>
                      <a:pt x="628015" y="0"/>
                    </a:moveTo>
                    <a:lnTo>
                      <a:pt x="628015" y="77153"/>
                    </a:lnTo>
                    <a:lnTo>
                      <a:pt x="638810" y="77153"/>
                    </a:lnTo>
                    <a:lnTo>
                      <a:pt x="638810" y="58103"/>
                    </a:lnTo>
                    <a:lnTo>
                      <a:pt x="645160" y="52705"/>
                    </a:lnTo>
                    <a:lnTo>
                      <a:pt x="663257" y="77153"/>
                    </a:lnTo>
                    <a:lnTo>
                      <a:pt x="675957" y="77153"/>
                    </a:lnTo>
                    <a:lnTo>
                      <a:pt x="652463" y="45720"/>
                    </a:lnTo>
                    <a:lnTo>
                      <a:pt x="674370" y="22225"/>
                    </a:lnTo>
                    <a:lnTo>
                      <a:pt x="661988" y="22225"/>
                    </a:lnTo>
                    <a:lnTo>
                      <a:pt x="645160" y="40323"/>
                    </a:lnTo>
                    <a:cubicBezTo>
                      <a:pt x="644207" y="41275"/>
                      <a:pt x="642938" y="42863"/>
                      <a:pt x="641667" y="44450"/>
                    </a:cubicBezTo>
                    <a:cubicBezTo>
                      <a:pt x="640397" y="46038"/>
                      <a:pt x="639445" y="47308"/>
                      <a:pt x="638492" y="48578"/>
                    </a:cubicBezTo>
                    <a:lnTo>
                      <a:pt x="638175" y="48578"/>
                    </a:lnTo>
                    <a:cubicBezTo>
                      <a:pt x="638175" y="46990"/>
                      <a:pt x="638492" y="45403"/>
                      <a:pt x="638492" y="43498"/>
                    </a:cubicBezTo>
                    <a:cubicBezTo>
                      <a:pt x="638492" y="41593"/>
                      <a:pt x="638810" y="40005"/>
                      <a:pt x="638810" y="38735"/>
                    </a:cubicBezTo>
                    <a:lnTo>
                      <a:pt x="638810" y="0"/>
                    </a:lnTo>
                    <a:lnTo>
                      <a:pt x="628015" y="0"/>
                    </a:lnTo>
                    <a:close/>
                    <a:moveTo>
                      <a:pt x="601980" y="24765"/>
                    </a:moveTo>
                    <a:cubicBezTo>
                      <a:pt x="599122" y="26988"/>
                      <a:pt x="596900" y="29528"/>
                      <a:pt x="595313" y="32385"/>
                    </a:cubicBezTo>
                    <a:lnTo>
                      <a:pt x="594995" y="32385"/>
                    </a:lnTo>
                    <a:lnTo>
                      <a:pt x="593725" y="22543"/>
                    </a:lnTo>
                    <a:lnTo>
                      <a:pt x="585153" y="22543"/>
                    </a:lnTo>
                    <a:lnTo>
                      <a:pt x="585153" y="77153"/>
                    </a:lnTo>
                    <a:lnTo>
                      <a:pt x="595947" y="77153"/>
                    </a:lnTo>
                    <a:lnTo>
                      <a:pt x="595947" y="48260"/>
                    </a:lnTo>
                    <a:cubicBezTo>
                      <a:pt x="595947" y="44768"/>
                      <a:pt x="596582" y="41593"/>
                      <a:pt x="598170" y="39053"/>
                    </a:cubicBezTo>
                    <a:cubicBezTo>
                      <a:pt x="599757" y="36513"/>
                      <a:pt x="601663" y="34608"/>
                      <a:pt x="603885" y="33338"/>
                    </a:cubicBezTo>
                    <a:cubicBezTo>
                      <a:pt x="606107" y="32068"/>
                      <a:pt x="608965" y="31433"/>
                      <a:pt x="611505" y="31433"/>
                    </a:cubicBezTo>
                    <a:cubicBezTo>
                      <a:pt x="613410" y="31433"/>
                      <a:pt x="615315" y="31750"/>
                      <a:pt x="616903" y="32068"/>
                    </a:cubicBezTo>
                    <a:lnTo>
                      <a:pt x="618172" y="21908"/>
                    </a:lnTo>
                    <a:cubicBezTo>
                      <a:pt x="616267" y="21590"/>
                      <a:pt x="614363" y="21273"/>
                      <a:pt x="612140" y="21273"/>
                    </a:cubicBezTo>
                    <a:cubicBezTo>
                      <a:pt x="608330" y="21590"/>
                      <a:pt x="604838" y="22543"/>
                      <a:pt x="601980" y="24765"/>
                    </a:cubicBezTo>
                    <a:moveTo>
                      <a:pt x="557530" y="55563"/>
                    </a:moveTo>
                    <a:cubicBezTo>
                      <a:pt x="557530" y="60325"/>
                      <a:pt x="556260" y="63818"/>
                      <a:pt x="553403" y="66358"/>
                    </a:cubicBezTo>
                    <a:cubicBezTo>
                      <a:pt x="550545" y="68580"/>
                      <a:pt x="547053" y="69850"/>
                      <a:pt x="542925" y="69850"/>
                    </a:cubicBezTo>
                    <a:cubicBezTo>
                      <a:pt x="540067" y="69850"/>
                      <a:pt x="538163" y="69215"/>
                      <a:pt x="536257" y="67945"/>
                    </a:cubicBezTo>
                    <a:cubicBezTo>
                      <a:pt x="534670" y="66675"/>
                      <a:pt x="533717" y="64453"/>
                      <a:pt x="533717" y="61595"/>
                    </a:cubicBezTo>
                    <a:cubicBezTo>
                      <a:pt x="533717" y="58420"/>
                      <a:pt x="534988" y="55880"/>
                      <a:pt x="537210" y="53975"/>
                    </a:cubicBezTo>
                    <a:cubicBezTo>
                      <a:pt x="539750" y="52070"/>
                      <a:pt x="543878" y="51118"/>
                      <a:pt x="550228" y="50800"/>
                    </a:cubicBezTo>
                    <a:lnTo>
                      <a:pt x="557530" y="50483"/>
                    </a:lnTo>
                    <a:lnTo>
                      <a:pt x="557530" y="55563"/>
                    </a:lnTo>
                    <a:close/>
                    <a:moveTo>
                      <a:pt x="537210" y="22860"/>
                    </a:moveTo>
                    <a:cubicBezTo>
                      <a:pt x="533717" y="23813"/>
                      <a:pt x="530860" y="24765"/>
                      <a:pt x="528320" y="26353"/>
                    </a:cubicBezTo>
                    <a:lnTo>
                      <a:pt x="531813" y="34290"/>
                    </a:lnTo>
                    <a:cubicBezTo>
                      <a:pt x="534035" y="33020"/>
                      <a:pt x="536575" y="32068"/>
                      <a:pt x="539115" y="31433"/>
                    </a:cubicBezTo>
                    <a:cubicBezTo>
                      <a:pt x="541655" y="30480"/>
                      <a:pt x="544513" y="30163"/>
                      <a:pt x="547053" y="30163"/>
                    </a:cubicBezTo>
                    <a:cubicBezTo>
                      <a:pt x="550228" y="30163"/>
                      <a:pt x="553085" y="31115"/>
                      <a:pt x="554672" y="32703"/>
                    </a:cubicBezTo>
                    <a:cubicBezTo>
                      <a:pt x="556578" y="34290"/>
                      <a:pt x="557530" y="37148"/>
                      <a:pt x="557530" y="41275"/>
                    </a:cubicBezTo>
                    <a:lnTo>
                      <a:pt x="557530" y="44450"/>
                    </a:lnTo>
                    <a:lnTo>
                      <a:pt x="548322" y="44768"/>
                    </a:lnTo>
                    <a:cubicBezTo>
                      <a:pt x="539750" y="45085"/>
                      <a:pt x="533082" y="46673"/>
                      <a:pt x="528955" y="49530"/>
                    </a:cubicBezTo>
                    <a:cubicBezTo>
                      <a:pt x="524828" y="52388"/>
                      <a:pt x="522605" y="56515"/>
                      <a:pt x="522605" y="62230"/>
                    </a:cubicBezTo>
                    <a:cubicBezTo>
                      <a:pt x="522605" y="67945"/>
                      <a:pt x="524192" y="72073"/>
                      <a:pt x="527367" y="74930"/>
                    </a:cubicBezTo>
                    <a:cubicBezTo>
                      <a:pt x="530542" y="77470"/>
                      <a:pt x="534670" y="79058"/>
                      <a:pt x="539750" y="79058"/>
                    </a:cubicBezTo>
                    <a:cubicBezTo>
                      <a:pt x="544513" y="79058"/>
                      <a:pt x="548005" y="78423"/>
                      <a:pt x="550545" y="76835"/>
                    </a:cubicBezTo>
                    <a:cubicBezTo>
                      <a:pt x="553085" y="75565"/>
                      <a:pt x="555625" y="73343"/>
                      <a:pt x="558165" y="70168"/>
                    </a:cubicBezTo>
                    <a:lnTo>
                      <a:pt x="558482" y="70168"/>
                    </a:lnTo>
                    <a:lnTo>
                      <a:pt x="560705" y="77788"/>
                    </a:lnTo>
                    <a:lnTo>
                      <a:pt x="568325" y="77788"/>
                    </a:lnTo>
                    <a:lnTo>
                      <a:pt x="568325" y="40640"/>
                    </a:lnTo>
                    <a:cubicBezTo>
                      <a:pt x="568325" y="34290"/>
                      <a:pt x="566738" y="29528"/>
                      <a:pt x="563245" y="26353"/>
                    </a:cubicBezTo>
                    <a:cubicBezTo>
                      <a:pt x="559753" y="23495"/>
                      <a:pt x="554672" y="21908"/>
                      <a:pt x="548005" y="21908"/>
                    </a:cubicBezTo>
                    <a:cubicBezTo>
                      <a:pt x="544195" y="21590"/>
                      <a:pt x="540703" y="21908"/>
                      <a:pt x="537210" y="22860"/>
                    </a:cubicBezTo>
                    <a:moveTo>
                      <a:pt x="481647" y="23495"/>
                    </a:moveTo>
                    <a:cubicBezTo>
                      <a:pt x="478472" y="25083"/>
                      <a:pt x="475932" y="27305"/>
                      <a:pt x="474345" y="30163"/>
                    </a:cubicBezTo>
                    <a:lnTo>
                      <a:pt x="473392" y="30163"/>
                    </a:lnTo>
                    <a:cubicBezTo>
                      <a:pt x="470535" y="24130"/>
                      <a:pt x="465138" y="21273"/>
                      <a:pt x="456882" y="21273"/>
                    </a:cubicBezTo>
                    <a:cubicBezTo>
                      <a:pt x="453707" y="21273"/>
                      <a:pt x="450532" y="21908"/>
                      <a:pt x="447675" y="23178"/>
                    </a:cubicBezTo>
                    <a:cubicBezTo>
                      <a:pt x="444817" y="24448"/>
                      <a:pt x="442595" y="26670"/>
                      <a:pt x="440690" y="29528"/>
                    </a:cubicBezTo>
                    <a:lnTo>
                      <a:pt x="440055" y="29528"/>
                    </a:lnTo>
                    <a:lnTo>
                      <a:pt x="438467" y="22225"/>
                    </a:lnTo>
                    <a:lnTo>
                      <a:pt x="429895" y="22225"/>
                    </a:lnTo>
                    <a:lnTo>
                      <a:pt x="429895" y="76835"/>
                    </a:lnTo>
                    <a:lnTo>
                      <a:pt x="440690" y="76835"/>
                    </a:lnTo>
                    <a:lnTo>
                      <a:pt x="440690" y="49213"/>
                    </a:lnTo>
                    <a:cubicBezTo>
                      <a:pt x="440690" y="42863"/>
                      <a:pt x="441642" y="38100"/>
                      <a:pt x="443547" y="34925"/>
                    </a:cubicBezTo>
                    <a:cubicBezTo>
                      <a:pt x="445453" y="31750"/>
                      <a:pt x="448945" y="29845"/>
                      <a:pt x="454025" y="29845"/>
                    </a:cubicBezTo>
                    <a:cubicBezTo>
                      <a:pt x="461010" y="29845"/>
                      <a:pt x="464503" y="33973"/>
                      <a:pt x="464503" y="42545"/>
                    </a:cubicBezTo>
                    <a:lnTo>
                      <a:pt x="464503" y="76835"/>
                    </a:lnTo>
                    <a:lnTo>
                      <a:pt x="475297" y="76835"/>
                    </a:lnTo>
                    <a:lnTo>
                      <a:pt x="475297" y="47308"/>
                    </a:lnTo>
                    <a:cubicBezTo>
                      <a:pt x="475297" y="41593"/>
                      <a:pt x="476250" y="37465"/>
                      <a:pt x="478472" y="34290"/>
                    </a:cubicBezTo>
                    <a:cubicBezTo>
                      <a:pt x="480695" y="31433"/>
                      <a:pt x="484188" y="29845"/>
                      <a:pt x="488950" y="29845"/>
                    </a:cubicBezTo>
                    <a:cubicBezTo>
                      <a:pt x="495935" y="29845"/>
                      <a:pt x="499110" y="33973"/>
                      <a:pt x="499110" y="42545"/>
                    </a:cubicBezTo>
                    <a:lnTo>
                      <a:pt x="499110" y="76835"/>
                    </a:lnTo>
                    <a:lnTo>
                      <a:pt x="509905" y="76835"/>
                    </a:lnTo>
                    <a:lnTo>
                      <a:pt x="509905" y="41275"/>
                    </a:lnTo>
                    <a:cubicBezTo>
                      <a:pt x="509905" y="34290"/>
                      <a:pt x="508317" y="29210"/>
                      <a:pt x="505142" y="26035"/>
                    </a:cubicBezTo>
                    <a:cubicBezTo>
                      <a:pt x="501967" y="22860"/>
                      <a:pt x="497522" y="21273"/>
                      <a:pt x="491172" y="21273"/>
                    </a:cubicBezTo>
                    <a:cubicBezTo>
                      <a:pt x="487997" y="21590"/>
                      <a:pt x="484822" y="22225"/>
                      <a:pt x="481647" y="23495"/>
                    </a:cubicBezTo>
                    <a:moveTo>
                      <a:pt x="339725" y="0"/>
                    </a:moveTo>
                    <a:lnTo>
                      <a:pt x="339725" y="77153"/>
                    </a:lnTo>
                    <a:lnTo>
                      <a:pt x="350520" y="77153"/>
                    </a:lnTo>
                    <a:lnTo>
                      <a:pt x="350520" y="49530"/>
                    </a:lnTo>
                    <a:cubicBezTo>
                      <a:pt x="350520" y="43498"/>
                      <a:pt x="351472" y="38735"/>
                      <a:pt x="353695" y="35243"/>
                    </a:cubicBezTo>
                    <a:cubicBezTo>
                      <a:pt x="355917" y="31750"/>
                      <a:pt x="359727" y="30163"/>
                      <a:pt x="365125" y="30163"/>
                    </a:cubicBezTo>
                    <a:cubicBezTo>
                      <a:pt x="372745" y="30163"/>
                      <a:pt x="376555" y="34290"/>
                      <a:pt x="376555" y="42863"/>
                    </a:cubicBezTo>
                    <a:lnTo>
                      <a:pt x="376555" y="77153"/>
                    </a:lnTo>
                    <a:lnTo>
                      <a:pt x="387350" y="77153"/>
                    </a:lnTo>
                    <a:lnTo>
                      <a:pt x="387350" y="41593"/>
                    </a:lnTo>
                    <a:cubicBezTo>
                      <a:pt x="387350" y="34608"/>
                      <a:pt x="385763" y="29528"/>
                      <a:pt x="382270" y="26353"/>
                    </a:cubicBezTo>
                    <a:cubicBezTo>
                      <a:pt x="378777" y="23178"/>
                      <a:pt x="374015" y="21590"/>
                      <a:pt x="367347" y="21590"/>
                    </a:cubicBezTo>
                    <a:cubicBezTo>
                      <a:pt x="363855" y="21590"/>
                      <a:pt x="360680" y="22225"/>
                      <a:pt x="357822" y="23813"/>
                    </a:cubicBezTo>
                    <a:cubicBezTo>
                      <a:pt x="354965" y="25083"/>
                      <a:pt x="352425" y="27305"/>
                      <a:pt x="350838" y="30163"/>
                    </a:cubicBezTo>
                    <a:lnTo>
                      <a:pt x="350202" y="30163"/>
                    </a:lnTo>
                    <a:cubicBezTo>
                      <a:pt x="350202" y="29210"/>
                      <a:pt x="350520" y="27623"/>
                      <a:pt x="350520" y="26035"/>
                    </a:cubicBezTo>
                    <a:cubicBezTo>
                      <a:pt x="350520" y="24448"/>
                      <a:pt x="350838" y="22543"/>
                      <a:pt x="350838" y="20955"/>
                    </a:cubicBezTo>
                    <a:lnTo>
                      <a:pt x="350838" y="318"/>
                    </a:lnTo>
                    <a:lnTo>
                      <a:pt x="339725" y="318"/>
                    </a:lnTo>
                    <a:close/>
                    <a:moveTo>
                      <a:pt x="308927" y="34925"/>
                    </a:moveTo>
                    <a:cubicBezTo>
                      <a:pt x="311150" y="37783"/>
                      <a:pt x="312420" y="42863"/>
                      <a:pt x="312420" y="50165"/>
                    </a:cubicBezTo>
                    <a:lnTo>
                      <a:pt x="312420" y="52070"/>
                    </a:lnTo>
                    <a:cubicBezTo>
                      <a:pt x="312420" y="58420"/>
                      <a:pt x="311150" y="62865"/>
                      <a:pt x="308927" y="65405"/>
                    </a:cubicBezTo>
                    <a:cubicBezTo>
                      <a:pt x="306705" y="68263"/>
                      <a:pt x="302895" y="69533"/>
                      <a:pt x="297815" y="69533"/>
                    </a:cubicBezTo>
                    <a:cubicBezTo>
                      <a:pt x="293370" y="69533"/>
                      <a:pt x="290195" y="67945"/>
                      <a:pt x="287655" y="64453"/>
                    </a:cubicBezTo>
                    <a:cubicBezTo>
                      <a:pt x="285432" y="61278"/>
                      <a:pt x="284163" y="56198"/>
                      <a:pt x="284163" y="49848"/>
                    </a:cubicBezTo>
                    <a:cubicBezTo>
                      <a:pt x="284163" y="43498"/>
                      <a:pt x="285432" y="38418"/>
                      <a:pt x="287655" y="35243"/>
                    </a:cubicBezTo>
                    <a:cubicBezTo>
                      <a:pt x="289877" y="31750"/>
                      <a:pt x="293052" y="30163"/>
                      <a:pt x="297497" y="30163"/>
                    </a:cubicBezTo>
                    <a:cubicBezTo>
                      <a:pt x="302895" y="30480"/>
                      <a:pt x="306705" y="31750"/>
                      <a:pt x="308927" y="34925"/>
                    </a:cubicBezTo>
                    <a:moveTo>
                      <a:pt x="279400" y="29210"/>
                    </a:moveTo>
                    <a:cubicBezTo>
                      <a:pt x="275590" y="34290"/>
                      <a:pt x="273685" y="41275"/>
                      <a:pt x="273685" y="50165"/>
                    </a:cubicBezTo>
                    <a:cubicBezTo>
                      <a:pt x="273685" y="59055"/>
                      <a:pt x="275590" y="66040"/>
                      <a:pt x="279400" y="70803"/>
                    </a:cubicBezTo>
                    <a:cubicBezTo>
                      <a:pt x="283210" y="75883"/>
                      <a:pt x="288607" y="78423"/>
                      <a:pt x="295592" y="78423"/>
                    </a:cubicBezTo>
                    <a:cubicBezTo>
                      <a:pt x="299085" y="78423"/>
                      <a:pt x="302260" y="77788"/>
                      <a:pt x="305117" y="76518"/>
                    </a:cubicBezTo>
                    <a:cubicBezTo>
                      <a:pt x="307975" y="75248"/>
                      <a:pt x="310197" y="73025"/>
                      <a:pt x="312102" y="70168"/>
                    </a:cubicBezTo>
                    <a:lnTo>
                      <a:pt x="312420" y="70168"/>
                    </a:lnTo>
                    <a:cubicBezTo>
                      <a:pt x="312420" y="70803"/>
                      <a:pt x="312420" y="72073"/>
                      <a:pt x="312102" y="73343"/>
                    </a:cubicBezTo>
                    <a:cubicBezTo>
                      <a:pt x="312102" y="74613"/>
                      <a:pt x="312102" y="75883"/>
                      <a:pt x="312102" y="76835"/>
                    </a:cubicBezTo>
                    <a:lnTo>
                      <a:pt x="312102" y="78740"/>
                    </a:lnTo>
                    <a:cubicBezTo>
                      <a:pt x="312102" y="83503"/>
                      <a:pt x="310832" y="86995"/>
                      <a:pt x="308292" y="89535"/>
                    </a:cubicBezTo>
                    <a:cubicBezTo>
                      <a:pt x="305752" y="92075"/>
                      <a:pt x="302260" y="93345"/>
                      <a:pt x="298132" y="93345"/>
                    </a:cubicBezTo>
                    <a:cubicBezTo>
                      <a:pt x="294322" y="93345"/>
                      <a:pt x="290513" y="93028"/>
                      <a:pt x="287020" y="92393"/>
                    </a:cubicBezTo>
                    <a:cubicBezTo>
                      <a:pt x="283527" y="91758"/>
                      <a:pt x="280352" y="90488"/>
                      <a:pt x="277495" y="89218"/>
                    </a:cubicBezTo>
                    <a:lnTo>
                      <a:pt x="277495" y="98743"/>
                    </a:lnTo>
                    <a:cubicBezTo>
                      <a:pt x="280352" y="100013"/>
                      <a:pt x="283210" y="100648"/>
                      <a:pt x="286702" y="101283"/>
                    </a:cubicBezTo>
                    <a:cubicBezTo>
                      <a:pt x="289877" y="101918"/>
                      <a:pt x="293688" y="102235"/>
                      <a:pt x="297497" y="102235"/>
                    </a:cubicBezTo>
                    <a:cubicBezTo>
                      <a:pt x="314325" y="102235"/>
                      <a:pt x="322897" y="94298"/>
                      <a:pt x="322897" y="78423"/>
                    </a:cubicBezTo>
                    <a:lnTo>
                      <a:pt x="322897" y="22860"/>
                    </a:lnTo>
                    <a:lnTo>
                      <a:pt x="314007" y="22860"/>
                    </a:lnTo>
                    <a:lnTo>
                      <a:pt x="312738" y="30163"/>
                    </a:lnTo>
                    <a:lnTo>
                      <a:pt x="312102" y="30163"/>
                    </a:lnTo>
                    <a:cubicBezTo>
                      <a:pt x="310197" y="27305"/>
                      <a:pt x="307657" y="25400"/>
                      <a:pt x="304800" y="23813"/>
                    </a:cubicBezTo>
                    <a:cubicBezTo>
                      <a:pt x="301942" y="22225"/>
                      <a:pt x="298767" y="21908"/>
                      <a:pt x="295275" y="21908"/>
                    </a:cubicBezTo>
                    <a:cubicBezTo>
                      <a:pt x="288607" y="21590"/>
                      <a:pt x="283210" y="24130"/>
                      <a:pt x="279400" y="29210"/>
                    </a:cubicBezTo>
                    <a:moveTo>
                      <a:pt x="249238" y="22543"/>
                    </a:moveTo>
                    <a:lnTo>
                      <a:pt x="249238" y="50165"/>
                    </a:lnTo>
                    <a:cubicBezTo>
                      <a:pt x="249238" y="56515"/>
                      <a:pt x="248285" y="61278"/>
                      <a:pt x="246063" y="64453"/>
                    </a:cubicBezTo>
                    <a:cubicBezTo>
                      <a:pt x="243840" y="67628"/>
                      <a:pt x="240030" y="69533"/>
                      <a:pt x="234315" y="69533"/>
                    </a:cubicBezTo>
                    <a:cubicBezTo>
                      <a:pt x="230505" y="69533"/>
                      <a:pt x="227647" y="68580"/>
                      <a:pt x="226060" y="66358"/>
                    </a:cubicBezTo>
                    <a:cubicBezTo>
                      <a:pt x="224155" y="64135"/>
                      <a:pt x="223520" y="60960"/>
                      <a:pt x="223520" y="56833"/>
                    </a:cubicBezTo>
                    <a:lnTo>
                      <a:pt x="223520" y="22543"/>
                    </a:lnTo>
                    <a:lnTo>
                      <a:pt x="212725" y="22543"/>
                    </a:lnTo>
                    <a:lnTo>
                      <a:pt x="212725" y="58420"/>
                    </a:lnTo>
                    <a:cubicBezTo>
                      <a:pt x="212725" y="65405"/>
                      <a:pt x="214313" y="70485"/>
                      <a:pt x="217805" y="73660"/>
                    </a:cubicBezTo>
                    <a:cubicBezTo>
                      <a:pt x="221297" y="76835"/>
                      <a:pt x="226060" y="78423"/>
                      <a:pt x="232410" y="78423"/>
                    </a:cubicBezTo>
                    <a:cubicBezTo>
                      <a:pt x="235902" y="78423"/>
                      <a:pt x="239077" y="77788"/>
                      <a:pt x="242252" y="76518"/>
                    </a:cubicBezTo>
                    <a:cubicBezTo>
                      <a:pt x="245427" y="75248"/>
                      <a:pt x="247650" y="73025"/>
                      <a:pt x="249555" y="70168"/>
                    </a:cubicBezTo>
                    <a:lnTo>
                      <a:pt x="250190" y="70168"/>
                    </a:lnTo>
                    <a:lnTo>
                      <a:pt x="251777" y="77470"/>
                    </a:lnTo>
                    <a:lnTo>
                      <a:pt x="260350" y="77470"/>
                    </a:lnTo>
                    <a:lnTo>
                      <a:pt x="260350" y="22860"/>
                    </a:lnTo>
                    <a:lnTo>
                      <a:pt x="249238" y="22860"/>
                    </a:lnTo>
                    <a:close/>
                    <a:moveTo>
                      <a:pt x="162242" y="35560"/>
                    </a:moveTo>
                    <a:cubicBezTo>
                      <a:pt x="164465" y="32068"/>
                      <a:pt x="168275" y="30480"/>
                      <a:pt x="173355" y="30480"/>
                    </a:cubicBezTo>
                    <a:cubicBezTo>
                      <a:pt x="178435" y="30480"/>
                      <a:pt x="182245" y="32068"/>
                      <a:pt x="184467" y="35560"/>
                    </a:cubicBezTo>
                    <a:cubicBezTo>
                      <a:pt x="186690" y="39053"/>
                      <a:pt x="187960" y="43815"/>
                      <a:pt x="187960" y="49848"/>
                    </a:cubicBezTo>
                    <a:cubicBezTo>
                      <a:pt x="187960" y="55880"/>
                      <a:pt x="186690" y="60960"/>
                      <a:pt x="184467" y="64135"/>
                    </a:cubicBezTo>
                    <a:cubicBezTo>
                      <a:pt x="182245" y="67628"/>
                      <a:pt x="178435" y="69215"/>
                      <a:pt x="173355" y="69215"/>
                    </a:cubicBezTo>
                    <a:cubicBezTo>
                      <a:pt x="168275" y="69215"/>
                      <a:pt x="164465" y="67628"/>
                      <a:pt x="162242" y="64135"/>
                    </a:cubicBezTo>
                    <a:cubicBezTo>
                      <a:pt x="160020" y="60643"/>
                      <a:pt x="158750" y="55880"/>
                      <a:pt x="158750" y="49848"/>
                    </a:cubicBezTo>
                    <a:cubicBezTo>
                      <a:pt x="158750" y="43498"/>
                      <a:pt x="160020" y="38735"/>
                      <a:pt x="162242" y="35560"/>
                    </a:cubicBezTo>
                    <a:moveTo>
                      <a:pt x="195897" y="34290"/>
                    </a:moveTo>
                    <a:cubicBezTo>
                      <a:pt x="193675" y="30163"/>
                      <a:pt x="190817" y="26988"/>
                      <a:pt x="187007" y="24765"/>
                    </a:cubicBezTo>
                    <a:cubicBezTo>
                      <a:pt x="183197" y="22543"/>
                      <a:pt x="178752" y="21590"/>
                      <a:pt x="173672" y="21590"/>
                    </a:cubicBezTo>
                    <a:cubicBezTo>
                      <a:pt x="165735" y="21590"/>
                      <a:pt x="159385" y="24130"/>
                      <a:pt x="154622" y="28893"/>
                    </a:cubicBezTo>
                    <a:cubicBezTo>
                      <a:pt x="149860" y="33655"/>
                      <a:pt x="147638" y="40640"/>
                      <a:pt x="147638" y="49848"/>
                    </a:cubicBezTo>
                    <a:cubicBezTo>
                      <a:pt x="147638" y="55880"/>
                      <a:pt x="148590" y="60960"/>
                      <a:pt x="150813" y="65405"/>
                    </a:cubicBezTo>
                    <a:cubicBezTo>
                      <a:pt x="153035" y="69533"/>
                      <a:pt x="155892" y="72708"/>
                      <a:pt x="159702" y="74930"/>
                    </a:cubicBezTo>
                    <a:cubicBezTo>
                      <a:pt x="163513" y="77153"/>
                      <a:pt x="167957" y="78105"/>
                      <a:pt x="172720" y="78105"/>
                    </a:cubicBezTo>
                    <a:cubicBezTo>
                      <a:pt x="180657" y="78105"/>
                      <a:pt x="187007" y="75565"/>
                      <a:pt x="191770" y="70803"/>
                    </a:cubicBezTo>
                    <a:cubicBezTo>
                      <a:pt x="196532" y="65723"/>
                      <a:pt x="198755" y="58738"/>
                      <a:pt x="198755" y="49848"/>
                    </a:cubicBezTo>
                    <a:cubicBezTo>
                      <a:pt x="199072" y="43815"/>
                      <a:pt x="198120" y="38418"/>
                      <a:pt x="195897" y="34290"/>
                    </a:cubicBezTo>
                    <a:moveTo>
                      <a:pt x="127000" y="24765"/>
                    </a:moveTo>
                    <a:cubicBezTo>
                      <a:pt x="124142" y="26988"/>
                      <a:pt x="121920" y="29528"/>
                      <a:pt x="120332" y="32385"/>
                    </a:cubicBezTo>
                    <a:lnTo>
                      <a:pt x="120015" y="32385"/>
                    </a:lnTo>
                    <a:lnTo>
                      <a:pt x="118745" y="22543"/>
                    </a:lnTo>
                    <a:lnTo>
                      <a:pt x="110172" y="22543"/>
                    </a:lnTo>
                    <a:lnTo>
                      <a:pt x="110172" y="77153"/>
                    </a:lnTo>
                    <a:lnTo>
                      <a:pt x="120967" y="77153"/>
                    </a:lnTo>
                    <a:lnTo>
                      <a:pt x="120967" y="48260"/>
                    </a:lnTo>
                    <a:cubicBezTo>
                      <a:pt x="120967" y="44768"/>
                      <a:pt x="121602" y="41593"/>
                      <a:pt x="123190" y="39053"/>
                    </a:cubicBezTo>
                    <a:cubicBezTo>
                      <a:pt x="124777" y="36513"/>
                      <a:pt x="126682" y="34608"/>
                      <a:pt x="128905" y="33338"/>
                    </a:cubicBezTo>
                    <a:cubicBezTo>
                      <a:pt x="131127" y="32068"/>
                      <a:pt x="133985" y="31433"/>
                      <a:pt x="136525" y="31433"/>
                    </a:cubicBezTo>
                    <a:cubicBezTo>
                      <a:pt x="138430" y="31433"/>
                      <a:pt x="140335" y="31750"/>
                      <a:pt x="141922" y="32068"/>
                    </a:cubicBezTo>
                    <a:lnTo>
                      <a:pt x="143192" y="21908"/>
                    </a:lnTo>
                    <a:cubicBezTo>
                      <a:pt x="141288" y="21590"/>
                      <a:pt x="139382" y="21273"/>
                      <a:pt x="137160" y="21273"/>
                    </a:cubicBezTo>
                    <a:cubicBezTo>
                      <a:pt x="133032" y="21590"/>
                      <a:pt x="129857" y="22543"/>
                      <a:pt x="127000" y="24765"/>
                    </a:cubicBezTo>
                    <a:moveTo>
                      <a:pt x="45720" y="0"/>
                    </a:moveTo>
                    <a:lnTo>
                      <a:pt x="45720" y="77153"/>
                    </a:lnTo>
                    <a:lnTo>
                      <a:pt x="56515" y="77153"/>
                    </a:lnTo>
                    <a:lnTo>
                      <a:pt x="56515" y="49530"/>
                    </a:lnTo>
                    <a:cubicBezTo>
                      <a:pt x="56515" y="43498"/>
                      <a:pt x="57467" y="38735"/>
                      <a:pt x="59690" y="35243"/>
                    </a:cubicBezTo>
                    <a:cubicBezTo>
                      <a:pt x="61913" y="31750"/>
                      <a:pt x="65722" y="30163"/>
                      <a:pt x="71120" y="30163"/>
                    </a:cubicBezTo>
                    <a:cubicBezTo>
                      <a:pt x="78740" y="30163"/>
                      <a:pt x="82550" y="34290"/>
                      <a:pt x="82550" y="42863"/>
                    </a:cubicBezTo>
                    <a:lnTo>
                      <a:pt x="82550" y="77153"/>
                    </a:lnTo>
                    <a:lnTo>
                      <a:pt x="93345" y="77153"/>
                    </a:lnTo>
                    <a:lnTo>
                      <a:pt x="93345" y="41593"/>
                    </a:lnTo>
                    <a:cubicBezTo>
                      <a:pt x="93345" y="34608"/>
                      <a:pt x="91757" y="29528"/>
                      <a:pt x="88265" y="26353"/>
                    </a:cubicBezTo>
                    <a:cubicBezTo>
                      <a:pt x="84772" y="23178"/>
                      <a:pt x="80010" y="21590"/>
                      <a:pt x="73342" y="21590"/>
                    </a:cubicBezTo>
                    <a:cubicBezTo>
                      <a:pt x="69850" y="21590"/>
                      <a:pt x="66675" y="22225"/>
                      <a:pt x="63817" y="23813"/>
                    </a:cubicBezTo>
                    <a:cubicBezTo>
                      <a:pt x="60960" y="25083"/>
                      <a:pt x="58420" y="27305"/>
                      <a:pt x="56832" y="30163"/>
                    </a:cubicBezTo>
                    <a:lnTo>
                      <a:pt x="56197" y="30163"/>
                    </a:lnTo>
                    <a:cubicBezTo>
                      <a:pt x="56197" y="29210"/>
                      <a:pt x="56515" y="27623"/>
                      <a:pt x="56515" y="26035"/>
                    </a:cubicBezTo>
                    <a:cubicBezTo>
                      <a:pt x="56515" y="24448"/>
                      <a:pt x="56832" y="22543"/>
                      <a:pt x="56832" y="20955"/>
                    </a:cubicBezTo>
                    <a:lnTo>
                      <a:pt x="56832" y="318"/>
                    </a:lnTo>
                    <a:lnTo>
                      <a:pt x="45720" y="318"/>
                    </a:lnTo>
                    <a:close/>
                    <a:moveTo>
                      <a:pt x="20638" y="67310"/>
                    </a:moveTo>
                    <a:cubicBezTo>
                      <a:pt x="19050" y="66040"/>
                      <a:pt x="18415" y="63818"/>
                      <a:pt x="18415" y="60643"/>
                    </a:cubicBezTo>
                    <a:lnTo>
                      <a:pt x="18415" y="30480"/>
                    </a:lnTo>
                    <a:lnTo>
                      <a:pt x="33972" y="30480"/>
                    </a:lnTo>
                    <a:lnTo>
                      <a:pt x="33972" y="22225"/>
                    </a:lnTo>
                    <a:lnTo>
                      <a:pt x="18415" y="22225"/>
                    </a:lnTo>
                    <a:lnTo>
                      <a:pt x="18415" y="9843"/>
                    </a:lnTo>
                    <a:lnTo>
                      <a:pt x="11747" y="9843"/>
                    </a:lnTo>
                    <a:lnTo>
                      <a:pt x="7938" y="21273"/>
                    </a:lnTo>
                    <a:lnTo>
                      <a:pt x="0" y="25400"/>
                    </a:lnTo>
                    <a:lnTo>
                      <a:pt x="0" y="30163"/>
                    </a:lnTo>
                    <a:lnTo>
                      <a:pt x="7620" y="30163"/>
                    </a:lnTo>
                    <a:lnTo>
                      <a:pt x="7620" y="60325"/>
                    </a:lnTo>
                    <a:cubicBezTo>
                      <a:pt x="7620" y="64770"/>
                      <a:pt x="8255" y="68263"/>
                      <a:pt x="9842" y="70803"/>
                    </a:cubicBezTo>
                    <a:cubicBezTo>
                      <a:pt x="11430" y="73343"/>
                      <a:pt x="13335" y="74930"/>
                      <a:pt x="15875" y="76200"/>
                    </a:cubicBezTo>
                    <a:cubicBezTo>
                      <a:pt x="18415" y="77153"/>
                      <a:pt x="20955" y="77788"/>
                      <a:pt x="24130" y="77788"/>
                    </a:cubicBezTo>
                    <a:cubicBezTo>
                      <a:pt x="26035" y="77788"/>
                      <a:pt x="27940" y="77470"/>
                      <a:pt x="30163" y="77153"/>
                    </a:cubicBezTo>
                    <a:cubicBezTo>
                      <a:pt x="32385" y="76835"/>
                      <a:pt x="33655" y="76200"/>
                      <a:pt x="34925" y="75883"/>
                    </a:cubicBezTo>
                    <a:lnTo>
                      <a:pt x="34925" y="67628"/>
                    </a:lnTo>
                    <a:cubicBezTo>
                      <a:pt x="32385" y="68580"/>
                      <a:pt x="29845" y="68898"/>
                      <a:pt x="26670" y="68898"/>
                    </a:cubicBezTo>
                    <a:cubicBezTo>
                      <a:pt x="24130" y="69533"/>
                      <a:pt x="22225" y="68898"/>
                      <a:pt x="20638" y="67310"/>
                    </a:cubicBezTo>
                  </a:path>
                </a:pathLst>
              </a:custGeom>
              <a:grpFill/>
              <a:ln w="3175" cap="flat">
                <a:noFill/>
                <a:prstDash val="solid"/>
                <a:miter/>
              </a:ln>
            </p:spPr>
            <p:txBody>
              <a:bodyPr rtlCol="0" anchor="ctr"/>
              <a:lstStyle/>
              <a:p>
                <a:endParaRPr lang="en-GB">
                  <a:solidFill>
                    <a:srgbClr val="000000"/>
                  </a:solidFill>
                  <a:latin typeface="Verdana"/>
                </a:endParaRPr>
              </a:p>
            </p:txBody>
          </p:sp>
          <p:sp>
            <p:nvSpPr>
              <p:cNvPr id="37" name="Freeform: Shape 36">
                <a:extLst>
                  <a:ext uri="{FF2B5EF4-FFF2-40B4-BE49-F238E27FC236}">
                    <a16:creationId xmlns:a16="http://schemas.microsoft.com/office/drawing/2014/main" id="{5F10CE27-A346-49EC-9800-EC8912C8AAD2}"/>
                  </a:ext>
                </a:extLst>
              </p:cNvPr>
              <p:cNvSpPr/>
              <p:nvPr/>
            </p:nvSpPr>
            <p:spPr>
              <a:xfrm>
                <a:off x="6091872" y="1670685"/>
                <a:ext cx="1520825" cy="101600"/>
              </a:xfrm>
              <a:custGeom>
                <a:avLst/>
                <a:gdLst>
                  <a:gd name="connsiteX0" fmla="*/ 1522413 w 1520825"/>
                  <a:gd name="connsiteY0" fmla="*/ 52705 h 101600"/>
                  <a:gd name="connsiteX1" fmla="*/ 1517015 w 1520825"/>
                  <a:gd name="connsiteY1" fmla="*/ 47625 h 101600"/>
                  <a:gd name="connsiteX2" fmla="*/ 1508760 w 1520825"/>
                  <a:gd name="connsiteY2" fmla="*/ 43498 h 101600"/>
                  <a:gd name="connsiteX3" fmla="*/ 1501458 w 1520825"/>
                  <a:gd name="connsiteY3" fmla="*/ 40323 h 101600"/>
                  <a:gd name="connsiteX4" fmla="*/ 1497965 w 1520825"/>
                  <a:gd name="connsiteY4" fmla="*/ 38100 h 101600"/>
                  <a:gd name="connsiteX5" fmla="*/ 1497013 w 1520825"/>
                  <a:gd name="connsiteY5" fmla="*/ 35560 h 101600"/>
                  <a:gd name="connsiteX6" fmla="*/ 1503680 w 1520825"/>
                  <a:gd name="connsiteY6" fmla="*/ 31750 h 101600"/>
                  <a:gd name="connsiteX7" fmla="*/ 1510983 w 1520825"/>
                  <a:gd name="connsiteY7" fmla="*/ 33020 h 101600"/>
                  <a:gd name="connsiteX8" fmla="*/ 1518603 w 1520825"/>
                  <a:gd name="connsiteY8" fmla="*/ 35877 h 101600"/>
                  <a:gd name="connsiteX9" fmla="*/ 1523047 w 1520825"/>
                  <a:gd name="connsiteY9" fmla="*/ 25082 h 101600"/>
                  <a:gd name="connsiteX10" fmla="*/ 1513522 w 1520825"/>
                  <a:gd name="connsiteY10" fmla="*/ 21590 h 101600"/>
                  <a:gd name="connsiteX11" fmla="*/ 1503680 w 1520825"/>
                  <a:gd name="connsiteY11" fmla="*/ 20638 h 101600"/>
                  <a:gd name="connsiteX12" fmla="*/ 1487805 w 1520825"/>
                  <a:gd name="connsiteY12" fmla="*/ 24448 h 101600"/>
                  <a:gd name="connsiteX13" fmla="*/ 1481772 w 1520825"/>
                  <a:gd name="connsiteY13" fmla="*/ 35877 h 101600"/>
                  <a:gd name="connsiteX14" fmla="*/ 1483360 w 1520825"/>
                  <a:gd name="connsiteY14" fmla="*/ 43498 h 101600"/>
                  <a:gd name="connsiteX15" fmla="*/ 1488440 w 1520825"/>
                  <a:gd name="connsiteY15" fmla="*/ 48895 h 101600"/>
                  <a:gd name="connsiteX16" fmla="*/ 1497013 w 1520825"/>
                  <a:gd name="connsiteY16" fmla="*/ 53340 h 101600"/>
                  <a:gd name="connsiteX17" fmla="*/ 1504950 w 1520825"/>
                  <a:gd name="connsiteY17" fmla="*/ 57150 h 101600"/>
                  <a:gd name="connsiteX18" fmla="*/ 1508125 w 1520825"/>
                  <a:gd name="connsiteY18" fmla="*/ 59690 h 101600"/>
                  <a:gd name="connsiteX19" fmla="*/ 1508760 w 1520825"/>
                  <a:gd name="connsiteY19" fmla="*/ 62230 h 101600"/>
                  <a:gd name="connsiteX20" fmla="*/ 1506855 w 1520825"/>
                  <a:gd name="connsiteY20" fmla="*/ 65723 h 101600"/>
                  <a:gd name="connsiteX21" fmla="*/ 1500505 w 1520825"/>
                  <a:gd name="connsiteY21" fmla="*/ 66992 h 101600"/>
                  <a:gd name="connsiteX22" fmla="*/ 1491297 w 1520825"/>
                  <a:gd name="connsiteY22" fmla="*/ 65723 h 101600"/>
                  <a:gd name="connsiteX23" fmla="*/ 1481772 w 1520825"/>
                  <a:gd name="connsiteY23" fmla="*/ 62230 h 101600"/>
                  <a:gd name="connsiteX24" fmla="*/ 1481772 w 1520825"/>
                  <a:gd name="connsiteY24" fmla="*/ 74613 h 101600"/>
                  <a:gd name="connsiteX25" fmla="*/ 1490028 w 1520825"/>
                  <a:gd name="connsiteY25" fmla="*/ 77152 h 101600"/>
                  <a:gd name="connsiteX26" fmla="*/ 1499871 w 1520825"/>
                  <a:gd name="connsiteY26" fmla="*/ 77788 h 101600"/>
                  <a:gd name="connsiteX27" fmla="*/ 1517650 w 1520825"/>
                  <a:gd name="connsiteY27" fmla="*/ 73342 h 101600"/>
                  <a:gd name="connsiteX28" fmla="*/ 1523683 w 1520825"/>
                  <a:gd name="connsiteY28" fmla="*/ 60325 h 101600"/>
                  <a:gd name="connsiteX29" fmla="*/ 1522413 w 1520825"/>
                  <a:gd name="connsiteY29" fmla="*/ 52705 h 101600"/>
                  <a:gd name="connsiteX30" fmla="*/ 1440497 w 1520825"/>
                  <a:gd name="connsiteY30" fmla="*/ 22542 h 101600"/>
                  <a:gd name="connsiteX31" fmla="*/ 1433196 w 1520825"/>
                  <a:gd name="connsiteY31" fmla="*/ 28892 h 101600"/>
                  <a:gd name="connsiteX32" fmla="*/ 1432243 w 1520825"/>
                  <a:gd name="connsiteY32" fmla="*/ 28892 h 101600"/>
                  <a:gd name="connsiteX33" fmla="*/ 1430338 w 1520825"/>
                  <a:gd name="connsiteY33" fmla="*/ 21907 h 101600"/>
                  <a:gd name="connsiteX34" fmla="*/ 1418908 w 1520825"/>
                  <a:gd name="connsiteY34" fmla="*/ 21907 h 101600"/>
                  <a:gd name="connsiteX35" fmla="*/ 1418908 w 1520825"/>
                  <a:gd name="connsiteY35" fmla="*/ 77470 h 101600"/>
                  <a:gd name="connsiteX36" fmla="*/ 1434147 w 1520825"/>
                  <a:gd name="connsiteY36" fmla="*/ 77470 h 101600"/>
                  <a:gd name="connsiteX37" fmla="*/ 1434147 w 1520825"/>
                  <a:gd name="connsiteY37" fmla="*/ 51435 h 101600"/>
                  <a:gd name="connsiteX38" fmla="*/ 1436688 w 1520825"/>
                  <a:gd name="connsiteY38" fmla="*/ 37782 h 101600"/>
                  <a:gd name="connsiteX39" fmla="*/ 1446213 w 1520825"/>
                  <a:gd name="connsiteY39" fmla="*/ 33020 h 101600"/>
                  <a:gd name="connsiteX40" fmla="*/ 1452880 w 1520825"/>
                  <a:gd name="connsiteY40" fmla="*/ 35877 h 101600"/>
                  <a:gd name="connsiteX41" fmla="*/ 1455103 w 1520825"/>
                  <a:gd name="connsiteY41" fmla="*/ 44767 h 101600"/>
                  <a:gd name="connsiteX42" fmla="*/ 1455103 w 1520825"/>
                  <a:gd name="connsiteY42" fmla="*/ 77152 h 101600"/>
                  <a:gd name="connsiteX43" fmla="*/ 1470343 w 1520825"/>
                  <a:gd name="connsiteY43" fmla="*/ 77152 h 101600"/>
                  <a:gd name="connsiteX44" fmla="*/ 1470343 w 1520825"/>
                  <a:gd name="connsiteY44" fmla="*/ 40957 h 101600"/>
                  <a:gd name="connsiteX45" fmla="*/ 1464946 w 1520825"/>
                  <a:gd name="connsiteY45" fmla="*/ 25400 h 101600"/>
                  <a:gd name="connsiteX46" fmla="*/ 1450658 w 1520825"/>
                  <a:gd name="connsiteY46" fmla="*/ 20638 h 101600"/>
                  <a:gd name="connsiteX47" fmla="*/ 1440497 w 1520825"/>
                  <a:gd name="connsiteY47" fmla="*/ 22542 h 101600"/>
                  <a:gd name="connsiteX48" fmla="*/ 1370647 w 1520825"/>
                  <a:gd name="connsiteY48" fmla="*/ 37148 h 101600"/>
                  <a:gd name="connsiteX49" fmla="*/ 1379221 w 1520825"/>
                  <a:gd name="connsiteY49" fmla="*/ 33020 h 101600"/>
                  <a:gd name="connsiteX50" fmla="*/ 1388110 w 1520825"/>
                  <a:gd name="connsiteY50" fmla="*/ 37148 h 101600"/>
                  <a:gd name="connsiteX51" fmla="*/ 1390650 w 1520825"/>
                  <a:gd name="connsiteY51" fmla="*/ 49530 h 101600"/>
                  <a:gd name="connsiteX52" fmla="*/ 1388110 w 1520825"/>
                  <a:gd name="connsiteY52" fmla="*/ 61913 h 101600"/>
                  <a:gd name="connsiteX53" fmla="*/ 1379538 w 1520825"/>
                  <a:gd name="connsiteY53" fmla="*/ 66040 h 101600"/>
                  <a:gd name="connsiteX54" fmla="*/ 1370647 w 1520825"/>
                  <a:gd name="connsiteY54" fmla="*/ 61913 h 101600"/>
                  <a:gd name="connsiteX55" fmla="*/ 1368108 w 1520825"/>
                  <a:gd name="connsiteY55" fmla="*/ 49530 h 101600"/>
                  <a:gd name="connsiteX56" fmla="*/ 1370647 w 1520825"/>
                  <a:gd name="connsiteY56" fmla="*/ 37148 h 101600"/>
                  <a:gd name="connsiteX57" fmla="*/ 1402715 w 1520825"/>
                  <a:gd name="connsiteY57" fmla="*/ 33973 h 101600"/>
                  <a:gd name="connsiteX58" fmla="*/ 1393190 w 1520825"/>
                  <a:gd name="connsiteY58" fmla="*/ 24130 h 101600"/>
                  <a:gd name="connsiteX59" fmla="*/ 1379221 w 1520825"/>
                  <a:gd name="connsiteY59" fmla="*/ 20638 h 101600"/>
                  <a:gd name="connsiteX60" fmla="*/ 1359535 w 1520825"/>
                  <a:gd name="connsiteY60" fmla="*/ 27940 h 101600"/>
                  <a:gd name="connsiteX61" fmla="*/ 1352233 w 1520825"/>
                  <a:gd name="connsiteY61" fmla="*/ 49213 h 101600"/>
                  <a:gd name="connsiteX62" fmla="*/ 1355725 w 1520825"/>
                  <a:gd name="connsiteY62" fmla="*/ 64770 h 101600"/>
                  <a:gd name="connsiteX63" fmla="*/ 1365250 w 1520825"/>
                  <a:gd name="connsiteY63" fmla="*/ 74613 h 101600"/>
                  <a:gd name="connsiteX64" fmla="*/ 1378903 w 1520825"/>
                  <a:gd name="connsiteY64" fmla="*/ 78105 h 101600"/>
                  <a:gd name="connsiteX65" fmla="*/ 1398588 w 1520825"/>
                  <a:gd name="connsiteY65" fmla="*/ 70485 h 101600"/>
                  <a:gd name="connsiteX66" fmla="*/ 1405890 w 1520825"/>
                  <a:gd name="connsiteY66" fmla="*/ 49213 h 101600"/>
                  <a:gd name="connsiteX67" fmla="*/ 1402715 w 1520825"/>
                  <a:gd name="connsiteY67" fmla="*/ 33973 h 101600"/>
                  <a:gd name="connsiteX68" fmla="*/ 1324928 w 1520825"/>
                  <a:gd name="connsiteY68" fmla="*/ 77152 h 101600"/>
                  <a:gd name="connsiteX69" fmla="*/ 1340168 w 1520825"/>
                  <a:gd name="connsiteY69" fmla="*/ 77152 h 101600"/>
                  <a:gd name="connsiteX70" fmla="*/ 1340168 w 1520825"/>
                  <a:gd name="connsiteY70" fmla="*/ 21590 h 101600"/>
                  <a:gd name="connsiteX71" fmla="*/ 1324928 w 1520825"/>
                  <a:gd name="connsiteY71" fmla="*/ 21590 h 101600"/>
                  <a:gd name="connsiteX72" fmla="*/ 1324928 w 1520825"/>
                  <a:gd name="connsiteY72" fmla="*/ 77152 h 101600"/>
                  <a:gd name="connsiteX73" fmla="*/ 1326515 w 1520825"/>
                  <a:gd name="connsiteY73" fmla="*/ 1588 h 101600"/>
                  <a:gd name="connsiteX74" fmla="*/ 1323975 w 1520825"/>
                  <a:gd name="connsiteY74" fmla="*/ 7302 h 101600"/>
                  <a:gd name="connsiteX75" fmla="*/ 1326515 w 1520825"/>
                  <a:gd name="connsiteY75" fmla="*/ 13017 h 101600"/>
                  <a:gd name="connsiteX76" fmla="*/ 1332230 w 1520825"/>
                  <a:gd name="connsiteY76" fmla="*/ 14605 h 101600"/>
                  <a:gd name="connsiteX77" fmla="*/ 1337946 w 1520825"/>
                  <a:gd name="connsiteY77" fmla="*/ 13017 h 101600"/>
                  <a:gd name="connsiteX78" fmla="*/ 1340485 w 1520825"/>
                  <a:gd name="connsiteY78" fmla="*/ 7302 h 101600"/>
                  <a:gd name="connsiteX79" fmla="*/ 1337946 w 1520825"/>
                  <a:gd name="connsiteY79" fmla="*/ 1588 h 101600"/>
                  <a:gd name="connsiteX80" fmla="*/ 1332230 w 1520825"/>
                  <a:gd name="connsiteY80" fmla="*/ 0 h 101600"/>
                  <a:gd name="connsiteX81" fmla="*/ 1326515 w 1520825"/>
                  <a:gd name="connsiteY81" fmla="*/ 1588 h 101600"/>
                  <a:gd name="connsiteX82" fmla="*/ 1299210 w 1520825"/>
                  <a:gd name="connsiteY82" fmla="*/ 64452 h 101600"/>
                  <a:gd name="connsiteX83" fmla="*/ 1297305 w 1520825"/>
                  <a:gd name="connsiteY83" fmla="*/ 59690 h 101600"/>
                  <a:gd name="connsiteX84" fmla="*/ 1297305 w 1520825"/>
                  <a:gd name="connsiteY84" fmla="*/ 33020 h 101600"/>
                  <a:gd name="connsiteX85" fmla="*/ 1312863 w 1520825"/>
                  <a:gd name="connsiteY85" fmla="*/ 33020 h 101600"/>
                  <a:gd name="connsiteX86" fmla="*/ 1312863 w 1520825"/>
                  <a:gd name="connsiteY86" fmla="*/ 21590 h 101600"/>
                  <a:gd name="connsiteX87" fmla="*/ 1297305 w 1520825"/>
                  <a:gd name="connsiteY87" fmla="*/ 21590 h 101600"/>
                  <a:gd name="connsiteX88" fmla="*/ 1297305 w 1520825"/>
                  <a:gd name="connsiteY88" fmla="*/ 9842 h 101600"/>
                  <a:gd name="connsiteX89" fmla="*/ 1287780 w 1520825"/>
                  <a:gd name="connsiteY89" fmla="*/ 9842 h 101600"/>
                  <a:gd name="connsiteX90" fmla="*/ 1283335 w 1520825"/>
                  <a:gd name="connsiteY90" fmla="*/ 21590 h 101600"/>
                  <a:gd name="connsiteX91" fmla="*/ 1275080 w 1520825"/>
                  <a:gd name="connsiteY91" fmla="*/ 26670 h 101600"/>
                  <a:gd name="connsiteX92" fmla="*/ 1275080 w 1520825"/>
                  <a:gd name="connsiteY92" fmla="*/ 33020 h 101600"/>
                  <a:gd name="connsiteX93" fmla="*/ 1282383 w 1520825"/>
                  <a:gd name="connsiteY93" fmla="*/ 33020 h 101600"/>
                  <a:gd name="connsiteX94" fmla="*/ 1282383 w 1520825"/>
                  <a:gd name="connsiteY94" fmla="*/ 59690 h 101600"/>
                  <a:gd name="connsiteX95" fmla="*/ 1284605 w 1520825"/>
                  <a:gd name="connsiteY95" fmla="*/ 70802 h 101600"/>
                  <a:gd name="connsiteX96" fmla="*/ 1290955 w 1520825"/>
                  <a:gd name="connsiteY96" fmla="*/ 76517 h 101600"/>
                  <a:gd name="connsiteX97" fmla="*/ 1299846 w 1520825"/>
                  <a:gd name="connsiteY97" fmla="*/ 78105 h 101600"/>
                  <a:gd name="connsiteX98" fmla="*/ 1307783 w 1520825"/>
                  <a:gd name="connsiteY98" fmla="*/ 77470 h 101600"/>
                  <a:gd name="connsiteX99" fmla="*/ 1313815 w 1520825"/>
                  <a:gd name="connsiteY99" fmla="*/ 75565 h 101600"/>
                  <a:gd name="connsiteX100" fmla="*/ 1313815 w 1520825"/>
                  <a:gd name="connsiteY100" fmla="*/ 64135 h 101600"/>
                  <a:gd name="connsiteX101" fmla="*/ 1309053 w 1520825"/>
                  <a:gd name="connsiteY101" fmla="*/ 65405 h 101600"/>
                  <a:gd name="connsiteX102" fmla="*/ 1304290 w 1520825"/>
                  <a:gd name="connsiteY102" fmla="*/ 65723 h 101600"/>
                  <a:gd name="connsiteX103" fmla="*/ 1299210 w 1520825"/>
                  <a:gd name="connsiteY103" fmla="*/ 64452 h 101600"/>
                  <a:gd name="connsiteX104" fmla="*/ 1252855 w 1520825"/>
                  <a:gd name="connsiteY104" fmla="*/ 49213 h 101600"/>
                  <a:gd name="connsiteX105" fmla="*/ 1250315 w 1520825"/>
                  <a:gd name="connsiteY105" fmla="*/ 61595 h 101600"/>
                  <a:gd name="connsiteX106" fmla="*/ 1242696 w 1520825"/>
                  <a:gd name="connsiteY106" fmla="*/ 66040 h 101600"/>
                  <a:gd name="connsiteX107" fmla="*/ 1234122 w 1520825"/>
                  <a:gd name="connsiteY107" fmla="*/ 61595 h 101600"/>
                  <a:gd name="connsiteX108" fmla="*/ 1231583 w 1520825"/>
                  <a:gd name="connsiteY108" fmla="*/ 49213 h 101600"/>
                  <a:gd name="connsiteX109" fmla="*/ 1231583 w 1520825"/>
                  <a:gd name="connsiteY109" fmla="*/ 47625 h 101600"/>
                  <a:gd name="connsiteX110" fmla="*/ 1234122 w 1520825"/>
                  <a:gd name="connsiteY110" fmla="*/ 36513 h 101600"/>
                  <a:gd name="connsiteX111" fmla="*/ 1242378 w 1520825"/>
                  <a:gd name="connsiteY111" fmla="*/ 32702 h 101600"/>
                  <a:gd name="connsiteX112" fmla="*/ 1252855 w 1520825"/>
                  <a:gd name="connsiteY112" fmla="*/ 49213 h 101600"/>
                  <a:gd name="connsiteX113" fmla="*/ 1237615 w 1520825"/>
                  <a:gd name="connsiteY113" fmla="*/ 23177 h 101600"/>
                  <a:gd name="connsiteX114" fmla="*/ 1231583 w 1520825"/>
                  <a:gd name="connsiteY114" fmla="*/ 28892 h 101600"/>
                  <a:gd name="connsiteX115" fmla="*/ 1230947 w 1520825"/>
                  <a:gd name="connsiteY115" fmla="*/ 28892 h 101600"/>
                  <a:gd name="connsiteX116" fmla="*/ 1228725 w 1520825"/>
                  <a:gd name="connsiteY116" fmla="*/ 21590 h 101600"/>
                  <a:gd name="connsiteX117" fmla="*/ 1216343 w 1520825"/>
                  <a:gd name="connsiteY117" fmla="*/ 21590 h 101600"/>
                  <a:gd name="connsiteX118" fmla="*/ 1216343 w 1520825"/>
                  <a:gd name="connsiteY118" fmla="*/ 101600 h 101600"/>
                  <a:gd name="connsiteX119" fmla="*/ 1231583 w 1520825"/>
                  <a:gd name="connsiteY119" fmla="*/ 101600 h 101600"/>
                  <a:gd name="connsiteX120" fmla="*/ 1231583 w 1520825"/>
                  <a:gd name="connsiteY120" fmla="*/ 79375 h 101600"/>
                  <a:gd name="connsiteX121" fmla="*/ 1230630 w 1520825"/>
                  <a:gd name="connsiteY121" fmla="*/ 71120 h 101600"/>
                  <a:gd name="connsiteX122" fmla="*/ 1231583 w 1520825"/>
                  <a:gd name="connsiteY122" fmla="*/ 71120 h 101600"/>
                  <a:gd name="connsiteX123" fmla="*/ 1237297 w 1520825"/>
                  <a:gd name="connsiteY123" fmla="*/ 76200 h 101600"/>
                  <a:gd name="connsiteX124" fmla="*/ 1246822 w 1520825"/>
                  <a:gd name="connsiteY124" fmla="*/ 78423 h 101600"/>
                  <a:gd name="connsiteX125" fmla="*/ 1262063 w 1520825"/>
                  <a:gd name="connsiteY125" fmla="*/ 71120 h 101600"/>
                  <a:gd name="connsiteX126" fmla="*/ 1268096 w 1520825"/>
                  <a:gd name="connsiteY126" fmla="*/ 49530 h 101600"/>
                  <a:gd name="connsiteX127" fmla="*/ 1262380 w 1520825"/>
                  <a:gd name="connsiteY127" fmla="*/ 28257 h 101600"/>
                  <a:gd name="connsiteX128" fmla="*/ 1247140 w 1520825"/>
                  <a:gd name="connsiteY128" fmla="*/ 20955 h 101600"/>
                  <a:gd name="connsiteX129" fmla="*/ 1237615 w 1520825"/>
                  <a:gd name="connsiteY129" fmla="*/ 23177 h 101600"/>
                  <a:gd name="connsiteX130" fmla="*/ 1168400 w 1520825"/>
                  <a:gd name="connsiteY130" fmla="*/ 37148 h 101600"/>
                  <a:gd name="connsiteX131" fmla="*/ 1176972 w 1520825"/>
                  <a:gd name="connsiteY131" fmla="*/ 33020 h 101600"/>
                  <a:gd name="connsiteX132" fmla="*/ 1185863 w 1520825"/>
                  <a:gd name="connsiteY132" fmla="*/ 37148 h 101600"/>
                  <a:gd name="connsiteX133" fmla="*/ 1188403 w 1520825"/>
                  <a:gd name="connsiteY133" fmla="*/ 49530 h 101600"/>
                  <a:gd name="connsiteX134" fmla="*/ 1185863 w 1520825"/>
                  <a:gd name="connsiteY134" fmla="*/ 61913 h 101600"/>
                  <a:gd name="connsiteX135" fmla="*/ 1177290 w 1520825"/>
                  <a:gd name="connsiteY135" fmla="*/ 66040 h 101600"/>
                  <a:gd name="connsiteX136" fmla="*/ 1168400 w 1520825"/>
                  <a:gd name="connsiteY136" fmla="*/ 61913 h 101600"/>
                  <a:gd name="connsiteX137" fmla="*/ 1165860 w 1520825"/>
                  <a:gd name="connsiteY137" fmla="*/ 49530 h 101600"/>
                  <a:gd name="connsiteX138" fmla="*/ 1168400 w 1520825"/>
                  <a:gd name="connsiteY138" fmla="*/ 37148 h 101600"/>
                  <a:gd name="connsiteX139" fmla="*/ 1200468 w 1520825"/>
                  <a:gd name="connsiteY139" fmla="*/ 33973 h 101600"/>
                  <a:gd name="connsiteX140" fmla="*/ 1190943 w 1520825"/>
                  <a:gd name="connsiteY140" fmla="*/ 24130 h 101600"/>
                  <a:gd name="connsiteX141" fmla="*/ 1176972 w 1520825"/>
                  <a:gd name="connsiteY141" fmla="*/ 20638 h 101600"/>
                  <a:gd name="connsiteX142" fmla="*/ 1157288 w 1520825"/>
                  <a:gd name="connsiteY142" fmla="*/ 27940 h 101600"/>
                  <a:gd name="connsiteX143" fmla="*/ 1149985 w 1520825"/>
                  <a:gd name="connsiteY143" fmla="*/ 49213 h 101600"/>
                  <a:gd name="connsiteX144" fmla="*/ 1153478 w 1520825"/>
                  <a:gd name="connsiteY144" fmla="*/ 64770 h 101600"/>
                  <a:gd name="connsiteX145" fmla="*/ 1163003 w 1520825"/>
                  <a:gd name="connsiteY145" fmla="*/ 74613 h 101600"/>
                  <a:gd name="connsiteX146" fmla="*/ 1176655 w 1520825"/>
                  <a:gd name="connsiteY146" fmla="*/ 78105 h 101600"/>
                  <a:gd name="connsiteX147" fmla="*/ 1196340 w 1520825"/>
                  <a:gd name="connsiteY147" fmla="*/ 70485 h 101600"/>
                  <a:gd name="connsiteX148" fmla="*/ 1203643 w 1520825"/>
                  <a:gd name="connsiteY148" fmla="*/ 49213 h 101600"/>
                  <a:gd name="connsiteX149" fmla="*/ 1200468 w 1520825"/>
                  <a:gd name="connsiteY149" fmla="*/ 33973 h 101600"/>
                  <a:gd name="connsiteX150" fmla="*/ 1101725 w 1520825"/>
                  <a:gd name="connsiteY150" fmla="*/ 64452 h 101600"/>
                  <a:gd name="connsiteX151" fmla="*/ 1099821 w 1520825"/>
                  <a:gd name="connsiteY151" fmla="*/ 59690 h 101600"/>
                  <a:gd name="connsiteX152" fmla="*/ 1099821 w 1520825"/>
                  <a:gd name="connsiteY152" fmla="*/ 33020 h 101600"/>
                  <a:gd name="connsiteX153" fmla="*/ 1115378 w 1520825"/>
                  <a:gd name="connsiteY153" fmla="*/ 33020 h 101600"/>
                  <a:gd name="connsiteX154" fmla="*/ 1115378 w 1520825"/>
                  <a:gd name="connsiteY154" fmla="*/ 21590 h 101600"/>
                  <a:gd name="connsiteX155" fmla="*/ 1099821 w 1520825"/>
                  <a:gd name="connsiteY155" fmla="*/ 21590 h 101600"/>
                  <a:gd name="connsiteX156" fmla="*/ 1099821 w 1520825"/>
                  <a:gd name="connsiteY156" fmla="*/ 9842 h 101600"/>
                  <a:gd name="connsiteX157" fmla="*/ 1090296 w 1520825"/>
                  <a:gd name="connsiteY157" fmla="*/ 9842 h 101600"/>
                  <a:gd name="connsiteX158" fmla="*/ 1085850 w 1520825"/>
                  <a:gd name="connsiteY158" fmla="*/ 21590 h 101600"/>
                  <a:gd name="connsiteX159" fmla="*/ 1077596 w 1520825"/>
                  <a:gd name="connsiteY159" fmla="*/ 26670 h 101600"/>
                  <a:gd name="connsiteX160" fmla="*/ 1077596 w 1520825"/>
                  <a:gd name="connsiteY160" fmla="*/ 33020 h 101600"/>
                  <a:gd name="connsiteX161" fmla="*/ 1084897 w 1520825"/>
                  <a:gd name="connsiteY161" fmla="*/ 33020 h 101600"/>
                  <a:gd name="connsiteX162" fmla="*/ 1084897 w 1520825"/>
                  <a:gd name="connsiteY162" fmla="*/ 59690 h 101600"/>
                  <a:gd name="connsiteX163" fmla="*/ 1087121 w 1520825"/>
                  <a:gd name="connsiteY163" fmla="*/ 70802 h 101600"/>
                  <a:gd name="connsiteX164" fmla="*/ 1093471 w 1520825"/>
                  <a:gd name="connsiteY164" fmla="*/ 76517 h 101600"/>
                  <a:gd name="connsiteX165" fmla="*/ 1102360 w 1520825"/>
                  <a:gd name="connsiteY165" fmla="*/ 78105 h 101600"/>
                  <a:gd name="connsiteX166" fmla="*/ 1110297 w 1520825"/>
                  <a:gd name="connsiteY166" fmla="*/ 77470 h 101600"/>
                  <a:gd name="connsiteX167" fmla="*/ 1116330 w 1520825"/>
                  <a:gd name="connsiteY167" fmla="*/ 75565 h 101600"/>
                  <a:gd name="connsiteX168" fmla="*/ 1116330 w 1520825"/>
                  <a:gd name="connsiteY168" fmla="*/ 64135 h 101600"/>
                  <a:gd name="connsiteX169" fmla="*/ 1111568 w 1520825"/>
                  <a:gd name="connsiteY169" fmla="*/ 65405 h 101600"/>
                  <a:gd name="connsiteX170" fmla="*/ 1106805 w 1520825"/>
                  <a:gd name="connsiteY170" fmla="*/ 65723 h 101600"/>
                  <a:gd name="connsiteX171" fmla="*/ 1101725 w 1520825"/>
                  <a:gd name="connsiteY171" fmla="*/ 64452 h 101600"/>
                  <a:gd name="connsiteX172" fmla="*/ 1037908 w 1520825"/>
                  <a:gd name="connsiteY172" fmla="*/ 22542 h 101600"/>
                  <a:gd name="connsiteX173" fmla="*/ 1030605 w 1520825"/>
                  <a:gd name="connsiteY173" fmla="*/ 28892 h 101600"/>
                  <a:gd name="connsiteX174" fmla="*/ 1029653 w 1520825"/>
                  <a:gd name="connsiteY174" fmla="*/ 28892 h 101600"/>
                  <a:gd name="connsiteX175" fmla="*/ 1027747 w 1520825"/>
                  <a:gd name="connsiteY175" fmla="*/ 21907 h 101600"/>
                  <a:gd name="connsiteX176" fmla="*/ 1016318 w 1520825"/>
                  <a:gd name="connsiteY176" fmla="*/ 21907 h 101600"/>
                  <a:gd name="connsiteX177" fmla="*/ 1016318 w 1520825"/>
                  <a:gd name="connsiteY177" fmla="*/ 77470 h 101600"/>
                  <a:gd name="connsiteX178" fmla="*/ 1031558 w 1520825"/>
                  <a:gd name="connsiteY178" fmla="*/ 77470 h 101600"/>
                  <a:gd name="connsiteX179" fmla="*/ 1031558 w 1520825"/>
                  <a:gd name="connsiteY179" fmla="*/ 51435 h 101600"/>
                  <a:gd name="connsiteX180" fmla="*/ 1034097 w 1520825"/>
                  <a:gd name="connsiteY180" fmla="*/ 37782 h 101600"/>
                  <a:gd name="connsiteX181" fmla="*/ 1043622 w 1520825"/>
                  <a:gd name="connsiteY181" fmla="*/ 33020 h 101600"/>
                  <a:gd name="connsiteX182" fmla="*/ 1050290 w 1520825"/>
                  <a:gd name="connsiteY182" fmla="*/ 35877 h 101600"/>
                  <a:gd name="connsiteX183" fmla="*/ 1052513 w 1520825"/>
                  <a:gd name="connsiteY183" fmla="*/ 44767 h 101600"/>
                  <a:gd name="connsiteX184" fmla="*/ 1052513 w 1520825"/>
                  <a:gd name="connsiteY184" fmla="*/ 77152 h 101600"/>
                  <a:gd name="connsiteX185" fmla="*/ 1067753 w 1520825"/>
                  <a:gd name="connsiteY185" fmla="*/ 77152 h 101600"/>
                  <a:gd name="connsiteX186" fmla="*/ 1067753 w 1520825"/>
                  <a:gd name="connsiteY186" fmla="*/ 40957 h 101600"/>
                  <a:gd name="connsiteX187" fmla="*/ 1062355 w 1520825"/>
                  <a:gd name="connsiteY187" fmla="*/ 25400 h 101600"/>
                  <a:gd name="connsiteX188" fmla="*/ 1048068 w 1520825"/>
                  <a:gd name="connsiteY188" fmla="*/ 20638 h 101600"/>
                  <a:gd name="connsiteX189" fmla="*/ 1037908 w 1520825"/>
                  <a:gd name="connsiteY189" fmla="*/ 22542 h 101600"/>
                  <a:gd name="connsiteX190" fmla="*/ 987108 w 1520825"/>
                  <a:gd name="connsiteY190" fmla="*/ 34925 h 101600"/>
                  <a:gd name="connsiteX191" fmla="*/ 989647 w 1520825"/>
                  <a:gd name="connsiteY191" fmla="*/ 43180 h 101600"/>
                  <a:gd name="connsiteX192" fmla="*/ 968375 w 1520825"/>
                  <a:gd name="connsiteY192" fmla="*/ 43180 h 101600"/>
                  <a:gd name="connsiteX193" fmla="*/ 971868 w 1520825"/>
                  <a:gd name="connsiteY193" fmla="*/ 34290 h 101600"/>
                  <a:gd name="connsiteX194" fmla="*/ 979170 w 1520825"/>
                  <a:gd name="connsiteY194" fmla="*/ 31432 h 101600"/>
                  <a:gd name="connsiteX195" fmla="*/ 987108 w 1520825"/>
                  <a:gd name="connsiteY195" fmla="*/ 34925 h 101600"/>
                  <a:gd name="connsiteX196" fmla="*/ 965518 w 1520825"/>
                  <a:gd name="connsiteY196" fmla="*/ 24130 h 101600"/>
                  <a:gd name="connsiteX197" fmla="*/ 956310 w 1520825"/>
                  <a:gd name="connsiteY197" fmla="*/ 33973 h 101600"/>
                  <a:gd name="connsiteX198" fmla="*/ 953135 w 1520825"/>
                  <a:gd name="connsiteY198" fmla="*/ 50165 h 101600"/>
                  <a:gd name="connsiteX199" fmla="*/ 956945 w 1520825"/>
                  <a:gd name="connsiteY199" fmla="*/ 66040 h 101600"/>
                  <a:gd name="connsiteX200" fmla="*/ 967105 w 1520825"/>
                  <a:gd name="connsiteY200" fmla="*/ 75248 h 101600"/>
                  <a:gd name="connsiteX201" fmla="*/ 981710 w 1520825"/>
                  <a:gd name="connsiteY201" fmla="*/ 78423 h 101600"/>
                  <a:gd name="connsiteX202" fmla="*/ 992505 w 1520825"/>
                  <a:gd name="connsiteY202" fmla="*/ 77470 h 101600"/>
                  <a:gd name="connsiteX203" fmla="*/ 1001078 w 1520825"/>
                  <a:gd name="connsiteY203" fmla="*/ 74613 h 101600"/>
                  <a:gd name="connsiteX204" fmla="*/ 1001078 w 1520825"/>
                  <a:gd name="connsiteY204" fmla="*/ 62865 h 101600"/>
                  <a:gd name="connsiteX205" fmla="*/ 991870 w 1520825"/>
                  <a:gd name="connsiteY205" fmla="*/ 66040 h 101600"/>
                  <a:gd name="connsiteX206" fmla="*/ 982028 w 1520825"/>
                  <a:gd name="connsiteY206" fmla="*/ 66992 h 101600"/>
                  <a:gd name="connsiteX207" fmla="*/ 971868 w 1520825"/>
                  <a:gd name="connsiteY207" fmla="*/ 63182 h 101600"/>
                  <a:gd name="connsiteX208" fmla="*/ 968058 w 1520825"/>
                  <a:gd name="connsiteY208" fmla="*/ 53023 h 101600"/>
                  <a:gd name="connsiteX209" fmla="*/ 1003935 w 1520825"/>
                  <a:gd name="connsiteY209" fmla="*/ 53023 h 101600"/>
                  <a:gd name="connsiteX210" fmla="*/ 1003935 w 1520825"/>
                  <a:gd name="connsiteY210" fmla="*/ 45720 h 101600"/>
                  <a:gd name="connsiteX211" fmla="*/ 997268 w 1520825"/>
                  <a:gd name="connsiteY211" fmla="*/ 26988 h 101600"/>
                  <a:gd name="connsiteX212" fmla="*/ 979170 w 1520825"/>
                  <a:gd name="connsiteY212" fmla="*/ 20320 h 101600"/>
                  <a:gd name="connsiteX213" fmla="*/ 965518 w 1520825"/>
                  <a:gd name="connsiteY213" fmla="*/ 24130 h 101600"/>
                  <a:gd name="connsiteX214" fmla="*/ 912178 w 1520825"/>
                  <a:gd name="connsiteY214" fmla="*/ 22542 h 101600"/>
                  <a:gd name="connsiteX215" fmla="*/ 905193 w 1520825"/>
                  <a:gd name="connsiteY215" fmla="*/ 28892 h 101600"/>
                  <a:gd name="connsiteX216" fmla="*/ 903922 w 1520825"/>
                  <a:gd name="connsiteY216" fmla="*/ 28892 h 101600"/>
                  <a:gd name="connsiteX217" fmla="*/ 897255 w 1520825"/>
                  <a:gd name="connsiteY217" fmla="*/ 22860 h 101600"/>
                  <a:gd name="connsiteX218" fmla="*/ 887095 w 1520825"/>
                  <a:gd name="connsiteY218" fmla="*/ 20955 h 101600"/>
                  <a:gd name="connsiteX219" fmla="*/ 877888 w 1520825"/>
                  <a:gd name="connsiteY219" fmla="*/ 22860 h 101600"/>
                  <a:gd name="connsiteX220" fmla="*/ 870903 w 1520825"/>
                  <a:gd name="connsiteY220" fmla="*/ 29210 h 101600"/>
                  <a:gd name="connsiteX221" fmla="*/ 869950 w 1520825"/>
                  <a:gd name="connsiteY221" fmla="*/ 29210 h 101600"/>
                  <a:gd name="connsiteX222" fmla="*/ 868045 w 1520825"/>
                  <a:gd name="connsiteY222" fmla="*/ 22225 h 101600"/>
                  <a:gd name="connsiteX223" fmla="*/ 856615 w 1520825"/>
                  <a:gd name="connsiteY223" fmla="*/ 22225 h 101600"/>
                  <a:gd name="connsiteX224" fmla="*/ 856615 w 1520825"/>
                  <a:gd name="connsiteY224" fmla="*/ 77788 h 101600"/>
                  <a:gd name="connsiteX225" fmla="*/ 871855 w 1520825"/>
                  <a:gd name="connsiteY225" fmla="*/ 77788 h 101600"/>
                  <a:gd name="connsiteX226" fmla="*/ 871855 w 1520825"/>
                  <a:gd name="connsiteY226" fmla="*/ 51752 h 101600"/>
                  <a:gd name="connsiteX227" fmla="*/ 874395 w 1520825"/>
                  <a:gd name="connsiteY227" fmla="*/ 38100 h 101600"/>
                  <a:gd name="connsiteX228" fmla="*/ 882968 w 1520825"/>
                  <a:gd name="connsiteY228" fmla="*/ 33338 h 101600"/>
                  <a:gd name="connsiteX229" fmla="*/ 891222 w 1520825"/>
                  <a:gd name="connsiteY229" fmla="*/ 45402 h 101600"/>
                  <a:gd name="connsiteX230" fmla="*/ 891222 w 1520825"/>
                  <a:gd name="connsiteY230" fmla="*/ 77788 h 101600"/>
                  <a:gd name="connsiteX231" fmla="*/ 906463 w 1520825"/>
                  <a:gd name="connsiteY231" fmla="*/ 77788 h 101600"/>
                  <a:gd name="connsiteX232" fmla="*/ 906463 w 1520825"/>
                  <a:gd name="connsiteY232" fmla="*/ 49848 h 101600"/>
                  <a:gd name="connsiteX233" fmla="*/ 909003 w 1520825"/>
                  <a:gd name="connsiteY233" fmla="*/ 37465 h 101600"/>
                  <a:gd name="connsiteX234" fmla="*/ 917575 w 1520825"/>
                  <a:gd name="connsiteY234" fmla="*/ 33338 h 101600"/>
                  <a:gd name="connsiteX235" fmla="*/ 925830 w 1520825"/>
                  <a:gd name="connsiteY235" fmla="*/ 45402 h 101600"/>
                  <a:gd name="connsiteX236" fmla="*/ 925830 w 1520825"/>
                  <a:gd name="connsiteY236" fmla="*/ 77788 h 101600"/>
                  <a:gd name="connsiteX237" fmla="*/ 941070 w 1520825"/>
                  <a:gd name="connsiteY237" fmla="*/ 77788 h 101600"/>
                  <a:gd name="connsiteX238" fmla="*/ 941070 w 1520825"/>
                  <a:gd name="connsiteY238" fmla="*/ 41592 h 101600"/>
                  <a:gd name="connsiteX239" fmla="*/ 936308 w 1520825"/>
                  <a:gd name="connsiteY239" fmla="*/ 26035 h 101600"/>
                  <a:gd name="connsiteX240" fmla="*/ 922020 w 1520825"/>
                  <a:gd name="connsiteY240" fmla="*/ 21273 h 101600"/>
                  <a:gd name="connsiteX241" fmla="*/ 912178 w 1520825"/>
                  <a:gd name="connsiteY241" fmla="*/ 22542 h 101600"/>
                  <a:gd name="connsiteX242" fmla="*/ 830897 w 1520825"/>
                  <a:gd name="connsiteY242" fmla="*/ 64452 h 101600"/>
                  <a:gd name="connsiteX243" fmla="*/ 828993 w 1520825"/>
                  <a:gd name="connsiteY243" fmla="*/ 59690 h 101600"/>
                  <a:gd name="connsiteX244" fmla="*/ 828993 w 1520825"/>
                  <a:gd name="connsiteY244" fmla="*/ 33020 h 101600"/>
                  <a:gd name="connsiteX245" fmla="*/ 844550 w 1520825"/>
                  <a:gd name="connsiteY245" fmla="*/ 33020 h 101600"/>
                  <a:gd name="connsiteX246" fmla="*/ 844550 w 1520825"/>
                  <a:gd name="connsiteY246" fmla="*/ 21590 h 101600"/>
                  <a:gd name="connsiteX247" fmla="*/ 828993 w 1520825"/>
                  <a:gd name="connsiteY247" fmla="*/ 21590 h 101600"/>
                  <a:gd name="connsiteX248" fmla="*/ 828993 w 1520825"/>
                  <a:gd name="connsiteY248" fmla="*/ 9842 h 101600"/>
                  <a:gd name="connsiteX249" fmla="*/ 819468 w 1520825"/>
                  <a:gd name="connsiteY249" fmla="*/ 9842 h 101600"/>
                  <a:gd name="connsiteX250" fmla="*/ 815022 w 1520825"/>
                  <a:gd name="connsiteY250" fmla="*/ 21590 h 101600"/>
                  <a:gd name="connsiteX251" fmla="*/ 806768 w 1520825"/>
                  <a:gd name="connsiteY251" fmla="*/ 26670 h 101600"/>
                  <a:gd name="connsiteX252" fmla="*/ 806768 w 1520825"/>
                  <a:gd name="connsiteY252" fmla="*/ 33020 h 101600"/>
                  <a:gd name="connsiteX253" fmla="*/ 814070 w 1520825"/>
                  <a:gd name="connsiteY253" fmla="*/ 33020 h 101600"/>
                  <a:gd name="connsiteX254" fmla="*/ 814070 w 1520825"/>
                  <a:gd name="connsiteY254" fmla="*/ 59690 h 101600"/>
                  <a:gd name="connsiteX255" fmla="*/ 816293 w 1520825"/>
                  <a:gd name="connsiteY255" fmla="*/ 70802 h 101600"/>
                  <a:gd name="connsiteX256" fmla="*/ 822643 w 1520825"/>
                  <a:gd name="connsiteY256" fmla="*/ 76517 h 101600"/>
                  <a:gd name="connsiteX257" fmla="*/ 831533 w 1520825"/>
                  <a:gd name="connsiteY257" fmla="*/ 78105 h 101600"/>
                  <a:gd name="connsiteX258" fmla="*/ 839470 w 1520825"/>
                  <a:gd name="connsiteY258" fmla="*/ 77470 h 101600"/>
                  <a:gd name="connsiteX259" fmla="*/ 845503 w 1520825"/>
                  <a:gd name="connsiteY259" fmla="*/ 75565 h 101600"/>
                  <a:gd name="connsiteX260" fmla="*/ 845503 w 1520825"/>
                  <a:gd name="connsiteY260" fmla="*/ 64135 h 101600"/>
                  <a:gd name="connsiteX261" fmla="*/ 840740 w 1520825"/>
                  <a:gd name="connsiteY261" fmla="*/ 65405 h 101600"/>
                  <a:gd name="connsiteX262" fmla="*/ 835978 w 1520825"/>
                  <a:gd name="connsiteY262" fmla="*/ 65723 h 101600"/>
                  <a:gd name="connsiteX263" fmla="*/ 830897 w 1520825"/>
                  <a:gd name="connsiteY263" fmla="*/ 64452 h 101600"/>
                  <a:gd name="connsiteX264" fmla="*/ 781685 w 1520825"/>
                  <a:gd name="connsiteY264" fmla="*/ 56198 h 101600"/>
                  <a:gd name="connsiteX265" fmla="*/ 778193 w 1520825"/>
                  <a:gd name="connsiteY265" fmla="*/ 64452 h 101600"/>
                  <a:gd name="connsiteX266" fmla="*/ 769938 w 1520825"/>
                  <a:gd name="connsiteY266" fmla="*/ 67310 h 101600"/>
                  <a:gd name="connsiteX267" fmla="*/ 764540 w 1520825"/>
                  <a:gd name="connsiteY267" fmla="*/ 65723 h 101600"/>
                  <a:gd name="connsiteX268" fmla="*/ 762635 w 1520825"/>
                  <a:gd name="connsiteY268" fmla="*/ 60642 h 101600"/>
                  <a:gd name="connsiteX269" fmla="*/ 765493 w 1520825"/>
                  <a:gd name="connsiteY269" fmla="*/ 54292 h 101600"/>
                  <a:gd name="connsiteX270" fmla="*/ 775653 w 1520825"/>
                  <a:gd name="connsiteY270" fmla="*/ 51752 h 101600"/>
                  <a:gd name="connsiteX271" fmla="*/ 781685 w 1520825"/>
                  <a:gd name="connsiteY271" fmla="*/ 51435 h 101600"/>
                  <a:gd name="connsiteX272" fmla="*/ 781685 w 1520825"/>
                  <a:gd name="connsiteY272" fmla="*/ 56198 h 101600"/>
                  <a:gd name="connsiteX273" fmla="*/ 762318 w 1520825"/>
                  <a:gd name="connsiteY273" fmla="*/ 21907 h 101600"/>
                  <a:gd name="connsiteX274" fmla="*/ 752475 w 1520825"/>
                  <a:gd name="connsiteY274" fmla="*/ 25400 h 101600"/>
                  <a:gd name="connsiteX275" fmla="*/ 757555 w 1520825"/>
                  <a:gd name="connsiteY275" fmla="*/ 35560 h 101600"/>
                  <a:gd name="connsiteX276" fmla="*/ 765175 w 1520825"/>
                  <a:gd name="connsiteY276" fmla="*/ 32702 h 101600"/>
                  <a:gd name="connsiteX277" fmla="*/ 773113 w 1520825"/>
                  <a:gd name="connsiteY277" fmla="*/ 31432 h 101600"/>
                  <a:gd name="connsiteX278" fmla="*/ 779463 w 1520825"/>
                  <a:gd name="connsiteY278" fmla="*/ 33338 h 101600"/>
                  <a:gd name="connsiteX279" fmla="*/ 781685 w 1520825"/>
                  <a:gd name="connsiteY279" fmla="*/ 39688 h 101600"/>
                  <a:gd name="connsiteX280" fmla="*/ 781685 w 1520825"/>
                  <a:gd name="connsiteY280" fmla="*/ 42227 h 101600"/>
                  <a:gd name="connsiteX281" fmla="*/ 772160 w 1520825"/>
                  <a:gd name="connsiteY281" fmla="*/ 42545 h 101600"/>
                  <a:gd name="connsiteX282" fmla="*/ 753428 w 1520825"/>
                  <a:gd name="connsiteY282" fmla="*/ 47307 h 101600"/>
                  <a:gd name="connsiteX283" fmla="*/ 747078 w 1520825"/>
                  <a:gd name="connsiteY283" fmla="*/ 60325 h 101600"/>
                  <a:gd name="connsiteX284" fmla="*/ 751840 w 1520825"/>
                  <a:gd name="connsiteY284" fmla="*/ 73660 h 101600"/>
                  <a:gd name="connsiteX285" fmla="*/ 764222 w 1520825"/>
                  <a:gd name="connsiteY285" fmla="*/ 77788 h 101600"/>
                  <a:gd name="connsiteX286" fmla="*/ 775018 w 1520825"/>
                  <a:gd name="connsiteY286" fmla="*/ 75882 h 101600"/>
                  <a:gd name="connsiteX287" fmla="*/ 782638 w 1520825"/>
                  <a:gd name="connsiteY287" fmla="*/ 69532 h 101600"/>
                  <a:gd name="connsiteX288" fmla="*/ 782955 w 1520825"/>
                  <a:gd name="connsiteY288" fmla="*/ 69532 h 101600"/>
                  <a:gd name="connsiteX289" fmla="*/ 785813 w 1520825"/>
                  <a:gd name="connsiteY289" fmla="*/ 77152 h 101600"/>
                  <a:gd name="connsiteX290" fmla="*/ 796290 w 1520825"/>
                  <a:gd name="connsiteY290" fmla="*/ 77152 h 101600"/>
                  <a:gd name="connsiteX291" fmla="*/ 796290 w 1520825"/>
                  <a:gd name="connsiteY291" fmla="*/ 40323 h 101600"/>
                  <a:gd name="connsiteX292" fmla="*/ 790258 w 1520825"/>
                  <a:gd name="connsiteY292" fmla="*/ 25400 h 101600"/>
                  <a:gd name="connsiteX293" fmla="*/ 773113 w 1520825"/>
                  <a:gd name="connsiteY293" fmla="*/ 20638 h 101600"/>
                  <a:gd name="connsiteX294" fmla="*/ 762318 w 1520825"/>
                  <a:gd name="connsiteY294" fmla="*/ 21907 h 101600"/>
                  <a:gd name="connsiteX295" fmla="*/ 721678 w 1520825"/>
                  <a:gd name="connsiteY295" fmla="*/ 34925 h 101600"/>
                  <a:gd name="connsiteX296" fmla="*/ 724218 w 1520825"/>
                  <a:gd name="connsiteY296" fmla="*/ 43180 h 101600"/>
                  <a:gd name="connsiteX297" fmla="*/ 702945 w 1520825"/>
                  <a:gd name="connsiteY297" fmla="*/ 43180 h 101600"/>
                  <a:gd name="connsiteX298" fmla="*/ 706438 w 1520825"/>
                  <a:gd name="connsiteY298" fmla="*/ 34290 h 101600"/>
                  <a:gd name="connsiteX299" fmla="*/ 713740 w 1520825"/>
                  <a:gd name="connsiteY299" fmla="*/ 31432 h 101600"/>
                  <a:gd name="connsiteX300" fmla="*/ 721678 w 1520825"/>
                  <a:gd name="connsiteY300" fmla="*/ 34925 h 101600"/>
                  <a:gd name="connsiteX301" fmla="*/ 700088 w 1520825"/>
                  <a:gd name="connsiteY301" fmla="*/ 24130 h 101600"/>
                  <a:gd name="connsiteX302" fmla="*/ 690880 w 1520825"/>
                  <a:gd name="connsiteY302" fmla="*/ 33973 h 101600"/>
                  <a:gd name="connsiteX303" fmla="*/ 687705 w 1520825"/>
                  <a:gd name="connsiteY303" fmla="*/ 50165 h 101600"/>
                  <a:gd name="connsiteX304" fmla="*/ 691197 w 1520825"/>
                  <a:gd name="connsiteY304" fmla="*/ 66040 h 101600"/>
                  <a:gd name="connsiteX305" fmla="*/ 701358 w 1520825"/>
                  <a:gd name="connsiteY305" fmla="*/ 75248 h 101600"/>
                  <a:gd name="connsiteX306" fmla="*/ 715963 w 1520825"/>
                  <a:gd name="connsiteY306" fmla="*/ 78423 h 101600"/>
                  <a:gd name="connsiteX307" fmla="*/ 726758 w 1520825"/>
                  <a:gd name="connsiteY307" fmla="*/ 77470 h 101600"/>
                  <a:gd name="connsiteX308" fmla="*/ 735330 w 1520825"/>
                  <a:gd name="connsiteY308" fmla="*/ 74613 h 101600"/>
                  <a:gd name="connsiteX309" fmla="*/ 735330 w 1520825"/>
                  <a:gd name="connsiteY309" fmla="*/ 62865 h 101600"/>
                  <a:gd name="connsiteX310" fmla="*/ 726122 w 1520825"/>
                  <a:gd name="connsiteY310" fmla="*/ 66040 h 101600"/>
                  <a:gd name="connsiteX311" fmla="*/ 716280 w 1520825"/>
                  <a:gd name="connsiteY311" fmla="*/ 66992 h 101600"/>
                  <a:gd name="connsiteX312" fmla="*/ 706120 w 1520825"/>
                  <a:gd name="connsiteY312" fmla="*/ 63182 h 101600"/>
                  <a:gd name="connsiteX313" fmla="*/ 702310 w 1520825"/>
                  <a:gd name="connsiteY313" fmla="*/ 53023 h 101600"/>
                  <a:gd name="connsiteX314" fmla="*/ 738188 w 1520825"/>
                  <a:gd name="connsiteY314" fmla="*/ 53023 h 101600"/>
                  <a:gd name="connsiteX315" fmla="*/ 738188 w 1520825"/>
                  <a:gd name="connsiteY315" fmla="*/ 45720 h 101600"/>
                  <a:gd name="connsiteX316" fmla="*/ 731520 w 1520825"/>
                  <a:gd name="connsiteY316" fmla="*/ 26988 h 101600"/>
                  <a:gd name="connsiteX317" fmla="*/ 713422 w 1520825"/>
                  <a:gd name="connsiteY317" fmla="*/ 20320 h 101600"/>
                  <a:gd name="connsiteX318" fmla="*/ 700088 w 1520825"/>
                  <a:gd name="connsiteY318" fmla="*/ 24130 h 101600"/>
                  <a:gd name="connsiteX319" fmla="*/ 668020 w 1520825"/>
                  <a:gd name="connsiteY319" fmla="*/ 23813 h 101600"/>
                  <a:gd name="connsiteX320" fmla="*/ 661353 w 1520825"/>
                  <a:gd name="connsiteY320" fmla="*/ 31115 h 101600"/>
                  <a:gd name="connsiteX321" fmla="*/ 660718 w 1520825"/>
                  <a:gd name="connsiteY321" fmla="*/ 31115 h 101600"/>
                  <a:gd name="connsiteX322" fmla="*/ 658495 w 1520825"/>
                  <a:gd name="connsiteY322" fmla="*/ 21907 h 101600"/>
                  <a:gd name="connsiteX323" fmla="*/ 647065 w 1520825"/>
                  <a:gd name="connsiteY323" fmla="*/ 21907 h 101600"/>
                  <a:gd name="connsiteX324" fmla="*/ 647065 w 1520825"/>
                  <a:gd name="connsiteY324" fmla="*/ 77470 h 101600"/>
                  <a:gd name="connsiteX325" fmla="*/ 662305 w 1520825"/>
                  <a:gd name="connsiteY325" fmla="*/ 77470 h 101600"/>
                  <a:gd name="connsiteX326" fmla="*/ 662305 w 1520825"/>
                  <a:gd name="connsiteY326" fmla="*/ 49213 h 101600"/>
                  <a:gd name="connsiteX327" fmla="*/ 664528 w 1520825"/>
                  <a:gd name="connsiteY327" fmla="*/ 40957 h 101600"/>
                  <a:gd name="connsiteX328" fmla="*/ 670243 w 1520825"/>
                  <a:gd name="connsiteY328" fmla="*/ 36513 h 101600"/>
                  <a:gd name="connsiteX329" fmla="*/ 677545 w 1520825"/>
                  <a:gd name="connsiteY329" fmla="*/ 35242 h 101600"/>
                  <a:gd name="connsiteX330" fmla="*/ 679768 w 1520825"/>
                  <a:gd name="connsiteY330" fmla="*/ 35242 h 101600"/>
                  <a:gd name="connsiteX331" fmla="*/ 681990 w 1520825"/>
                  <a:gd name="connsiteY331" fmla="*/ 35560 h 101600"/>
                  <a:gd name="connsiteX332" fmla="*/ 683260 w 1520825"/>
                  <a:gd name="connsiteY332" fmla="*/ 21273 h 101600"/>
                  <a:gd name="connsiteX333" fmla="*/ 680720 w 1520825"/>
                  <a:gd name="connsiteY333" fmla="*/ 20955 h 101600"/>
                  <a:gd name="connsiteX334" fmla="*/ 678180 w 1520825"/>
                  <a:gd name="connsiteY334" fmla="*/ 20955 h 101600"/>
                  <a:gd name="connsiteX335" fmla="*/ 668020 w 1520825"/>
                  <a:gd name="connsiteY335" fmla="*/ 23813 h 101600"/>
                  <a:gd name="connsiteX336" fmla="*/ 621347 w 1520825"/>
                  <a:gd name="connsiteY336" fmla="*/ 64452 h 101600"/>
                  <a:gd name="connsiteX337" fmla="*/ 619443 w 1520825"/>
                  <a:gd name="connsiteY337" fmla="*/ 59690 h 101600"/>
                  <a:gd name="connsiteX338" fmla="*/ 619443 w 1520825"/>
                  <a:gd name="connsiteY338" fmla="*/ 33020 h 101600"/>
                  <a:gd name="connsiteX339" fmla="*/ 635000 w 1520825"/>
                  <a:gd name="connsiteY339" fmla="*/ 33020 h 101600"/>
                  <a:gd name="connsiteX340" fmla="*/ 635000 w 1520825"/>
                  <a:gd name="connsiteY340" fmla="*/ 21590 h 101600"/>
                  <a:gd name="connsiteX341" fmla="*/ 619443 w 1520825"/>
                  <a:gd name="connsiteY341" fmla="*/ 21590 h 101600"/>
                  <a:gd name="connsiteX342" fmla="*/ 619443 w 1520825"/>
                  <a:gd name="connsiteY342" fmla="*/ 9842 h 101600"/>
                  <a:gd name="connsiteX343" fmla="*/ 609918 w 1520825"/>
                  <a:gd name="connsiteY343" fmla="*/ 9842 h 101600"/>
                  <a:gd name="connsiteX344" fmla="*/ 605472 w 1520825"/>
                  <a:gd name="connsiteY344" fmla="*/ 21590 h 101600"/>
                  <a:gd name="connsiteX345" fmla="*/ 597218 w 1520825"/>
                  <a:gd name="connsiteY345" fmla="*/ 26670 h 101600"/>
                  <a:gd name="connsiteX346" fmla="*/ 597218 w 1520825"/>
                  <a:gd name="connsiteY346" fmla="*/ 33020 h 101600"/>
                  <a:gd name="connsiteX347" fmla="*/ 604520 w 1520825"/>
                  <a:gd name="connsiteY347" fmla="*/ 33020 h 101600"/>
                  <a:gd name="connsiteX348" fmla="*/ 604520 w 1520825"/>
                  <a:gd name="connsiteY348" fmla="*/ 59690 h 101600"/>
                  <a:gd name="connsiteX349" fmla="*/ 606743 w 1520825"/>
                  <a:gd name="connsiteY349" fmla="*/ 70802 h 101600"/>
                  <a:gd name="connsiteX350" fmla="*/ 613093 w 1520825"/>
                  <a:gd name="connsiteY350" fmla="*/ 76517 h 101600"/>
                  <a:gd name="connsiteX351" fmla="*/ 621983 w 1520825"/>
                  <a:gd name="connsiteY351" fmla="*/ 78105 h 101600"/>
                  <a:gd name="connsiteX352" fmla="*/ 629920 w 1520825"/>
                  <a:gd name="connsiteY352" fmla="*/ 77470 h 101600"/>
                  <a:gd name="connsiteX353" fmla="*/ 635953 w 1520825"/>
                  <a:gd name="connsiteY353" fmla="*/ 75565 h 101600"/>
                  <a:gd name="connsiteX354" fmla="*/ 635953 w 1520825"/>
                  <a:gd name="connsiteY354" fmla="*/ 64135 h 101600"/>
                  <a:gd name="connsiteX355" fmla="*/ 631190 w 1520825"/>
                  <a:gd name="connsiteY355" fmla="*/ 65405 h 101600"/>
                  <a:gd name="connsiteX356" fmla="*/ 626428 w 1520825"/>
                  <a:gd name="connsiteY356" fmla="*/ 65723 h 101600"/>
                  <a:gd name="connsiteX357" fmla="*/ 621347 w 1520825"/>
                  <a:gd name="connsiteY357" fmla="*/ 64452 h 101600"/>
                  <a:gd name="connsiteX358" fmla="*/ 531178 w 1520825"/>
                  <a:gd name="connsiteY358" fmla="*/ 22542 h 101600"/>
                  <a:gd name="connsiteX359" fmla="*/ 523875 w 1520825"/>
                  <a:gd name="connsiteY359" fmla="*/ 28892 h 101600"/>
                  <a:gd name="connsiteX360" fmla="*/ 522922 w 1520825"/>
                  <a:gd name="connsiteY360" fmla="*/ 28892 h 101600"/>
                  <a:gd name="connsiteX361" fmla="*/ 521018 w 1520825"/>
                  <a:gd name="connsiteY361" fmla="*/ 21907 h 101600"/>
                  <a:gd name="connsiteX362" fmla="*/ 509588 w 1520825"/>
                  <a:gd name="connsiteY362" fmla="*/ 21907 h 101600"/>
                  <a:gd name="connsiteX363" fmla="*/ 509588 w 1520825"/>
                  <a:gd name="connsiteY363" fmla="*/ 77470 h 101600"/>
                  <a:gd name="connsiteX364" fmla="*/ 524828 w 1520825"/>
                  <a:gd name="connsiteY364" fmla="*/ 77470 h 101600"/>
                  <a:gd name="connsiteX365" fmla="*/ 524828 w 1520825"/>
                  <a:gd name="connsiteY365" fmla="*/ 51435 h 101600"/>
                  <a:gd name="connsiteX366" fmla="*/ 527368 w 1520825"/>
                  <a:gd name="connsiteY366" fmla="*/ 37782 h 101600"/>
                  <a:gd name="connsiteX367" fmla="*/ 536893 w 1520825"/>
                  <a:gd name="connsiteY367" fmla="*/ 33020 h 101600"/>
                  <a:gd name="connsiteX368" fmla="*/ 543560 w 1520825"/>
                  <a:gd name="connsiteY368" fmla="*/ 35877 h 101600"/>
                  <a:gd name="connsiteX369" fmla="*/ 545783 w 1520825"/>
                  <a:gd name="connsiteY369" fmla="*/ 44767 h 101600"/>
                  <a:gd name="connsiteX370" fmla="*/ 545783 w 1520825"/>
                  <a:gd name="connsiteY370" fmla="*/ 77152 h 101600"/>
                  <a:gd name="connsiteX371" fmla="*/ 561022 w 1520825"/>
                  <a:gd name="connsiteY371" fmla="*/ 77152 h 101600"/>
                  <a:gd name="connsiteX372" fmla="*/ 561022 w 1520825"/>
                  <a:gd name="connsiteY372" fmla="*/ 40957 h 101600"/>
                  <a:gd name="connsiteX373" fmla="*/ 555625 w 1520825"/>
                  <a:gd name="connsiteY373" fmla="*/ 25400 h 101600"/>
                  <a:gd name="connsiteX374" fmla="*/ 541338 w 1520825"/>
                  <a:gd name="connsiteY374" fmla="*/ 20638 h 101600"/>
                  <a:gd name="connsiteX375" fmla="*/ 531178 w 1520825"/>
                  <a:gd name="connsiteY375" fmla="*/ 22542 h 101600"/>
                  <a:gd name="connsiteX376" fmla="*/ 480378 w 1520825"/>
                  <a:gd name="connsiteY376" fmla="*/ 34925 h 101600"/>
                  <a:gd name="connsiteX377" fmla="*/ 482918 w 1520825"/>
                  <a:gd name="connsiteY377" fmla="*/ 43180 h 101600"/>
                  <a:gd name="connsiteX378" fmla="*/ 461645 w 1520825"/>
                  <a:gd name="connsiteY378" fmla="*/ 43180 h 101600"/>
                  <a:gd name="connsiteX379" fmla="*/ 465138 w 1520825"/>
                  <a:gd name="connsiteY379" fmla="*/ 34290 h 101600"/>
                  <a:gd name="connsiteX380" fmla="*/ 472440 w 1520825"/>
                  <a:gd name="connsiteY380" fmla="*/ 31432 h 101600"/>
                  <a:gd name="connsiteX381" fmla="*/ 480378 w 1520825"/>
                  <a:gd name="connsiteY381" fmla="*/ 34925 h 101600"/>
                  <a:gd name="connsiteX382" fmla="*/ 458788 w 1520825"/>
                  <a:gd name="connsiteY382" fmla="*/ 24130 h 101600"/>
                  <a:gd name="connsiteX383" fmla="*/ 449580 w 1520825"/>
                  <a:gd name="connsiteY383" fmla="*/ 33973 h 101600"/>
                  <a:gd name="connsiteX384" fmla="*/ 446405 w 1520825"/>
                  <a:gd name="connsiteY384" fmla="*/ 50165 h 101600"/>
                  <a:gd name="connsiteX385" fmla="*/ 450215 w 1520825"/>
                  <a:gd name="connsiteY385" fmla="*/ 66040 h 101600"/>
                  <a:gd name="connsiteX386" fmla="*/ 460375 w 1520825"/>
                  <a:gd name="connsiteY386" fmla="*/ 75248 h 101600"/>
                  <a:gd name="connsiteX387" fmla="*/ 474980 w 1520825"/>
                  <a:gd name="connsiteY387" fmla="*/ 78423 h 101600"/>
                  <a:gd name="connsiteX388" fmla="*/ 485775 w 1520825"/>
                  <a:gd name="connsiteY388" fmla="*/ 77470 h 101600"/>
                  <a:gd name="connsiteX389" fmla="*/ 494347 w 1520825"/>
                  <a:gd name="connsiteY389" fmla="*/ 74613 h 101600"/>
                  <a:gd name="connsiteX390" fmla="*/ 494347 w 1520825"/>
                  <a:gd name="connsiteY390" fmla="*/ 62865 h 101600"/>
                  <a:gd name="connsiteX391" fmla="*/ 485140 w 1520825"/>
                  <a:gd name="connsiteY391" fmla="*/ 66040 h 101600"/>
                  <a:gd name="connsiteX392" fmla="*/ 475297 w 1520825"/>
                  <a:gd name="connsiteY392" fmla="*/ 66992 h 101600"/>
                  <a:gd name="connsiteX393" fmla="*/ 465138 w 1520825"/>
                  <a:gd name="connsiteY393" fmla="*/ 63182 h 101600"/>
                  <a:gd name="connsiteX394" fmla="*/ 461328 w 1520825"/>
                  <a:gd name="connsiteY394" fmla="*/ 53023 h 101600"/>
                  <a:gd name="connsiteX395" fmla="*/ 497205 w 1520825"/>
                  <a:gd name="connsiteY395" fmla="*/ 53023 h 101600"/>
                  <a:gd name="connsiteX396" fmla="*/ 497205 w 1520825"/>
                  <a:gd name="connsiteY396" fmla="*/ 45720 h 101600"/>
                  <a:gd name="connsiteX397" fmla="*/ 490538 w 1520825"/>
                  <a:gd name="connsiteY397" fmla="*/ 26988 h 101600"/>
                  <a:gd name="connsiteX398" fmla="*/ 472440 w 1520825"/>
                  <a:gd name="connsiteY398" fmla="*/ 20320 h 101600"/>
                  <a:gd name="connsiteX399" fmla="*/ 458788 w 1520825"/>
                  <a:gd name="connsiteY399" fmla="*/ 24130 h 101600"/>
                  <a:gd name="connsiteX400" fmla="*/ 382905 w 1520825"/>
                  <a:gd name="connsiteY400" fmla="*/ 0 h 101600"/>
                  <a:gd name="connsiteX401" fmla="*/ 382905 w 1520825"/>
                  <a:gd name="connsiteY401" fmla="*/ 77152 h 101600"/>
                  <a:gd name="connsiteX402" fmla="*/ 398145 w 1520825"/>
                  <a:gd name="connsiteY402" fmla="*/ 77152 h 101600"/>
                  <a:gd name="connsiteX403" fmla="*/ 398145 w 1520825"/>
                  <a:gd name="connsiteY403" fmla="*/ 51117 h 101600"/>
                  <a:gd name="connsiteX404" fmla="*/ 400685 w 1520825"/>
                  <a:gd name="connsiteY404" fmla="*/ 37465 h 101600"/>
                  <a:gd name="connsiteX405" fmla="*/ 410210 w 1520825"/>
                  <a:gd name="connsiteY405" fmla="*/ 32702 h 101600"/>
                  <a:gd name="connsiteX406" fmla="*/ 419100 w 1520825"/>
                  <a:gd name="connsiteY406" fmla="*/ 44767 h 101600"/>
                  <a:gd name="connsiteX407" fmla="*/ 419100 w 1520825"/>
                  <a:gd name="connsiteY407" fmla="*/ 77152 h 101600"/>
                  <a:gd name="connsiteX408" fmla="*/ 434340 w 1520825"/>
                  <a:gd name="connsiteY408" fmla="*/ 77152 h 101600"/>
                  <a:gd name="connsiteX409" fmla="*/ 434340 w 1520825"/>
                  <a:gd name="connsiteY409" fmla="*/ 40957 h 101600"/>
                  <a:gd name="connsiteX410" fmla="*/ 428943 w 1520825"/>
                  <a:gd name="connsiteY410" fmla="*/ 25400 h 101600"/>
                  <a:gd name="connsiteX411" fmla="*/ 414655 w 1520825"/>
                  <a:gd name="connsiteY411" fmla="*/ 20638 h 101600"/>
                  <a:gd name="connsiteX412" fmla="*/ 405448 w 1520825"/>
                  <a:gd name="connsiteY412" fmla="*/ 22542 h 101600"/>
                  <a:gd name="connsiteX413" fmla="*/ 398780 w 1520825"/>
                  <a:gd name="connsiteY413" fmla="*/ 28892 h 101600"/>
                  <a:gd name="connsiteX414" fmla="*/ 397828 w 1520825"/>
                  <a:gd name="connsiteY414" fmla="*/ 28892 h 101600"/>
                  <a:gd name="connsiteX415" fmla="*/ 398145 w 1520825"/>
                  <a:gd name="connsiteY415" fmla="*/ 23813 h 101600"/>
                  <a:gd name="connsiteX416" fmla="*/ 398463 w 1520825"/>
                  <a:gd name="connsiteY416" fmla="*/ 15875 h 101600"/>
                  <a:gd name="connsiteX417" fmla="*/ 398463 w 1520825"/>
                  <a:gd name="connsiteY417" fmla="*/ 0 h 101600"/>
                  <a:gd name="connsiteX418" fmla="*/ 382905 w 1520825"/>
                  <a:gd name="connsiteY418" fmla="*/ 0 h 101600"/>
                  <a:gd name="connsiteX419" fmla="*/ 357188 w 1520825"/>
                  <a:gd name="connsiteY419" fmla="*/ 64452 h 101600"/>
                  <a:gd name="connsiteX420" fmla="*/ 355283 w 1520825"/>
                  <a:gd name="connsiteY420" fmla="*/ 59690 h 101600"/>
                  <a:gd name="connsiteX421" fmla="*/ 355283 w 1520825"/>
                  <a:gd name="connsiteY421" fmla="*/ 33020 h 101600"/>
                  <a:gd name="connsiteX422" fmla="*/ 370840 w 1520825"/>
                  <a:gd name="connsiteY422" fmla="*/ 33020 h 101600"/>
                  <a:gd name="connsiteX423" fmla="*/ 370840 w 1520825"/>
                  <a:gd name="connsiteY423" fmla="*/ 21590 h 101600"/>
                  <a:gd name="connsiteX424" fmla="*/ 355283 w 1520825"/>
                  <a:gd name="connsiteY424" fmla="*/ 21590 h 101600"/>
                  <a:gd name="connsiteX425" fmla="*/ 355283 w 1520825"/>
                  <a:gd name="connsiteY425" fmla="*/ 9842 h 101600"/>
                  <a:gd name="connsiteX426" fmla="*/ 345758 w 1520825"/>
                  <a:gd name="connsiteY426" fmla="*/ 9842 h 101600"/>
                  <a:gd name="connsiteX427" fmla="*/ 341313 w 1520825"/>
                  <a:gd name="connsiteY427" fmla="*/ 21590 h 101600"/>
                  <a:gd name="connsiteX428" fmla="*/ 333058 w 1520825"/>
                  <a:gd name="connsiteY428" fmla="*/ 26670 h 101600"/>
                  <a:gd name="connsiteX429" fmla="*/ 333058 w 1520825"/>
                  <a:gd name="connsiteY429" fmla="*/ 33020 h 101600"/>
                  <a:gd name="connsiteX430" fmla="*/ 340360 w 1520825"/>
                  <a:gd name="connsiteY430" fmla="*/ 33020 h 101600"/>
                  <a:gd name="connsiteX431" fmla="*/ 340360 w 1520825"/>
                  <a:gd name="connsiteY431" fmla="*/ 59690 h 101600"/>
                  <a:gd name="connsiteX432" fmla="*/ 342583 w 1520825"/>
                  <a:gd name="connsiteY432" fmla="*/ 70802 h 101600"/>
                  <a:gd name="connsiteX433" fmla="*/ 348933 w 1520825"/>
                  <a:gd name="connsiteY433" fmla="*/ 76517 h 101600"/>
                  <a:gd name="connsiteX434" fmla="*/ 357823 w 1520825"/>
                  <a:gd name="connsiteY434" fmla="*/ 78105 h 101600"/>
                  <a:gd name="connsiteX435" fmla="*/ 365760 w 1520825"/>
                  <a:gd name="connsiteY435" fmla="*/ 77470 h 101600"/>
                  <a:gd name="connsiteX436" fmla="*/ 371793 w 1520825"/>
                  <a:gd name="connsiteY436" fmla="*/ 75565 h 101600"/>
                  <a:gd name="connsiteX437" fmla="*/ 371793 w 1520825"/>
                  <a:gd name="connsiteY437" fmla="*/ 64135 h 101600"/>
                  <a:gd name="connsiteX438" fmla="*/ 367030 w 1520825"/>
                  <a:gd name="connsiteY438" fmla="*/ 65405 h 101600"/>
                  <a:gd name="connsiteX439" fmla="*/ 362268 w 1520825"/>
                  <a:gd name="connsiteY439" fmla="*/ 65723 h 101600"/>
                  <a:gd name="connsiteX440" fmla="*/ 357188 w 1520825"/>
                  <a:gd name="connsiteY440" fmla="*/ 64452 h 101600"/>
                  <a:gd name="connsiteX441" fmla="*/ 306070 w 1520825"/>
                  <a:gd name="connsiteY441" fmla="*/ 36830 h 101600"/>
                  <a:gd name="connsiteX442" fmla="*/ 308928 w 1520825"/>
                  <a:gd name="connsiteY442" fmla="*/ 49530 h 101600"/>
                  <a:gd name="connsiteX443" fmla="*/ 308928 w 1520825"/>
                  <a:gd name="connsiteY443" fmla="*/ 51435 h 101600"/>
                  <a:gd name="connsiteX444" fmla="*/ 306070 w 1520825"/>
                  <a:gd name="connsiteY444" fmla="*/ 62865 h 101600"/>
                  <a:gd name="connsiteX445" fmla="*/ 297498 w 1520825"/>
                  <a:gd name="connsiteY445" fmla="*/ 66040 h 101600"/>
                  <a:gd name="connsiteX446" fmla="*/ 286703 w 1520825"/>
                  <a:gd name="connsiteY446" fmla="*/ 49530 h 101600"/>
                  <a:gd name="connsiteX447" fmla="*/ 297498 w 1520825"/>
                  <a:gd name="connsiteY447" fmla="*/ 32702 h 101600"/>
                  <a:gd name="connsiteX448" fmla="*/ 306070 w 1520825"/>
                  <a:gd name="connsiteY448" fmla="*/ 36830 h 101600"/>
                  <a:gd name="connsiteX449" fmla="*/ 276860 w 1520825"/>
                  <a:gd name="connsiteY449" fmla="*/ 28257 h 101600"/>
                  <a:gd name="connsiteX450" fmla="*/ 271145 w 1520825"/>
                  <a:gd name="connsiteY450" fmla="*/ 49530 h 101600"/>
                  <a:gd name="connsiteX451" fmla="*/ 276543 w 1520825"/>
                  <a:gd name="connsiteY451" fmla="*/ 70485 h 101600"/>
                  <a:gd name="connsiteX452" fmla="*/ 291783 w 1520825"/>
                  <a:gd name="connsiteY452" fmla="*/ 78105 h 101600"/>
                  <a:gd name="connsiteX453" fmla="*/ 300673 w 1520825"/>
                  <a:gd name="connsiteY453" fmla="*/ 76200 h 101600"/>
                  <a:gd name="connsiteX454" fmla="*/ 307340 w 1520825"/>
                  <a:gd name="connsiteY454" fmla="*/ 69850 h 101600"/>
                  <a:gd name="connsiteX455" fmla="*/ 307658 w 1520825"/>
                  <a:gd name="connsiteY455" fmla="*/ 69850 h 101600"/>
                  <a:gd name="connsiteX456" fmla="*/ 307340 w 1520825"/>
                  <a:gd name="connsiteY456" fmla="*/ 73025 h 101600"/>
                  <a:gd name="connsiteX457" fmla="*/ 307340 w 1520825"/>
                  <a:gd name="connsiteY457" fmla="*/ 76517 h 101600"/>
                  <a:gd name="connsiteX458" fmla="*/ 307340 w 1520825"/>
                  <a:gd name="connsiteY458" fmla="*/ 77788 h 101600"/>
                  <a:gd name="connsiteX459" fmla="*/ 295593 w 1520825"/>
                  <a:gd name="connsiteY459" fmla="*/ 90488 h 101600"/>
                  <a:gd name="connsiteX460" fmla="*/ 274003 w 1520825"/>
                  <a:gd name="connsiteY460" fmla="*/ 86360 h 101600"/>
                  <a:gd name="connsiteX461" fmla="*/ 274003 w 1520825"/>
                  <a:gd name="connsiteY461" fmla="*/ 98425 h 101600"/>
                  <a:gd name="connsiteX462" fmla="*/ 283845 w 1520825"/>
                  <a:gd name="connsiteY462" fmla="*/ 100965 h 101600"/>
                  <a:gd name="connsiteX463" fmla="*/ 294640 w 1520825"/>
                  <a:gd name="connsiteY463" fmla="*/ 101600 h 101600"/>
                  <a:gd name="connsiteX464" fmla="*/ 315278 w 1520825"/>
                  <a:gd name="connsiteY464" fmla="*/ 95250 h 101600"/>
                  <a:gd name="connsiteX465" fmla="*/ 322263 w 1520825"/>
                  <a:gd name="connsiteY465" fmla="*/ 77152 h 101600"/>
                  <a:gd name="connsiteX466" fmla="*/ 322263 w 1520825"/>
                  <a:gd name="connsiteY466" fmla="*/ 21590 h 101600"/>
                  <a:gd name="connsiteX467" fmla="*/ 309563 w 1520825"/>
                  <a:gd name="connsiteY467" fmla="*/ 21590 h 101600"/>
                  <a:gd name="connsiteX468" fmla="*/ 308293 w 1520825"/>
                  <a:gd name="connsiteY468" fmla="*/ 28575 h 101600"/>
                  <a:gd name="connsiteX469" fmla="*/ 307975 w 1520825"/>
                  <a:gd name="connsiteY469" fmla="*/ 28575 h 101600"/>
                  <a:gd name="connsiteX470" fmla="*/ 291783 w 1520825"/>
                  <a:gd name="connsiteY470" fmla="*/ 20320 h 101600"/>
                  <a:gd name="connsiteX471" fmla="*/ 276860 w 1520825"/>
                  <a:gd name="connsiteY471" fmla="*/ 28257 h 101600"/>
                  <a:gd name="connsiteX472" fmla="*/ 229235 w 1520825"/>
                  <a:gd name="connsiteY472" fmla="*/ 22542 h 101600"/>
                  <a:gd name="connsiteX473" fmla="*/ 221933 w 1520825"/>
                  <a:gd name="connsiteY473" fmla="*/ 28892 h 101600"/>
                  <a:gd name="connsiteX474" fmla="*/ 220980 w 1520825"/>
                  <a:gd name="connsiteY474" fmla="*/ 28892 h 101600"/>
                  <a:gd name="connsiteX475" fmla="*/ 219075 w 1520825"/>
                  <a:gd name="connsiteY475" fmla="*/ 21907 h 101600"/>
                  <a:gd name="connsiteX476" fmla="*/ 207645 w 1520825"/>
                  <a:gd name="connsiteY476" fmla="*/ 21907 h 101600"/>
                  <a:gd name="connsiteX477" fmla="*/ 207645 w 1520825"/>
                  <a:gd name="connsiteY477" fmla="*/ 77470 h 101600"/>
                  <a:gd name="connsiteX478" fmla="*/ 222885 w 1520825"/>
                  <a:gd name="connsiteY478" fmla="*/ 77470 h 101600"/>
                  <a:gd name="connsiteX479" fmla="*/ 222885 w 1520825"/>
                  <a:gd name="connsiteY479" fmla="*/ 51435 h 101600"/>
                  <a:gd name="connsiteX480" fmla="*/ 225425 w 1520825"/>
                  <a:gd name="connsiteY480" fmla="*/ 37782 h 101600"/>
                  <a:gd name="connsiteX481" fmla="*/ 234950 w 1520825"/>
                  <a:gd name="connsiteY481" fmla="*/ 33020 h 101600"/>
                  <a:gd name="connsiteX482" fmla="*/ 241618 w 1520825"/>
                  <a:gd name="connsiteY482" fmla="*/ 35877 h 101600"/>
                  <a:gd name="connsiteX483" fmla="*/ 243840 w 1520825"/>
                  <a:gd name="connsiteY483" fmla="*/ 44767 h 101600"/>
                  <a:gd name="connsiteX484" fmla="*/ 243840 w 1520825"/>
                  <a:gd name="connsiteY484" fmla="*/ 77152 h 101600"/>
                  <a:gd name="connsiteX485" fmla="*/ 259080 w 1520825"/>
                  <a:gd name="connsiteY485" fmla="*/ 77152 h 101600"/>
                  <a:gd name="connsiteX486" fmla="*/ 259080 w 1520825"/>
                  <a:gd name="connsiteY486" fmla="*/ 40957 h 101600"/>
                  <a:gd name="connsiteX487" fmla="*/ 253683 w 1520825"/>
                  <a:gd name="connsiteY487" fmla="*/ 25400 h 101600"/>
                  <a:gd name="connsiteX488" fmla="*/ 239395 w 1520825"/>
                  <a:gd name="connsiteY488" fmla="*/ 20638 h 101600"/>
                  <a:gd name="connsiteX489" fmla="*/ 229235 w 1520825"/>
                  <a:gd name="connsiteY489" fmla="*/ 22542 h 101600"/>
                  <a:gd name="connsiteX490" fmla="*/ 178435 w 1520825"/>
                  <a:gd name="connsiteY490" fmla="*/ 34925 h 101600"/>
                  <a:gd name="connsiteX491" fmla="*/ 180975 w 1520825"/>
                  <a:gd name="connsiteY491" fmla="*/ 43180 h 101600"/>
                  <a:gd name="connsiteX492" fmla="*/ 159703 w 1520825"/>
                  <a:gd name="connsiteY492" fmla="*/ 43180 h 101600"/>
                  <a:gd name="connsiteX493" fmla="*/ 163195 w 1520825"/>
                  <a:gd name="connsiteY493" fmla="*/ 34290 h 101600"/>
                  <a:gd name="connsiteX494" fmla="*/ 170498 w 1520825"/>
                  <a:gd name="connsiteY494" fmla="*/ 31432 h 101600"/>
                  <a:gd name="connsiteX495" fmla="*/ 178435 w 1520825"/>
                  <a:gd name="connsiteY495" fmla="*/ 34925 h 101600"/>
                  <a:gd name="connsiteX496" fmla="*/ 156845 w 1520825"/>
                  <a:gd name="connsiteY496" fmla="*/ 24130 h 101600"/>
                  <a:gd name="connsiteX497" fmla="*/ 147638 w 1520825"/>
                  <a:gd name="connsiteY497" fmla="*/ 33973 h 101600"/>
                  <a:gd name="connsiteX498" fmla="*/ 144463 w 1520825"/>
                  <a:gd name="connsiteY498" fmla="*/ 50165 h 101600"/>
                  <a:gd name="connsiteX499" fmla="*/ 148273 w 1520825"/>
                  <a:gd name="connsiteY499" fmla="*/ 66040 h 101600"/>
                  <a:gd name="connsiteX500" fmla="*/ 158433 w 1520825"/>
                  <a:gd name="connsiteY500" fmla="*/ 75248 h 101600"/>
                  <a:gd name="connsiteX501" fmla="*/ 173038 w 1520825"/>
                  <a:gd name="connsiteY501" fmla="*/ 78423 h 101600"/>
                  <a:gd name="connsiteX502" fmla="*/ 183833 w 1520825"/>
                  <a:gd name="connsiteY502" fmla="*/ 77470 h 101600"/>
                  <a:gd name="connsiteX503" fmla="*/ 192405 w 1520825"/>
                  <a:gd name="connsiteY503" fmla="*/ 74613 h 101600"/>
                  <a:gd name="connsiteX504" fmla="*/ 192405 w 1520825"/>
                  <a:gd name="connsiteY504" fmla="*/ 62865 h 101600"/>
                  <a:gd name="connsiteX505" fmla="*/ 183198 w 1520825"/>
                  <a:gd name="connsiteY505" fmla="*/ 66040 h 101600"/>
                  <a:gd name="connsiteX506" fmla="*/ 173355 w 1520825"/>
                  <a:gd name="connsiteY506" fmla="*/ 66992 h 101600"/>
                  <a:gd name="connsiteX507" fmla="*/ 163195 w 1520825"/>
                  <a:gd name="connsiteY507" fmla="*/ 63182 h 101600"/>
                  <a:gd name="connsiteX508" fmla="*/ 159385 w 1520825"/>
                  <a:gd name="connsiteY508" fmla="*/ 53023 h 101600"/>
                  <a:gd name="connsiteX509" fmla="*/ 195263 w 1520825"/>
                  <a:gd name="connsiteY509" fmla="*/ 53023 h 101600"/>
                  <a:gd name="connsiteX510" fmla="*/ 195263 w 1520825"/>
                  <a:gd name="connsiteY510" fmla="*/ 45720 h 101600"/>
                  <a:gd name="connsiteX511" fmla="*/ 188595 w 1520825"/>
                  <a:gd name="connsiteY511" fmla="*/ 26988 h 101600"/>
                  <a:gd name="connsiteX512" fmla="*/ 170498 w 1520825"/>
                  <a:gd name="connsiteY512" fmla="*/ 20320 h 101600"/>
                  <a:gd name="connsiteX513" fmla="*/ 156845 w 1520825"/>
                  <a:gd name="connsiteY513" fmla="*/ 24130 h 101600"/>
                  <a:gd name="connsiteX514" fmla="*/ 124778 w 1520825"/>
                  <a:gd name="connsiteY514" fmla="*/ 23813 h 101600"/>
                  <a:gd name="connsiteX515" fmla="*/ 118110 w 1520825"/>
                  <a:gd name="connsiteY515" fmla="*/ 31115 h 101600"/>
                  <a:gd name="connsiteX516" fmla="*/ 117475 w 1520825"/>
                  <a:gd name="connsiteY516" fmla="*/ 31115 h 101600"/>
                  <a:gd name="connsiteX517" fmla="*/ 115253 w 1520825"/>
                  <a:gd name="connsiteY517" fmla="*/ 21907 h 101600"/>
                  <a:gd name="connsiteX518" fmla="*/ 103823 w 1520825"/>
                  <a:gd name="connsiteY518" fmla="*/ 21907 h 101600"/>
                  <a:gd name="connsiteX519" fmla="*/ 103823 w 1520825"/>
                  <a:gd name="connsiteY519" fmla="*/ 77470 h 101600"/>
                  <a:gd name="connsiteX520" fmla="*/ 119063 w 1520825"/>
                  <a:gd name="connsiteY520" fmla="*/ 77470 h 101600"/>
                  <a:gd name="connsiteX521" fmla="*/ 119063 w 1520825"/>
                  <a:gd name="connsiteY521" fmla="*/ 49213 h 101600"/>
                  <a:gd name="connsiteX522" fmla="*/ 121285 w 1520825"/>
                  <a:gd name="connsiteY522" fmla="*/ 40957 h 101600"/>
                  <a:gd name="connsiteX523" fmla="*/ 127000 w 1520825"/>
                  <a:gd name="connsiteY523" fmla="*/ 36513 h 101600"/>
                  <a:gd name="connsiteX524" fmla="*/ 134303 w 1520825"/>
                  <a:gd name="connsiteY524" fmla="*/ 35242 h 101600"/>
                  <a:gd name="connsiteX525" fmla="*/ 136525 w 1520825"/>
                  <a:gd name="connsiteY525" fmla="*/ 35242 h 101600"/>
                  <a:gd name="connsiteX526" fmla="*/ 138748 w 1520825"/>
                  <a:gd name="connsiteY526" fmla="*/ 35560 h 101600"/>
                  <a:gd name="connsiteX527" fmla="*/ 140018 w 1520825"/>
                  <a:gd name="connsiteY527" fmla="*/ 21273 h 101600"/>
                  <a:gd name="connsiteX528" fmla="*/ 137478 w 1520825"/>
                  <a:gd name="connsiteY528" fmla="*/ 20955 h 101600"/>
                  <a:gd name="connsiteX529" fmla="*/ 134938 w 1520825"/>
                  <a:gd name="connsiteY529" fmla="*/ 20955 h 101600"/>
                  <a:gd name="connsiteX530" fmla="*/ 124778 w 1520825"/>
                  <a:gd name="connsiteY530" fmla="*/ 23813 h 101600"/>
                  <a:gd name="connsiteX531" fmla="*/ 78105 w 1520825"/>
                  <a:gd name="connsiteY531" fmla="*/ 64452 h 101600"/>
                  <a:gd name="connsiteX532" fmla="*/ 76200 w 1520825"/>
                  <a:gd name="connsiteY532" fmla="*/ 59690 h 101600"/>
                  <a:gd name="connsiteX533" fmla="*/ 76200 w 1520825"/>
                  <a:gd name="connsiteY533" fmla="*/ 33020 h 101600"/>
                  <a:gd name="connsiteX534" fmla="*/ 91758 w 1520825"/>
                  <a:gd name="connsiteY534" fmla="*/ 33020 h 101600"/>
                  <a:gd name="connsiteX535" fmla="*/ 91758 w 1520825"/>
                  <a:gd name="connsiteY535" fmla="*/ 21590 h 101600"/>
                  <a:gd name="connsiteX536" fmla="*/ 76200 w 1520825"/>
                  <a:gd name="connsiteY536" fmla="*/ 21590 h 101600"/>
                  <a:gd name="connsiteX537" fmla="*/ 76200 w 1520825"/>
                  <a:gd name="connsiteY537" fmla="*/ 9842 h 101600"/>
                  <a:gd name="connsiteX538" fmla="*/ 66675 w 1520825"/>
                  <a:gd name="connsiteY538" fmla="*/ 9842 h 101600"/>
                  <a:gd name="connsiteX539" fmla="*/ 62230 w 1520825"/>
                  <a:gd name="connsiteY539" fmla="*/ 21590 h 101600"/>
                  <a:gd name="connsiteX540" fmla="*/ 53975 w 1520825"/>
                  <a:gd name="connsiteY540" fmla="*/ 26670 h 101600"/>
                  <a:gd name="connsiteX541" fmla="*/ 53975 w 1520825"/>
                  <a:gd name="connsiteY541" fmla="*/ 33020 h 101600"/>
                  <a:gd name="connsiteX542" fmla="*/ 61278 w 1520825"/>
                  <a:gd name="connsiteY542" fmla="*/ 33020 h 101600"/>
                  <a:gd name="connsiteX543" fmla="*/ 61278 w 1520825"/>
                  <a:gd name="connsiteY543" fmla="*/ 59690 h 101600"/>
                  <a:gd name="connsiteX544" fmla="*/ 63500 w 1520825"/>
                  <a:gd name="connsiteY544" fmla="*/ 70802 h 101600"/>
                  <a:gd name="connsiteX545" fmla="*/ 69850 w 1520825"/>
                  <a:gd name="connsiteY545" fmla="*/ 76517 h 101600"/>
                  <a:gd name="connsiteX546" fmla="*/ 78740 w 1520825"/>
                  <a:gd name="connsiteY546" fmla="*/ 78105 h 101600"/>
                  <a:gd name="connsiteX547" fmla="*/ 86678 w 1520825"/>
                  <a:gd name="connsiteY547" fmla="*/ 77470 h 101600"/>
                  <a:gd name="connsiteX548" fmla="*/ 92710 w 1520825"/>
                  <a:gd name="connsiteY548" fmla="*/ 75565 h 101600"/>
                  <a:gd name="connsiteX549" fmla="*/ 92710 w 1520825"/>
                  <a:gd name="connsiteY549" fmla="*/ 64135 h 101600"/>
                  <a:gd name="connsiteX550" fmla="*/ 87948 w 1520825"/>
                  <a:gd name="connsiteY550" fmla="*/ 65405 h 101600"/>
                  <a:gd name="connsiteX551" fmla="*/ 83185 w 1520825"/>
                  <a:gd name="connsiteY551" fmla="*/ 65723 h 101600"/>
                  <a:gd name="connsiteX552" fmla="*/ 78105 w 1520825"/>
                  <a:gd name="connsiteY552" fmla="*/ 64452 h 101600"/>
                  <a:gd name="connsiteX553" fmla="*/ 45403 w 1520825"/>
                  <a:gd name="connsiteY553" fmla="*/ 47625 h 101600"/>
                  <a:gd name="connsiteX554" fmla="*/ 39370 w 1520825"/>
                  <a:gd name="connsiteY554" fmla="*/ 40957 h 101600"/>
                  <a:gd name="connsiteX555" fmla="*/ 29845 w 1520825"/>
                  <a:gd name="connsiteY555" fmla="*/ 35560 h 101600"/>
                  <a:gd name="connsiteX556" fmla="*/ 19685 w 1520825"/>
                  <a:gd name="connsiteY556" fmla="*/ 30163 h 101600"/>
                  <a:gd name="connsiteX557" fmla="*/ 16193 w 1520825"/>
                  <a:gd name="connsiteY557" fmla="*/ 24130 h 101600"/>
                  <a:gd name="connsiteX558" fmla="*/ 18415 w 1520825"/>
                  <a:gd name="connsiteY558" fmla="*/ 18732 h 101600"/>
                  <a:gd name="connsiteX559" fmla="*/ 25083 w 1520825"/>
                  <a:gd name="connsiteY559" fmla="*/ 16827 h 101600"/>
                  <a:gd name="connsiteX560" fmla="*/ 33338 w 1520825"/>
                  <a:gd name="connsiteY560" fmla="*/ 18098 h 101600"/>
                  <a:gd name="connsiteX561" fmla="*/ 42228 w 1520825"/>
                  <a:gd name="connsiteY561" fmla="*/ 21273 h 101600"/>
                  <a:gd name="connsiteX562" fmla="*/ 47308 w 1520825"/>
                  <a:gd name="connsiteY562" fmla="*/ 9207 h 101600"/>
                  <a:gd name="connsiteX563" fmla="*/ 36513 w 1520825"/>
                  <a:gd name="connsiteY563" fmla="*/ 5398 h 101600"/>
                  <a:gd name="connsiteX564" fmla="*/ 25718 w 1520825"/>
                  <a:gd name="connsiteY564" fmla="*/ 4127 h 101600"/>
                  <a:gd name="connsiteX565" fmla="*/ 7620 w 1520825"/>
                  <a:gd name="connsiteY565" fmla="*/ 9525 h 101600"/>
                  <a:gd name="connsiteX566" fmla="*/ 953 w 1520825"/>
                  <a:gd name="connsiteY566" fmla="*/ 24765 h 101600"/>
                  <a:gd name="connsiteX567" fmla="*/ 2540 w 1520825"/>
                  <a:gd name="connsiteY567" fmla="*/ 33338 h 101600"/>
                  <a:gd name="connsiteX568" fmla="*/ 6985 w 1520825"/>
                  <a:gd name="connsiteY568" fmla="*/ 39370 h 101600"/>
                  <a:gd name="connsiteX569" fmla="*/ 12700 w 1520825"/>
                  <a:gd name="connsiteY569" fmla="*/ 43498 h 101600"/>
                  <a:gd name="connsiteX570" fmla="*/ 18098 w 1520825"/>
                  <a:gd name="connsiteY570" fmla="*/ 46355 h 101600"/>
                  <a:gd name="connsiteX571" fmla="*/ 25400 w 1520825"/>
                  <a:gd name="connsiteY571" fmla="*/ 49848 h 101600"/>
                  <a:gd name="connsiteX572" fmla="*/ 30480 w 1520825"/>
                  <a:gd name="connsiteY572" fmla="*/ 53340 h 101600"/>
                  <a:gd name="connsiteX573" fmla="*/ 32385 w 1520825"/>
                  <a:gd name="connsiteY573" fmla="*/ 58102 h 101600"/>
                  <a:gd name="connsiteX574" fmla="*/ 29845 w 1520825"/>
                  <a:gd name="connsiteY574" fmla="*/ 63500 h 101600"/>
                  <a:gd name="connsiteX575" fmla="*/ 21908 w 1520825"/>
                  <a:gd name="connsiteY575" fmla="*/ 65723 h 101600"/>
                  <a:gd name="connsiteX576" fmla="*/ 10795 w 1520825"/>
                  <a:gd name="connsiteY576" fmla="*/ 63817 h 101600"/>
                  <a:gd name="connsiteX577" fmla="*/ 0 w 1520825"/>
                  <a:gd name="connsiteY577" fmla="*/ 59690 h 101600"/>
                  <a:gd name="connsiteX578" fmla="*/ 0 w 1520825"/>
                  <a:gd name="connsiteY578" fmla="*/ 73977 h 101600"/>
                  <a:gd name="connsiteX579" fmla="*/ 20638 w 1520825"/>
                  <a:gd name="connsiteY579" fmla="*/ 78423 h 101600"/>
                  <a:gd name="connsiteX580" fmla="*/ 40323 w 1520825"/>
                  <a:gd name="connsiteY580" fmla="*/ 72707 h 101600"/>
                  <a:gd name="connsiteX581" fmla="*/ 47308 w 1520825"/>
                  <a:gd name="connsiteY581" fmla="*/ 57467 h 101600"/>
                  <a:gd name="connsiteX582" fmla="*/ 45403 w 1520825"/>
                  <a:gd name="connsiteY582" fmla="*/ 47625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Lst>
                <a:rect l="l" t="t" r="r" b="b"/>
                <a:pathLst>
                  <a:path w="1520825" h="101600">
                    <a:moveTo>
                      <a:pt x="1522413" y="52705"/>
                    </a:moveTo>
                    <a:cubicBezTo>
                      <a:pt x="1521143" y="50482"/>
                      <a:pt x="1519238" y="48895"/>
                      <a:pt x="1517015" y="47625"/>
                    </a:cubicBezTo>
                    <a:cubicBezTo>
                      <a:pt x="1514793" y="46355"/>
                      <a:pt x="1511935" y="44767"/>
                      <a:pt x="1508760" y="43498"/>
                    </a:cubicBezTo>
                    <a:cubicBezTo>
                      <a:pt x="1505585" y="42227"/>
                      <a:pt x="1503046" y="40957"/>
                      <a:pt x="1501458" y="40323"/>
                    </a:cubicBezTo>
                    <a:cubicBezTo>
                      <a:pt x="1499871" y="39370"/>
                      <a:pt x="1498600" y="38735"/>
                      <a:pt x="1497965" y="38100"/>
                    </a:cubicBezTo>
                    <a:cubicBezTo>
                      <a:pt x="1497330" y="37465"/>
                      <a:pt x="1497013" y="36513"/>
                      <a:pt x="1497013" y="35560"/>
                    </a:cubicBezTo>
                    <a:cubicBezTo>
                      <a:pt x="1497013" y="33020"/>
                      <a:pt x="1499235" y="31750"/>
                      <a:pt x="1503680" y="31750"/>
                    </a:cubicBezTo>
                    <a:cubicBezTo>
                      <a:pt x="1506221" y="31750"/>
                      <a:pt x="1508760" y="32067"/>
                      <a:pt x="1510983" y="33020"/>
                    </a:cubicBezTo>
                    <a:cubicBezTo>
                      <a:pt x="1513522" y="33655"/>
                      <a:pt x="1516063" y="34607"/>
                      <a:pt x="1518603" y="35877"/>
                    </a:cubicBezTo>
                    <a:lnTo>
                      <a:pt x="1523047" y="25082"/>
                    </a:lnTo>
                    <a:cubicBezTo>
                      <a:pt x="1519872" y="23495"/>
                      <a:pt x="1516380" y="22542"/>
                      <a:pt x="1513522" y="21590"/>
                    </a:cubicBezTo>
                    <a:cubicBezTo>
                      <a:pt x="1510347" y="20955"/>
                      <a:pt x="1507172" y="20638"/>
                      <a:pt x="1503680" y="20638"/>
                    </a:cubicBezTo>
                    <a:cubicBezTo>
                      <a:pt x="1497013" y="20638"/>
                      <a:pt x="1491615" y="21907"/>
                      <a:pt x="1487805" y="24448"/>
                    </a:cubicBezTo>
                    <a:cubicBezTo>
                      <a:pt x="1483678" y="26988"/>
                      <a:pt x="1481772" y="30798"/>
                      <a:pt x="1481772" y="35877"/>
                    </a:cubicBezTo>
                    <a:cubicBezTo>
                      <a:pt x="1481772" y="39052"/>
                      <a:pt x="1482408" y="41592"/>
                      <a:pt x="1483360" y="43498"/>
                    </a:cubicBezTo>
                    <a:cubicBezTo>
                      <a:pt x="1484313" y="45720"/>
                      <a:pt x="1486218" y="47307"/>
                      <a:pt x="1488440" y="48895"/>
                    </a:cubicBezTo>
                    <a:cubicBezTo>
                      <a:pt x="1490663" y="50482"/>
                      <a:pt x="1493521" y="51752"/>
                      <a:pt x="1497013" y="53340"/>
                    </a:cubicBezTo>
                    <a:cubicBezTo>
                      <a:pt x="1500505" y="54927"/>
                      <a:pt x="1503363" y="56198"/>
                      <a:pt x="1504950" y="57150"/>
                    </a:cubicBezTo>
                    <a:cubicBezTo>
                      <a:pt x="1506538" y="58102"/>
                      <a:pt x="1507808" y="59055"/>
                      <a:pt x="1508125" y="59690"/>
                    </a:cubicBezTo>
                    <a:cubicBezTo>
                      <a:pt x="1508443" y="60325"/>
                      <a:pt x="1508760" y="61277"/>
                      <a:pt x="1508760" y="62230"/>
                    </a:cubicBezTo>
                    <a:cubicBezTo>
                      <a:pt x="1508760" y="63500"/>
                      <a:pt x="1508125" y="64770"/>
                      <a:pt x="1506855" y="65723"/>
                    </a:cubicBezTo>
                    <a:cubicBezTo>
                      <a:pt x="1505585" y="66675"/>
                      <a:pt x="1503363" y="66992"/>
                      <a:pt x="1500505" y="66992"/>
                    </a:cubicBezTo>
                    <a:cubicBezTo>
                      <a:pt x="1497965" y="66992"/>
                      <a:pt x="1494790" y="66675"/>
                      <a:pt x="1491297" y="65723"/>
                    </a:cubicBezTo>
                    <a:cubicBezTo>
                      <a:pt x="1487805" y="64770"/>
                      <a:pt x="1484630" y="63817"/>
                      <a:pt x="1481772" y="62230"/>
                    </a:cubicBezTo>
                    <a:lnTo>
                      <a:pt x="1481772" y="74613"/>
                    </a:lnTo>
                    <a:cubicBezTo>
                      <a:pt x="1484630" y="75882"/>
                      <a:pt x="1487171" y="76517"/>
                      <a:pt x="1490028" y="77152"/>
                    </a:cubicBezTo>
                    <a:cubicBezTo>
                      <a:pt x="1492885" y="77788"/>
                      <a:pt x="1496060" y="77788"/>
                      <a:pt x="1499871" y="77788"/>
                    </a:cubicBezTo>
                    <a:cubicBezTo>
                      <a:pt x="1507808" y="77788"/>
                      <a:pt x="1513522" y="76200"/>
                      <a:pt x="1517650" y="73342"/>
                    </a:cubicBezTo>
                    <a:cubicBezTo>
                      <a:pt x="1521778" y="70485"/>
                      <a:pt x="1523683" y="66040"/>
                      <a:pt x="1523683" y="60325"/>
                    </a:cubicBezTo>
                    <a:cubicBezTo>
                      <a:pt x="1524318" y="57467"/>
                      <a:pt x="1523683" y="54927"/>
                      <a:pt x="1522413" y="52705"/>
                    </a:cubicBezTo>
                    <a:moveTo>
                      <a:pt x="1440497" y="22542"/>
                    </a:moveTo>
                    <a:cubicBezTo>
                      <a:pt x="1437322" y="23813"/>
                      <a:pt x="1435100" y="26035"/>
                      <a:pt x="1433196" y="28892"/>
                    </a:cubicBezTo>
                    <a:lnTo>
                      <a:pt x="1432243" y="28892"/>
                    </a:lnTo>
                    <a:lnTo>
                      <a:pt x="1430338" y="21907"/>
                    </a:lnTo>
                    <a:lnTo>
                      <a:pt x="1418908" y="21907"/>
                    </a:lnTo>
                    <a:lnTo>
                      <a:pt x="1418908" y="77470"/>
                    </a:lnTo>
                    <a:lnTo>
                      <a:pt x="1434147" y="77470"/>
                    </a:lnTo>
                    <a:lnTo>
                      <a:pt x="1434147" y="51435"/>
                    </a:lnTo>
                    <a:cubicBezTo>
                      <a:pt x="1434147" y="45402"/>
                      <a:pt x="1435100" y="40957"/>
                      <a:pt x="1436688" y="37782"/>
                    </a:cubicBezTo>
                    <a:cubicBezTo>
                      <a:pt x="1438275" y="34607"/>
                      <a:pt x="1441450" y="33020"/>
                      <a:pt x="1446213" y="33020"/>
                    </a:cubicBezTo>
                    <a:cubicBezTo>
                      <a:pt x="1449388" y="33020"/>
                      <a:pt x="1451610" y="33973"/>
                      <a:pt x="1452880" y="35877"/>
                    </a:cubicBezTo>
                    <a:cubicBezTo>
                      <a:pt x="1454150" y="37782"/>
                      <a:pt x="1455103" y="40957"/>
                      <a:pt x="1455103" y="44767"/>
                    </a:cubicBezTo>
                    <a:lnTo>
                      <a:pt x="1455103" y="77152"/>
                    </a:lnTo>
                    <a:lnTo>
                      <a:pt x="1470343" y="77152"/>
                    </a:lnTo>
                    <a:lnTo>
                      <a:pt x="1470343" y="40957"/>
                    </a:lnTo>
                    <a:cubicBezTo>
                      <a:pt x="1470343" y="33973"/>
                      <a:pt x="1468438" y="28575"/>
                      <a:pt x="1464946" y="25400"/>
                    </a:cubicBezTo>
                    <a:cubicBezTo>
                      <a:pt x="1461453" y="22225"/>
                      <a:pt x="1456690" y="20638"/>
                      <a:pt x="1450658" y="20638"/>
                    </a:cubicBezTo>
                    <a:cubicBezTo>
                      <a:pt x="1446847" y="20638"/>
                      <a:pt x="1443355" y="21273"/>
                      <a:pt x="1440497" y="22542"/>
                    </a:cubicBezTo>
                    <a:moveTo>
                      <a:pt x="1370647" y="37148"/>
                    </a:moveTo>
                    <a:cubicBezTo>
                      <a:pt x="1372553" y="34290"/>
                      <a:pt x="1375410" y="33020"/>
                      <a:pt x="1379221" y="33020"/>
                    </a:cubicBezTo>
                    <a:cubicBezTo>
                      <a:pt x="1383347" y="33020"/>
                      <a:pt x="1386205" y="34290"/>
                      <a:pt x="1388110" y="37148"/>
                    </a:cubicBezTo>
                    <a:cubicBezTo>
                      <a:pt x="1390015" y="40005"/>
                      <a:pt x="1390650" y="44132"/>
                      <a:pt x="1390650" y="49530"/>
                    </a:cubicBezTo>
                    <a:cubicBezTo>
                      <a:pt x="1390650" y="54927"/>
                      <a:pt x="1389697" y="59055"/>
                      <a:pt x="1388110" y="61913"/>
                    </a:cubicBezTo>
                    <a:cubicBezTo>
                      <a:pt x="1386205" y="64770"/>
                      <a:pt x="1383347" y="66040"/>
                      <a:pt x="1379538" y="66040"/>
                    </a:cubicBezTo>
                    <a:cubicBezTo>
                      <a:pt x="1375410" y="66040"/>
                      <a:pt x="1372553" y="64770"/>
                      <a:pt x="1370647" y="61913"/>
                    </a:cubicBezTo>
                    <a:cubicBezTo>
                      <a:pt x="1368743" y="59055"/>
                      <a:pt x="1368108" y="54927"/>
                      <a:pt x="1368108" y="49530"/>
                    </a:cubicBezTo>
                    <a:cubicBezTo>
                      <a:pt x="1368108" y="44132"/>
                      <a:pt x="1368743" y="39688"/>
                      <a:pt x="1370647" y="37148"/>
                    </a:cubicBezTo>
                    <a:moveTo>
                      <a:pt x="1402715" y="33973"/>
                    </a:moveTo>
                    <a:cubicBezTo>
                      <a:pt x="1400493" y="29845"/>
                      <a:pt x="1397318" y="26352"/>
                      <a:pt x="1393190" y="24130"/>
                    </a:cubicBezTo>
                    <a:cubicBezTo>
                      <a:pt x="1389063" y="21907"/>
                      <a:pt x="1384618" y="20638"/>
                      <a:pt x="1379221" y="20638"/>
                    </a:cubicBezTo>
                    <a:cubicBezTo>
                      <a:pt x="1370965" y="20638"/>
                      <a:pt x="1364297" y="23177"/>
                      <a:pt x="1359535" y="27940"/>
                    </a:cubicBezTo>
                    <a:cubicBezTo>
                      <a:pt x="1354772" y="33020"/>
                      <a:pt x="1352233" y="40005"/>
                      <a:pt x="1352233" y="49213"/>
                    </a:cubicBezTo>
                    <a:cubicBezTo>
                      <a:pt x="1352233" y="55245"/>
                      <a:pt x="1353503" y="60642"/>
                      <a:pt x="1355725" y="64770"/>
                    </a:cubicBezTo>
                    <a:cubicBezTo>
                      <a:pt x="1357947" y="69215"/>
                      <a:pt x="1361122" y="72390"/>
                      <a:pt x="1365250" y="74613"/>
                    </a:cubicBezTo>
                    <a:cubicBezTo>
                      <a:pt x="1369378" y="76835"/>
                      <a:pt x="1373822" y="78105"/>
                      <a:pt x="1378903" y="78105"/>
                    </a:cubicBezTo>
                    <a:cubicBezTo>
                      <a:pt x="1387158" y="78105"/>
                      <a:pt x="1393825" y="75565"/>
                      <a:pt x="1398588" y="70485"/>
                    </a:cubicBezTo>
                    <a:cubicBezTo>
                      <a:pt x="1403350" y="65405"/>
                      <a:pt x="1405890" y="58420"/>
                      <a:pt x="1405890" y="49213"/>
                    </a:cubicBezTo>
                    <a:cubicBezTo>
                      <a:pt x="1406208" y="43180"/>
                      <a:pt x="1404938" y="38100"/>
                      <a:pt x="1402715" y="33973"/>
                    </a:cubicBezTo>
                    <a:moveTo>
                      <a:pt x="1324928" y="77152"/>
                    </a:moveTo>
                    <a:lnTo>
                      <a:pt x="1340168" y="77152"/>
                    </a:lnTo>
                    <a:lnTo>
                      <a:pt x="1340168" y="21590"/>
                    </a:lnTo>
                    <a:lnTo>
                      <a:pt x="1324928" y="21590"/>
                    </a:lnTo>
                    <a:lnTo>
                      <a:pt x="1324928" y="77152"/>
                    </a:lnTo>
                    <a:close/>
                    <a:moveTo>
                      <a:pt x="1326515" y="1588"/>
                    </a:moveTo>
                    <a:cubicBezTo>
                      <a:pt x="1324928" y="2540"/>
                      <a:pt x="1323975" y="4445"/>
                      <a:pt x="1323975" y="7302"/>
                    </a:cubicBezTo>
                    <a:cubicBezTo>
                      <a:pt x="1323975" y="10160"/>
                      <a:pt x="1324610" y="12065"/>
                      <a:pt x="1326515" y="13017"/>
                    </a:cubicBezTo>
                    <a:cubicBezTo>
                      <a:pt x="1328103" y="13970"/>
                      <a:pt x="1330008" y="14605"/>
                      <a:pt x="1332230" y="14605"/>
                    </a:cubicBezTo>
                    <a:cubicBezTo>
                      <a:pt x="1334453" y="14605"/>
                      <a:pt x="1336358" y="13970"/>
                      <a:pt x="1337946" y="13017"/>
                    </a:cubicBezTo>
                    <a:cubicBezTo>
                      <a:pt x="1339533" y="12065"/>
                      <a:pt x="1340485" y="10160"/>
                      <a:pt x="1340485" y="7302"/>
                    </a:cubicBezTo>
                    <a:cubicBezTo>
                      <a:pt x="1340485" y="4445"/>
                      <a:pt x="1339533" y="2540"/>
                      <a:pt x="1337946" y="1588"/>
                    </a:cubicBezTo>
                    <a:cubicBezTo>
                      <a:pt x="1336358" y="635"/>
                      <a:pt x="1334453" y="0"/>
                      <a:pt x="1332230" y="0"/>
                    </a:cubicBezTo>
                    <a:cubicBezTo>
                      <a:pt x="1330008" y="0"/>
                      <a:pt x="1328103" y="635"/>
                      <a:pt x="1326515" y="1588"/>
                    </a:cubicBezTo>
                    <a:moveTo>
                      <a:pt x="1299210" y="64452"/>
                    </a:moveTo>
                    <a:cubicBezTo>
                      <a:pt x="1297940" y="63500"/>
                      <a:pt x="1297305" y="61913"/>
                      <a:pt x="1297305" y="59690"/>
                    </a:cubicBezTo>
                    <a:lnTo>
                      <a:pt x="1297305" y="33020"/>
                    </a:lnTo>
                    <a:lnTo>
                      <a:pt x="1312863" y="33020"/>
                    </a:lnTo>
                    <a:lnTo>
                      <a:pt x="1312863" y="21590"/>
                    </a:lnTo>
                    <a:lnTo>
                      <a:pt x="1297305" y="21590"/>
                    </a:lnTo>
                    <a:lnTo>
                      <a:pt x="1297305" y="9842"/>
                    </a:lnTo>
                    <a:lnTo>
                      <a:pt x="1287780" y="9842"/>
                    </a:lnTo>
                    <a:lnTo>
                      <a:pt x="1283335" y="21590"/>
                    </a:lnTo>
                    <a:lnTo>
                      <a:pt x="1275080" y="26670"/>
                    </a:lnTo>
                    <a:lnTo>
                      <a:pt x="1275080" y="33020"/>
                    </a:lnTo>
                    <a:lnTo>
                      <a:pt x="1282383" y="33020"/>
                    </a:lnTo>
                    <a:lnTo>
                      <a:pt x="1282383" y="59690"/>
                    </a:lnTo>
                    <a:cubicBezTo>
                      <a:pt x="1282383" y="64452"/>
                      <a:pt x="1283018" y="68263"/>
                      <a:pt x="1284605" y="70802"/>
                    </a:cubicBezTo>
                    <a:cubicBezTo>
                      <a:pt x="1286193" y="73342"/>
                      <a:pt x="1288097" y="75248"/>
                      <a:pt x="1290955" y="76517"/>
                    </a:cubicBezTo>
                    <a:cubicBezTo>
                      <a:pt x="1293496" y="77470"/>
                      <a:pt x="1296671" y="78105"/>
                      <a:pt x="1299846" y="78105"/>
                    </a:cubicBezTo>
                    <a:cubicBezTo>
                      <a:pt x="1302703" y="78105"/>
                      <a:pt x="1305243" y="77788"/>
                      <a:pt x="1307783" y="77470"/>
                    </a:cubicBezTo>
                    <a:cubicBezTo>
                      <a:pt x="1310322" y="77152"/>
                      <a:pt x="1312228" y="76517"/>
                      <a:pt x="1313815" y="75565"/>
                    </a:cubicBezTo>
                    <a:lnTo>
                      <a:pt x="1313815" y="64135"/>
                    </a:lnTo>
                    <a:cubicBezTo>
                      <a:pt x="1312228" y="64770"/>
                      <a:pt x="1310640" y="65088"/>
                      <a:pt x="1309053" y="65405"/>
                    </a:cubicBezTo>
                    <a:cubicBezTo>
                      <a:pt x="1307465" y="65723"/>
                      <a:pt x="1305878" y="65723"/>
                      <a:pt x="1304290" y="65723"/>
                    </a:cubicBezTo>
                    <a:cubicBezTo>
                      <a:pt x="1302068" y="66040"/>
                      <a:pt x="1300480" y="65723"/>
                      <a:pt x="1299210" y="64452"/>
                    </a:cubicBezTo>
                    <a:moveTo>
                      <a:pt x="1252855" y="49213"/>
                    </a:moveTo>
                    <a:cubicBezTo>
                      <a:pt x="1252855" y="54610"/>
                      <a:pt x="1251903" y="58738"/>
                      <a:pt x="1250315" y="61595"/>
                    </a:cubicBezTo>
                    <a:cubicBezTo>
                      <a:pt x="1248728" y="64452"/>
                      <a:pt x="1246188" y="66040"/>
                      <a:pt x="1242696" y="66040"/>
                    </a:cubicBezTo>
                    <a:cubicBezTo>
                      <a:pt x="1238568" y="66040"/>
                      <a:pt x="1235710" y="64452"/>
                      <a:pt x="1234122" y="61595"/>
                    </a:cubicBezTo>
                    <a:cubicBezTo>
                      <a:pt x="1232535" y="58738"/>
                      <a:pt x="1231583" y="54610"/>
                      <a:pt x="1231583" y="49213"/>
                    </a:cubicBezTo>
                    <a:lnTo>
                      <a:pt x="1231583" y="47625"/>
                    </a:lnTo>
                    <a:cubicBezTo>
                      <a:pt x="1231583" y="42545"/>
                      <a:pt x="1232535" y="39052"/>
                      <a:pt x="1234122" y="36513"/>
                    </a:cubicBezTo>
                    <a:cubicBezTo>
                      <a:pt x="1235710" y="33973"/>
                      <a:pt x="1238568" y="32702"/>
                      <a:pt x="1242378" y="32702"/>
                    </a:cubicBezTo>
                    <a:cubicBezTo>
                      <a:pt x="1249363" y="32702"/>
                      <a:pt x="1252855" y="38417"/>
                      <a:pt x="1252855" y="49213"/>
                    </a:cubicBezTo>
                    <a:moveTo>
                      <a:pt x="1237615" y="23177"/>
                    </a:moveTo>
                    <a:cubicBezTo>
                      <a:pt x="1235075" y="24765"/>
                      <a:pt x="1233171" y="26670"/>
                      <a:pt x="1231583" y="28892"/>
                    </a:cubicBezTo>
                    <a:lnTo>
                      <a:pt x="1230947" y="28892"/>
                    </a:lnTo>
                    <a:lnTo>
                      <a:pt x="1228725" y="21590"/>
                    </a:lnTo>
                    <a:lnTo>
                      <a:pt x="1216343" y="21590"/>
                    </a:lnTo>
                    <a:lnTo>
                      <a:pt x="1216343" y="101600"/>
                    </a:lnTo>
                    <a:lnTo>
                      <a:pt x="1231583" y="101600"/>
                    </a:lnTo>
                    <a:lnTo>
                      <a:pt x="1231583" y="79375"/>
                    </a:lnTo>
                    <a:cubicBezTo>
                      <a:pt x="1231583" y="76835"/>
                      <a:pt x="1231265" y="73977"/>
                      <a:pt x="1230630" y="71120"/>
                    </a:cubicBezTo>
                    <a:lnTo>
                      <a:pt x="1231583" y="71120"/>
                    </a:lnTo>
                    <a:cubicBezTo>
                      <a:pt x="1233171" y="73025"/>
                      <a:pt x="1235075" y="74613"/>
                      <a:pt x="1237297" y="76200"/>
                    </a:cubicBezTo>
                    <a:cubicBezTo>
                      <a:pt x="1239521" y="77788"/>
                      <a:pt x="1242696" y="78423"/>
                      <a:pt x="1246822" y="78423"/>
                    </a:cubicBezTo>
                    <a:cubicBezTo>
                      <a:pt x="1253172" y="78423"/>
                      <a:pt x="1258253" y="75882"/>
                      <a:pt x="1262063" y="71120"/>
                    </a:cubicBezTo>
                    <a:cubicBezTo>
                      <a:pt x="1266190" y="66357"/>
                      <a:pt x="1268096" y="59055"/>
                      <a:pt x="1268096" y="49530"/>
                    </a:cubicBezTo>
                    <a:cubicBezTo>
                      <a:pt x="1268096" y="40005"/>
                      <a:pt x="1266190" y="33020"/>
                      <a:pt x="1262380" y="28257"/>
                    </a:cubicBezTo>
                    <a:cubicBezTo>
                      <a:pt x="1258571" y="23495"/>
                      <a:pt x="1253490" y="20955"/>
                      <a:pt x="1247140" y="20955"/>
                    </a:cubicBezTo>
                    <a:cubicBezTo>
                      <a:pt x="1243330" y="20638"/>
                      <a:pt x="1240155" y="21590"/>
                      <a:pt x="1237615" y="23177"/>
                    </a:cubicBezTo>
                    <a:moveTo>
                      <a:pt x="1168400" y="37148"/>
                    </a:moveTo>
                    <a:cubicBezTo>
                      <a:pt x="1170305" y="34290"/>
                      <a:pt x="1173163" y="33020"/>
                      <a:pt x="1176972" y="33020"/>
                    </a:cubicBezTo>
                    <a:cubicBezTo>
                      <a:pt x="1181100" y="33020"/>
                      <a:pt x="1183958" y="34290"/>
                      <a:pt x="1185863" y="37148"/>
                    </a:cubicBezTo>
                    <a:cubicBezTo>
                      <a:pt x="1187768" y="40005"/>
                      <a:pt x="1188403" y="44132"/>
                      <a:pt x="1188403" y="49530"/>
                    </a:cubicBezTo>
                    <a:cubicBezTo>
                      <a:pt x="1188403" y="54927"/>
                      <a:pt x="1187450" y="59055"/>
                      <a:pt x="1185863" y="61913"/>
                    </a:cubicBezTo>
                    <a:cubicBezTo>
                      <a:pt x="1183958" y="64770"/>
                      <a:pt x="1181100" y="66040"/>
                      <a:pt x="1177290" y="66040"/>
                    </a:cubicBezTo>
                    <a:cubicBezTo>
                      <a:pt x="1173163" y="66040"/>
                      <a:pt x="1170305" y="64770"/>
                      <a:pt x="1168400" y="61913"/>
                    </a:cubicBezTo>
                    <a:cubicBezTo>
                      <a:pt x="1166496" y="59055"/>
                      <a:pt x="1165860" y="54927"/>
                      <a:pt x="1165860" y="49530"/>
                    </a:cubicBezTo>
                    <a:cubicBezTo>
                      <a:pt x="1165860" y="44132"/>
                      <a:pt x="1166496" y="39688"/>
                      <a:pt x="1168400" y="37148"/>
                    </a:cubicBezTo>
                    <a:moveTo>
                      <a:pt x="1200468" y="33973"/>
                    </a:moveTo>
                    <a:cubicBezTo>
                      <a:pt x="1198246" y="29845"/>
                      <a:pt x="1195071" y="26352"/>
                      <a:pt x="1190943" y="24130"/>
                    </a:cubicBezTo>
                    <a:cubicBezTo>
                      <a:pt x="1186815" y="21907"/>
                      <a:pt x="1182371" y="20638"/>
                      <a:pt x="1176972" y="20638"/>
                    </a:cubicBezTo>
                    <a:cubicBezTo>
                      <a:pt x="1168718" y="20638"/>
                      <a:pt x="1162050" y="23177"/>
                      <a:pt x="1157288" y="27940"/>
                    </a:cubicBezTo>
                    <a:cubicBezTo>
                      <a:pt x="1152525" y="33020"/>
                      <a:pt x="1149985" y="40005"/>
                      <a:pt x="1149985" y="49213"/>
                    </a:cubicBezTo>
                    <a:cubicBezTo>
                      <a:pt x="1149985" y="55245"/>
                      <a:pt x="1151255" y="60642"/>
                      <a:pt x="1153478" y="64770"/>
                    </a:cubicBezTo>
                    <a:cubicBezTo>
                      <a:pt x="1155700" y="69215"/>
                      <a:pt x="1158875" y="72390"/>
                      <a:pt x="1163003" y="74613"/>
                    </a:cubicBezTo>
                    <a:cubicBezTo>
                      <a:pt x="1167130" y="76835"/>
                      <a:pt x="1171575" y="78105"/>
                      <a:pt x="1176655" y="78105"/>
                    </a:cubicBezTo>
                    <a:cubicBezTo>
                      <a:pt x="1184910" y="78105"/>
                      <a:pt x="1191578" y="75565"/>
                      <a:pt x="1196340" y="70485"/>
                    </a:cubicBezTo>
                    <a:cubicBezTo>
                      <a:pt x="1201103" y="65405"/>
                      <a:pt x="1203643" y="58420"/>
                      <a:pt x="1203643" y="49213"/>
                    </a:cubicBezTo>
                    <a:cubicBezTo>
                      <a:pt x="1203960" y="43180"/>
                      <a:pt x="1202690" y="38100"/>
                      <a:pt x="1200468" y="33973"/>
                    </a:cubicBezTo>
                    <a:moveTo>
                      <a:pt x="1101725" y="64452"/>
                    </a:moveTo>
                    <a:cubicBezTo>
                      <a:pt x="1100455" y="63500"/>
                      <a:pt x="1099821" y="61913"/>
                      <a:pt x="1099821" y="59690"/>
                    </a:cubicBezTo>
                    <a:lnTo>
                      <a:pt x="1099821" y="33020"/>
                    </a:lnTo>
                    <a:lnTo>
                      <a:pt x="1115378" y="33020"/>
                    </a:lnTo>
                    <a:lnTo>
                      <a:pt x="1115378" y="21590"/>
                    </a:lnTo>
                    <a:lnTo>
                      <a:pt x="1099821" y="21590"/>
                    </a:lnTo>
                    <a:lnTo>
                      <a:pt x="1099821" y="9842"/>
                    </a:lnTo>
                    <a:lnTo>
                      <a:pt x="1090296" y="9842"/>
                    </a:lnTo>
                    <a:lnTo>
                      <a:pt x="1085850" y="21590"/>
                    </a:lnTo>
                    <a:lnTo>
                      <a:pt x="1077596" y="26670"/>
                    </a:lnTo>
                    <a:lnTo>
                      <a:pt x="1077596" y="33020"/>
                    </a:lnTo>
                    <a:lnTo>
                      <a:pt x="1084897" y="33020"/>
                    </a:lnTo>
                    <a:lnTo>
                      <a:pt x="1084897" y="59690"/>
                    </a:lnTo>
                    <a:cubicBezTo>
                      <a:pt x="1084897" y="64452"/>
                      <a:pt x="1085533" y="68263"/>
                      <a:pt x="1087121" y="70802"/>
                    </a:cubicBezTo>
                    <a:cubicBezTo>
                      <a:pt x="1088708" y="73342"/>
                      <a:pt x="1090613" y="75248"/>
                      <a:pt x="1093471" y="76517"/>
                    </a:cubicBezTo>
                    <a:cubicBezTo>
                      <a:pt x="1096010" y="77470"/>
                      <a:pt x="1099185" y="78105"/>
                      <a:pt x="1102360" y="78105"/>
                    </a:cubicBezTo>
                    <a:cubicBezTo>
                      <a:pt x="1105218" y="78105"/>
                      <a:pt x="1107758" y="77788"/>
                      <a:pt x="1110297" y="77470"/>
                    </a:cubicBezTo>
                    <a:cubicBezTo>
                      <a:pt x="1112838" y="77152"/>
                      <a:pt x="1114743" y="76517"/>
                      <a:pt x="1116330" y="75565"/>
                    </a:cubicBezTo>
                    <a:lnTo>
                      <a:pt x="1116330" y="64135"/>
                    </a:lnTo>
                    <a:cubicBezTo>
                      <a:pt x="1114743" y="64770"/>
                      <a:pt x="1113155" y="65088"/>
                      <a:pt x="1111568" y="65405"/>
                    </a:cubicBezTo>
                    <a:cubicBezTo>
                      <a:pt x="1109980" y="65723"/>
                      <a:pt x="1108393" y="65723"/>
                      <a:pt x="1106805" y="65723"/>
                    </a:cubicBezTo>
                    <a:cubicBezTo>
                      <a:pt x="1104583" y="66040"/>
                      <a:pt x="1102996" y="65723"/>
                      <a:pt x="1101725" y="64452"/>
                    </a:cubicBezTo>
                    <a:moveTo>
                      <a:pt x="1037908" y="22542"/>
                    </a:moveTo>
                    <a:cubicBezTo>
                      <a:pt x="1034733" y="23813"/>
                      <a:pt x="1032510" y="26035"/>
                      <a:pt x="1030605" y="28892"/>
                    </a:cubicBezTo>
                    <a:lnTo>
                      <a:pt x="1029653" y="28892"/>
                    </a:lnTo>
                    <a:lnTo>
                      <a:pt x="1027747" y="21907"/>
                    </a:lnTo>
                    <a:lnTo>
                      <a:pt x="1016318" y="21907"/>
                    </a:lnTo>
                    <a:lnTo>
                      <a:pt x="1016318" y="77470"/>
                    </a:lnTo>
                    <a:lnTo>
                      <a:pt x="1031558" y="77470"/>
                    </a:lnTo>
                    <a:lnTo>
                      <a:pt x="1031558" y="51435"/>
                    </a:lnTo>
                    <a:cubicBezTo>
                      <a:pt x="1031558" y="45402"/>
                      <a:pt x="1032510" y="40957"/>
                      <a:pt x="1034097" y="37782"/>
                    </a:cubicBezTo>
                    <a:cubicBezTo>
                      <a:pt x="1035685" y="34607"/>
                      <a:pt x="1038860" y="33020"/>
                      <a:pt x="1043622" y="33020"/>
                    </a:cubicBezTo>
                    <a:cubicBezTo>
                      <a:pt x="1046797" y="33020"/>
                      <a:pt x="1049021" y="33973"/>
                      <a:pt x="1050290" y="35877"/>
                    </a:cubicBezTo>
                    <a:cubicBezTo>
                      <a:pt x="1051560" y="37782"/>
                      <a:pt x="1052513" y="40957"/>
                      <a:pt x="1052513" y="44767"/>
                    </a:cubicBezTo>
                    <a:lnTo>
                      <a:pt x="1052513" y="77152"/>
                    </a:lnTo>
                    <a:lnTo>
                      <a:pt x="1067753" y="77152"/>
                    </a:lnTo>
                    <a:lnTo>
                      <a:pt x="1067753" y="40957"/>
                    </a:lnTo>
                    <a:cubicBezTo>
                      <a:pt x="1067753" y="33973"/>
                      <a:pt x="1065847" y="28575"/>
                      <a:pt x="1062355" y="25400"/>
                    </a:cubicBezTo>
                    <a:cubicBezTo>
                      <a:pt x="1058863" y="22225"/>
                      <a:pt x="1054100" y="20638"/>
                      <a:pt x="1048068" y="20638"/>
                    </a:cubicBezTo>
                    <a:cubicBezTo>
                      <a:pt x="1044258" y="20638"/>
                      <a:pt x="1041083" y="21273"/>
                      <a:pt x="1037908" y="22542"/>
                    </a:cubicBezTo>
                    <a:moveTo>
                      <a:pt x="987108" y="34925"/>
                    </a:moveTo>
                    <a:cubicBezTo>
                      <a:pt x="988695" y="37148"/>
                      <a:pt x="989647" y="40005"/>
                      <a:pt x="989647" y="43180"/>
                    </a:cubicBezTo>
                    <a:lnTo>
                      <a:pt x="968375" y="43180"/>
                    </a:lnTo>
                    <a:cubicBezTo>
                      <a:pt x="968693" y="39052"/>
                      <a:pt x="969963" y="36195"/>
                      <a:pt x="971868" y="34290"/>
                    </a:cubicBezTo>
                    <a:cubicBezTo>
                      <a:pt x="973772" y="32385"/>
                      <a:pt x="976313" y="31432"/>
                      <a:pt x="979170" y="31432"/>
                    </a:cubicBezTo>
                    <a:cubicBezTo>
                      <a:pt x="982663" y="31432"/>
                      <a:pt x="985203" y="32702"/>
                      <a:pt x="987108" y="34925"/>
                    </a:cubicBezTo>
                    <a:moveTo>
                      <a:pt x="965518" y="24130"/>
                    </a:moveTo>
                    <a:cubicBezTo>
                      <a:pt x="961708" y="26352"/>
                      <a:pt x="958533" y="29527"/>
                      <a:pt x="956310" y="33973"/>
                    </a:cubicBezTo>
                    <a:cubicBezTo>
                      <a:pt x="954088" y="38417"/>
                      <a:pt x="953135" y="43815"/>
                      <a:pt x="953135" y="50165"/>
                    </a:cubicBezTo>
                    <a:cubicBezTo>
                      <a:pt x="953135" y="56515"/>
                      <a:pt x="954405" y="61913"/>
                      <a:pt x="956945" y="66040"/>
                    </a:cubicBezTo>
                    <a:cubicBezTo>
                      <a:pt x="959485" y="70167"/>
                      <a:pt x="962660" y="73342"/>
                      <a:pt x="967105" y="75248"/>
                    </a:cubicBezTo>
                    <a:cubicBezTo>
                      <a:pt x="971233" y="77470"/>
                      <a:pt x="976313" y="78423"/>
                      <a:pt x="981710" y="78423"/>
                    </a:cubicBezTo>
                    <a:cubicBezTo>
                      <a:pt x="985838" y="78423"/>
                      <a:pt x="989647" y="78105"/>
                      <a:pt x="992505" y="77470"/>
                    </a:cubicBezTo>
                    <a:cubicBezTo>
                      <a:pt x="995363" y="76835"/>
                      <a:pt x="998220" y="75882"/>
                      <a:pt x="1001078" y="74613"/>
                    </a:cubicBezTo>
                    <a:lnTo>
                      <a:pt x="1001078" y="62865"/>
                    </a:lnTo>
                    <a:cubicBezTo>
                      <a:pt x="997903" y="64452"/>
                      <a:pt x="995045" y="65405"/>
                      <a:pt x="991870" y="66040"/>
                    </a:cubicBezTo>
                    <a:cubicBezTo>
                      <a:pt x="988695" y="66675"/>
                      <a:pt x="985838" y="66992"/>
                      <a:pt x="982028" y="66992"/>
                    </a:cubicBezTo>
                    <a:cubicBezTo>
                      <a:pt x="977900" y="66992"/>
                      <a:pt x="974408" y="65723"/>
                      <a:pt x="971868" y="63182"/>
                    </a:cubicBezTo>
                    <a:cubicBezTo>
                      <a:pt x="969328" y="60642"/>
                      <a:pt x="968058" y="57467"/>
                      <a:pt x="968058" y="53023"/>
                    </a:cubicBezTo>
                    <a:lnTo>
                      <a:pt x="1003935" y="53023"/>
                    </a:lnTo>
                    <a:lnTo>
                      <a:pt x="1003935" y="45720"/>
                    </a:lnTo>
                    <a:cubicBezTo>
                      <a:pt x="1003935" y="37782"/>
                      <a:pt x="1001713" y="31432"/>
                      <a:pt x="997268" y="26988"/>
                    </a:cubicBezTo>
                    <a:cubicBezTo>
                      <a:pt x="992822" y="22542"/>
                      <a:pt x="986790" y="20320"/>
                      <a:pt x="979170" y="20320"/>
                    </a:cubicBezTo>
                    <a:cubicBezTo>
                      <a:pt x="973772" y="20638"/>
                      <a:pt x="969328" y="21907"/>
                      <a:pt x="965518" y="24130"/>
                    </a:cubicBezTo>
                    <a:moveTo>
                      <a:pt x="912178" y="22542"/>
                    </a:moveTo>
                    <a:cubicBezTo>
                      <a:pt x="909320" y="23813"/>
                      <a:pt x="906780" y="26035"/>
                      <a:pt x="905193" y="28892"/>
                    </a:cubicBezTo>
                    <a:lnTo>
                      <a:pt x="903922" y="28892"/>
                    </a:lnTo>
                    <a:cubicBezTo>
                      <a:pt x="902335" y="26035"/>
                      <a:pt x="900113" y="24130"/>
                      <a:pt x="897255" y="22860"/>
                    </a:cubicBezTo>
                    <a:cubicBezTo>
                      <a:pt x="894397" y="21590"/>
                      <a:pt x="890905" y="20955"/>
                      <a:pt x="887095" y="20955"/>
                    </a:cubicBezTo>
                    <a:cubicBezTo>
                      <a:pt x="883920" y="20955"/>
                      <a:pt x="880745" y="21590"/>
                      <a:pt x="877888" y="22860"/>
                    </a:cubicBezTo>
                    <a:cubicBezTo>
                      <a:pt x="875030" y="24130"/>
                      <a:pt x="872490" y="26352"/>
                      <a:pt x="870903" y="29210"/>
                    </a:cubicBezTo>
                    <a:lnTo>
                      <a:pt x="869950" y="29210"/>
                    </a:lnTo>
                    <a:lnTo>
                      <a:pt x="868045" y="22225"/>
                    </a:lnTo>
                    <a:lnTo>
                      <a:pt x="856615" y="22225"/>
                    </a:lnTo>
                    <a:lnTo>
                      <a:pt x="856615" y="77788"/>
                    </a:lnTo>
                    <a:lnTo>
                      <a:pt x="871855" y="77788"/>
                    </a:lnTo>
                    <a:lnTo>
                      <a:pt x="871855" y="51752"/>
                    </a:lnTo>
                    <a:cubicBezTo>
                      <a:pt x="871855" y="45720"/>
                      <a:pt x="872808" y="41275"/>
                      <a:pt x="874395" y="38100"/>
                    </a:cubicBezTo>
                    <a:cubicBezTo>
                      <a:pt x="875983" y="34925"/>
                      <a:pt x="878840" y="33338"/>
                      <a:pt x="882968" y="33338"/>
                    </a:cubicBezTo>
                    <a:cubicBezTo>
                      <a:pt x="888365" y="33338"/>
                      <a:pt x="891222" y="37465"/>
                      <a:pt x="891222" y="45402"/>
                    </a:cubicBezTo>
                    <a:lnTo>
                      <a:pt x="891222" y="77788"/>
                    </a:lnTo>
                    <a:lnTo>
                      <a:pt x="906463" y="77788"/>
                    </a:lnTo>
                    <a:lnTo>
                      <a:pt x="906463" y="49848"/>
                    </a:lnTo>
                    <a:cubicBezTo>
                      <a:pt x="906463" y="44450"/>
                      <a:pt x="907415" y="40323"/>
                      <a:pt x="909003" y="37465"/>
                    </a:cubicBezTo>
                    <a:cubicBezTo>
                      <a:pt x="910590" y="34607"/>
                      <a:pt x="913447" y="33338"/>
                      <a:pt x="917575" y="33338"/>
                    </a:cubicBezTo>
                    <a:cubicBezTo>
                      <a:pt x="922972" y="33338"/>
                      <a:pt x="925830" y="37465"/>
                      <a:pt x="925830" y="45402"/>
                    </a:cubicBezTo>
                    <a:lnTo>
                      <a:pt x="925830" y="77788"/>
                    </a:lnTo>
                    <a:lnTo>
                      <a:pt x="941070" y="77788"/>
                    </a:lnTo>
                    <a:lnTo>
                      <a:pt x="941070" y="41592"/>
                    </a:lnTo>
                    <a:cubicBezTo>
                      <a:pt x="941070" y="34607"/>
                      <a:pt x="939483" y="29210"/>
                      <a:pt x="936308" y="26035"/>
                    </a:cubicBezTo>
                    <a:cubicBezTo>
                      <a:pt x="933133" y="22860"/>
                      <a:pt x="928370" y="21273"/>
                      <a:pt x="922020" y="21273"/>
                    </a:cubicBezTo>
                    <a:cubicBezTo>
                      <a:pt x="918528" y="20638"/>
                      <a:pt x="915353" y="21273"/>
                      <a:pt x="912178" y="22542"/>
                    </a:cubicBezTo>
                    <a:moveTo>
                      <a:pt x="830897" y="64452"/>
                    </a:moveTo>
                    <a:cubicBezTo>
                      <a:pt x="829628" y="63500"/>
                      <a:pt x="828993" y="61913"/>
                      <a:pt x="828993" y="59690"/>
                    </a:cubicBezTo>
                    <a:lnTo>
                      <a:pt x="828993" y="33020"/>
                    </a:lnTo>
                    <a:lnTo>
                      <a:pt x="844550" y="33020"/>
                    </a:lnTo>
                    <a:lnTo>
                      <a:pt x="844550" y="21590"/>
                    </a:lnTo>
                    <a:lnTo>
                      <a:pt x="828993" y="21590"/>
                    </a:lnTo>
                    <a:lnTo>
                      <a:pt x="828993" y="9842"/>
                    </a:lnTo>
                    <a:lnTo>
                      <a:pt x="819468" y="9842"/>
                    </a:lnTo>
                    <a:lnTo>
                      <a:pt x="815022" y="21590"/>
                    </a:lnTo>
                    <a:lnTo>
                      <a:pt x="806768" y="26670"/>
                    </a:lnTo>
                    <a:lnTo>
                      <a:pt x="806768" y="33020"/>
                    </a:lnTo>
                    <a:lnTo>
                      <a:pt x="814070" y="33020"/>
                    </a:lnTo>
                    <a:lnTo>
                      <a:pt x="814070" y="59690"/>
                    </a:lnTo>
                    <a:cubicBezTo>
                      <a:pt x="814070" y="64452"/>
                      <a:pt x="814705" y="68263"/>
                      <a:pt x="816293" y="70802"/>
                    </a:cubicBezTo>
                    <a:cubicBezTo>
                      <a:pt x="817880" y="73342"/>
                      <a:pt x="819785" y="75248"/>
                      <a:pt x="822643" y="76517"/>
                    </a:cubicBezTo>
                    <a:cubicBezTo>
                      <a:pt x="825183" y="77470"/>
                      <a:pt x="828358" y="78105"/>
                      <a:pt x="831533" y="78105"/>
                    </a:cubicBezTo>
                    <a:cubicBezTo>
                      <a:pt x="834390" y="78105"/>
                      <a:pt x="836930" y="77788"/>
                      <a:pt x="839470" y="77470"/>
                    </a:cubicBezTo>
                    <a:cubicBezTo>
                      <a:pt x="842010" y="77152"/>
                      <a:pt x="843915" y="76517"/>
                      <a:pt x="845503" y="75565"/>
                    </a:cubicBezTo>
                    <a:lnTo>
                      <a:pt x="845503" y="64135"/>
                    </a:lnTo>
                    <a:cubicBezTo>
                      <a:pt x="843915" y="64770"/>
                      <a:pt x="842328" y="65088"/>
                      <a:pt x="840740" y="65405"/>
                    </a:cubicBezTo>
                    <a:cubicBezTo>
                      <a:pt x="839153" y="65723"/>
                      <a:pt x="837565" y="65723"/>
                      <a:pt x="835978" y="65723"/>
                    </a:cubicBezTo>
                    <a:cubicBezTo>
                      <a:pt x="833755" y="66040"/>
                      <a:pt x="832168" y="65723"/>
                      <a:pt x="830897" y="64452"/>
                    </a:cubicBezTo>
                    <a:moveTo>
                      <a:pt x="781685" y="56198"/>
                    </a:moveTo>
                    <a:cubicBezTo>
                      <a:pt x="781685" y="59690"/>
                      <a:pt x="780415" y="62548"/>
                      <a:pt x="778193" y="64452"/>
                    </a:cubicBezTo>
                    <a:cubicBezTo>
                      <a:pt x="775970" y="66357"/>
                      <a:pt x="773113" y="67310"/>
                      <a:pt x="769938" y="67310"/>
                    </a:cubicBezTo>
                    <a:cubicBezTo>
                      <a:pt x="767715" y="67310"/>
                      <a:pt x="766128" y="66675"/>
                      <a:pt x="764540" y="65723"/>
                    </a:cubicBezTo>
                    <a:cubicBezTo>
                      <a:pt x="763270" y="64770"/>
                      <a:pt x="762635" y="63182"/>
                      <a:pt x="762635" y="60642"/>
                    </a:cubicBezTo>
                    <a:cubicBezTo>
                      <a:pt x="762635" y="58102"/>
                      <a:pt x="763588" y="55880"/>
                      <a:pt x="765493" y="54292"/>
                    </a:cubicBezTo>
                    <a:cubicBezTo>
                      <a:pt x="767397" y="52705"/>
                      <a:pt x="770890" y="51752"/>
                      <a:pt x="775653" y="51752"/>
                    </a:cubicBezTo>
                    <a:lnTo>
                      <a:pt x="781685" y="51435"/>
                    </a:lnTo>
                    <a:lnTo>
                      <a:pt x="781685" y="56198"/>
                    </a:lnTo>
                    <a:close/>
                    <a:moveTo>
                      <a:pt x="762318" y="21907"/>
                    </a:moveTo>
                    <a:cubicBezTo>
                      <a:pt x="758508" y="22860"/>
                      <a:pt x="755333" y="24130"/>
                      <a:pt x="752475" y="25400"/>
                    </a:cubicBezTo>
                    <a:lnTo>
                      <a:pt x="757555" y="35560"/>
                    </a:lnTo>
                    <a:cubicBezTo>
                      <a:pt x="760095" y="34290"/>
                      <a:pt x="762635" y="33338"/>
                      <a:pt x="765175" y="32702"/>
                    </a:cubicBezTo>
                    <a:cubicBezTo>
                      <a:pt x="767715" y="32067"/>
                      <a:pt x="770255" y="31432"/>
                      <a:pt x="773113" y="31432"/>
                    </a:cubicBezTo>
                    <a:cubicBezTo>
                      <a:pt x="775970" y="31432"/>
                      <a:pt x="777875" y="32067"/>
                      <a:pt x="779463" y="33338"/>
                    </a:cubicBezTo>
                    <a:cubicBezTo>
                      <a:pt x="781050" y="34607"/>
                      <a:pt x="781685" y="36830"/>
                      <a:pt x="781685" y="39688"/>
                    </a:cubicBezTo>
                    <a:lnTo>
                      <a:pt x="781685" y="42227"/>
                    </a:lnTo>
                    <a:lnTo>
                      <a:pt x="772160" y="42545"/>
                    </a:lnTo>
                    <a:cubicBezTo>
                      <a:pt x="763905" y="42863"/>
                      <a:pt x="757555" y="44450"/>
                      <a:pt x="753428" y="47307"/>
                    </a:cubicBezTo>
                    <a:cubicBezTo>
                      <a:pt x="749300" y="50165"/>
                      <a:pt x="747078" y="54292"/>
                      <a:pt x="747078" y="60325"/>
                    </a:cubicBezTo>
                    <a:cubicBezTo>
                      <a:pt x="747078" y="66357"/>
                      <a:pt x="748665" y="70802"/>
                      <a:pt x="751840" y="73660"/>
                    </a:cubicBezTo>
                    <a:cubicBezTo>
                      <a:pt x="755015" y="76517"/>
                      <a:pt x="759143" y="77788"/>
                      <a:pt x="764222" y="77788"/>
                    </a:cubicBezTo>
                    <a:cubicBezTo>
                      <a:pt x="768985" y="77788"/>
                      <a:pt x="772478" y="77152"/>
                      <a:pt x="775018" y="75882"/>
                    </a:cubicBezTo>
                    <a:cubicBezTo>
                      <a:pt x="777558" y="74613"/>
                      <a:pt x="780097" y="72390"/>
                      <a:pt x="782638" y="69532"/>
                    </a:cubicBezTo>
                    <a:lnTo>
                      <a:pt x="782955" y="69532"/>
                    </a:lnTo>
                    <a:lnTo>
                      <a:pt x="785813" y="77152"/>
                    </a:lnTo>
                    <a:lnTo>
                      <a:pt x="796290" y="77152"/>
                    </a:lnTo>
                    <a:lnTo>
                      <a:pt x="796290" y="40323"/>
                    </a:lnTo>
                    <a:cubicBezTo>
                      <a:pt x="796290" y="33655"/>
                      <a:pt x="794385" y="28892"/>
                      <a:pt x="790258" y="25400"/>
                    </a:cubicBezTo>
                    <a:cubicBezTo>
                      <a:pt x="786447" y="22225"/>
                      <a:pt x="780733" y="20638"/>
                      <a:pt x="773113" y="20638"/>
                    </a:cubicBezTo>
                    <a:cubicBezTo>
                      <a:pt x="769938" y="20638"/>
                      <a:pt x="766128" y="20955"/>
                      <a:pt x="762318" y="21907"/>
                    </a:cubicBezTo>
                    <a:moveTo>
                      <a:pt x="721678" y="34925"/>
                    </a:moveTo>
                    <a:cubicBezTo>
                      <a:pt x="723265" y="37148"/>
                      <a:pt x="724218" y="40005"/>
                      <a:pt x="724218" y="43180"/>
                    </a:cubicBezTo>
                    <a:lnTo>
                      <a:pt x="702945" y="43180"/>
                    </a:lnTo>
                    <a:cubicBezTo>
                      <a:pt x="703263" y="39052"/>
                      <a:pt x="704533" y="36195"/>
                      <a:pt x="706438" y="34290"/>
                    </a:cubicBezTo>
                    <a:cubicBezTo>
                      <a:pt x="708343" y="32385"/>
                      <a:pt x="710883" y="31432"/>
                      <a:pt x="713740" y="31432"/>
                    </a:cubicBezTo>
                    <a:cubicBezTo>
                      <a:pt x="717550" y="31432"/>
                      <a:pt x="720090" y="32702"/>
                      <a:pt x="721678" y="34925"/>
                    </a:cubicBezTo>
                    <a:moveTo>
                      <a:pt x="700088" y="24130"/>
                    </a:moveTo>
                    <a:cubicBezTo>
                      <a:pt x="696278" y="26352"/>
                      <a:pt x="693103" y="29527"/>
                      <a:pt x="690880" y="33973"/>
                    </a:cubicBezTo>
                    <a:cubicBezTo>
                      <a:pt x="688658" y="38417"/>
                      <a:pt x="687705" y="43815"/>
                      <a:pt x="687705" y="50165"/>
                    </a:cubicBezTo>
                    <a:cubicBezTo>
                      <a:pt x="687705" y="56515"/>
                      <a:pt x="688975" y="61913"/>
                      <a:pt x="691197" y="66040"/>
                    </a:cubicBezTo>
                    <a:cubicBezTo>
                      <a:pt x="693738" y="70167"/>
                      <a:pt x="696913" y="73342"/>
                      <a:pt x="701358" y="75248"/>
                    </a:cubicBezTo>
                    <a:cubicBezTo>
                      <a:pt x="705485" y="77470"/>
                      <a:pt x="710565" y="78423"/>
                      <a:pt x="715963" y="78423"/>
                    </a:cubicBezTo>
                    <a:cubicBezTo>
                      <a:pt x="720090" y="78423"/>
                      <a:pt x="723900" y="78105"/>
                      <a:pt x="726758" y="77470"/>
                    </a:cubicBezTo>
                    <a:cubicBezTo>
                      <a:pt x="729615" y="76835"/>
                      <a:pt x="732472" y="75882"/>
                      <a:pt x="735330" y="74613"/>
                    </a:cubicBezTo>
                    <a:lnTo>
                      <a:pt x="735330" y="62865"/>
                    </a:lnTo>
                    <a:cubicBezTo>
                      <a:pt x="732155" y="64452"/>
                      <a:pt x="729297" y="65405"/>
                      <a:pt x="726122" y="66040"/>
                    </a:cubicBezTo>
                    <a:cubicBezTo>
                      <a:pt x="723265" y="66675"/>
                      <a:pt x="720090" y="66992"/>
                      <a:pt x="716280" y="66992"/>
                    </a:cubicBezTo>
                    <a:cubicBezTo>
                      <a:pt x="712153" y="66992"/>
                      <a:pt x="708660" y="65723"/>
                      <a:pt x="706120" y="63182"/>
                    </a:cubicBezTo>
                    <a:cubicBezTo>
                      <a:pt x="703580" y="60642"/>
                      <a:pt x="702310" y="57467"/>
                      <a:pt x="702310" y="53023"/>
                    </a:cubicBezTo>
                    <a:lnTo>
                      <a:pt x="738188" y="53023"/>
                    </a:lnTo>
                    <a:lnTo>
                      <a:pt x="738188" y="45720"/>
                    </a:lnTo>
                    <a:cubicBezTo>
                      <a:pt x="738188" y="37782"/>
                      <a:pt x="735965" y="31432"/>
                      <a:pt x="731520" y="26988"/>
                    </a:cubicBezTo>
                    <a:cubicBezTo>
                      <a:pt x="727075" y="22542"/>
                      <a:pt x="721043" y="20320"/>
                      <a:pt x="713422" y="20320"/>
                    </a:cubicBezTo>
                    <a:cubicBezTo>
                      <a:pt x="708660" y="20638"/>
                      <a:pt x="703897" y="21907"/>
                      <a:pt x="700088" y="24130"/>
                    </a:cubicBezTo>
                    <a:moveTo>
                      <a:pt x="668020" y="23813"/>
                    </a:moveTo>
                    <a:cubicBezTo>
                      <a:pt x="665163" y="25717"/>
                      <a:pt x="662940" y="28257"/>
                      <a:pt x="661353" y="31115"/>
                    </a:cubicBezTo>
                    <a:lnTo>
                      <a:pt x="660718" y="31115"/>
                    </a:lnTo>
                    <a:lnTo>
                      <a:pt x="658495" y="21907"/>
                    </a:lnTo>
                    <a:lnTo>
                      <a:pt x="647065" y="21907"/>
                    </a:lnTo>
                    <a:lnTo>
                      <a:pt x="647065" y="77470"/>
                    </a:lnTo>
                    <a:lnTo>
                      <a:pt x="662305" y="77470"/>
                    </a:lnTo>
                    <a:lnTo>
                      <a:pt x="662305" y="49213"/>
                    </a:lnTo>
                    <a:cubicBezTo>
                      <a:pt x="662305" y="45720"/>
                      <a:pt x="662940" y="42863"/>
                      <a:pt x="664528" y="40957"/>
                    </a:cubicBezTo>
                    <a:cubicBezTo>
                      <a:pt x="666115" y="39052"/>
                      <a:pt x="668020" y="37465"/>
                      <a:pt x="670243" y="36513"/>
                    </a:cubicBezTo>
                    <a:cubicBezTo>
                      <a:pt x="672465" y="35560"/>
                      <a:pt x="675005" y="35242"/>
                      <a:pt x="677545" y="35242"/>
                    </a:cubicBezTo>
                    <a:cubicBezTo>
                      <a:pt x="678180" y="35242"/>
                      <a:pt x="679133" y="35242"/>
                      <a:pt x="679768" y="35242"/>
                    </a:cubicBezTo>
                    <a:cubicBezTo>
                      <a:pt x="680720" y="35242"/>
                      <a:pt x="681355" y="35560"/>
                      <a:pt x="681990" y="35560"/>
                    </a:cubicBezTo>
                    <a:lnTo>
                      <a:pt x="683260" y="21273"/>
                    </a:lnTo>
                    <a:cubicBezTo>
                      <a:pt x="682625" y="21273"/>
                      <a:pt x="681990" y="20955"/>
                      <a:pt x="680720" y="20955"/>
                    </a:cubicBezTo>
                    <a:cubicBezTo>
                      <a:pt x="679768" y="20955"/>
                      <a:pt x="678815" y="20955"/>
                      <a:pt x="678180" y="20955"/>
                    </a:cubicBezTo>
                    <a:cubicBezTo>
                      <a:pt x="674053" y="20638"/>
                      <a:pt x="670878" y="21590"/>
                      <a:pt x="668020" y="23813"/>
                    </a:cubicBezTo>
                    <a:moveTo>
                      <a:pt x="621347" y="64452"/>
                    </a:moveTo>
                    <a:cubicBezTo>
                      <a:pt x="620078" y="63500"/>
                      <a:pt x="619443" y="61913"/>
                      <a:pt x="619443" y="59690"/>
                    </a:cubicBezTo>
                    <a:lnTo>
                      <a:pt x="619443" y="33020"/>
                    </a:lnTo>
                    <a:lnTo>
                      <a:pt x="635000" y="33020"/>
                    </a:lnTo>
                    <a:lnTo>
                      <a:pt x="635000" y="21590"/>
                    </a:lnTo>
                    <a:lnTo>
                      <a:pt x="619443" y="21590"/>
                    </a:lnTo>
                    <a:lnTo>
                      <a:pt x="619443" y="9842"/>
                    </a:lnTo>
                    <a:lnTo>
                      <a:pt x="609918" y="9842"/>
                    </a:lnTo>
                    <a:lnTo>
                      <a:pt x="605472" y="21590"/>
                    </a:lnTo>
                    <a:lnTo>
                      <a:pt x="597218" y="26670"/>
                    </a:lnTo>
                    <a:lnTo>
                      <a:pt x="597218" y="33020"/>
                    </a:lnTo>
                    <a:lnTo>
                      <a:pt x="604520" y="33020"/>
                    </a:lnTo>
                    <a:lnTo>
                      <a:pt x="604520" y="59690"/>
                    </a:lnTo>
                    <a:cubicBezTo>
                      <a:pt x="604520" y="64452"/>
                      <a:pt x="605155" y="68263"/>
                      <a:pt x="606743" y="70802"/>
                    </a:cubicBezTo>
                    <a:cubicBezTo>
                      <a:pt x="608330" y="73342"/>
                      <a:pt x="610235" y="75248"/>
                      <a:pt x="613093" y="76517"/>
                    </a:cubicBezTo>
                    <a:cubicBezTo>
                      <a:pt x="615633" y="77470"/>
                      <a:pt x="618808" y="78105"/>
                      <a:pt x="621983" y="78105"/>
                    </a:cubicBezTo>
                    <a:cubicBezTo>
                      <a:pt x="624840" y="78105"/>
                      <a:pt x="627380" y="77788"/>
                      <a:pt x="629920" y="77470"/>
                    </a:cubicBezTo>
                    <a:cubicBezTo>
                      <a:pt x="632460" y="77152"/>
                      <a:pt x="634365" y="76517"/>
                      <a:pt x="635953" y="75565"/>
                    </a:cubicBezTo>
                    <a:lnTo>
                      <a:pt x="635953" y="64135"/>
                    </a:lnTo>
                    <a:cubicBezTo>
                      <a:pt x="634365" y="64770"/>
                      <a:pt x="632778" y="65088"/>
                      <a:pt x="631190" y="65405"/>
                    </a:cubicBezTo>
                    <a:cubicBezTo>
                      <a:pt x="629603" y="65723"/>
                      <a:pt x="628015" y="65723"/>
                      <a:pt x="626428" y="65723"/>
                    </a:cubicBezTo>
                    <a:cubicBezTo>
                      <a:pt x="624205" y="66040"/>
                      <a:pt x="622618" y="65723"/>
                      <a:pt x="621347" y="64452"/>
                    </a:cubicBezTo>
                    <a:moveTo>
                      <a:pt x="531178" y="22542"/>
                    </a:moveTo>
                    <a:cubicBezTo>
                      <a:pt x="528003" y="23813"/>
                      <a:pt x="525780" y="26035"/>
                      <a:pt x="523875" y="28892"/>
                    </a:cubicBezTo>
                    <a:lnTo>
                      <a:pt x="522922" y="28892"/>
                    </a:lnTo>
                    <a:lnTo>
                      <a:pt x="521018" y="21907"/>
                    </a:lnTo>
                    <a:lnTo>
                      <a:pt x="509588" y="21907"/>
                    </a:lnTo>
                    <a:lnTo>
                      <a:pt x="509588" y="77470"/>
                    </a:lnTo>
                    <a:lnTo>
                      <a:pt x="524828" y="77470"/>
                    </a:lnTo>
                    <a:lnTo>
                      <a:pt x="524828" y="51435"/>
                    </a:lnTo>
                    <a:cubicBezTo>
                      <a:pt x="524828" y="45402"/>
                      <a:pt x="525780" y="40957"/>
                      <a:pt x="527368" y="37782"/>
                    </a:cubicBezTo>
                    <a:cubicBezTo>
                      <a:pt x="528955" y="34607"/>
                      <a:pt x="532130" y="33020"/>
                      <a:pt x="536893" y="33020"/>
                    </a:cubicBezTo>
                    <a:cubicBezTo>
                      <a:pt x="540068" y="33020"/>
                      <a:pt x="542290" y="33973"/>
                      <a:pt x="543560" y="35877"/>
                    </a:cubicBezTo>
                    <a:cubicBezTo>
                      <a:pt x="544830" y="37782"/>
                      <a:pt x="545783" y="40957"/>
                      <a:pt x="545783" y="44767"/>
                    </a:cubicBezTo>
                    <a:lnTo>
                      <a:pt x="545783" y="77152"/>
                    </a:lnTo>
                    <a:lnTo>
                      <a:pt x="561022" y="77152"/>
                    </a:lnTo>
                    <a:lnTo>
                      <a:pt x="561022" y="40957"/>
                    </a:lnTo>
                    <a:cubicBezTo>
                      <a:pt x="561022" y="33973"/>
                      <a:pt x="559118" y="28575"/>
                      <a:pt x="555625" y="25400"/>
                    </a:cubicBezTo>
                    <a:cubicBezTo>
                      <a:pt x="552133" y="22225"/>
                      <a:pt x="547370" y="20638"/>
                      <a:pt x="541338" y="20638"/>
                    </a:cubicBezTo>
                    <a:cubicBezTo>
                      <a:pt x="537528" y="20638"/>
                      <a:pt x="534353" y="21273"/>
                      <a:pt x="531178" y="22542"/>
                    </a:cubicBezTo>
                    <a:moveTo>
                      <a:pt x="480378" y="34925"/>
                    </a:moveTo>
                    <a:cubicBezTo>
                      <a:pt x="481965" y="37148"/>
                      <a:pt x="482918" y="40005"/>
                      <a:pt x="482918" y="43180"/>
                    </a:cubicBezTo>
                    <a:lnTo>
                      <a:pt x="461645" y="43180"/>
                    </a:lnTo>
                    <a:cubicBezTo>
                      <a:pt x="461963" y="39052"/>
                      <a:pt x="463233" y="36195"/>
                      <a:pt x="465138" y="34290"/>
                    </a:cubicBezTo>
                    <a:cubicBezTo>
                      <a:pt x="467043" y="32385"/>
                      <a:pt x="469583" y="31432"/>
                      <a:pt x="472440" y="31432"/>
                    </a:cubicBezTo>
                    <a:cubicBezTo>
                      <a:pt x="475933" y="31432"/>
                      <a:pt x="478790" y="32702"/>
                      <a:pt x="480378" y="34925"/>
                    </a:cubicBezTo>
                    <a:moveTo>
                      <a:pt x="458788" y="24130"/>
                    </a:moveTo>
                    <a:cubicBezTo>
                      <a:pt x="454978" y="26352"/>
                      <a:pt x="451803" y="29527"/>
                      <a:pt x="449580" y="33973"/>
                    </a:cubicBezTo>
                    <a:cubicBezTo>
                      <a:pt x="447358" y="38417"/>
                      <a:pt x="446405" y="43815"/>
                      <a:pt x="446405" y="50165"/>
                    </a:cubicBezTo>
                    <a:cubicBezTo>
                      <a:pt x="446405" y="56515"/>
                      <a:pt x="447675" y="61913"/>
                      <a:pt x="450215" y="66040"/>
                    </a:cubicBezTo>
                    <a:cubicBezTo>
                      <a:pt x="452755" y="70167"/>
                      <a:pt x="455930" y="73342"/>
                      <a:pt x="460375" y="75248"/>
                    </a:cubicBezTo>
                    <a:cubicBezTo>
                      <a:pt x="464503" y="77470"/>
                      <a:pt x="469583" y="78423"/>
                      <a:pt x="474980" y="78423"/>
                    </a:cubicBezTo>
                    <a:cubicBezTo>
                      <a:pt x="479108" y="78423"/>
                      <a:pt x="482918" y="78105"/>
                      <a:pt x="485775" y="77470"/>
                    </a:cubicBezTo>
                    <a:cubicBezTo>
                      <a:pt x="488633" y="76835"/>
                      <a:pt x="491490" y="75882"/>
                      <a:pt x="494347" y="74613"/>
                    </a:cubicBezTo>
                    <a:lnTo>
                      <a:pt x="494347" y="62865"/>
                    </a:lnTo>
                    <a:cubicBezTo>
                      <a:pt x="491172" y="64452"/>
                      <a:pt x="488315" y="65405"/>
                      <a:pt x="485140" y="66040"/>
                    </a:cubicBezTo>
                    <a:cubicBezTo>
                      <a:pt x="481965" y="66675"/>
                      <a:pt x="479108" y="66992"/>
                      <a:pt x="475297" y="66992"/>
                    </a:cubicBezTo>
                    <a:cubicBezTo>
                      <a:pt x="471170" y="66992"/>
                      <a:pt x="467678" y="65723"/>
                      <a:pt x="465138" y="63182"/>
                    </a:cubicBezTo>
                    <a:cubicBezTo>
                      <a:pt x="462597" y="60642"/>
                      <a:pt x="461328" y="57467"/>
                      <a:pt x="461328" y="53023"/>
                    </a:cubicBezTo>
                    <a:lnTo>
                      <a:pt x="497205" y="53023"/>
                    </a:lnTo>
                    <a:lnTo>
                      <a:pt x="497205" y="45720"/>
                    </a:lnTo>
                    <a:cubicBezTo>
                      <a:pt x="497205" y="37782"/>
                      <a:pt x="494983" y="31432"/>
                      <a:pt x="490538" y="26988"/>
                    </a:cubicBezTo>
                    <a:cubicBezTo>
                      <a:pt x="486093" y="22542"/>
                      <a:pt x="480060" y="20320"/>
                      <a:pt x="472440" y="20320"/>
                    </a:cubicBezTo>
                    <a:cubicBezTo>
                      <a:pt x="467360" y="20638"/>
                      <a:pt x="462597" y="21907"/>
                      <a:pt x="458788" y="24130"/>
                    </a:cubicBezTo>
                    <a:moveTo>
                      <a:pt x="382905" y="0"/>
                    </a:moveTo>
                    <a:lnTo>
                      <a:pt x="382905" y="77152"/>
                    </a:lnTo>
                    <a:lnTo>
                      <a:pt x="398145" y="77152"/>
                    </a:lnTo>
                    <a:lnTo>
                      <a:pt x="398145" y="51117"/>
                    </a:lnTo>
                    <a:cubicBezTo>
                      <a:pt x="398145" y="45085"/>
                      <a:pt x="399098" y="40640"/>
                      <a:pt x="400685" y="37465"/>
                    </a:cubicBezTo>
                    <a:cubicBezTo>
                      <a:pt x="402273" y="34290"/>
                      <a:pt x="405448" y="32702"/>
                      <a:pt x="410210" y="32702"/>
                    </a:cubicBezTo>
                    <a:cubicBezTo>
                      <a:pt x="416243" y="32702"/>
                      <a:pt x="419100" y="36830"/>
                      <a:pt x="419100" y="44767"/>
                    </a:cubicBezTo>
                    <a:lnTo>
                      <a:pt x="419100" y="77152"/>
                    </a:lnTo>
                    <a:lnTo>
                      <a:pt x="434340" y="77152"/>
                    </a:lnTo>
                    <a:lnTo>
                      <a:pt x="434340" y="40957"/>
                    </a:lnTo>
                    <a:cubicBezTo>
                      <a:pt x="434340" y="33973"/>
                      <a:pt x="432435" y="28575"/>
                      <a:pt x="428943" y="25400"/>
                    </a:cubicBezTo>
                    <a:cubicBezTo>
                      <a:pt x="425133" y="22225"/>
                      <a:pt x="420370" y="20638"/>
                      <a:pt x="414655" y="20638"/>
                    </a:cubicBezTo>
                    <a:cubicBezTo>
                      <a:pt x="411163" y="20638"/>
                      <a:pt x="408305" y="21273"/>
                      <a:pt x="405448" y="22542"/>
                    </a:cubicBezTo>
                    <a:cubicBezTo>
                      <a:pt x="402590" y="23813"/>
                      <a:pt x="400368" y="26035"/>
                      <a:pt x="398780" y="28892"/>
                    </a:cubicBezTo>
                    <a:lnTo>
                      <a:pt x="397828" y="28892"/>
                    </a:lnTo>
                    <a:cubicBezTo>
                      <a:pt x="397828" y="27940"/>
                      <a:pt x="398145" y="26035"/>
                      <a:pt x="398145" y="23813"/>
                    </a:cubicBezTo>
                    <a:cubicBezTo>
                      <a:pt x="398463" y="21273"/>
                      <a:pt x="398463" y="18732"/>
                      <a:pt x="398463" y="15875"/>
                    </a:cubicBezTo>
                    <a:lnTo>
                      <a:pt x="398463" y="0"/>
                    </a:lnTo>
                    <a:lnTo>
                      <a:pt x="382905" y="0"/>
                    </a:lnTo>
                    <a:close/>
                    <a:moveTo>
                      <a:pt x="357188" y="64452"/>
                    </a:moveTo>
                    <a:cubicBezTo>
                      <a:pt x="355918" y="63500"/>
                      <a:pt x="355283" y="61913"/>
                      <a:pt x="355283" y="59690"/>
                    </a:cubicBezTo>
                    <a:lnTo>
                      <a:pt x="355283" y="33020"/>
                    </a:lnTo>
                    <a:lnTo>
                      <a:pt x="370840" y="33020"/>
                    </a:lnTo>
                    <a:lnTo>
                      <a:pt x="370840" y="21590"/>
                    </a:lnTo>
                    <a:lnTo>
                      <a:pt x="355283" y="21590"/>
                    </a:lnTo>
                    <a:lnTo>
                      <a:pt x="355283" y="9842"/>
                    </a:lnTo>
                    <a:lnTo>
                      <a:pt x="345758" y="9842"/>
                    </a:lnTo>
                    <a:lnTo>
                      <a:pt x="341313" y="21590"/>
                    </a:lnTo>
                    <a:lnTo>
                      <a:pt x="333058" y="26670"/>
                    </a:lnTo>
                    <a:lnTo>
                      <a:pt x="333058" y="33020"/>
                    </a:lnTo>
                    <a:lnTo>
                      <a:pt x="340360" y="33020"/>
                    </a:lnTo>
                    <a:lnTo>
                      <a:pt x="340360" y="59690"/>
                    </a:lnTo>
                    <a:cubicBezTo>
                      <a:pt x="340360" y="64452"/>
                      <a:pt x="340995" y="68263"/>
                      <a:pt x="342583" y="70802"/>
                    </a:cubicBezTo>
                    <a:cubicBezTo>
                      <a:pt x="344170" y="73342"/>
                      <a:pt x="346075" y="75248"/>
                      <a:pt x="348933" y="76517"/>
                    </a:cubicBezTo>
                    <a:cubicBezTo>
                      <a:pt x="351473" y="77470"/>
                      <a:pt x="354648" y="78105"/>
                      <a:pt x="357823" y="78105"/>
                    </a:cubicBezTo>
                    <a:cubicBezTo>
                      <a:pt x="360680" y="78105"/>
                      <a:pt x="363220" y="77788"/>
                      <a:pt x="365760" y="77470"/>
                    </a:cubicBezTo>
                    <a:cubicBezTo>
                      <a:pt x="368300" y="77152"/>
                      <a:pt x="370205" y="76517"/>
                      <a:pt x="371793" y="75565"/>
                    </a:cubicBezTo>
                    <a:lnTo>
                      <a:pt x="371793" y="64135"/>
                    </a:lnTo>
                    <a:cubicBezTo>
                      <a:pt x="370205" y="64770"/>
                      <a:pt x="368618" y="65088"/>
                      <a:pt x="367030" y="65405"/>
                    </a:cubicBezTo>
                    <a:cubicBezTo>
                      <a:pt x="365443" y="65723"/>
                      <a:pt x="363855" y="65723"/>
                      <a:pt x="362268" y="65723"/>
                    </a:cubicBezTo>
                    <a:cubicBezTo>
                      <a:pt x="360045" y="66040"/>
                      <a:pt x="358458" y="65723"/>
                      <a:pt x="357188" y="64452"/>
                    </a:cubicBezTo>
                    <a:moveTo>
                      <a:pt x="306070" y="36830"/>
                    </a:moveTo>
                    <a:cubicBezTo>
                      <a:pt x="307975" y="39370"/>
                      <a:pt x="308928" y="43815"/>
                      <a:pt x="308928" y="49530"/>
                    </a:cubicBezTo>
                    <a:lnTo>
                      <a:pt x="308928" y="51435"/>
                    </a:lnTo>
                    <a:cubicBezTo>
                      <a:pt x="308928" y="56832"/>
                      <a:pt x="307975" y="60642"/>
                      <a:pt x="306070" y="62865"/>
                    </a:cubicBezTo>
                    <a:cubicBezTo>
                      <a:pt x="304165" y="65088"/>
                      <a:pt x="301308" y="66040"/>
                      <a:pt x="297498" y="66040"/>
                    </a:cubicBezTo>
                    <a:cubicBezTo>
                      <a:pt x="290195" y="66040"/>
                      <a:pt x="286703" y="60642"/>
                      <a:pt x="286703" y="49530"/>
                    </a:cubicBezTo>
                    <a:cubicBezTo>
                      <a:pt x="286703" y="38417"/>
                      <a:pt x="290195" y="32702"/>
                      <a:pt x="297498" y="32702"/>
                    </a:cubicBezTo>
                    <a:cubicBezTo>
                      <a:pt x="301308" y="33020"/>
                      <a:pt x="304165" y="34290"/>
                      <a:pt x="306070" y="36830"/>
                    </a:cubicBezTo>
                    <a:moveTo>
                      <a:pt x="276860" y="28257"/>
                    </a:moveTo>
                    <a:cubicBezTo>
                      <a:pt x="273050" y="33338"/>
                      <a:pt x="271145" y="40323"/>
                      <a:pt x="271145" y="49530"/>
                    </a:cubicBezTo>
                    <a:cubicBezTo>
                      <a:pt x="271145" y="58420"/>
                      <a:pt x="273050" y="65723"/>
                      <a:pt x="276543" y="70485"/>
                    </a:cubicBezTo>
                    <a:cubicBezTo>
                      <a:pt x="280353" y="75565"/>
                      <a:pt x="285433" y="78105"/>
                      <a:pt x="291783" y="78105"/>
                    </a:cubicBezTo>
                    <a:cubicBezTo>
                      <a:pt x="294958" y="78105"/>
                      <a:pt x="298133" y="77470"/>
                      <a:pt x="300673" y="76200"/>
                    </a:cubicBezTo>
                    <a:cubicBezTo>
                      <a:pt x="303213" y="74930"/>
                      <a:pt x="305435" y="72707"/>
                      <a:pt x="307340" y="69850"/>
                    </a:cubicBezTo>
                    <a:lnTo>
                      <a:pt x="307658" y="69850"/>
                    </a:lnTo>
                    <a:cubicBezTo>
                      <a:pt x="307658" y="70802"/>
                      <a:pt x="307340" y="71755"/>
                      <a:pt x="307340" y="73025"/>
                    </a:cubicBezTo>
                    <a:cubicBezTo>
                      <a:pt x="307340" y="74295"/>
                      <a:pt x="307340" y="75565"/>
                      <a:pt x="307340" y="76517"/>
                    </a:cubicBezTo>
                    <a:lnTo>
                      <a:pt x="307340" y="77788"/>
                    </a:lnTo>
                    <a:cubicBezTo>
                      <a:pt x="307340" y="86042"/>
                      <a:pt x="303530" y="90488"/>
                      <a:pt x="295593" y="90488"/>
                    </a:cubicBezTo>
                    <a:cubicBezTo>
                      <a:pt x="287973" y="90488"/>
                      <a:pt x="280670" y="89217"/>
                      <a:pt x="274003" y="86360"/>
                    </a:cubicBezTo>
                    <a:lnTo>
                      <a:pt x="274003" y="98425"/>
                    </a:lnTo>
                    <a:cubicBezTo>
                      <a:pt x="277178" y="99695"/>
                      <a:pt x="280353" y="100648"/>
                      <a:pt x="283845" y="100965"/>
                    </a:cubicBezTo>
                    <a:cubicBezTo>
                      <a:pt x="287338" y="101282"/>
                      <a:pt x="290830" y="101600"/>
                      <a:pt x="294640" y="101600"/>
                    </a:cubicBezTo>
                    <a:cubicBezTo>
                      <a:pt x="303848" y="101600"/>
                      <a:pt x="310833" y="99377"/>
                      <a:pt x="315278" y="95250"/>
                    </a:cubicBezTo>
                    <a:cubicBezTo>
                      <a:pt x="320040" y="91123"/>
                      <a:pt x="322263" y="85090"/>
                      <a:pt x="322263" y="77152"/>
                    </a:cubicBezTo>
                    <a:lnTo>
                      <a:pt x="322263" y="21590"/>
                    </a:lnTo>
                    <a:lnTo>
                      <a:pt x="309563" y="21590"/>
                    </a:lnTo>
                    <a:lnTo>
                      <a:pt x="308293" y="28575"/>
                    </a:lnTo>
                    <a:lnTo>
                      <a:pt x="307975" y="28575"/>
                    </a:lnTo>
                    <a:cubicBezTo>
                      <a:pt x="304165" y="23177"/>
                      <a:pt x="298768" y="20320"/>
                      <a:pt x="291783" y="20320"/>
                    </a:cubicBezTo>
                    <a:cubicBezTo>
                      <a:pt x="285750" y="20638"/>
                      <a:pt x="280670" y="23177"/>
                      <a:pt x="276860" y="28257"/>
                    </a:cubicBezTo>
                    <a:moveTo>
                      <a:pt x="229235" y="22542"/>
                    </a:moveTo>
                    <a:cubicBezTo>
                      <a:pt x="226060" y="23813"/>
                      <a:pt x="223838" y="26035"/>
                      <a:pt x="221933" y="28892"/>
                    </a:cubicBezTo>
                    <a:lnTo>
                      <a:pt x="220980" y="28892"/>
                    </a:lnTo>
                    <a:lnTo>
                      <a:pt x="219075" y="21907"/>
                    </a:lnTo>
                    <a:lnTo>
                      <a:pt x="207645" y="21907"/>
                    </a:lnTo>
                    <a:lnTo>
                      <a:pt x="207645" y="77470"/>
                    </a:lnTo>
                    <a:lnTo>
                      <a:pt x="222885" y="77470"/>
                    </a:lnTo>
                    <a:lnTo>
                      <a:pt x="222885" y="51435"/>
                    </a:lnTo>
                    <a:cubicBezTo>
                      <a:pt x="222885" y="45402"/>
                      <a:pt x="223838" y="40957"/>
                      <a:pt x="225425" y="37782"/>
                    </a:cubicBezTo>
                    <a:cubicBezTo>
                      <a:pt x="227013" y="34607"/>
                      <a:pt x="230188" y="33020"/>
                      <a:pt x="234950" y="33020"/>
                    </a:cubicBezTo>
                    <a:cubicBezTo>
                      <a:pt x="238125" y="33020"/>
                      <a:pt x="240348" y="33973"/>
                      <a:pt x="241618" y="35877"/>
                    </a:cubicBezTo>
                    <a:cubicBezTo>
                      <a:pt x="242888" y="37782"/>
                      <a:pt x="243840" y="40957"/>
                      <a:pt x="243840" y="44767"/>
                    </a:cubicBezTo>
                    <a:lnTo>
                      <a:pt x="243840" y="77152"/>
                    </a:lnTo>
                    <a:lnTo>
                      <a:pt x="259080" y="77152"/>
                    </a:lnTo>
                    <a:lnTo>
                      <a:pt x="259080" y="40957"/>
                    </a:lnTo>
                    <a:cubicBezTo>
                      <a:pt x="259080" y="33973"/>
                      <a:pt x="257175" y="28575"/>
                      <a:pt x="253683" y="25400"/>
                    </a:cubicBezTo>
                    <a:cubicBezTo>
                      <a:pt x="250190" y="22225"/>
                      <a:pt x="245428" y="20638"/>
                      <a:pt x="239395" y="20638"/>
                    </a:cubicBezTo>
                    <a:cubicBezTo>
                      <a:pt x="235585" y="20638"/>
                      <a:pt x="232410" y="21273"/>
                      <a:pt x="229235" y="22542"/>
                    </a:cubicBezTo>
                    <a:moveTo>
                      <a:pt x="178435" y="34925"/>
                    </a:moveTo>
                    <a:cubicBezTo>
                      <a:pt x="180023" y="37148"/>
                      <a:pt x="180975" y="40005"/>
                      <a:pt x="180975" y="43180"/>
                    </a:cubicBezTo>
                    <a:lnTo>
                      <a:pt x="159703" y="43180"/>
                    </a:lnTo>
                    <a:cubicBezTo>
                      <a:pt x="160020" y="39052"/>
                      <a:pt x="161290" y="36195"/>
                      <a:pt x="163195" y="34290"/>
                    </a:cubicBezTo>
                    <a:cubicBezTo>
                      <a:pt x="165100" y="32385"/>
                      <a:pt x="167640" y="31432"/>
                      <a:pt x="170498" y="31432"/>
                    </a:cubicBezTo>
                    <a:cubicBezTo>
                      <a:pt x="173990" y="31432"/>
                      <a:pt x="176848" y="32702"/>
                      <a:pt x="178435" y="34925"/>
                    </a:cubicBezTo>
                    <a:moveTo>
                      <a:pt x="156845" y="24130"/>
                    </a:moveTo>
                    <a:cubicBezTo>
                      <a:pt x="153035" y="26352"/>
                      <a:pt x="149860" y="29527"/>
                      <a:pt x="147638" y="33973"/>
                    </a:cubicBezTo>
                    <a:cubicBezTo>
                      <a:pt x="145415" y="38417"/>
                      <a:pt x="144463" y="43815"/>
                      <a:pt x="144463" y="50165"/>
                    </a:cubicBezTo>
                    <a:cubicBezTo>
                      <a:pt x="144463" y="56515"/>
                      <a:pt x="145733" y="61913"/>
                      <a:pt x="148273" y="66040"/>
                    </a:cubicBezTo>
                    <a:cubicBezTo>
                      <a:pt x="150813" y="70167"/>
                      <a:pt x="153988" y="73342"/>
                      <a:pt x="158433" y="75248"/>
                    </a:cubicBezTo>
                    <a:cubicBezTo>
                      <a:pt x="162560" y="77470"/>
                      <a:pt x="167640" y="78423"/>
                      <a:pt x="173038" y="78423"/>
                    </a:cubicBezTo>
                    <a:cubicBezTo>
                      <a:pt x="177165" y="78423"/>
                      <a:pt x="180975" y="78105"/>
                      <a:pt x="183833" y="77470"/>
                    </a:cubicBezTo>
                    <a:cubicBezTo>
                      <a:pt x="186690" y="76835"/>
                      <a:pt x="189548" y="75882"/>
                      <a:pt x="192405" y="74613"/>
                    </a:cubicBezTo>
                    <a:lnTo>
                      <a:pt x="192405" y="62865"/>
                    </a:lnTo>
                    <a:cubicBezTo>
                      <a:pt x="189230" y="64452"/>
                      <a:pt x="186373" y="65405"/>
                      <a:pt x="183198" y="66040"/>
                    </a:cubicBezTo>
                    <a:cubicBezTo>
                      <a:pt x="180023" y="66675"/>
                      <a:pt x="177165" y="66992"/>
                      <a:pt x="173355" y="66992"/>
                    </a:cubicBezTo>
                    <a:cubicBezTo>
                      <a:pt x="169228" y="66992"/>
                      <a:pt x="165735" y="65723"/>
                      <a:pt x="163195" y="63182"/>
                    </a:cubicBezTo>
                    <a:cubicBezTo>
                      <a:pt x="160655" y="60642"/>
                      <a:pt x="159385" y="57467"/>
                      <a:pt x="159385" y="53023"/>
                    </a:cubicBezTo>
                    <a:lnTo>
                      <a:pt x="195263" y="53023"/>
                    </a:lnTo>
                    <a:lnTo>
                      <a:pt x="195263" y="45720"/>
                    </a:lnTo>
                    <a:cubicBezTo>
                      <a:pt x="195263" y="37782"/>
                      <a:pt x="193040" y="31432"/>
                      <a:pt x="188595" y="26988"/>
                    </a:cubicBezTo>
                    <a:cubicBezTo>
                      <a:pt x="184150" y="22542"/>
                      <a:pt x="178118" y="20320"/>
                      <a:pt x="170498" y="20320"/>
                    </a:cubicBezTo>
                    <a:cubicBezTo>
                      <a:pt x="165418" y="20638"/>
                      <a:pt x="160655" y="21907"/>
                      <a:pt x="156845" y="24130"/>
                    </a:cubicBezTo>
                    <a:moveTo>
                      <a:pt x="124778" y="23813"/>
                    </a:moveTo>
                    <a:cubicBezTo>
                      <a:pt x="121920" y="25717"/>
                      <a:pt x="119698" y="28257"/>
                      <a:pt x="118110" y="31115"/>
                    </a:cubicBezTo>
                    <a:lnTo>
                      <a:pt x="117475" y="31115"/>
                    </a:lnTo>
                    <a:lnTo>
                      <a:pt x="115253" y="21907"/>
                    </a:lnTo>
                    <a:lnTo>
                      <a:pt x="103823" y="21907"/>
                    </a:lnTo>
                    <a:lnTo>
                      <a:pt x="103823" y="77470"/>
                    </a:lnTo>
                    <a:lnTo>
                      <a:pt x="119063" y="77470"/>
                    </a:lnTo>
                    <a:lnTo>
                      <a:pt x="119063" y="49213"/>
                    </a:lnTo>
                    <a:cubicBezTo>
                      <a:pt x="119063" y="45720"/>
                      <a:pt x="119698" y="42863"/>
                      <a:pt x="121285" y="40957"/>
                    </a:cubicBezTo>
                    <a:cubicBezTo>
                      <a:pt x="122873" y="39052"/>
                      <a:pt x="124778" y="37465"/>
                      <a:pt x="127000" y="36513"/>
                    </a:cubicBezTo>
                    <a:cubicBezTo>
                      <a:pt x="129223" y="35560"/>
                      <a:pt x="131763" y="35242"/>
                      <a:pt x="134303" y="35242"/>
                    </a:cubicBezTo>
                    <a:cubicBezTo>
                      <a:pt x="134938" y="35242"/>
                      <a:pt x="135890" y="35242"/>
                      <a:pt x="136525" y="35242"/>
                    </a:cubicBezTo>
                    <a:cubicBezTo>
                      <a:pt x="137478" y="35242"/>
                      <a:pt x="138113" y="35560"/>
                      <a:pt x="138748" y="35560"/>
                    </a:cubicBezTo>
                    <a:lnTo>
                      <a:pt x="140018" y="21273"/>
                    </a:lnTo>
                    <a:cubicBezTo>
                      <a:pt x="139383" y="21273"/>
                      <a:pt x="138748" y="20955"/>
                      <a:pt x="137478" y="20955"/>
                    </a:cubicBezTo>
                    <a:cubicBezTo>
                      <a:pt x="136525" y="20955"/>
                      <a:pt x="135573" y="20955"/>
                      <a:pt x="134938" y="20955"/>
                    </a:cubicBezTo>
                    <a:cubicBezTo>
                      <a:pt x="130810" y="20638"/>
                      <a:pt x="127635" y="21590"/>
                      <a:pt x="124778" y="23813"/>
                    </a:cubicBezTo>
                    <a:moveTo>
                      <a:pt x="78105" y="64452"/>
                    </a:moveTo>
                    <a:cubicBezTo>
                      <a:pt x="76835" y="63500"/>
                      <a:pt x="76200" y="61913"/>
                      <a:pt x="76200" y="59690"/>
                    </a:cubicBezTo>
                    <a:lnTo>
                      <a:pt x="76200" y="33020"/>
                    </a:lnTo>
                    <a:lnTo>
                      <a:pt x="91758" y="33020"/>
                    </a:lnTo>
                    <a:lnTo>
                      <a:pt x="91758" y="21590"/>
                    </a:lnTo>
                    <a:lnTo>
                      <a:pt x="76200" y="21590"/>
                    </a:lnTo>
                    <a:lnTo>
                      <a:pt x="76200" y="9842"/>
                    </a:lnTo>
                    <a:lnTo>
                      <a:pt x="66675" y="9842"/>
                    </a:lnTo>
                    <a:lnTo>
                      <a:pt x="62230" y="21590"/>
                    </a:lnTo>
                    <a:lnTo>
                      <a:pt x="53975" y="26670"/>
                    </a:lnTo>
                    <a:lnTo>
                      <a:pt x="53975" y="33020"/>
                    </a:lnTo>
                    <a:lnTo>
                      <a:pt x="61278" y="33020"/>
                    </a:lnTo>
                    <a:lnTo>
                      <a:pt x="61278" y="59690"/>
                    </a:lnTo>
                    <a:cubicBezTo>
                      <a:pt x="61278" y="64452"/>
                      <a:pt x="61913" y="68263"/>
                      <a:pt x="63500" y="70802"/>
                    </a:cubicBezTo>
                    <a:cubicBezTo>
                      <a:pt x="65088" y="73342"/>
                      <a:pt x="66993" y="75248"/>
                      <a:pt x="69850" y="76517"/>
                    </a:cubicBezTo>
                    <a:cubicBezTo>
                      <a:pt x="72390" y="77470"/>
                      <a:pt x="75565" y="78105"/>
                      <a:pt x="78740" y="78105"/>
                    </a:cubicBezTo>
                    <a:cubicBezTo>
                      <a:pt x="81598" y="78105"/>
                      <a:pt x="84138" y="77788"/>
                      <a:pt x="86678" y="77470"/>
                    </a:cubicBezTo>
                    <a:cubicBezTo>
                      <a:pt x="89218" y="77152"/>
                      <a:pt x="91123" y="76517"/>
                      <a:pt x="92710" y="75565"/>
                    </a:cubicBezTo>
                    <a:lnTo>
                      <a:pt x="92710" y="64135"/>
                    </a:lnTo>
                    <a:cubicBezTo>
                      <a:pt x="91123" y="64770"/>
                      <a:pt x="89535" y="65088"/>
                      <a:pt x="87948" y="65405"/>
                    </a:cubicBezTo>
                    <a:cubicBezTo>
                      <a:pt x="86360" y="65723"/>
                      <a:pt x="84773" y="65723"/>
                      <a:pt x="83185" y="65723"/>
                    </a:cubicBezTo>
                    <a:cubicBezTo>
                      <a:pt x="80963" y="66040"/>
                      <a:pt x="79375" y="65723"/>
                      <a:pt x="78105" y="64452"/>
                    </a:cubicBezTo>
                    <a:moveTo>
                      <a:pt x="45403" y="47625"/>
                    </a:moveTo>
                    <a:cubicBezTo>
                      <a:pt x="44133" y="45085"/>
                      <a:pt x="41910" y="42863"/>
                      <a:pt x="39370" y="40957"/>
                    </a:cubicBezTo>
                    <a:cubicBezTo>
                      <a:pt x="36830" y="39052"/>
                      <a:pt x="33655" y="37148"/>
                      <a:pt x="29845" y="35560"/>
                    </a:cubicBezTo>
                    <a:cubicBezTo>
                      <a:pt x="25400" y="33338"/>
                      <a:pt x="21908" y="31432"/>
                      <a:pt x="19685" y="30163"/>
                    </a:cubicBezTo>
                    <a:cubicBezTo>
                      <a:pt x="17463" y="28575"/>
                      <a:pt x="16193" y="26670"/>
                      <a:pt x="16193" y="24130"/>
                    </a:cubicBezTo>
                    <a:cubicBezTo>
                      <a:pt x="16193" y="21907"/>
                      <a:pt x="16828" y="20320"/>
                      <a:pt x="18415" y="18732"/>
                    </a:cubicBezTo>
                    <a:cubicBezTo>
                      <a:pt x="20003" y="17463"/>
                      <a:pt x="22225" y="16827"/>
                      <a:pt x="25083" y="16827"/>
                    </a:cubicBezTo>
                    <a:cubicBezTo>
                      <a:pt x="27940" y="16827"/>
                      <a:pt x="30480" y="17145"/>
                      <a:pt x="33338" y="18098"/>
                    </a:cubicBezTo>
                    <a:cubicBezTo>
                      <a:pt x="35878" y="18732"/>
                      <a:pt x="39053" y="20002"/>
                      <a:pt x="42228" y="21273"/>
                    </a:cubicBezTo>
                    <a:lnTo>
                      <a:pt x="47308" y="9207"/>
                    </a:lnTo>
                    <a:cubicBezTo>
                      <a:pt x="43498" y="7620"/>
                      <a:pt x="40005" y="6350"/>
                      <a:pt x="36513" y="5398"/>
                    </a:cubicBezTo>
                    <a:cubicBezTo>
                      <a:pt x="33020" y="4445"/>
                      <a:pt x="29528" y="4127"/>
                      <a:pt x="25718" y="4127"/>
                    </a:cubicBezTo>
                    <a:cubicBezTo>
                      <a:pt x="18098" y="4127"/>
                      <a:pt x="12065" y="6032"/>
                      <a:pt x="7620" y="9525"/>
                    </a:cubicBezTo>
                    <a:cubicBezTo>
                      <a:pt x="3175" y="13017"/>
                      <a:pt x="953" y="18098"/>
                      <a:pt x="953" y="24765"/>
                    </a:cubicBezTo>
                    <a:cubicBezTo>
                      <a:pt x="953" y="27940"/>
                      <a:pt x="1588" y="30798"/>
                      <a:pt x="2540" y="33338"/>
                    </a:cubicBezTo>
                    <a:cubicBezTo>
                      <a:pt x="3810" y="35560"/>
                      <a:pt x="5080" y="37782"/>
                      <a:pt x="6985" y="39370"/>
                    </a:cubicBezTo>
                    <a:cubicBezTo>
                      <a:pt x="8890" y="40957"/>
                      <a:pt x="10795" y="42545"/>
                      <a:pt x="12700" y="43498"/>
                    </a:cubicBezTo>
                    <a:cubicBezTo>
                      <a:pt x="14605" y="44767"/>
                      <a:pt x="16510" y="45720"/>
                      <a:pt x="18098" y="46355"/>
                    </a:cubicBezTo>
                    <a:cubicBezTo>
                      <a:pt x="20955" y="47625"/>
                      <a:pt x="23178" y="48895"/>
                      <a:pt x="25400" y="49848"/>
                    </a:cubicBezTo>
                    <a:cubicBezTo>
                      <a:pt x="27623" y="51117"/>
                      <a:pt x="29210" y="52070"/>
                      <a:pt x="30480" y="53340"/>
                    </a:cubicBezTo>
                    <a:cubicBezTo>
                      <a:pt x="31750" y="54610"/>
                      <a:pt x="32385" y="56198"/>
                      <a:pt x="32385" y="58102"/>
                    </a:cubicBezTo>
                    <a:cubicBezTo>
                      <a:pt x="32385" y="60325"/>
                      <a:pt x="31433" y="62230"/>
                      <a:pt x="29845" y="63500"/>
                    </a:cubicBezTo>
                    <a:cubicBezTo>
                      <a:pt x="28258" y="64770"/>
                      <a:pt x="25718" y="65723"/>
                      <a:pt x="21908" y="65723"/>
                    </a:cubicBezTo>
                    <a:cubicBezTo>
                      <a:pt x="18098" y="65723"/>
                      <a:pt x="14605" y="65088"/>
                      <a:pt x="10795" y="63817"/>
                    </a:cubicBezTo>
                    <a:cubicBezTo>
                      <a:pt x="6985" y="62548"/>
                      <a:pt x="3493" y="61277"/>
                      <a:pt x="0" y="59690"/>
                    </a:cubicBezTo>
                    <a:lnTo>
                      <a:pt x="0" y="73977"/>
                    </a:lnTo>
                    <a:cubicBezTo>
                      <a:pt x="6033" y="76835"/>
                      <a:pt x="13018" y="78423"/>
                      <a:pt x="20638" y="78423"/>
                    </a:cubicBezTo>
                    <a:cubicBezTo>
                      <a:pt x="29210" y="78423"/>
                      <a:pt x="35878" y="76517"/>
                      <a:pt x="40323" y="72707"/>
                    </a:cubicBezTo>
                    <a:cubicBezTo>
                      <a:pt x="45085" y="68898"/>
                      <a:pt x="47308" y="63817"/>
                      <a:pt x="47308" y="57467"/>
                    </a:cubicBezTo>
                    <a:cubicBezTo>
                      <a:pt x="47308" y="53340"/>
                      <a:pt x="46673" y="50165"/>
                      <a:pt x="45403" y="47625"/>
                    </a:cubicBezTo>
                  </a:path>
                </a:pathLst>
              </a:custGeom>
              <a:grpFill/>
              <a:ln w="3175" cap="flat">
                <a:noFill/>
                <a:prstDash val="solid"/>
                <a:miter/>
              </a:ln>
            </p:spPr>
            <p:txBody>
              <a:bodyPr rtlCol="0" anchor="ctr"/>
              <a:lstStyle/>
              <a:p>
                <a:endParaRPr lang="en-GB">
                  <a:solidFill>
                    <a:srgbClr val="000000"/>
                  </a:solidFill>
                  <a:latin typeface="Verdana"/>
                </a:endParaRPr>
              </a:p>
            </p:txBody>
          </p:sp>
          <p:sp>
            <p:nvSpPr>
              <p:cNvPr id="38" name="Freeform: Shape 37">
                <a:extLst>
                  <a:ext uri="{FF2B5EF4-FFF2-40B4-BE49-F238E27FC236}">
                    <a16:creationId xmlns:a16="http://schemas.microsoft.com/office/drawing/2014/main" id="{6D4C9238-5633-4A9C-81ED-30DAFEDA2E83}"/>
                  </a:ext>
                </a:extLst>
              </p:cNvPr>
              <p:cNvSpPr/>
              <p:nvPr/>
            </p:nvSpPr>
            <p:spPr>
              <a:xfrm>
                <a:off x="6097905" y="1357630"/>
                <a:ext cx="1035050" cy="174625"/>
              </a:xfrm>
              <a:custGeom>
                <a:avLst/>
                <a:gdLst>
                  <a:gd name="connsiteX0" fmla="*/ 1013460 w 1035050"/>
                  <a:gd name="connsiteY0" fmla="*/ 59055 h 174625"/>
                  <a:gd name="connsiteX1" fmla="*/ 1018858 w 1035050"/>
                  <a:gd name="connsiteY1" fmla="*/ 77152 h 174625"/>
                  <a:gd name="connsiteX2" fmla="*/ 973773 w 1035050"/>
                  <a:gd name="connsiteY2" fmla="*/ 77152 h 174625"/>
                  <a:gd name="connsiteX3" fmla="*/ 981075 w 1035050"/>
                  <a:gd name="connsiteY3" fmla="*/ 58420 h 174625"/>
                  <a:gd name="connsiteX4" fmla="*/ 997267 w 1035050"/>
                  <a:gd name="connsiteY4" fmla="*/ 51752 h 174625"/>
                  <a:gd name="connsiteX5" fmla="*/ 1013460 w 1035050"/>
                  <a:gd name="connsiteY5" fmla="*/ 59055 h 174625"/>
                  <a:gd name="connsiteX6" fmla="*/ 974408 w 1035050"/>
                  <a:gd name="connsiteY6" fmla="*/ 43180 h 174625"/>
                  <a:gd name="connsiteX7" fmla="*/ 959167 w 1035050"/>
                  <a:gd name="connsiteY7" fmla="*/ 60325 h 174625"/>
                  <a:gd name="connsiteX8" fmla="*/ 953770 w 1035050"/>
                  <a:gd name="connsiteY8" fmla="*/ 87630 h 174625"/>
                  <a:gd name="connsiteX9" fmla="*/ 959802 w 1035050"/>
                  <a:gd name="connsiteY9" fmla="*/ 114618 h 174625"/>
                  <a:gd name="connsiteX10" fmla="*/ 976313 w 1035050"/>
                  <a:gd name="connsiteY10" fmla="*/ 131127 h 174625"/>
                  <a:gd name="connsiteX11" fmla="*/ 1000760 w 1035050"/>
                  <a:gd name="connsiteY11" fmla="*/ 136525 h 174625"/>
                  <a:gd name="connsiteX12" fmla="*/ 1018223 w 1035050"/>
                  <a:gd name="connsiteY12" fmla="*/ 134938 h 174625"/>
                  <a:gd name="connsiteX13" fmla="*/ 1032827 w 1035050"/>
                  <a:gd name="connsiteY13" fmla="*/ 130175 h 174625"/>
                  <a:gd name="connsiteX14" fmla="*/ 1032827 w 1035050"/>
                  <a:gd name="connsiteY14" fmla="*/ 114618 h 174625"/>
                  <a:gd name="connsiteX15" fmla="*/ 1017905 w 1035050"/>
                  <a:gd name="connsiteY15" fmla="*/ 119697 h 174625"/>
                  <a:gd name="connsiteX16" fmla="*/ 1001395 w 1035050"/>
                  <a:gd name="connsiteY16" fmla="*/ 121285 h 174625"/>
                  <a:gd name="connsiteX17" fmla="*/ 980758 w 1035050"/>
                  <a:gd name="connsiteY17" fmla="*/ 113347 h 174625"/>
                  <a:gd name="connsiteX18" fmla="*/ 973138 w 1035050"/>
                  <a:gd name="connsiteY18" fmla="*/ 90805 h 174625"/>
                  <a:gd name="connsiteX19" fmla="*/ 1037590 w 1035050"/>
                  <a:gd name="connsiteY19" fmla="*/ 90805 h 174625"/>
                  <a:gd name="connsiteX20" fmla="*/ 1037590 w 1035050"/>
                  <a:gd name="connsiteY20" fmla="*/ 80645 h 174625"/>
                  <a:gd name="connsiteX21" fmla="*/ 1026795 w 1035050"/>
                  <a:gd name="connsiteY21" fmla="*/ 48895 h 174625"/>
                  <a:gd name="connsiteX22" fmla="*/ 996950 w 1035050"/>
                  <a:gd name="connsiteY22" fmla="*/ 37147 h 174625"/>
                  <a:gd name="connsiteX23" fmla="*/ 974408 w 1035050"/>
                  <a:gd name="connsiteY23" fmla="*/ 43180 h 174625"/>
                  <a:gd name="connsiteX24" fmla="*/ 917575 w 1035050"/>
                  <a:gd name="connsiteY24" fmla="*/ 42863 h 174625"/>
                  <a:gd name="connsiteX25" fmla="*/ 905510 w 1035050"/>
                  <a:gd name="connsiteY25" fmla="*/ 56197 h 174625"/>
                  <a:gd name="connsiteX26" fmla="*/ 904875 w 1035050"/>
                  <a:gd name="connsiteY26" fmla="*/ 56197 h 174625"/>
                  <a:gd name="connsiteX27" fmla="*/ 902335 w 1035050"/>
                  <a:gd name="connsiteY27" fmla="*/ 39052 h 174625"/>
                  <a:gd name="connsiteX28" fmla="*/ 887413 w 1035050"/>
                  <a:gd name="connsiteY28" fmla="*/ 39052 h 174625"/>
                  <a:gd name="connsiteX29" fmla="*/ 887413 w 1035050"/>
                  <a:gd name="connsiteY29" fmla="*/ 134938 h 174625"/>
                  <a:gd name="connsiteX30" fmla="*/ 906145 w 1035050"/>
                  <a:gd name="connsiteY30" fmla="*/ 134938 h 174625"/>
                  <a:gd name="connsiteX31" fmla="*/ 906145 w 1035050"/>
                  <a:gd name="connsiteY31" fmla="*/ 84455 h 174625"/>
                  <a:gd name="connsiteX32" fmla="*/ 909955 w 1035050"/>
                  <a:gd name="connsiteY32" fmla="*/ 68263 h 174625"/>
                  <a:gd name="connsiteX33" fmla="*/ 920115 w 1035050"/>
                  <a:gd name="connsiteY33" fmla="*/ 58102 h 174625"/>
                  <a:gd name="connsiteX34" fmla="*/ 933767 w 1035050"/>
                  <a:gd name="connsiteY34" fmla="*/ 54610 h 174625"/>
                  <a:gd name="connsiteX35" fmla="*/ 943292 w 1035050"/>
                  <a:gd name="connsiteY35" fmla="*/ 55880 h 174625"/>
                  <a:gd name="connsiteX36" fmla="*/ 945198 w 1035050"/>
                  <a:gd name="connsiteY36" fmla="*/ 38418 h 174625"/>
                  <a:gd name="connsiteX37" fmla="*/ 934720 w 1035050"/>
                  <a:gd name="connsiteY37" fmla="*/ 37465 h 174625"/>
                  <a:gd name="connsiteX38" fmla="*/ 917575 w 1035050"/>
                  <a:gd name="connsiteY38" fmla="*/ 42863 h 174625"/>
                  <a:gd name="connsiteX39" fmla="*/ 839788 w 1035050"/>
                  <a:gd name="connsiteY39" fmla="*/ 97155 h 174625"/>
                  <a:gd name="connsiteX40" fmla="*/ 832485 w 1035050"/>
                  <a:gd name="connsiteY40" fmla="*/ 115888 h 174625"/>
                  <a:gd name="connsiteX41" fmla="*/ 814070 w 1035050"/>
                  <a:gd name="connsiteY41" fmla="*/ 122238 h 174625"/>
                  <a:gd name="connsiteX42" fmla="*/ 802640 w 1035050"/>
                  <a:gd name="connsiteY42" fmla="*/ 118745 h 174625"/>
                  <a:gd name="connsiteX43" fmla="*/ 798195 w 1035050"/>
                  <a:gd name="connsiteY43" fmla="*/ 107950 h 174625"/>
                  <a:gd name="connsiteX44" fmla="*/ 804545 w 1035050"/>
                  <a:gd name="connsiteY44" fmla="*/ 94932 h 174625"/>
                  <a:gd name="connsiteX45" fmla="*/ 827088 w 1035050"/>
                  <a:gd name="connsiteY45" fmla="*/ 89535 h 174625"/>
                  <a:gd name="connsiteX46" fmla="*/ 839788 w 1035050"/>
                  <a:gd name="connsiteY46" fmla="*/ 89218 h 174625"/>
                  <a:gd name="connsiteX47" fmla="*/ 839788 w 1035050"/>
                  <a:gd name="connsiteY47" fmla="*/ 97155 h 174625"/>
                  <a:gd name="connsiteX48" fmla="*/ 804227 w 1035050"/>
                  <a:gd name="connsiteY48" fmla="*/ 39688 h 174625"/>
                  <a:gd name="connsiteX49" fmla="*/ 788670 w 1035050"/>
                  <a:gd name="connsiteY49" fmla="*/ 45720 h 174625"/>
                  <a:gd name="connsiteX50" fmla="*/ 794702 w 1035050"/>
                  <a:gd name="connsiteY50" fmla="*/ 59372 h 174625"/>
                  <a:gd name="connsiteX51" fmla="*/ 807720 w 1035050"/>
                  <a:gd name="connsiteY51" fmla="*/ 54293 h 174625"/>
                  <a:gd name="connsiteX52" fmla="*/ 821690 w 1035050"/>
                  <a:gd name="connsiteY52" fmla="*/ 52070 h 174625"/>
                  <a:gd name="connsiteX53" fmla="*/ 835342 w 1035050"/>
                  <a:gd name="connsiteY53" fmla="*/ 56515 h 174625"/>
                  <a:gd name="connsiteX54" fmla="*/ 840105 w 1035050"/>
                  <a:gd name="connsiteY54" fmla="*/ 71438 h 174625"/>
                  <a:gd name="connsiteX55" fmla="*/ 840105 w 1035050"/>
                  <a:gd name="connsiteY55" fmla="*/ 76835 h 174625"/>
                  <a:gd name="connsiteX56" fmla="*/ 823595 w 1035050"/>
                  <a:gd name="connsiteY56" fmla="*/ 77470 h 174625"/>
                  <a:gd name="connsiteX57" fmla="*/ 789623 w 1035050"/>
                  <a:gd name="connsiteY57" fmla="*/ 85725 h 174625"/>
                  <a:gd name="connsiteX58" fmla="*/ 778510 w 1035050"/>
                  <a:gd name="connsiteY58" fmla="*/ 107950 h 174625"/>
                  <a:gd name="connsiteX59" fmla="*/ 787083 w 1035050"/>
                  <a:gd name="connsiteY59" fmla="*/ 129857 h 174625"/>
                  <a:gd name="connsiteX60" fmla="*/ 808673 w 1035050"/>
                  <a:gd name="connsiteY60" fmla="*/ 136843 h 174625"/>
                  <a:gd name="connsiteX61" fmla="*/ 827723 w 1035050"/>
                  <a:gd name="connsiteY61" fmla="*/ 133350 h 174625"/>
                  <a:gd name="connsiteX62" fmla="*/ 840740 w 1035050"/>
                  <a:gd name="connsiteY62" fmla="*/ 121920 h 174625"/>
                  <a:gd name="connsiteX63" fmla="*/ 841375 w 1035050"/>
                  <a:gd name="connsiteY63" fmla="*/ 121920 h 174625"/>
                  <a:gd name="connsiteX64" fmla="*/ 845185 w 1035050"/>
                  <a:gd name="connsiteY64" fmla="*/ 135255 h 174625"/>
                  <a:gd name="connsiteX65" fmla="*/ 858520 w 1035050"/>
                  <a:gd name="connsiteY65" fmla="*/ 135255 h 174625"/>
                  <a:gd name="connsiteX66" fmla="*/ 858520 w 1035050"/>
                  <a:gd name="connsiteY66" fmla="*/ 70485 h 174625"/>
                  <a:gd name="connsiteX67" fmla="*/ 849630 w 1035050"/>
                  <a:gd name="connsiteY67" fmla="*/ 45720 h 174625"/>
                  <a:gd name="connsiteX68" fmla="*/ 822642 w 1035050"/>
                  <a:gd name="connsiteY68" fmla="*/ 37782 h 174625"/>
                  <a:gd name="connsiteX69" fmla="*/ 804227 w 1035050"/>
                  <a:gd name="connsiteY69" fmla="*/ 39688 h 174625"/>
                  <a:gd name="connsiteX70" fmla="*/ 751523 w 1035050"/>
                  <a:gd name="connsiteY70" fmla="*/ 135255 h 174625"/>
                  <a:gd name="connsiteX71" fmla="*/ 762635 w 1035050"/>
                  <a:gd name="connsiteY71" fmla="*/ 130810 h 174625"/>
                  <a:gd name="connsiteX72" fmla="*/ 762635 w 1035050"/>
                  <a:gd name="connsiteY72" fmla="*/ 114300 h 174625"/>
                  <a:gd name="connsiteX73" fmla="*/ 751205 w 1035050"/>
                  <a:gd name="connsiteY73" fmla="*/ 119063 h 174625"/>
                  <a:gd name="connsiteX74" fmla="*/ 737235 w 1035050"/>
                  <a:gd name="connsiteY74" fmla="*/ 120968 h 174625"/>
                  <a:gd name="connsiteX75" fmla="*/ 718502 w 1035050"/>
                  <a:gd name="connsiteY75" fmla="*/ 112395 h 174625"/>
                  <a:gd name="connsiteX76" fmla="*/ 712152 w 1035050"/>
                  <a:gd name="connsiteY76" fmla="*/ 87630 h 174625"/>
                  <a:gd name="connsiteX77" fmla="*/ 738188 w 1035050"/>
                  <a:gd name="connsiteY77" fmla="*/ 53340 h 174625"/>
                  <a:gd name="connsiteX78" fmla="*/ 748983 w 1035050"/>
                  <a:gd name="connsiteY78" fmla="*/ 54927 h 174625"/>
                  <a:gd name="connsiteX79" fmla="*/ 759460 w 1035050"/>
                  <a:gd name="connsiteY79" fmla="*/ 58102 h 174625"/>
                  <a:gd name="connsiteX80" fmla="*/ 765175 w 1035050"/>
                  <a:gd name="connsiteY80" fmla="*/ 42863 h 174625"/>
                  <a:gd name="connsiteX81" fmla="*/ 753427 w 1035050"/>
                  <a:gd name="connsiteY81" fmla="*/ 39052 h 174625"/>
                  <a:gd name="connsiteX82" fmla="*/ 738505 w 1035050"/>
                  <a:gd name="connsiteY82" fmla="*/ 37465 h 174625"/>
                  <a:gd name="connsiteX83" fmla="*/ 715010 w 1035050"/>
                  <a:gd name="connsiteY83" fmla="*/ 42863 h 174625"/>
                  <a:gd name="connsiteX84" fmla="*/ 698817 w 1035050"/>
                  <a:gd name="connsiteY84" fmla="*/ 59055 h 174625"/>
                  <a:gd name="connsiteX85" fmla="*/ 693102 w 1035050"/>
                  <a:gd name="connsiteY85" fmla="*/ 87947 h 174625"/>
                  <a:gd name="connsiteX86" fmla="*/ 705167 w 1035050"/>
                  <a:gd name="connsiteY86" fmla="*/ 125095 h 174625"/>
                  <a:gd name="connsiteX87" fmla="*/ 737235 w 1035050"/>
                  <a:gd name="connsiteY87" fmla="*/ 136843 h 174625"/>
                  <a:gd name="connsiteX88" fmla="*/ 751523 w 1035050"/>
                  <a:gd name="connsiteY88" fmla="*/ 135255 h 174625"/>
                  <a:gd name="connsiteX89" fmla="*/ 581977 w 1035050"/>
                  <a:gd name="connsiteY89" fmla="*/ 134938 h 174625"/>
                  <a:gd name="connsiteX90" fmla="*/ 578167 w 1035050"/>
                  <a:gd name="connsiteY90" fmla="*/ 145097 h 174625"/>
                  <a:gd name="connsiteX91" fmla="*/ 570230 w 1035050"/>
                  <a:gd name="connsiteY91" fmla="*/ 157480 h 174625"/>
                  <a:gd name="connsiteX92" fmla="*/ 557213 w 1035050"/>
                  <a:gd name="connsiteY92" fmla="*/ 162243 h 174625"/>
                  <a:gd name="connsiteX93" fmla="*/ 551498 w 1035050"/>
                  <a:gd name="connsiteY93" fmla="*/ 161925 h 174625"/>
                  <a:gd name="connsiteX94" fmla="*/ 546735 w 1035050"/>
                  <a:gd name="connsiteY94" fmla="*/ 161290 h 174625"/>
                  <a:gd name="connsiteX95" fmla="*/ 546735 w 1035050"/>
                  <a:gd name="connsiteY95" fmla="*/ 176213 h 174625"/>
                  <a:gd name="connsiteX96" fmla="*/ 552133 w 1035050"/>
                  <a:gd name="connsiteY96" fmla="*/ 177165 h 174625"/>
                  <a:gd name="connsiteX97" fmla="*/ 559752 w 1035050"/>
                  <a:gd name="connsiteY97" fmla="*/ 177482 h 174625"/>
                  <a:gd name="connsiteX98" fmla="*/ 582295 w 1035050"/>
                  <a:gd name="connsiteY98" fmla="*/ 169545 h 174625"/>
                  <a:gd name="connsiteX99" fmla="*/ 595948 w 1035050"/>
                  <a:gd name="connsiteY99" fmla="*/ 147638 h 174625"/>
                  <a:gd name="connsiteX100" fmla="*/ 636905 w 1035050"/>
                  <a:gd name="connsiteY100" fmla="*/ 38735 h 174625"/>
                  <a:gd name="connsiteX101" fmla="*/ 616585 w 1035050"/>
                  <a:gd name="connsiteY101" fmla="*/ 38735 h 174625"/>
                  <a:gd name="connsiteX102" fmla="*/ 598170 w 1035050"/>
                  <a:gd name="connsiteY102" fmla="*/ 93345 h 174625"/>
                  <a:gd name="connsiteX103" fmla="*/ 594042 w 1035050"/>
                  <a:gd name="connsiteY103" fmla="*/ 106045 h 174625"/>
                  <a:gd name="connsiteX104" fmla="*/ 591185 w 1035050"/>
                  <a:gd name="connsiteY104" fmla="*/ 116840 h 174625"/>
                  <a:gd name="connsiteX105" fmla="*/ 590550 w 1035050"/>
                  <a:gd name="connsiteY105" fmla="*/ 116840 h 174625"/>
                  <a:gd name="connsiteX106" fmla="*/ 588010 w 1035050"/>
                  <a:gd name="connsiteY106" fmla="*/ 105410 h 174625"/>
                  <a:gd name="connsiteX107" fmla="*/ 583883 w 1035050"/>
                  <a:gd name="connsiteY107" fmla="*/ 93345 h 174625"/>
                  <a:gd name="connsiteX108" fmla="*/ 563880 w 1035050"/>
                  <a:gd name="connsiteY108" fmla="*/ 39052 h 174625"/>
                  <a:gd name="connsiteX109" fmla="*/ 543560 w 1035050"/>
                  <a:gd name="connsiteY109" fmla="*/ 39052 h 174625"/>
                  <a:gd name="connsiteX110" fmla="*/ 581977 w 1035050"/>
                  <a:gd name="connsiteY110" fmla="*/ 134938 h 174625"/>
                  <a:gd name="connsiteX111" fmla="*/ 514667 w 1035050"/>
                  <a:gd name="connsiteY111" fmla="*/ 117793 h 174625"/>
                  <a:gd name="connsiteX112" fmla="*/ 510858 w 1035050"/>
                  <a:gd name="connsiteY112" fmla="*/ 106363 h 174625"/>
                  <a:gd name="connsiteX113" fmla="*/ 510858 w 1035050"/>
                  <a:gd name="connsiteY113" fmla="*/ 53657 h 174625"/>
                  <a:gd name="connsiteX114" fmla="*/ 538163 w 1035050"/>
                  <a:gd name="connsiteY114" fmla="*/ 53657 h 174625"/>
                  <a:gd name="connsiteX115" fmla="*/ 538163 w 1035050"/>
                  <a:gd name="connsiteY115" fmla="*/ 39370 h 174625"/>
                  <a:gd name="connsiteX116" fmla="*/ 510858 w 1035050"/>
                  <a:gd name="connsiteY116" fmla="*/ 39370 h 174625"/>
                  <a:gd name="connsiteX117" fmla="*/ 510858 w 1035050"/>
                  <a:gd name="connsiteY117" fmla="*/ 17780 h 174625"/>
                  <a:gd name="connsiteX118" fmla="*/ 499427 w 1035050"/>
                  <a:gd name="connsiteY118" fmla="*/ 17780 h 174625"/>
                  <a:gd name="connsiteX119" fmla="*/ 492760 w 1035050"/>
                  <a:gd name="connsiteY119" fmla="*/ 38100 h 174625"/>
                  <a:gd name="connsiteX120" fmla="*/ 478790 w 1035050"/>
                  <a:gd name="connsiteY120" fmla="*/ 45085 h 174625"/>
                  <a:gd name="connsiteX121" fmla="*/ 478790 w 1035050"/>
                  <a:gd name="connsiteY121" fmla="*/ 53657 h 174625"/>
                  <a:gd name="connsiteX122" fmla="*/ 492125 w 1035050"/>
                  <a:gd name="connsiteY122" fmla="*/ 53657 h 174625"/>
                  <a:gd name="connsiteX123" fmla="*/ 492125 w 1035050"/>
                  <a:gd name="connsiteY123" fmla="*/ 106680 h 174625"/>
                  <a:gd name="connsiteX124" fmla="*/ 495935 w 1035050"/>
                  <a:gd name="connsiteY124" fmla="*/ 125095 h 174625"/>
                  <a:gd name="connsiteX125" fmla="*/ 506413 w 1035050"/>
                  <a:gd name="connsiteY125" fmla="*/ 134302 h 174625"/>
                  <a:gd name="connsiteX126" fmla="*/ 520700 w 1035050"/>
                  <a:gd name="connsiteY126" fmla="*/ 136843 h 174625"/>
                  <a:gd name="connsiteX127" fmla="*/ 530860 w 1035050"/>
                  <a:gd name="connsiteY127" fmla="*/ 135890 h 174625"/>
                  <a:gd name="connsiteX128" fmla="*/ 539115 w 1035050"/>
                  <a:gd name="connsiteY128" fmla="*/ 133350 h 174625"/>
                  <a:gd name="connsiteX129" fmla="*/ 539115 w 1035050"/>
                  <a:gd name="connsiteY129" fmla="*/ 119063 h 174625"/>
                  <a:gd name="connsiteX130" fmla="*/ 524827 w 1035050"/>
                  <a:gd name="connsiteY130" fmla="*/ 121285 h 174625"/>
                  <a:gd name="connsiteX131" fmla="*/ 514667 w 1035050"/>
                  <a:gd name="connsiteY131" fmla="*/ 117793 h 174625"/>
                  <a:gd name="connsiteX132" fmla="*/ 441960 w 1035050"/>
                  <a:gd name="connsiteY132" fmla="*/ 134938 h 174625"/>
                  <a:gd name="connsiteX133" fmla="*/ 460692 w 1035050"/>
                  <a:gd name="connsiteY133" fmla="*/ 134938 h 174625"/>
                  <a:gd name="connsiteX134" fmla="*/ 460692 w 1035050"/>
                  <a:gd name="connsiteY134" fmla="*/ 39052 h 174625"/>
                  <a:gd name="connsiteX135" fmla="*/ 441960 w 1035050"/>
                  <a:gd name="connsiteY135" fmla="*/ 39052 h 174625"/>
                  <a:gd name="connsiteX136" fmla="*/ 441960 w 1035050"/>
                  <a:gd name="connsiteY136" fmla="*/ 134938 h 174625"/>
                  <a:gd name="connsiteX137" fmla="*/ 443865 w 1035050"/>
                  <a:gd name="connsiteY137" fmla="*/ 5080 h 174625"/>
                  <a:gd name="connsiteX138" fmla="*/ 440690 w 1035050"/>
                  <a:gd name="connsiteY138" fmla="*/ 13335 h 174625"/>
                  <a:gd name="connsiteX139" fmla="*/ 443865 w 1035050"/>
                  <a:gd name="connsiteY139" fmla="*/ 21590 h 174625"/>
                  <a:gd name="connsiteX140" fmla="*/ 451485 w 1035050"/>
                  <a:gd name="connsiteY140" fmla="*/ 24130 h 174625"/>
                  <a:gd name="connsiteX141" fmla="*/ 459105 w 1035050"/>
                  <a:gd name="connsiteY141" fmla="*/ 21590 h 174625"/>
                  <a:gd name="connsiteX142" fmla="*/ 462280 w 1035050"/>
                  <a:gd name="connsiteY142" fmla="*/ 13335 h 174625"/>
                  <a:gd name="connsiteX143" fmla="*/ 459105 w 1035050"/>
                  <a:gd name="connsiteY143" fmla="*/ 5080 h 174625"/>
                  <a:gd name="connsiteX144" fmla="*/ 451485 w 1035050"/>
                  <a:gd name="connsiteY144" fmla="*/ 2540 h 174625"/>
                  <a:gd name="connsiteX145" fmla="*/ 443865 w 1035050"/>
                  <a:gd name="connsiteY145" fmla="*/ 5080 h 174625"/>
                  <a:gd name="connsiteX146" fmla="*/ 415925 w 1035050"/>
                  <a:gd name="connsiteY146" fmla="*/ 94932 h 174625"/>
                  <a:gd name="connsiteX147" fmla="*/ 406083 w 1035050"/>
                  <a:gd name="connsiteY147" fmla="*/ 86043 h 174625"/>
                  <a:gd name="connsiteX148" fmla="*/ 391160 w 1035050"/>
                  <a:gd name="connsiteY148" fmla="*/ 79057 h 174625"/>
                  <a:gd name="connsiteX149" fmla="*/ 376873 w 1035050"/>
                  <a:gd name="connsiteY149" fmla="*/ 73025 h 174625"/>
                  <a:gd name="connsiteX150" fmla="*/ 369888 w 1035050"/>
                  <a:gd name="connsiteY150" fmla="*/ 67945 h 174625"/>
                  <a:gd name="connsiteX151" fmla="*/ 367983 w 1035050"/>
                  <a:gd name="connsiteY151" fmla="*/ 62230 h 174625"/>
                  <a:gd name="connsiteX152" fmla="*/ 385445 w 1035050"/>
                  <a:gd name="connsiteY152" fmla="*/ 52070 h 174625"/>
                  <a:gd name="connsiteX153" fmla="*/ 398780 w 1035050"/>
                  <a:gd name="connsiteY153" fmla="*/ 53975 h 174625"/>
                  <a:gd name="connsiteX154" fmla="*/ 411480 w 1035050"/>
                  <a:gd name="connsiteY154" fmla="*/ 58420 h 174625"/>
                  <a:gd name="connsiteX155" fmla="*/ 417830 w 1035050"/>
                  <a:gd name="connsiteY155" fmla="*/ 44132 h 174625"/>
                  <a:gd name="connsiteX156" fmla="*/ 402908 w 1035050"/>
                  <a:gd name="connsiteY156" fmla="*/ 39052 h 174625"/>
                  <a:gd name="connsiteX157" fmla="*/ 386398 w 1035050"/>
                  <a:gd name="connsiteY157" fmla="*/ 37147 h 174625"/>
                  <a:gd name="connsiteX158" fmla="*/ 359728 w 1035050"/>
                  <a:gd name="connsiteY158" fmla="*/ 43815 h 174625"/>
                  <a:gd name="connsiteX159" fmla="*/ 349567 w 1035050"/>
                  <a:gd name="connsiteY159" fmla="*/ 62865 h 174625"/>
                  <a:gd name="connsiteX160" fmla="*/ 353060 w 1035050"/>
                  <a:gd name="connsiteY160" fmla="*/ 75882 h 174625"/>
                  <a:gd name="connsiteX161" fmla="*/ 362903 w 1035050"/>
                  <a:gd name="connsiteY161" fmla="*/ 84772 h 174625"/>
                  <a:gd name="connsiteX162" fmla="*/ 378460 w 1035050"/>
                  <a:gd name="connsiteY162" fmla="*/ 92075 h 174625"/>
                  <a:gd name="connsiteX163" fmla="*/ 392748 w 1035050"/>
                  <a:gd name="connsiteY163" fmla="*/ 98425 h 174625"/>
                  <a:gd name="connsiteX164" fmla="*/ 399415 w 1035050"/>
                  <a:gd name="connsiteY164" fmla="*/ 103822 h 174625"/>
                  <a:gd name="connsiteX165" fmla="*/ 401320 w 1035050"/>
                  <a:gd name="connsiteY165" fmla="*/ 109538 h 174625"/>
                  <a:gd name="connsiteX166" fmla="*/ 396558 w 1035050"/>
                  <a:gd name="connsiteY166" fmla="*/ 118745 h 174625"/>
                  <a:gd name="connsiteX167" fmla="*/ 381317 w 1035050"/>
                  <a:gd name="connsiteY167" fmla="*/ 122238 h 174625"/>
                  <a:gd name="connsiteX168" fmla="*/ 364808 w 1035050"/>
                  <a:gd name="connsiteY168" fmla="*/ 119697 h 174625"/>
                  <a:gd name="connsiteX169" fmla="*/ 350203 w 1035050"/>
                  <a:gd name="connsiteY169" fmla="*/ 114300 h 174625"/>
                  <a:gd name="connsiteX170" fmla="*/ 350203 w 1035050"/>
                  <a:gd name="connsiteY170" fmla="*/ 130810 h 174625"/>
                  <a:gd name="connsiteX171" fmla="*/ 363538 w 1035050"/>
                  <a:gd name="connsiteY171" fmla="*/ 135255 h 174625"/>
                  <a:gd name="connsiteX172" fmla="*/ 381000 w 1035050"/>
                  <a:gd name="connsiteY172" fmla="*/ 136525 h 174625"/>
                  <a:gd name="connsiteX173" fmla="*/ 409575 w 1035050"/>
                  <a:gd name="connsiteY173" fmla="*/ 129222 h 174625"/>
                  <a:gd name="connsiteX174" fmla="*/ 419735 w 1035050"/>
                  <a:gd name="connsiteY174" fmla="*/ 107632 h 174625"/>
                  <a:gd name="connsiteX175" fmla="*/ 415925 w 1035050"/>
                  <a:gd name="connsiteY175" fmla="*/ 94932 h 174625"/>
                  <a:gd name="connsiteX176" fmla="*/ 307975 w 1035050"/>
                  <a:gd name="connsiteY176" fmla="*/ 59055 h 174625"/>
                  <a:gd name="connsiteX177" fmla="*/ 313373 w 1035050"/>
                  <a:gd name="connsiteY177" fmla="*/ 77152 h 174625"/>
                  <a:gd name="connsiteX178" fmla="*/ 268288 w 1035050"/>
                  <a:gd name="connsiteY178" fmla="*/ 77152 h 174625"/>
                  <a:gd name="connsiteX179" fmla="*/ 275590 w 1035050"/>
                  <a:gd name="connsiteY179" fmla="*/ 58420 h 174625"/>
                  <a:gd name="connsiteX180" fmla="*/ 291783 w 1035050"/>
                  <a:gd name="connsiteY180" fmla="*/ 51752 h 174625"/>
                  <a:gd name="connsiteX181" fmla="*/ 307975 w 1035050"/>
                  <a:gd name="connsiteY181" fmla="*/ 59055 h 174625"/>
                  <a:gd name="connsiteX182" fmla="*/ 269240 w 1035050"/>
                  <a:gd name="connsiteY182" fmla="*/ 43180 h 174625"/>
                  <a:gd name="connsiteX183" fmla="*/ 254000 w 1035050"/>
                  <a:gd name="connsiteY183" fmla="*/ 60325 h 174625"/>
                  <a:gd name="connsiteX184" fmla="*/ 248603 w 1035050"/>
                  <a:gd name="connsiteY184" fmla="*/ 87630 h 174625"/>
                  <a:gd name="connsiteX185" fmla="*/ 254635 w 1035050"/>
                  <a:gd name="connsiteY185" fmla="*/ 114618 h 174625"/>
                  <a:gd name="connsiteX186" fmla="*/ 271145 w 1035050"/>
                  <a:gd name="connsiteY186" fmla="*/ 131127 h 174625"/>
                  <a:gd name="connsiteX187" fmla="*/ 295592 w 1035050"/>
                  <a:gd name="connsiteY187" fmla="*/ 136525 h 174625"/>
                  <a:gd name="connsiteX188" fmla="*/ 313055 w 1035050"/>
                  <a:gd name="connsiteY188" fmla="*/ 134938 h 174625"/>
                  <a:gd name="connsiteX189" fmla="*/ 327660 w 1035050"/>
                  <a:gd name="connsiteY189" fmla="*/ 130175 h 174625"/>
                  <a:gd name="connsiteX190" fmla="*/ 327660 w 1035050"/>
                  <a:gd name="connsiteY190" fmla="*/ 114618 h 174625"/>
                  <a:gd name="connsiteX191" fmla="*/ 312738 w 1035050"/>
                  <a:gd name="connsiteY191" fmla="*/ 119697 h 174625"/>
                  <a:gd name="connsiteX192" fmla="*/ 296228 w 1035050"/>
                  <a:gd name="connsiteY192" fmla="*/ 121285 h 174625"/>
                  <a:gd name="connsiteX193" fmla="*/ 275590 w 1035050"/>
                  <a:gd name="connsiteY193" fmla="*/ 113347 h 174625"/>
                  <a:gd name="connsiteX194" fmla="*/ 267970 w 1035050"/>
                  <a:gd name="connsiteY194" fmla="*/ 90805 h 174625"/>
                  <a:gd name="connsiteX195" fmla="*/ 332423 w 1035050"/>
                  <a:gd name="connsiteY195" fmla="*/ 90805 h 174625"/>
                  <a:gd name="connsiteX196" fmla="*/ 332423 w 1035050"/>
                  <a:gd name="connsiteY196" fmla="*/ 80645 h 174625"/>
                  <a:gd name="connsiteX197" fmla="*/ 321628 w 1035050"/>
                  <a:gd name="connsiteY197" fmla="*/ 48895 h 174625"/>
                  <a:gd name="connsiteX198" fmla="*/ 291783 w 1035050"/>
                  <a:gd name="connsiteY198" fmla="*/ 37147 h 174625"/>
                  <a:gd name="connsiteX199" fmla="*/ 269240 w 1035050"/>
                  <a:gd name="connsiteY199" fmla="*/ 43180 h 174625"/>
                  <a:gd name="connsiteX200" fmla="*/ 210820 w 1035050"/>
                  <a:gd name="connsiteY200" fmla="*/ 86677 h 174625"/>
                  <a:gd name="connsiteX201" fmla="*/ 205105 w 1035050"/>
                  <a:gd name="connsiteY201" fmla="*/ 112395 h 174625"/>
                  <a:gd name="connsiteX202" fmla="*/ 187642 w 1035050"/>
                  <a:gd name="connsiteY202" fmla="*/ 121285 h 174625"/>
                  <a:gd name="connsiteX203" fmla="*/ 167958 w 1035050"/>
                  <a:gd name="connsiteY203" fmla="*/ 112395 h 174625"/>
                  <a:gd name="connsiteX204" fmla="*/ 162560 w 1035050"/>
                  <a:gd name="connsiteY204" fmla="*/ 86995 h 174625"/>
                  <a:gd name="connsiteX205" fmla="*/ 162560 w 1035050"/>
                  <a:gd name="connsiteY205" fmla="*/ 85725 h 174625"/>
                  <a:gd name="connsiteX206" fmla="*/ 167958 w 1035050"/>
                  <a:gd name="connsiteY206" fmla="*/ 60960 h 174625"/>
                  <a:gd name="connsiteX207" fmla="*/ 187008 w 1035050"/>
                  <a:gd name="connsiteY207" fmla="*/ 53022 h 174625"/>
                  <a:gd name="connsiteX208" fmla="*/ 210820 w 1035050"/>
                  <a:gd name="connsiteY208" fmla="*/ 86677 h 174625"/>
                  <a:gd name="connsiteX209" fmla="*/ 143828 w 1035050"/>
                  <a:gd name="connsiteY209" fmla="*/ 0 h 174625"/>
                  <a:gd name="connsiteX210" fmla="*/ 143828 w 1035050"/>
                  <a:gd name="connsiteY210" fmla="*/ 135255 h 174625"/>
                  <a:gd name="connsiteX211" fmla="*/ 157798 w 1035050"/>
                  <a:gd name="connsiteY211" fmla="*/ 135255 h 174625"/>
                  <a:gd name="connsiteX212" fmla="*/ 161290 w 1035050"/>
                  <a:gd name="connsiteY212" fmla="*/ 123507 h 174625"/>
                  <a:gd name="connsiteX213" fmla="*/ 162560 w 1035050"/>
                  <a:gd name="connsiteY213" fmla="*/ 123507 h 174625"/>
                  <a:gd name="connsiteX214" fmla="*/ 173355 w 1035050"/>
                  <a:gd name="connsiteY214" fmla="*/ 133032 h 174625"/>
                  <a:gd name="connsiteX215" fmla="*/ 191135 w 1035050"/>
                  <a:gd name="connsiteY215" fmla="*/ 137160 h 174625"/>
                  <a:gd name="connsiteX216" fmla="*/ 219075 w 1035050"/>
                  <a:gd name="connsiteY216" fmla="*/ 124777 h 174625"/>
                  <a:gd name="connsiteX217" fmla="*/ 229870 w 1035050"/>
                  <a:gd name="connsiteY217" fmla="*/ 87630 h 174625"/>
                  <a:gd name="connsiteX218" fmla="*/ 219392 w 1035050"/>
                  <a:gd name="connsiteY218" fmla="*/ 50800 h 174625"/>
                  <a:gd name="connsiteX219" fmla="*/ 191453 w 1035050"/>
                  <a:gd name="connsiteY219" fmla="*/ 38418 h 174625"/>
                  <a:gd name="connsiteX220" fmla="*/ 173355 w 1035050"/>
                  <a:gd name="connsiteY220" fmla="*/ 42545 h 174625"/>
                  <a:gd name="connsiteX221" fmla="*/ 162242 w 1035050"/>
                  <a:gd name="connsiteY221" fmla="*/ 52705 h 174625"/>
                  <a:gd name="connsiteX222" fmla="*/ 161290 w 1035050"/>
                  <a:gd name="connsiteY222" fmla="*/ 52705 h 174625"/>
                  <a:gd name="connsiteX223" fmla="*/ 161925 w 1035050"/>
                  <a:gd name="connsiteY223" fmla="*/ 44450 h 174625"/>
                  <a:gd name="connsiteX224" fmla="*/ 162242 w 1035050"/>
                  <a:gd name="connsiteY224" fmla="*/ 33338 h 174625"/>
                  <a:gd name="connsiteX225" fmla="*/ 162242 w 1035050"/>
                  <a:gd name="connsiteY225" fmla="*/ 952 h 174625"/>
                  <a:gd name="connsiteX226" fmla="*/ 143828 w 1035050"/>
                  <a:gd name="connsiteY226" fmla="*/ 952 h 174625"/>
                  <a:gd name="connsiteX227" fmla="*/ 29845 w 1035050"/>
                  <a:gd name="connsiteY227" fmla="*/ 35560 h 174625"/>
                  <a:gd name="connsiteX228" fmla="*/ 59690 w 1035050"/>
                  <a:gd name="connsiteY228" fmla="*/ 22543 h 174625"/>
                  <a:gd name="connsiteX229" fmla="*/ 88900 w 1035050"/>
                  <a:gd name="connsiteY229" fmla="*/ 35560 h 174625"/>
                  <a:gd name="connsiteX230" fmla="*/ 98108 w 1035050"/>
                  <a:gd name="connsiteY230" fmla="*/ 71438 h 174625"/>
                  <a:gd name="connsiteX231" fmla="*/ 88900 w 1035050"/>
                  <a:gd name="connsiteY231" fmla="*/ 107315 h 174625"/>
                  <a:gd name="connsiteX232" fmla="*/ 59373 w 1035050"/>
                  <a:gd name="connsiteY232" fmla="*/ 120332 h 174625"/>
                  <a:gd name="connsiteX233" fmla="*/ 29845 w 1035050"/>
                  <a:gd name="connsiteY233" fmla="*/ 107315 h 174625"/>
                  <a:gd name="connsiteX234" fmla="*/ 20320 w 1035050"/>
                  <a:gd name="connsiteY234" fmla="*/ 71438 h 174625"/>
                  <a:gd name="connsiteX235" fmla="*/ 29845 w 1035050"/>
                  <a:gd name="connsiteY235" fmla="*/ 35560 h 174625"/>
                  <a:gd name="connsiteX236" fmla="*/ 111760 w 1035050"/>
                  <a:gd name="connsiteY236" fmla="*/ 36830 h 174625"/>
                  <a:gd name="connsiteX237" fmla="*/ 92075 w 1035050"/>
                  <a:gd name="connsiteY237" fmla="*/ 13970 h 174625"/>
                  <a:gd name="connsiteX238" fmla="*/ 59373 w 1035050"/>
                  <a:gd name="connsiteY238" fmla="*/ 6032 h 174625"/>
                  <a:gd name="connsiteX239" fmla="*/ 26035 w 1035050"/>
                  <a:gd name="connsiteY239" fmla="*/ 13970 h 174625"/>
                  <a:gd name="connsiteX240" fmla="*/ 6350 w 1035050"/>
                  <a:gd name="connsiteY240" fmla="*/ 36830 h 174625"/>
                  <a:gd name="connsiteX241" fmla="*/ 0 w 1035050"/>
                  <a:gd name="connsiteY241" fmla="*/ 71120 h 174625"/>
                  <a:gd name="connsiteX242" fmla="*/ 6350 w 1035050"/>
                  <a:gd name="connsiteY242" fmla="*/ 105727 h 174625"/>
                  <a:gd name="connsiteX243" fmla="*/ 26035 w 1035050"/>
                  <a:gd name="connsiteY243" fmla="*/ 128588 h 174625"/>
                  <a:gd name="connsiteX244" fmla="*/ 59373 w 1035050"/>
                  <a:gd name="connsiteY244" fmla="*/ 136843 h 174625"/>
                  <a:gd name="connsiteX245" fmla="*/ 92075 w 1035050"/>
                  <a:gd name="connsiteY245" fmla="*/ 128588 h 174625"/>
                  <a:gd name="connsiteX246" fmla="*/ 111760 w 1035050"/>
                  <a:gd name="connsiteY246" fmla="*/ 105727 h 174625"/>
                  <a:gd name="connsiteX247" fmla="*/ 118428 w 1035050"/>
                  <a:gd name="connsiteY247" fmla="*/ 71438 h 174625"/>
                  <a:gd name="connsiteX248" fmla="*/ 111760 w 1035050"/>
                  <a:gd name="connsiteY248" fmla="*/ 36830 h 17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1035050" h="174625">
                    <a:moveTo>
                      <a:pt x="1013460" y="59055"/>
                    </a:moveTo>
                    <a:cubicBezTo>
                      <a:pt x="1016952" y="63818"/>
                      <a:pt x="1018858" y="69850"/>
                      <a:pt x="1018858" y="77152"/>
                    </a:cubicBezTo>
                    <a:lnTo>
                      <a:pt x="973773" y="77152"/>
                    </a:lnTo>
                    <a:cubicBezTo>
                      <a:pt x="974408" y="69215"/>
                      <a:pt x="976948" y="62865"/>
                      <a:pt x="981075" y="58420"/>
                    </a:cubicBezTo>
                    <a:cubicBezTo>
                      <a:pt x="985202" y="53975"/>
                      <a:pt x="990600" y="51752"/>
                      <a:pt x="997267" y="51752"/>
                    </a:cubicBezTo>
                    <a:cubicBezTo>
                      <a:pt x="1004570" y="52070"/>
                      <a:pt x="1009967" y="54293"/>
                      <a:pt x="1013460" y="59055"/>
                    </a:cubicBezTo>
                    <a:moveTo>
                      <a:pt x="974408" y="43180"/>
                    </a:moveTo>
                    <a:cubicBezTo>
                      <a:pt x="968058" y="47307"/>
                      <a:pt x="962977" y="53022"/>
                      <a:pt x="959167" y="60325"/>
                    </a:cubicBezTo>
                    <a:cubicBezTo>
                      <a:pt x="955675" y="67945"/>
                      <a:pt x="953770" y="76835"/>
                      <a:pt x="953770" y="87630"/>
                    </a:cubicBezTo>
                    <a:cubicBezTo>
                      <a:pt x="953770" y="98425"/>
                      <a:pt x="955675" y="107315"/>
                      <a:pt x="959802" y="114618"/>
                    </a:cubicBezTo>
                    <a:cubicBezTo>
                      <a:pt x="963613" y="121920"/>
                      <a:pt x="969327" y="127318"/>
                      <a:pt x="976313" y="131127"/>
                    </a:cubicBezTo>
                    <a:cubicBezTo>
                      <a:pt x="983298" y="134938"/>
                      <a:pt x="991552" y="136525"/>
                      <a:pt x="1000760" y="136525"/>
                    </a:cubicBezTo>
                    <a:cubicBezTo>
                      <a:pt x="1007427" y="136525"/>
                      <a:pt x="1013460" y="135890"/>
                      <a:pt x="1018223" y="134938"/>
                    </a:cubicBezTo>
                    <a:cubicBezTo>
                      <a:pt x="1022985" y="133985"/>
                      <a:pt x="1028065" y="132397"/>
                      <a:pt x="1032827" y="130175"/>
                    </a:cubicBezTo>
                    <a:lnTo>
                      <a:pt x="1032827" y="114618"/>
                    </a:lnTo>
                    <a:cubicBezTo>
                      <a:pt x="1027748" y="116840"/>
                      <a:pt x="1022667" y="118427"/>
                      <a:pt x="1017905" y="119697"/>
                    </a:cubicBezTo>
                    <a:cubicBezTo>
                      <a:pt x="1013142" y="120968"/>
                      <a:pt x="1007745" y="121285"/>
                      <a:pt x="1001395" y="121285"/>
                    </a:cubicBezTo>
                    <a:cubicBezTo>
                      <a:pt x="992505" y="121285"/>
                      <a:pt x="985520" y="118745"/>
                      <a:pt x="980758" y="113347"/>
                    </a:cubicBezTo>
                    <a:cubicBezTo>
                      <a:pt x="975677" y="108268"/>
                      <a:pt x="973138" y="100647"/>
                      <a:pt x="973138" y="90805"/>
                    </a:cubicBezTo>
                    <a:lnTo>
                      <a:pt x="1037590" y="90805"/>
                    </a:lnTo>
                    <a:lnTo>
                      <a:pt x="1037590" y="80645"/>
                    </a:lnTo>
                    <a:cubicBezTo>
                      <a:pt x="1037590" y="67310"/>
                      <a:pt x="1034098" y="56515"/>
                      <a:pt x="1026795" y="48895"/>
                    </a:cubicBezTo>
                    <a:cubicBezTo>
                      <a:pt x="1019492" y="41275"/>
                      <a:pt x="1009650" y="37147"/>
                      <a:pt x="996950" y="37147"/>
                    </a:cubicBezTo>
                    <a:cubicBezTo>
                      <a:pt x="988377" y="37465"/>
                      <a:pt x="980758" y="39370"/>
                      <a:pt x="974408" y="43180"/>
                    </a:cubicBezTo>
                    <a:moveTo>
                      <a:pt x="917575" y="42863"/>
                    </a:moveTo>
                    <a:cubicBezTo>
                      <a:pt x="912495" y="46672"/>
                      <a:pt x="908685" y="51118"/>
                      <a:pt x="905510" y="56197"/>
                    </a:cubicBezTo>
                    <a:lnTo>
                      <a:pt x="904875" y="56197"/>
                    </a:lnTo>
                    <a:lnTo>
                      <a:pt x="902335" y="39052"/>
                    </a:lnTo>
                    <a:lnTo>
                      <a:pt x="887413" y="39052"/>
                    </a:lnTo>
                    <a:lnTo>
                      <a:pt x="887413" y="134938"/>
                    </a:lnTo>
                    <a:lnTo>
                      <a:pt x="906145" y="134938"/>
                    </a:lnTo>
                    <a:lnTo>
                      <a:pt x="906145" y="84455"/>
                    </a:lnTo>
                    <a:cubicBezTo>
                      <a:pt x="906145" y="78105"/>
                      <a:pt x="907415" y="72707"/>
                      <a:pt x="909955" y="68263"/>
                    </a:cubicBezTo>
                    <a:cubicBezTo>
                      <a:pt x="912495" y="63818"/>
                      <a:pt x="915988" y="60325"/>
                      <a:pt x="920115" y="58102"/>
                    </a:cubicBezTo>
                    <a:cubicBezTo>
                      <a:pt x="924242" y="55880"/>
                      <a:pt x="928688" y="54610"/>
                      <a:pt x="933767" y="54610"/>
                    </a:cubicBezTo>
                    <a:cubicBezTo>
                      <a:pt x="936942" y="54610"/>
                      <a:pt x="940435" y="54927"/>
                      <a:pt x="943292" y="55880"/>
                    </a:cubicBezTo>
                    <a:lnTo>
                      <a:pt x="945198" y="38418"/>
                    </a:lnTo>
                    <a:cubicBezTo>
                      <a:pt x="942023" y="37782"/>
                      <a:pt x="938530" y="37465"/>
                      <a:pt x="934720" y="37465"/>
                    </a:cubicBezTo>
                    <a:cubicBezTo>
                      <a:pt x="928052" y="37465"/>
                      <a:pt x="922338" y="39370"/>
                      <a:pt x="917575" y="42863"/>
                    </a:cubicBezTo>
                    <a:moveTo>
                      <a:pt x="839788" y="97155"/>
                    </a:moveTo>
                    <a:cubicBezTo>
                      <a:pt x="839788" y="105410"/>
                      <a:pt x="837248" y="111760"/>
                      <a:pt x="832485" y="115888"/>
                    </a:cubicBezTo>
                    <a:cubicBezTo>
                      <a:pt x="827723" y="120015"/>
                      <a:pt x="821373" y="122238"/>
                      <a:pt x="814070" y="122238"/>
                    </a:cubicBezTo>
                    <a:cubicBezTo>
                      <a:pt x="809308" y="122238"/>
                      <a:pt x="805498" y="120968"/>
                      <a:pt x="802640" y="118745"/>
                    </a:cubicBezTo>
                    <a:cubicBezTo>
                      <a:pt x="799783" y="116522"/>
                      <a:pt x="798195" y="113030"/>
                      <a:pt x="798195" y="107950"/>
                    </a:cubicBezTo>
                    <a:cubicBezTo>
                      <a:pt x="798195" y="102235"/>
                      <a:pt x="800417" y="98107"/>
                      <a:pt x="804545" y="94932"/>
                    </a:cubicBezTo>
                    <a:cubicBezTo>
                      <a:pt x="808673" y="91757"/>
                      <a:pt x="816292" y="89852"/>
                      <a:pt x="827088" y="89535"/>
                    </a:cubicBezTo>
                    <a:lnTo>
                      <a:pt x="839788" y="89218"/>
                    </a:lnTo>
                    <a:lnTo>
                      <a:pt x="839788" y="97155"/>
                    </a:lnTo>
                    <a:close/>
                    <a:moveTo>
                      <a:pt x="804227" y="39688"/>
                    </a:moveTo>
                    <a:cubicBezTo>
                      <a:pt x="798513" y="41275"/>
                      <a:pt x="793115" y="43180"/>
                      <a:pt x="788670" y="45720"/>
                    </a:cubicBezTo>
                    <a:lnTo>
                      <a:pt x="794702" y="59372"/>
                    </a:lnTo>
                    <a:cubicBezTo>
                      <a:pt x="798830" y="57468"/>
                      <a:pt x="803275" y="55563"/>
                      <a:pt x="807720" y="54293"/>
                    </a:cubicBezTo>
                    <a:cubicBezTo>
                      <a:pt x="812165" y="53022"/>
                      <a:pt x="816927" y="52070"/>
                      <a:pt x="821690" y="52070"/>
                    </a:cubicBezTo>
                    <a:cubicBezTo>
                      <a:pt x="827405" y="52070"/>
                      <a:pt x="831850" y="53657"/>
                      <a:pt x="835342" y="56515"/>
                    </a:cubicBezTo>
                    <a:cubicBezTo>
                      <a:pt x="838835" y="59372"/>
                      <a:pt x="840105" y="64452"/>
                      <a:pt x="840105" y="71438"/>
                    </a:cubicBezTo>
                    <a:lnTo>
                      <a:pt x="840105" y="76835"/>
                    </a:lnTo>
                    <a:lnTo>
                      <a:pt x="823595" y="77470"/>
                    </a:lnTo>
                    <a:cubicBezTo>
                      <a:pt x="808355" y="77788"/>
                      <a:pt x="797242" y="80645"/>
                      <a:pt x="789623" y="85725"/>
                    </a:cubicBezTo>
                    <a:cubicBezTo>
                      <a:pt x="782002" y="90805"/>
                      <a:pt x="778510" y="98107"/>
                      <a:pt x="778510" y="107950"/>
                    </a:cubicBezTo>
                    <a:cubicBezTo>
                      <a:pt x="778510" y="117793"/>
                      <a:pt x="781367" y="125095"/>
                      <a:pt x="787083" y="129857"/>
                    </a:cubicBezTo>
                    <a:cubicBezTo>
                      <a:pt x="792798" y="134620"/>
                      <a:pt x="800100" y="136843"/>
                      <a:pt x="808673" y="136843"/>
                    </a:cubicBezTo>
                    <a:cubicBezTo>
                      <a:pt x="816610" y="136843"/>
                      <a:pt x="822960" y="135572"/>
                      <a:pt x="827723" y="133350"/>
                    </a:cubicBezTo>
                    <a:cubicBezTo>
                      <a:pt x="832167" y="130810"/>
                      <a:pt x="836613" y="127000"/>
                      <a:pt x="840740" y="121920"/>
                    </a:cubicBezTo>
                    <a:lnTo>
                      <a:pt x="841375" y="121920"/>
                    </a:lnTo>
                    <a:lnTo>
                      <a:pt x="845185" y="135255"/>
                    </a:lnTo>
                    <a:lnTo>
                      <a:pt x="858520" y="135255"/>
                    </a:lnTo>
                    <a:lnTo>
                      <a:pt x="858520" y="70485"/>
                    </a:lnTo>
                    <a:cubicBezTo>
                      <a:pt x="858520" y="59372"/>
                      <a:pt x="855663" y="50800"/>
                      <a:pt x="849630" y="45720"/>
                    </a:cubicBezTo>
                    <a:cubicBezTo>
                      <a:pt x="843598" y="40640"/>
                      <a:pt x="834708" y="37782"/>
                      <a:pt x="822642" y="37782"/>
                    </a:cubicBezTo>
                    <a:cubicBezTo>
                      <a:pt x="815975" y="37465"/>
                      <a:pt x="809942" y="38100"/>
                      <a:pt x="804227" y="39688"/>
                    </a:cubicBezTo>
                    <a:moveTo>
                      <a:pt x="751523" y="135255"/>
                    </a:moveTo>
                    <a:cubicBezTo>
                      <a:pt x="755650" y="134302"/>
                      <a:pt x="759142" y="132715"/>
                      <a:pt x="762635" y="130810"/>
                    </a:cubicBezTo>
                    <a:lnTo>
                      <a:pt x="762635" y="114300"/>
                    </a:lnTo>
                    <a:cubicBezTo>
                      <a:pt x="759142" y="116205"/>
                      <a:pt x="755333" y="117793"/>
                      <a:pt x="751205" y="119063"/>
                    </a:cubicBezTo>
                    <a:cubicBezTo>
                      <a:pt x="747077" y="120332"/>
                      <a:pt x="742315" y="120968"/>
                      <a:pt x="737235" y="120968"/>
                    </a:cubicBezTo>
                    <a:cubicBezTo>
                      <a:pt x="728980" y="120968"/>
                      <a:pt x="722630" y="118110"/>
                      <a:pt x="718502" y="112395"/>
                    </a:cubicBezTo>
                    <a:cubicBezTo>
                      <a:pt x="714375" y="106680"/>
                      <a:pt x="712152" y="98425"/>
                      <a:pt x="712152" y="87630"/>
                    </a:cubicBezTo>
                    <a:cubicBezTo>
                      <a:pt x="712152" y="64770"/>
                      <a:pt x="720725" y="53340"/>
                      <a:pt x="738188" y="53340"/>
                    </a:cubicBezTo>
                    <a:cubicBezTo>
                      <a:pt x="741680" y="53340"/>
                      <a:pt x="745173" y="53975"/>
                      <a:pt x="748983" y="54927"/>
                    </a:cubicBezTo>
                    <a:cubicBezTo>
                      <a:pt x="752792" y="55880"/>
                      <a:pt x="756285" y="57150"/>
                      <a:pt x="759460" y="58102"/>
                    </a:cubicBezTo>
                    <a:lnTo>
                      <a:pt x="765175" y="42863"/>
                    </a:lnTo>
                    <a:cubicBezTo>
                      <a:pt x="762000" y="41275"/>
                      <a:pt x="758190" y="40005"/>
                      <a:pt x="753427" y="39052"/>
                    </a:cubicBezTo>
                    <a:cubicBezTo>
                      <a:pt x="748665" y="38100"/>
                      <a:pt x="743585" y="37465"/>
                      <a:pt x="738505" y="37465"/>
                    </a:cubicBezTo>
                    <a:cubicBezTo>
                      <a:pt x="729615" y="37465"/>
                      <a:pt x="721995" y="39370"/>
                      <a:pt x="715010" y="42863"/>
                    </a:cubicBezTo>
                    <a:cubicBezTo>
                      <a:pt x="708025" y="46355"/>
                      <a:pt x="702627" y="51752"/>
                      <a:pt x="698817" y="59055"/>
                    </a:cubicBezTo>
                    <a:cubicBezTo>
                      <a:pt x="695008" y="66357"/>
                      <a:pt x="693102" y="75882"/>
                      <a:pt x="693102" y="87947"/>
                    </a:cubicBezTo>
                    <a:cubicBezTo>
                      <a:pt x="693102" y="104775"/>
                      <a:pt x="697230" y="117157"/>
                      <a:pt x="705167" y="125095"/>
                    </a:cubicBezTo>
                    <a:cubicBezTo>
                      <a:pt x="713105" y="133032"/>
                      <a:pt x="723900" y="136843"/>
                      <a:pt x="737235" y="136843"/>
                    </a:cubicBezTo>
                    <a:cubicBezTo>
                      <a:pt x="742633" y="136843"/>
                      <a:pt x="747395" y="136207"/>
                      <a:pt x="751523" y="135255"/>
                    </a:cubicBezTo>
                    <a:moveTo>
                      <a:pt x="581977" y="134938"/>
                    </a:moveTo>
                    <a:lnTo>
                      <a:pt x="578167" y="145097"/>
                    </a:lnTo>
                    <a:cubicBezTo>
                      <a:pt x="576263" y="150177"/>
                      <a:pt x="573723" y="154305"/>
                      <a:pt x="570230" y="157480"/>
                    </a:cubicBezTo>
                    <a:cubicBezTo>
                      <a:pt x="567055" y="160655"/>
                      <a:pt x="562610" y="162243"/>
                      <a:pt x="557213" y="162243"/>
                    </a:cubicBezTo>
                    <a:cubicBezTo>
                      <a:pt x="555308" y="162243"/>
                      <a:pt x="553402" y="162243"/>
                      <a:pt x="551498" y="161925"/>
                    </a:cubicBezTo>
                    <a:cubicBezTo>
                      <a:pt x="549592" y="161607"/>
                      <a:pt x="548005" y="161607"/>
                      <a:pt x="546735" y="161290"/>
                    </a:cubicBezTo>
                    <a:lnTo>
                      <a:pt x="546735" y="176213"/>
                    </a:lnTo>
                    <a:cubicBezTo>
                      <a:pt x="548323" y="176530"/>
                      <a:pt x="550227" y="176847"/>
                      <a:pt x="552133" y="177165"/>
                    </a:cubicBezTo>
                    <a:cubicBezTo>
                      <a:pt x="554355" y="177482"/>
                      <a:pt x="556895" y="177482"/>
                      <a:pt x="559752" y="177482"/>
                    </a:cubicBezTo>
                    <a:cubicBezTo>
                      <a:pt x="568960" y="177482"/>
                      <a:pt x="576580" y="174943"/>
                      <a:pt x="582295" y="169545"/>
                    </a:cubicBezTo>
                    <a:cubicBezTo>
                      <a:pt x="588010" y="164147"/>
                      <a:pt x="592773" y="157163"/>
                      <a:pt x="595948" y="147638"/>
                    </a:cubicBezTo>
                    <a:lnTo>
                      <a:pt x="636905" y="38735"/>
                    </a:lnTo>
                    <a:lnTo>
                      <a:pt x="616585" y="38735"/>
                    </a:lnTo>
                    <a:lnTo>
                      <a:pt x="598170" y="93345"/>
                    </a:lnTo>
                    <a:cubicBezTo>
                      <a:pt x="596583" y="97472"/>
                      <a:pt x="595313" y="101918"/>
                      <a:pt x="594042" y="106045"/>
                    </a:cubicBezTo>
                    <a:cubicBezTo>
                      <a:pt x="592773" y="110172"/>
                      <a:pt x="591820" y="113665"/>
                      <a:pt x="591185" y="116840"/>
                    </a:cubicBezTo>
                    <a:lnTo>
                      <a:pt x="590550" y="116840"/>
                    </a:lnTo>
                    <a:cubicBezTo>
                      <a:pt x="590233" y="113030"/>
                      <a:pt x="589280" y="109220"/>
                      <a:pt x="588010" y="105410"/>
                    </a:cubicBezTo>
                    <a:cubicBezTo>
                      <a:pt x="586740" y="101600"/>
                      <a:pt x="585470" y="97790"/>
                      <a:pt x="583883" y="93345"/>
                    </a:cubicBezTo>
                    <a:lnTo>
                      <a:pt x="563880" y="39052"/>
                    </a:lnTo>
                    <a:lnTo>
                      <a:pt x="543560" y="39052"/>
                    </a:lnTo>
                    <a:lnTo>
                      <a:pt x="581977" y="134938"/>
                    </a:lnTo>
                    <a:close/>
                    <a:moveTo>
                      <a:pt x="514667" y="117793"/>
                    </a:moveTo>
                    <a:cubicBezTo>
                      <a:pt x="512127" y="115252"/>
                      <a:pt x="510858" y="111443"/>
                      <a:pt x="510858" y="106363"/>
                    </a:cubicBezTo>
                    <a:lnTo>
                      <a:pt x="510858" y="53657"/>
                    </a:lnTo>
                    <a:lnTo>
                      <a:pt x="538163" y="53657"/>
                    </a:lnTo>
                    <a:lnTo>
                      <a:pt x="538163" y="39370"/>
                    </a:lnTo>
                    <a:lnTo>
                      <a:pt x="510858" y="39370"/>
                    </a:lnTo>
                    <a:lnTo>
                      <a:pt x="510858" y="17780"/>
                    </a:lnTo>
                    <a:lnTo>
                      <a:pt x="499427" y="17780"/>
                    </a:lnTo>
                    <a:lnTo>
                      <a:pt x="492760" y="38100"/>
                    </a:lnTo>
                    <a:lnTo>
                      <a:pt x="478790" y="45085"/>
                    </a:lnTo>
                    <a:lnTo>
                      <a:pt x="478790" y="53657"/>
                    </a:lnTo>
                    <a:lnTo>
                      <a:pt x="492125" y="53657"/>
                    </a:lnTo>
                    <a:lnTo>
                      <a:pt x="492125" y="106680"/>
                    </a:lnTo>
                    <a:cubicBezTo>
                      <a:pt x="492125" y="114618"/>
                      <a:pt x="493395" y="120650"/>
                      <a:pt x="495935" y="125095"/>
                    </a:cubicBezTo>
                    <a:cubicBezTo>
                      <a:pt x="498475" y="129540"/>
                      <a:pt x="501967" y="132715"/>
                      <a:pt x="506413" y="134302"/>
                    </a:cubicBezTo>
                    <a:cubicBezTo>
                      <a:pt x="510858" y="136207"/>
                      <a:pt x="515620" y="136843"/>
                      <a:pt x="520700" y="136843"/>
                    </a:cubicBezTo>
                    <a:cubicBezTo>
                      <a:pt x="524192" y="136843"/>
                      <a:pt x="527685" y="136525"/>
                      <a:pt x="530860" y="135890"/>
                    </a:cubicBezTo>
                    <a:cubicBezTo>
                      <a:pt x="534352" y="135255"/>
                      <a:pt x="536892" y="134302"/>
                      <a:pt x="539115" y="133350"/>
                    </a:cubicBezTo>
                    <a:lnTo>
                      <a:pt x="539115" y="119063"/>
                    </a:lnTo>
                    <a:cubicBezTo>
                      <a:pt x="534988" y="120650"/>
                      <a:pt x="529908" y="121285"/>
                      <a:pt x="524827" y="121285"/>
                    </a:cubicBezTo>
                    <a:cubicBezTo>
                      <a:pt x="520383" y="121602"/>
                      <a:pt x="517208" y="120332"/>
                      <a:pt x="514667" y="117793"/>
                    </a:cubicBezTo>
                    <a:moveTo>
                      <a:pt x="441960" y="134938"/>
                    </a:moveTo>
                    <a:lnTo>
                      <a:pt x="460692" y="134938"/>
                    </a:lnTo>
                    <a:lnTo>
                      <a:pt x="460692" y="39052"/>
                    </a:lnTo>
                    <a:lnTo>
                      <a:pt x="441960" y="39052"/>
                    </a:lnTo>
                    <a:lnTo>
                      <a:pt x="441960" y="134938"/>
                    </a:lnTo>
                    <a:close/>
                    <a:moveTo>
                      <a:pt x="443865" y="5080"/>
                    </a:moveTo>
                    <a:cubicBezTo>
                      <a:pt x="441642" y="6668"/>
                      <a:pt x="440690" y="9525"/>
                      <a:pt x="440690" y="13335"/>
                    </a:cubicBezTo>
                    <a:cubicBezTo>
                      <a:pt x="440690" y="17145"/>
                      <a:pt x="441642" y="20002"/>
                      <a:pt x="443865" y="21590"/>
                    </a:cubicBezTo>
                    <a:cubicBezTo>
                      <a:pt x="446088" y="23177"/>
                      <a:pt x="448627" y="24130"/>
                      <a:pt x="451485" y="24130"/>
                    </a:cubicBezTo>
                    <a:cubicBezTo>
                      <a:pt x="454342" y="24130"/>
                      <a:pt x="456883" y="23177"/>
                      <a:pt x="459105" y="21590"/>
                    </a:cubicBezTo>
                    <a:cubicBezTo>
                      <a:pt x="461327" y="20002"/>
                      <a:pt x="462280" y="17145"/>
                      <a:pt x="462280" y="13335"/>
                    </a:cubicBezTo>
                    <a:cubicBezTo>
                      <a:pt x="462280" y="9525"/>
                      <a:pt x="461327" y="6668"/>
                      <a:pt x="459105" y="5080"/>
                    </a:cubicBezTo>
                    <a:cubicBezTo>
                      <a:pt x="456883" y="3493"/>
                      <a:pt x="454342" y="2540"/>
                      <a:pt x="451485" y="2540"/>
                    </a:cubicBezTo>
                    <a:cubicBezTo>
                      <a:pt x="448310" y="2540"/>
                      <a:pt x="445770" y="3493"/>
                      <a:pt x="443865" y="5080"/>
                    </a:cubicBezTo>
                    <a:moveTo>
                      <a:pt x="415925" y="94932"/>
                    </a:moveTo>
                    <a:cubicBezTo>
                      <a:pt x="413702" y="91440"/>
                      <a:pt x="410527" y="88582"/>
                      <a:pt x="406083" y="86043"/>
                    </a:cubicBezTo>
                    <a:cubicBezTo>
                      <a:pt x="401955" y="83502"/>
                      <a:pt x="396875" y="81280"/>
                      <a:pt x="391160" y="79057"/>
                    </a:cubicBezTo>
                    <a:cubicBezTo>
                      <a:pt x="385128" y="76835"/>
                      <a:pt x="380365" y="74613"/>
                      <a:pt x="376873" y="73025"/>
                    </a:cubicBezTo>
                    <a:cubicBezTo>
                      <a:pt x="373380" y="71438"/>
                      <a:pt x="371158" y="69850"/>
                      <a:pt x="369888" y="67945"/>
                    </a:cubicBezTo>
                    <a:cubicBezTo>
                      <a:pt x="368617" y="66357"/>
                      <a:pt x="367983" y="64452"/>
                      <a:pt x="367983" y="62230"/>
                    </a:cubicBezTo>
                    <a:cubicBezTo>
                      <a:pt x="367983" y="55563"/>
                      <a:pt x="373698" y="52070"/>
                      <a:pt x="385445" y="52070"/>
                    </a:cubicBezTo>
                    <a:cubicBezTo>
                      <a:pt x="389890" y="52070"/>
                      <a:pt x="394335" y="52705"/>
                      <a:pt x="398780" y="53975"/>
                    </a:cubicBezTo>
                    <a:cubicBezTo>
                      <a:pt x="403225" y="55245"/>
                      <a:pt x="407352" y="56832"/>
                      <a:pt x="411480" y="58420"/>
                    </a:cubicBezTo>
                    <a:lnTo>
                      <a:pt x="417830" y="44132"/>
                    </a:lnTo>
                    <a:cubicBezTo>
                      <a:pt x="413067" y="41910"/>
                      <a:pt x="407988" y="40322"/>
                      <a:pt x="402908" y="39052"/>
                    </a:cubicBezTo>
                    <a:cubicBezTo>
                      <a:pt x="397828" y="37782"/>
                      <a:pt x="392113" y="37147"/>
                      <a:pt x="386398" y="37147"/>
                    </a:cubicBezTo>
                    <a:cubicBezTo>
                      <a:pt x="375285" y="37147"/>
                      <a:pt x="366395" y="39370"/>
                      <a:pt x="359728" y="43815"/>
                    </a:cubicBezTo>
                    <a:cubicBezTo>
                      <a:pt x="353060" y="48260"/>
                      <a:pt x="349567" y="54610"/>
                      <a:pt x="349567" y="62865"/>
                    </a:cubicBezTo>
                    <a:cubicBezTo>
                      <a:pt x="349567" y="67945"/>
                      <a:pt x="350838" y="72390"/>
                      <a:pt x="353060" y="75882"/>
                    </a:cubicBezTo>
                    <a:cubicBezTo>
                      <a:pt x="355283" y="79375"/>
                      <a:pt x="358458" y="82232"/>
                      <a:pt x="362903" y="84772"/>
                    </a:cubicBezTo>
                    <a:cubicBezTo>
                      <a:pt x="367030" y="87313"/>
                      <a:pt x="372428" y="89535"/>
                      <a:pt x="378460" y="92075"/>
                    </a:cubicBezTo>
                    <a:cubicBezTo>
                      <a:pt x="384810" y="94297"/>
                      <a:pt x="389573" y="96520"/>
                      <a:pt x="392748" y="98425"/>
                    </a:cubicBezTo>
                    <a:cubicBezTo>
                      <a:pt x="395923" y="100330"/>
                      <a:pt x="398145" y="101918"/>
                      <a:pt x="399415" y="103822"/>
                    </a:cubicBezTo>
                    <a:cubicBezTo>
                      <a:pt x="400685" y="105410"/>
                      <a:pt x="401320" y="107315"/>
                      <a:pt x="401320" y="109538"/>
                    </a:cubicBezTo>
                    <a:cubicBezTo>
                      <a:pt x="401320" y="113347"/>
                      <a:pt x="399733" y="116205"/>
                      <a:pt x="396558" y="118745"/>
                    </a:cubicBezTo>
                    <a:cubicBezTo>
                      <a:pt x="393383" y="120968"/>
                      <a:pt x="388303" y="122238"/>
                      <a:pt x="381317" y="122238"/>
                    </a:cubicBezTo>
                    <a:cubicBezTo>
                      <a:pt x="375920" y="122238"/>
                      <a:pt x="370523" y="121285"/>
                      <a:pt x="364808" y="119697"/>
                    </a:cubicBezTo>
                    <a:cubicBezTo>
                      <a:pt x="359092" y="118110"/>
                      <a:pt x="354330" y="116205"/>
                      <a:pt x="350203" y="114300"/>
                    </a:cubicBezTo>
                    <a:lnTo>
                      <a:pt x="350203" y="130810"/>
                    </a:lnTo>
                    <a:cubicBezTo>
                      <a:pt x="354330" y="132715"/>
                      <a:pt x="358775" y="134302"/>
                      <a:pt x="363538" y="135255"/>
                    </a:cubicBezTo>
                    <a:cubicBezTo>
                      <a:pt x="368300" y="136207"/>
                      <a:pt x="374015" y="136525"/>
                      <a:pt x="381000" y="136525"/>
                    </a:cubicBezTo>
                    <a:cubicBezTo>
                      <a:pt x="393383" y="136525"/>
                      <a:pt x="402908" y="133985"/>
                      <a:pt x="409575" y="129222"/>
                    </a:cubicBezTo>
                    <a:cubicBezTo>
                      <a:pt x="416242" y="124460"/>
                      <a:pt x="419735" y="117157"/>
                      <a:pt x="419735" y="107632"/>
                    </a:cubicBezTo>
                    <a:cubicBezTo>
                      <a:pt x="419417" y="102870"/>
                      <a:pt x="418148" y="98425"/>
                      <a:pt x="415925" y="94932"/>
                    </a:cubicBezTo>
                    <a:moveTo>
                      <a:pt x="307975" y="59055"/>
                    </a:moveTo>
                    <a:cubicBezTo>
                      <a:pt x="311467" y="63818"/>
                      <a:pt x="313373" y="69850"/>
                      <a:pt x="313373" y="77152"/>
                    </a:cubicBezTo>
                    <a:lnTo>
                      <a:pt x="268288" y="77152"/>
                    </a:lnTo>
                    <a:cubicBezTo>
                      <a:pt x="268923" y="69215"/>
                      <a:pt x="271463" y="62865"/>
                      <a:pt x="275590" y="58420"/>
                    </a:cubicBezTo>
                    <a:cubicBezTo>
                      <a:pt x="279717" y="53975"/>
                      <a:pt x="285115" y="51752"/>
                      <a:pt x="291783" y="51752"/>
                    </a:cubicBezTo>
                    <a:cubicBezTo>
                      <a:pt x="299085" y="52070"/>
                      <a:pt x="304483" y="54293"/>
                      <a:pt x="307975" y="59055"/>
                    </a:cubicBezTo>
                    <a:moveTo>
                      <a:pt x="269240" y="43180"/>
                    </a:moveTo>
                    <a:cubicBezTo>
                      <a:pt x="262890" y="47307"/>
                      <a:pt x="257810" y="53022"/>
                      <a:pt x="254000" y="60325"/>
                    </a:cubicBezTo>
                    <a:cubicBezTo>
                      <a:pt x="250508" y="67945"/>
                      <a:pt x="248603" y="76835"/>
                      <a:pt x="248603" y="87630"/>
                    </a:cubicBezTo>
                    <a:cubicBezTo>
                      <a:pt x="248603" y="98425"/>
                      <a:pt x="250508" y="107315"/>
                      <a:pt x="254635" y="114618"/>
                    </a:cubicBezTo>
                    <a:cubicBezTo>
                      <a:pt x="258445" y="121920"/>
                      <a:pt x="264160" y="127318"/>
                      <a:pt x="271145" y="131127"/>
                    </a:cubicBezTo>
                    <a:cubicBezTo>
                      <a:pt x="278130" y="134938"/>
                      <a:pt x="286385" y="136525"/>
                      <a:pt x="295592" y="136525"/>
                    </a:cubicBezTo>
                    <a:cubicBezTo>
                      <a:pt x="302260" y="136525"/>
                      <a:pt x="308292" y="135890"/>
                      <a:pt x="313055" y="134938"/>
                    </a:cubicBezTo>
                    <a:cubicBezTo>
                      <a:pt x="317817" y="133985"/>
                      <a:pt x="322898" y="132397"/>
                      <a:pt x="327660" y="130175"/>
                    </a:cubicBezTo>
                    <a:lnTo>
                      <a:pt x="327660" y="114618"/>
                    </a:lnTo>
                    <a:cubicBezTo>
                      <a:pt x="322580" y="116840"/>
                      <a:pt x="317500" y="118427"/>
                      <a:pt x="312738" y="119697"/>
                    </a:cubicBezTo>
                    <a:cubicBezTo>
                      <a:pt x="307975" y="120968"/>
                      <a:pt x="302578" y="121285"/>
                      <a:pt x="296228" y="121285"/>
                    </a:cubicBezTo>
                    <a:cubicBezTo>
                      <a:pt x="287338" y="121285"/>
                      <a:pt x="280353" y="118745"/>
                      <a:pt x="275590" y="113347"/>
                    </a:cubicBezTo>
                    <a:cubicBezTo>
                      <a:pt x="270510" y="108268"/>
                      <a:pt x="267970" y="100647"/>
                      <a:pt x="267970" y="90805"/>
                    </a:cubicBezTo>
                    <a:lnTo>
                      <a:pt x="332423" y="90805"/>
                    </a:lnTo>
                    <a:lnTo>
                      <a:pt x="332423" y="80645"/>
                    </a:lnTo>
                    <a:cubicBezTo>
                      <a:pt x="332423" y="67310"/>
                      <a:pt x="328930" y="56515"/>
                      <a:pt x="321628" y="48895"/>
                    </a:cubicBezTo>
                    <a:cubicBezTo>
                      <a:pt x="314325" y="41275"/>
                      <a:pt x="304483" y="37147"/>
                      <a:pt x="291783" y="37147"/>
                    </a:cubicBezTo>
                    <a:cubicBezTo>
                      <a:pt x="283210" y="37465"/>
                      <a:pt x="275590" y="39370"/>
                      <a:pt x="269240" y="43180"/>
                    </a:cubicBezTo>
                    <a:moveTo>
                      <a:pt x="210820" y="86677"/>
                    </a:moveTo>
                    <a:cubicBezTo>
                      <a:pt x="210820" y="97790"/>
                      <a:pt x="208915" y="106363"/>
                      <a:pt x="205105" y="112395"/>
                    </a:cubicBezTo>
                    <a:cubicBezTo>
                      <a:pt x="201295" y="118427"/>
                      <a:pt x="195580" y="121285"/>
                      <a:pt x="187642" y="121285"/>
                    </a:cubicBezTo>
                    <a:cubicBezTo>
                      <a:pt x="178117" y="121285"/>
                      <a:pt x="171450" y="118427"/>
                      <a:pt x="167958" y="112395"/>
                    </a:cubicBezTo>
                    <a:cubicBezTo>
                      <a:pt x="164465" y="106680"/>
                      <a:pt x="162560" y="98107"/>
                      <a:pt x="162560" y="86995"/>
                    </a:cubicBezTo>
                    <a:lnTo>
                      <a:pt x="162560" y="85725"/>
                    </a:lnTo>
                    <a:cubicBezTo>
                      <a:pt x="162560" y="74613"/>
                      <a:pt x="164465" y="66357"/>
                      <a:pt x="167958" y="60960"/>
                    </a:cubicBezTo>
                    <a:cubicBezTo>
                      <a:pt x="171450" y="55563"/>
                      <a:pt x="177800" y="53022"/>
                      <a:pt x="187008" y="53022"/>
                    </a:cubicBezTo>
                    <a:cubicBezTo>
                      <a:pt x="202883" y="52705"/>
                      <a:pt x="210820" y="64135"/>
                      <a:pt x="210820" y="86677"/>
                    </a:cubicBezTo>
                    <a:moveTo>
                      <a:pt x="143828" y="0"/>
                    </a:moveTo>
                    <a:lnTo>
                      <a:pt x="143828" y="135255"/>
                    </a:lnTo>
                    <a:lnTo>
                      <a:pt x="157798" y="135255"/>
                    </a:lnTo>
                    <a:lnTo>
                      <a:pt x="161290" y="123507"/>
                    </a:lnTo>
                    <a:lnTo>
                      <a:pt x="162560" y="123507"/>
                    </a:lnTo>
                    <a:cubicBezTo>
                      <a:pt x="165417" y="127318"/>
                      <a:pt x="168910" y="130493"/>
                      <a:pt x="173355" y="133032"/>
                    </a:cubicBezTo>
                    <a:cubicBezTo>
                      <a:pt x="177800" y="135572"/>
                      <a:pt x="183833" y="137160"/>
                      <a:pt x="191135" y="137160"/>
                    </a:cubicBezTo>
                    <a:cubicBezTo>
                      <a:pt x="202565" y="137160"/>
                      <a:pt x="212090" y="133032"/>
                      <a:pt x="219075" y="124777"/>
                    </a:cubicBezTo>
                    <a:cubicBezTo>
                      <a:pt x="226060" y="116522"/>
                      <a:pt x="229870" y="104140"/>
                      <a:pt x="229870" y="87630"/>
                    </a:cubicBezTo>
                    <a:cubicBezTo>
                      <a:pt x="229870" y="71120"/>
                      <a:pt x="226378" y="59055"/>
                      <a:pt x="219392" y="50800"/>
                    </a:cubicBezTo>
                    <a:cubicBezTo>
                      <a:pt x="212408" y="42545"/>
                      <a:pt x="203200" y="38418"/>
                      <a:pt x="191453" y="38418"/>
                    </a:cubicBezTo>
                    <a:cubicBezTo>
                      <a:pt x="184150" y="38418"/>
                      <a:pt x="178117" y="39688"/>
                      <a:pt x="173355" y="42545"/>
                    </a:cubicBezTo>
                    <a:cubicBezTo>
                      <a:pt x="168592" y="45402"/>
                      <a:pt x="165100" y="48577"/>
                      <a:pt x="162242" y="52705"/>
                    </a:cubicBezTo>
                    <a:lnTo>
                      <a:pt x="161290" y="52705"/>
                    </a:lnTo>
                    <a:cubicBezTo>
                      <a:pt x="161608" y="50800"/>
                      <a:pt x="161608" y="47943"/>
                      <a:pt x="161925" y="44450"/>
                    </a:cubicBezTo>
                    <a:cubicBezTo>
                      <a:pt x="162242" y="40957"/>
                      <a:pt x="162242" y="37147"/>
                      <a:pt x="162242" y="33338"/>
                    </a:cubicBezTo>
                    <a:lnTo>
                      <a:pt x="162242" y="952"/>
                    </a:lnTo>
                    <a:lnTo>
                      <a:pt x="143828" y="952"/>
                    </a:lnTo>
                    <a:close/>
                    <a:moveTo>
                      <a:pt x="29845" y="35560"/>
                    </a:moveTo>
                    <a:cubicBezTo>
                      <a:pt x="36195" y="26988"/>
                      <a:pt x="46038" y="22543"/>
                      <a:pt x="59690" y="22543"/>
                    </a:cubicBezTo>
                    <a:cubicBezTo>
                      <a:pt x="73025" y="22543"/>
                      <a:pt x="82867" y="26988"/>
                      <a:pt x="88900" y="35560"/>
                    </a:cubicBezTo>
                    <a:cubicBezTo>
                      <a:pt x="94933" y="44132"/>
                      <a:pt x="98108" y="56197"/>
                      <a:pt x="98108" y="71438"/>
                    </a:cubicBezTo>
                    <a:cubicBezTo>
                      <a:pt x="98108" y="86677"/>
                      <a:pt x="94933" y="98425"/>
                      <a:pt x="88900" y="107315"/>
                    </a:cubicBezTo>
                    <a:cubicBezTo>
                      <a:pt x="82867" y="116205"/>
                      <a:pt x="73025" y="120332"/>
                      <a:pt x="59373" y="120332"/>
                    </a:cubicBezTo>
                    <a:cubicBezTo>
                      <a:pt x="46038" y="120332"/>
                      <a:pt x="36195" y="115888"/>
                      <a:pt x="29845" y="107315"/>
                    </a:cubicBezTo>
                    <a:cubicBezTo>
                      <a:pt x="23495" y="98743"/>
                      <a:pt x="20320" y="86677"/>
                      <a:pt x="20320" y="71438"/>
                    </a:cubicBezTo>
                    <a:cubicBezTo>
                      <a:pt x="20320" y="56197"/>
                      <a:pt x="23495" y="44132"/>
                      <a:pt x="29845" y="35560"/>
                    </a:cubicBezTo>
                    <a:moveTo>
                      <a:pt x="111760" y="36830"/>
                    </a:moveTo>
                    <a:cubicBezTo>
                      <a:pt x="107315" y="26988"/>
                      <a:pt x="100965" y="19368"/>
                      <a:pt x="92075" y="13970"/>
                    </a:cubicBezTo>
                    <a:cubicBezTo>
                      <a:pt x="83503" y="8572"/>
                      <a:pt x="72390" y="6032"/>
                      <a:pt x="59373" y="6032"/>
                    </a:cubicBezTo>
                    <a:cubicBezTo>
                      <a:pt x="45720" y="6032"/>
                      <a:pt x="34608" y="8572"/>
                      <a:pt x="26035" y="13970"/>
                    </a:cubicBezTo>
                    <a:cubicBezTo>
                      <a:pt x="17145" y="19368"/>
                      <a:pt x="10795" y="26988"/>
                      <a:pt x="6350" y="36830"/>
                    </a:cubicBezTo>
                    <a:cubicBezTo>
                      <a:pt x="2223" y="46672"/>
                      <a:pt x="0" y="58102"/>
                      <a:pt x="0" y="71120"/>
                    </a:cubicBezTo>
                    <a:cubicBezTo>
                      <a:pt x="0" y="84138"/>
                      <a:pt x="2223" y="95885"/>
                      <a:pt x="6350" y="105727"/>
                    </a:cubicBezTo>
                    <a:cubicBezTo>
                      <a:pt x="10478" y="115570"/>
                      <a:pt x="17145" y="123190"/>
                      <a:pt x="26035" y="128588"/>
                    </a:cubicBezTo>
                    <a:cubicBezTo>
                      <a:pt x="34925" y="133985"/>
                      <a:pt x="46038" y="136843"/>
                      <a:pt x="59373" y="136843"/>
                    </a:cubicBezTo>
                    <a:cubicBezTo>
                      <a:pt x="72390" y="136843"/>
                      <a:pt x="83185" y="133985"/>
                      <a:pt x="92075" y="128588"/>
                    </a:cubicBezTo>
                    <a:cubicBezTo>
                      <a:pt x="100965" y="123190"/>
                      <a:pt x="107315" y="115570"/>
                      <a:pt x="111760" y="105727"/>
                    </a:cubicBezTo>
                    <a:cubicBezTo>
                      <a:pt x="116205" y="95885"/>
                      <a:pt x="118428" y="84455"/>
                      <a:pt x="118428" y="71438"/>
                    </a:cubicBezTo>
                    <a:cubicBezTo>
                      <a:pt x="118428" y="58420"/>
                      <a:pt x="116205" y="46672"/>
                      <a:pt x="111760" y="36830"/>
                    </a:cubicBezTo>
                  </a:path>
                </a:pathLst>
              </a:custGeom>
              <a:grpFill/>
              <a:ln w="3175" cap="flat">
                <a:noFill/>
                <a:prstDash val="solid"/>
                <a:miter/>
              </a:ln>
            </p:spPr>
            <p:txBody>
              <a:bodyPr rtlCol="0" anchor="ctr"/>
              <a:lstStyle/>
              <a:p>
                <a:endParaRPr lang="en-GB">
                  <a:solidFill>
                    <a:srgbClr val="000000"/>
                  </a:solidFill>
                  <a:latin typeface="Verdana"/>
                </a:endParaRPr>
              </a:p>
            </p:txBody>
          </p:sp>
        </p:grpSp>
        <p:pic>
          <p:nvPicPr>
            <p:cNvPr id="19" name="Picture 18" descr="A young boy riding a motorcycle down a road&#10;&#10;Description automatically generated">
              <a:extLst>
                <a:ext uri="{FF2B5EF4-FFF2-40B4-BE49-F238E27FC236}">
                  <a16:creationId xmlns:a16="http://schemas.microsoft.com/office/drawing/2014/main" id="{583DE819-A61A-4D94-B7DA-2840F8C14025}"/>
                </a:ext>
              </a:extLst>
            </p:cNvPr>
            <p:cNvPicPr>
              <a:picLocks noChangeAspect="1"/>
            </p:cNvPicPr>
            <p:nvPr/>
          </p:nvPicPr>
          <p:blipFill>
            <a:blip r:embed="rId3"/>
            <a:stretch>
              <a:fillRect/>
            </a:stretch>
          </p:blipFill>
          <p:spPr>
            <a:xfrm>
              <a:off x="3192014" y="2815894"/>
              <a:ext cx="1234440" cy="1333195"/>
            </a:xfrm>
            <a:prstGeom prst="rect">
              <a:avLst/>
            </a:prstGeom>
          </p:spPr>
        </p:pic>
        <p:pic>
          <p:nvPicPr>
            <p:cNvPr id="20" name="Picture 19" descr="A person sitting in a field&#10;&#10;Description automatically generated">
              <a:extLst>
                <a:ext uri="{FF2B5EF4-FFF2-40B4-BE49-F238E27FC236}">
                  <a16:creationId xmlns:a16="http://schemas.microsoft.com/office/drawing/2014/main" id="{17A1FD10-B15E-40EC-AA38-14D85009CDB8}"/>
                </a:ext>
              </a:extLst>
            </p:cNvPr>
            <p:cNvPicPr>
              <a:picLocks noChangeAspect="1"/>
            </p:cNvPicPr>
            <p:nvPr/>
          </p:nvPicPr>
          <p:blipFill>
            <a:blip r:embed="rId4"/>
            <a:stretch>
              <a:fillRect/>
            </a:stretch>
          </p:blipFill>
          <p:spPr>
            <a:xfrm>
              <a:off x="4717415" y="2815895"/>
              <a:ext cx="1234440" cy="1333195"/>
            </a:xfrm>
            <a:prstGeom prst="rect">
              <a:avLst/>
            </a:prstGeom>
          </p:spPr>
        </p:pic>
        <p:pic>
          <p:nvPicPr>
            <p:cNvPr id="21" name="Picture 20" descr="A person talking on a cell phone&#10;&#10;Description automatically generated">
              <a:extLst>
                <a:ext uri="{FF2B5EF4-FFF2-40B4-BE49-F238E27FC236}">
                  <a16:creationId xmlns:a16="http://schemas.microsoft.com/office/drawing/2014/main" id="{59B285CD-D3B9-4165-94C7-189165A6D7FA}"/>
                </a:ext>
              </a:extLst>
            </p:cNvPr>
            <p:cNvPicPr>
              <a:picLocks noChangeAspect="1"/>
            </p:cNvPicPr>
            <p:nvPr/>
          </p:nvPicPr>
          <p:blipFill>
            <a:blip r:embed="rId5"/>
            <a:stretch>
              <a:fillRect/>
            </a:stretch>
          </p:blipFill>
          <p:spPr>
            <a:xfrm>
              <a:off x="4717415" y="1185849"/>
              <a:ext cx="1234440" cy="1333195"/>
            </a:xfrm>
            <a:prstGeom prst="rect">
              <a:avLst/>
            </a:prstGeom>
          </p:spPr>
        </p:pic>
        <p:pic>
          <p:nvPicPr>
            <p:cNvPr id="22" name="Picture 21" descr="A person standing in front of a building&#10;&#10;Description automatically generated">
              <a:extLst>
                <a:ext uri="{FF2B5EF4-FFF2-40B4-BE49-F238E27FC236}">
                  <a16:creationId xmlns:a16="http://schemas.microsoft.com/office/drawing/2014/main" id="{9E40C888-29A5-4DB2-A486-30419E3A1EDC}"/>
                </a:ext>
              </a:extLst>
            </p:cNvPr>
            <p:cNvPicPr>
              <a:picLocks noChangeAspect="1"/>
            </p:cNvPicPr>
            <p:nvPr/>
          </p:nvPicPr>
          <p:blipFill>
            <a:blip r:embed="rId6"/>
            <a:stretch>
              <a:fillRect/>
            </a:stretch>
          </p:blipFill>
          <p:spPr>
            <a:xfrm>
              <a:off x="3192015" y="1185849"/>
              <a:ext cx="1234440" cy="1333195"/>
            </a:xfrm>
            <a:prstGeom prst="rect">
              <a:avLst/>
            </a:prstGeom>
          </p:spPr>
        </p:pic>
        <p:grpSp>
          <p:nvGrpSpPr>
            <p:cNvPr id="23" name="Group 22">
              <a:extLst>
                <a:ext uri="{FF2B5EF4-FFF2-40B4-BE49-F238E27FC236}">
                  <a16:creationId xmlns:a16="http://schemas.microsoft.com/office/drawing/2014/main" id="{42F08769-4835-4F44-AACB-B3E9B4F16DB8}"/>
                </a:ext>
              </a:extLst>
            </p:cNvPr>
            <p:cNvGrpSpPr/>
            <p:nvPr/>
          </p:nvGrpSpPr>
          <p:grpSpPr>
            <a:xfrm>
              <a:off x="3691572" y="1768475"/>
              <a:ext cx="1762125" cy="1784350"/>
              <a:chOff x="3691572" y="1672590"/>
              <a:chExt cx="1762125" cy="1784350"/>
            </a:xfrm>
          </p:grpSpPr>
          <p:sp>
            <p:nvSpPr>
              <p:cNvPr id="24" name="Freeform: Shape 23">
                <a:extLst>
                  <a:ext uri="{FF2B5EF4-FFF2-40B4-BE49-F238E27FC236}">
                    <a16:creationId xmlns:a16="http://schemas.microsoft.com/office/drawing/2014/main" id="{40704034-13FD-4099-AF04-3E8B1F44B797}"/>
                  </a:ext>
                </a:extLst>
              </p:cNvPr>
              <p:cNvSpPr/>
              <p:nvPr/>
            </p:nvSpPr>
            <p:spPr>
              <a:xfrm>
                <a:off x="3691572" y="1672590"/>
                <a:ext cx="1762125" cy="1784350"/>
              </a:xfrm>
              <a:custGeom>
                <a:avLst/>
                <a:gdLst>
                  <a:gd name="connsiteX0" fmla="*/ 881063 w 1762125"/>
                  <a:gd name="connsiteY0" fmla="*/ 1785620 h 1784350"/>
                  <a:gd name="connsiteX1" fmla="*/ 1762125 w 1762125"/>
                  <a:gd name="connsiteY1" fmla="*/ 892810 h 1784350"/>
                  <a:gd name="connsiteX2" fmla="*/ 881063 w 1762125"/>
                  <a:gd name="connsiteY2" fmla="*/ 0 h 1784350"/>
                  <a:gd name="connsiteX3" fmla="*/ 0 w 1762125"/>
                  <a:gd name="connsiteY3" fmla="*/ 892810 h 1784350"/>
                  <a:gd name="connsiteX4" fmla="*/ 881063 w 1762125"/>
                  <a:gd name="connsiteY4" fmla="*/ 1785620 h 178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125" h="1784350">
                    <a:moveTo>
                      <a:pt x="881063" y="1785620"/>
                    </a:moveTo>
                    <a:cubicBezTo>
                      <a:pt x="1367790" y="1785620"/>
                      <a:pt x="1762125" y="1385888"/>
                      <a:pt x="1762125" y="892810"/>
                    </a:cubicBezTo>
                    <a:cubicBezTo>
                      <a:pt x="1762125" y="399733"/>
                      <a:pt x="1367790" y="0"/>
                      <a:pt x="881063" y="0"/>
                    </a:cubicBezTo>
                    <a:cubicBezTo>
                      <a:pt x="394335" y="0"/>
                      <a:pt x="0" y="399733"/>
                      <a:pt x="0" y="892810"/>
                    </a:cubicBezTo>
                    <a:cubicBezTo>
                      <a:pt x="0" y="1385888"/>
                      <a:pt x="394335" y="1785620"/>
                      <a:pt x="881063" y="1785620"/>
                    </a:cubicBezTo>
                  </a:path>
                </a:pathLst>
              </a:custGeom>
              <a:solidFill>
                <a:srgbClr val="FFFFFF"/>
              </a:solidFill>
              <a:ln w="3175" cap="flat">
                <a:noFill/>
                <a:prstDash val="solid"/>
                <a:miter/>
              </a:ln>
            </p:spPr>
            <p:txBody>
              <a:bodyPr rtlCol="0" anchor="ctr"/>
              <a:lstStyle/>
              <a:p>
                <a:endParaRPr lang="en-GB">
                  <a:solidFill>
                    <a:srgbClr val="000000"/>
                  </a:solidFill>
                  <a:latin typeface="Verdana"/>
                </a:endParaRPr>
              </a:p>
            </p:txBody>
          </p:sp>
          <p:sp>
            <p:nvSpPr>
              <p:cNvPr id="25" name="Freeform: Shape 24">
                <a:extLst>
                  <a:ext uri="{FF2B5EF4-FFF2-40B4-BE49-F238E27FC236}">
                    <a16:creationId xmlns:a16="http://schemas.microsoft.com/office/drawing/2014/main" id="{C7A22B1F-D450-432A-897F-147A951BE6D7}"/>
                  </a:ext>
                </a:extLst>
              </p:cNvPr>
              <p:cNvSpPr/>
              <p:nvPr/>
            </p:nvSpPr>
            <p:spPr>
              <a:xfrm>
                <a:off x="3744278" y="1725613"/>
                <a:ext cx="1654175" cy="1679575"/>
              </a:xfrm>
              <a:custGeom>
                <a:avLst/>
                <a:gdLst>
                  <a:gd name="connsiteX0" fmla="*/ 828357 w 1654175"/>
                  <a:gd name="connsiteY0" fmla="*/ 1679575 h 1679575"/>
                  <a:gd name="connsiteX1" fmla="*/ 1656715 w 1654175"/>
                  <a:gd name="connsiteY1" fmla="*/ 839788 h 1679575"/>
                  <a:gd name="connsiteX2" fmla="*/ 828357 w 1654175"/>
                  <a:gd name="connsiteY2" fmla="*/ 0 h 1679575"/>
                  <a:gd name="connsiteX3" fmla="*/ 0 w 1654175"/>
                  <a:gd name="connsiteY3" fmla="*/ 839788 h 1679575"/>
                  <a:gd name="connsiteX4" fmla="*/ 828357 w 1654175"/>
                  <a:gd name="connsiteY4" fmla="*/ 1679575 h 1679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4175" h="1679575">
                    <a:moveTo>
                      <a:pt x="828357" y="1679575"/>
                    </a:moveTo>
                    <a:cubicBezTo>
                      <a:pt x="1285875" y="1679575"/>
                      <a:pt x="1656715" y="1303655"/>
                      <a:pt x="1656715" y="839788"/>
                    </a:cubicBezTo>
                    <a:cubicBezTo>
                      <a:pt x="1656715" y="375920"/>
                      <a:pt x="1285875" y="0"/>
                      <a:pt x="828357" y="0"/>
                    </a:cubicBezTo>
                    <a:cubicBezTo>
                      <a:pt x="370840" y="0"/>
                      <a:pt x="0" y="375920"/>
                      <a:pt x="0" y="839788"/>
                    </a:cubicBezTo>
                    <a:cubicBezTo>
                      <a:pt x="0" y="1303655"/>
                      <a:pt x="370840" y="1679575"/>
                      <a:pt x="828357" y="1679575"/>
                    </a:cubicBezTo>
                  </a:path>
                </a:pathLst>
              </a:custGeom>
              <a:solidFill>
                <a:srgbClr val="E2F0FA"/>
              </a:solidFill>
              <a:ln w="3175" cap="flat">
                <a:noFill/>
                <a:prstDash val="solid"/>
                <a:miter/>
              </a:ln>
            </p:spPr>
            <p:txBody>
              <a:bodyPr rtlCol="0" anchor="ctr"/>
              <a:lstStyle/>
              <a:p>
                <a:endParaRPr lang="en-GB">
                  <a:solidFill>
                    <a:srgbClr val="000000"/>
                  </a:solidFill>
                  <a:latin typeface="Verdana"/>
                </a:endParaRPr>
              </a:p>
            </p:txBody>
          </p:sp>
          <p:sp>
            <p:nvSpPr>
              <p:cNvPr id="26" name="Freeform: Shape 25">
                <a:extLst>
                  <a:ext uri="{FF2B5EF4-FFF2-40B4-BE49-F238E27FC236}">
                    <a16:creationId xmlns:a16="http://schemas.microsoft.com/office/drawing/2014/main" id="{B25243A1-A083-4E49-811A-237437C39080}"/>
                  </a:ext>
                </a:extLst>
              </p:cNvPr>
              <p:cNvSpPr/>
              <p:nvPr/>
            </p:nvSpPr>
            <p:spPr>
              <a:xfrm>
                <a:off x="4003040" y="1988185"/>
                <a:ext cx="1136650" cy="1152525"/>
              </a:xfrm>
              <a:custGeom>
                <a:avLst/>
                <a:gdLst>
                  <a:gd name="connsiteX0" fmla="*/ 569595 w 1136650"/>
                  <a:gd name="connsiteY0" fmla="*/ 1154430 h 1152525"/>
                  <a:gd name="connsiteX1" fmla="*/ 1139190 w 1136650"/>
                  <a:gd name="connsiteY1" fmla="*/ 577215 h 1152525"/>
                  <a:gd name="connsiteX2" fmla="*/ 569595 w 1136650"/>
                  <a:gd name="connsiteY2" fmla="*/ 0 h 1152525"/>
                  <a:gd name="connsiteX3" fmla="*/ 0 w 1136650"/>
                  <a:gd name="connsiteY3" fmla="*/ 577215 h 1152525"/>
                  <a:gd name="connsiteX4" fmla="*/ 569595 w 1136650"/>
                  <a:gd name="connsiteY4" fmla="*/ 1154430 h 1152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6650" h="1152525">
                    <a:moveTo>
                      <a:pt x="569595" y="1154430"/>
                    </a:moveTo>
                    <a:cubicBezTo>
                      <a:pt x="884238" y="1154430"/>
                      <a:pt x="1139190" y="895985"/>
                      <a:pt x="1139190" y="577215"/>
                    </a:cubicBezTo>
                    <a:cubicBezTo>
                      <a:pt x="1139190" y="258445"/>
                      <a:pt x="884238" y="0"/>
                      <a:pt x="569595" y="0"/>
                    </a:cubicBezTo>
                    <a:cubicBezTo>
                      <a:pt x="254952" y="0"/>
                      <a:pt x="0" y="258445"/>
                      <a:pt x="0" y="577215"/>
                    </a:cubicBezTo>
                    <a:cubicBezTo>
                      <a:pt x="0" y="895985"/>
                      <a:pt x="254952" y="1154430"/>
                      <a:pt x="569595" y="1154430"/>
                    </a:cubicBezTo>
                  </a:path>
                </a:pathLst>
              </a:custGeom>
              <a:solidFill>
                <a:srgbClr val="FFFFFF"/>
              </a:solidFill>
              <a:ln w="3175" cap="flat">
                <a:noFill/>
                <a:prstDash val="solid"/>
                <a:miter/>
              </a:ln>
            </p:spPr>
            <p:txBody>
              <a:bodyPr rtlCol="0" anchor="ctr"/>
              <a:lstStyle/>
              <a:p>
                <a:endParaRPr lang="en-GB">
                  <a:solidFill>
                    <a:srgbClr val="000000"/>
                  </a:solidFill>
                  <a:latin typeface="Verdana"/>
                </a:endParaRPr>
              </a:p>
            </p:txBody>
          </p:sp>
          <p:sp>
            <p:nvSpPr>
              <p:cNvPr id="27" name="Freeform: Shape 26">
                <a:extLst>
                  <a:ext uri="{FF2B5EF4-FFF2-40B4-BE49-F238E27FC236}">
                    <a16:creationId xmlns:a16="http://schemas.microsoft.com/office/drawing/2014/main" id="{83B5F1FA-BDDD-4AB9-954B-C53BE76D3A3D}"/>
                  </a:ext>
                </a:extLst>
              </p:cNvPr>
              <p:cNvSpPr/>
              <p:nvPr/>
            </p:nvSpPr>
            <p:spPr>
              <a:xfrm>
                <a:off x="4164965" y="2733040"/>
                <a:ext cx="819150" cy="76200"/>
              </a:xfrm>
              <a:custGeom>
                <a:avLst/>
                <a:gdLst>
                  <a:gd name="connsiteX0" fmla="*/ 820420 w 819150"/>
                  <a:gd name="connsiteY0" fmla="*/ 52705 h 76200"/>
                  <a:gd name="connsiteX1" fmla="*/ 815022 w 819150"/>
                  <a:gd name="connsiteY1" fmla="*/ 47625 h 76200"/>
                  <a:gd name="connsiteX2" fmla="*/ 806767 w 819150"/>
                  <a:gd name="connsiteY2" fmla="*/ 43498 h 76200"/>
                  <a:gd name="connsiteX3" fmla="*/ 799465 w 819150"/>
                  <a:gd name="connsiteY3" fmla="*/ 40323 h 76200"/>
                  <a:gd name="connsiteX4" fmla="*/ 795972 w 819150"/>
                  <a:gd name="connsiteY4" fmla="*/ 38100 h 76200"/>
                  <a:gd name="connsiteX5" fmla="*/ 795020 w 819150"/>
                  <a:gd name="connsiteY5" fmla="*/ 35560 h 76200"/>
                  <a:gd name="connsiteX6" fmla="*/ 801688 w 819150"/>
                  <a:gd name="connsiteY6" fmla="*/ 31750 h 76200"/>
                  <a:gd name="connsiteX7" fmla="*/ 808990 w 819150"/>
                  <a:gd name="connsiteY7" fmla="*/ 33020 h 76200"/>
                  <a:gd name="connsiteX8" fmla="*/ 816610 w 819150"/>
                  <a:gd name="connsiteY8" fmla="*/ 35877 h 76200"/>
                  <a:gd name="connsiteX9" fmla="*/ 821055 w 819150"/>
                  <a:gd name="connsiteY9" fmla="*/ 25083 h 76200"/>
                  <a:gd name="connsiteX10" fmla="*/ 811530 w 819150"/>
                  <a:gd name="connsiteY10" fmla="*/ 21590 h 76200"/>
                  <a:gd name="connsiteX11" fmla="*/ 801688 w 819150"/>
                  <a:gd name="connsiteY11" fmla="*/ 20638 h 76200"/>
                  <a:gd name="connsiteX12" fmla="*/ 785813 w 819150"/>
                  <a:gd name="connsiteY12" fmla="*/ 24448 h 76200"/>
                  <a:gd name="connsiteX13" fmla="*/ 779780 w 819150"/>
                  <a:gd name="connsiteY13" fmla="*/ 35877 h 76200"/>
                  <a:gd name="connsiteX14" fmla="*/ 781367 w 819150"/>
                  <a:gd name="connsiteY14" fmla="*/ 43498 h 76200"/>
                  <a:gd name="connsiteX15" fmla="*/ 786447 w 819150"/>
                  <a:gd name="connsiteY15" fmla="*/ 48895 h 76200"/>
                  <a:gd name="connsiteX16" fmla="*/ 795020 w 819150"/>
                  <a:gd name="connsiteY16" fmla="*/ 53340 h 76200"/>
                  <a:gd name="connsiteX17" fmla="*/ 802957 w 819150"/>
                  <a:gd name="connsiteY17" fmla="*/ 57150 h 76200"/>
                  <a:gd name="connsiteX18" fmla="*/ 806132 w 819150"/>
                  <a:gd name="connsiteY18" fmla="*/ 59690 h 76200"/>
                  <a:gd name="connsiteX19" fmla="*/ 806767 w 819150"/>
                  <a:gd name="connsiteY19" fmla="*/ 62230 h 76200"/>
                  <a:gd name="connsiteX20" fmla="*/ 804863 w 819150"/>
                  <a:gd name="connsiteY20" fmla="*/ 65723 h 76200"/>
                  <a:gd name="connsiteX21" fmla="*/ 798513 w 819150"/>
                  <a:gd name="connsiteY21" fmla="*/ 66993 h 76200"/>
                  <a:gd name="connsiteX22" fmla="*/ 789305 w 819150"/>
                  <a:gd name="connsiteY22" fmla="*/ 65723 h 76200"/>
                  <a:gd name="connsiteX23" fmla="*/ 779780 w 819150"/>
                  <a:gd name="connsiteY23" fmla="*/ 62230 h 76200"/>
                  <a:gd name="connsiteX24" fmla="*/ 779780 w 819150"/>
                  <a:gd name="connsiteY24" fmla="*/ 74613 h 76200"/>
                  <a:gd name="connsiteX25" fmla="*/ 788035 w 819150"/>
                  <a:gd name="connsiteY25" fmla="*/ 77152 h 76200"/>
                  <a:gd name="connsiteX26" fmla="*/ 797877 w 819150"/>
                  <a:gd name="connsiteY26" fmla="*/ 77788 h 76200"/>
                  <a:gd name="connsiteX27" fmla="*/ 815657 w 819150"/>
                  <a:gd name="connsiteY27" fmla="*/ 73343 h 76200"/>
                  <a:gd name="connsiteX28" fmla="*/ 821690 w 819150"/>
                  <a:gd name="connsiteY28" fmla="*/ 60325 h 76200"/>
                  <a:gd name="connsiteX29" fmla="*/ 820420 w 819150"/>
                  <a:gd name="connsiteY29" fmla="*/ 52705 h 76200"/>
                  <a:gd name="connsiteX30" fmla="*/ 754380 w 819150"/>
                  <a:gd name="connsiteY30" fmla="*/ 34925 h 76200"/>
                  <a:gd name="connsiteX31" fmla="*/ 756920 w 819150"/>
                  <a:gd name="connsiteY31" fmla="*/ 43180 h 76200"/>
                  <a:gd name="connsiteX32" fmla="*/ 735647 w 819150"/>
                  <a:gd name="connsiteY32" fmla="*/ 43180 h 76200"/>
                  <a:gd name="connsiteX33" fmla="*/ 739140 w 819150"/>
                  <a:gd name="connsiteY33" fmla="*/ 34290 h 76200"/>
                  <a:gd name="connsiteX34" fmla="*/ 746442 w 819150"/>
                  <a:gd name="connsiteY34" fmla="*/ 31433 h 76200"/>
                  <a:gd name="connsiteX35" fmla="*/ 754380 w 819150"/>
                  <a:gd name="connsiteY35" fmla="*/ 34925 h 76200"/>
                  <a:gd name="connsiteX36" fmla="*/ 732472 w 819150"/>
                  <a:gd name="connsiteY36" fmla="*/ 23813 h 76200"/>
                  <a:gd name="connsiteX37" fmla="*/ 723265 w 819150"/>
                  <a:gd name="connsiteY37" fmla="*/ 33655 h 76200"/>
                  <a:gd name="connsiteX38" fmla="*/ 720090 w 819150"/>
                  <a:gd name="connsiteY38" fmla="*/ 49848 h 76200"/>
                  <a:gd name="connsiteX39" fmla="*/ 723900 w 819150"/>
                  <a:gd name="connsiteY39" fmla="*/ 65723 h 76200"/>
                  <a:gd name="connsiteX40" fmla="*/ 734060 w 819150"/>
                  <a:gd name="connsiteY40" fmla="*/ 74930 h 76200"/>
                  <a:gd name="connsiteX41" fmla="*/ 748665 w 819150"/>
                  <a:gd name="connsiteY41" fmla="*/ 78105 h 76200"/>
                  <a:gd name="connsiteX42" fmla="*/ 759460 w 819150"/>
                  <a:gd name="connsiteY42" fmla="*/ 77152 h 76200"/>
                  <a:gd name="connsiteX43" fmla="*/ 768032 w 819150"/>
                  <a:gd name="connsiteY43" fmla="*/ 74295 h 76200"/>
                  <a:gd name="connsiteX44" fmla="*/ 768032 w 819150"/>
                  <a:gd name="connsiteY44" fmla="*/ 62548 h 76200"/>
                  <a:gd name="connsiteX45" fmla="*/ 758825 w 819150"/>
                  <a:gd name="connsiteY45" fmla="*/ 65723 h 76200"/>
                  <a:gd name="connsiteX46" fmla="*/ 748982 w 819150"/>
                  <a:gd name="connsiteY46" fmla="*/ 66675 h 76200"/>
                  <a:gd name="connsiteX47" fmla="*/ 738822 w 819150"/>
                  <a:gd name="connsiteY47" fmla="*/ 62865 h 76200"/>
                  <a:gd name="connsiteX48" fmla="*/ 735013 w 819150"/>
                  <a:gd name="connsiteY48" fmla="*/ 52705 h 76200"/>
                  <a:gd name="connsiteX49" fmla="*/ 770890 w 819150"/>
                  <a:gd name="connsiteY49" fmla="*/ 52705 h 76200"/>
                  <a:gd name="connsiteX50" fmla="*/ 770890 w 819150"/>
                  <a:gd name="connsiteY50" fmla="*/ 45402 h 76200"/>
                  <a:gd name="connsiteX51" fmla="*/ 764222 w 819150"/>
                  <a:gd name="connsiteY51" fmla="*/ 26670 h 76200"/>
                  <a:gd name="connsiteX52" fmla="*/ 746125 w 819150"/>
                  <a:gd name="connsiteY52" fmla="*/ 20002 h 76200"/>
                  <a:gd name="connsiteX53" fmla="*/ 732472 w 819150"/>
                  <a:gd name="connsiteY53" fmla="*/ 23813 h 76200"/>
                  <a:gd name="connsiteX54" fmla="*/ 709930 w 819150"/>
                  <a:gd name="connsiteY54" fmla="*/ 52705 h 76200"/>
                  <a:gd name="connsiteX55" fmla="*/ 704532 w 819150"/>
                  <a:gd name="connsiteY55" fmla="*/ 47625 h 76200"/>
                  <a:gd name="connsiteX56" fmla="*/ 696277 w 819150"/>
                  <a:gd name="connsiteY56" fmla="*/ 43498 h 76200"/>
                  <a:gd name="connsiteX57" fmla="*/ 688975 w 819150"/>
                  <a:gd name="connsiteY57" fmla="*/ 40323 h 76200"/>
                  <a:gd name="connsiteX58" fmla="*/ 685482 w 819150"/>
                  <a:gd name="connsiteY58" fmla="*/ 38100 h 76200"/>
                  <a:gd name="connsiteX59" fmla="*/ 684530 w 819150"/>
                  <a:gd name="connsiteY59" fmla="*/ 35560 h 76200"/>
                  <a:gd name="connsiteX60" fmla="*/ 691197 w 819150"/>
                  <a:gd name="connsiteY60" fmla="*/ 31750 h 76200"/>
                  <a:gd name="connsiteX61" fmla="*/ 698500 w 819150"/>
                  <a:gd name="connsiteY61" fmla="*/ 33020 h 76200"/>
                  <a:gd name="connsiteX62" fmla="*/ 706120 w 819150"/>
                  <a:gd name="connsiteY62" fmla="*/ 35877 h 76200"/>
                  <a:gd name="connsiteX63" fmla="*/ 710565 w 819150"/>
                  <a:gd name="connsiteY63" fmla="*/ 25083 h 76200"/>
                  <a:gd name="connsiteX64" fmla="*/ 701040 w 819150"/>
                  <a:gd name="connsiteY64" fmla="*/ 21590 h 76200"/>
                  <a:gd name="connsiteX65" fmla="*/ 691197 w 819150"/>
                  <a:gd name="connsiteY65" fmla="*/ 20638 h 76200"/>
                  <a:gd name="connsiteX66" fmla="*/ 675322 w 819150"/>
                  <a:gd name="connsiteY66" fmla="*/ 24448 h 76200"/>
                  <a:gd name="connsiteX67" fmla="*/ 669290 w 819150"/>
                  <a:gd name="connsiteY67" fmla="*/ 35877 h 76200"/>
                  <a:gd name="connsiteX68" fmla="*/ 670877 w 819150"/>
                  <a:gd name="connsiteY68" fmla="*/ 43498 h 76200"/>
                  <a:gd name="connsiteX69" fmla="*/ 675957 w 819150"/>
                  <a:gd name="connsiteY69" fmla="*/ 48895 h 76200"/>
                  <a:gd name="connsiteX70" fmla="*/ 684530 w 819150"/>
                  <a:gd name="connsiteY70" fmla="*/ 53340 h 76200"/>
                  <a:gd name="connsiteX71" fmla="*/ 692467 w 819150"/>
                  <a:gd name="connsiteY71" fmla="*/ 57150 h 76200"/>
                  <a:gd name="connsiteX72" fmla="*/ 695642 w 819150"/>
                  <a:gd name="connsiteY72" fmla="*/ 59690 h 76200"/>
                  <a:gd name="connsiteX73" fmla="*/ 696277 w 819150"/>
                  <a:gd name="connsiteY73" fmla="*/ 62230 h 76200"/>
                  <a:gd name="connsiteX74" fmla="*/ 694372 w 819150"/>
                  <a:gd name="connsiteY74" fmla="*/ 65723 h 76200"/>
                  <a:gd name="connsiteX75" fmla="*/ 688022 w 819150"/>
                  <a:gd name="connsiteY75" fmla="*/ 66993 h 76200"/>
                  <a:gd name="connsiteX76" fmla="*/ 678815 w 819150"/>
                  <a:gd name="connsiteY76" fmla="*/ 65723 h 76200"/>
                  <a:gd name="connsiteX77" fmla="*/ 669290 w 819150"/>
                  <a:gd name="connsiteY77" fmla="*/ 62230 h 76200"/>
                  <a:gd name="connsiteX78" fmla="*/ 669290 w 819150"/>
                  <a:gd name="connsiteY78" fmla="*/ 74613 h 76200"/>
                  <a:gd name="connsiteX79" fmla="*/ 677545 w 819150"/>
                  <a:gd name="connsiteY79" fmla="*/ 77152 h 76200"/>
                  <a:gd name="connsiteX80" fmla="*/ 687388 w 819150"/>
                  <a:gd name="connsiteY80" fmla="*/ 77788 h 76200"/>
                  <a:gd name="connsiteX81" fmla="*/ 705167 w 819150"/>
                  <a:gd name="connsiteY81" fmla="*/ 73343 h 76200"/>
                  <a:gd name="connsiteX82" fmla="*/ 711200 w 819150"/>
                  <a:gd name="connsiteY82" fmla="*/ 60325 h 76200"/>
                  <a:gd name="connsiteX83" fmla="*/ 709930 w 819150"/>
                  <a:gd name="connsiteY83" fmla="*/ 52705 h 76200"/>
                  <a:gd name="connsiteX84" fmla="*/ 642302 w 819150"/>
                  <a:gd name="connsiteY84" fmla="*/ 55880 h 76200"/>
                  <a:gd name="connsiteX85" fmla="*/ 638810 w 819150"/>
                  <a:gd name="connsiteY85" fmla="*/ 64135 h 76200"/>
                  <a:gd name="connsiteX86" fmla="*/ 630555 w 819150"/>
                  <a:gd name="connsiteY86" fmla="*/ 66993 h 76200"/>
                  <a:gd name="connsiteX87" fmla="*/ 625157 w 819150"/>
                  <a:gd name="connsiteY87" fmla="*/ 65405 h 76200"/>
                  <a:gd name="connsiteX88" fmla="*/ 623252 w 819150"/>
                  <a:gd name="connsiteY88" fmla="*/ 60325 h 76200"/>
                  <a:gd name="connsiteX89" fmla="*/ 626110 w 819150"/>
                  <a:gd name="connsiteY89" fmla="*/ 53975 h 76200"/>
                  <a:gd name="connsiteX90" fmla="*/ 636270 w 819150"/>
                  <a:gd name="connsiteY90" fmla="*/ 51435 h 76200"/>
                  <a:gd name="connsiteX91" fmla="*/ 642302 w 819150"/>
                  <a:gd name="connsiteY91" fmla="*/ 51118 h 76200"/>
                  <a:gd name="connsiteX92" fmla="*/ 642302 w 819150"/>
                  <a:gd name="connsiteY92" fmla="*/ 55880 h 76200"/>
                  <a:gd name="connsiteX93" fmla="*/ 622935 w 819150"/>
                  <a:gd name="connsiteY93" fmla="*/ 21908 h 76200"/>
                  <a:gd name="connsiteX94" fmla="*/ 613092 w 819150"/>
                  <a:gd name="connsiteY94" fmla="*/ 25400 h 76200"/>
                  <a:gd name="connsiteX95" fmla="*/ 618172 w 819150"/>
                  <a:gd name="connsiteY95" fmla="*/ 35560 h 76200"/>
                  <a:gd name="connsiteX96" fmla="*/ 625792 w 819150"/>
                  <a:gd name="connsiteY96" fmla="*/ 32702 h 76200"/>
                  <a:gd name="connsiteX97" fmla="*/ 633730 w 819150"/>
                  <a:gd name="connsiteY97" fmla="*/ 31433 h 76200"/>
                  <a:gd name="connsiteX98" fmla="*/ 640080 w 819150"/>
                  <a:gd name="connsiteY98" fmla="*/ 33338 h 76200"/>
                  <a:gd name="connsiteX99" fmla="*/ 642302 w 819150"/>
                  <a:gd name="connsiteY99" fmla="*/ 39688 h 76200"/>
                  <a:gd name="connsiteX100" fmla="*/ 642302 w 819150"/>
                  <a:gd name="connsiteY100" fmla="*/ 42227 h 76200"/>
                  <a:gd name="connsiteX101" fmla="*/ 632777 w 819150"/>
                  <a:gd name="connsiteY101" fmla="*/ 42545 h 76200"/>
                  <a:gd name="connsiteX102" fmla="*/ 614045 w 819150"/>
                  <a:gd name="connsiteY102" fmla="*/ 47308 h 76200"/>
                  <a:gd name="connsiteX103" fmla="*/ 607695 w 819150"/>
                  <a:gd name="connsiteY103" fmla="*/ 60325 h 76200"/>
                  <a:gd name="connsiteX104" fmla="*/ 612457 w 819150"/>
                  <a:gd name="connsiteY104" fmla="*/ 73660 h 76200"/>
                  <a:gd name="connsiteX105" fmla="*/ 624840 w 819150"/>
                  <a:gd name="connsiteY105" fmla="*/ 77788 h 76200"/>
                  <a:gd name="connsiteX106" fmla="*/ 635635 w 819150"/>
                  <a:gd name="connsiteY106" fmla="*/ 75883 h 76200"/>
                  <a:gd name="connsiteX107" fmla="*/ 643255 w 819150"/>
                  <a:gd name="connsiteY107" fmla="*/ 69533 h 76200"/>
                  <a:gd name="connsiteX108" fmla="*/ 643572 w 819150"/>
                  <a:gd name="connsiteY108" fmla="*/ 69533 h 76200"/>
                  <a:gd name="connsiteX109" fmla="*/ 646430 w 819150"/>
                  <a:gd name="connsiteY109" fmla="*/ 77152 h 76200"/>
                  <a:gd name="connsiteX110" fmla="*/ 656907 w 819150"/>
                  <a:gd name="connsiteY110" fmla="*/ 77152 h 76200"/>
                  <a:gd name="connsiteX111" fmla="*/ 656907 w 819150"/>
                  <a:gd name="connsiteY111" fmla="*/ 40323 h 76200"/>
                  <a:gd name="connsiteX112" fmla="*/ 650875 w 819150"/>
                  <a:gd name="connsiteY112" fmla="*/ 25400 h 76200"/>
                  <a:gd name="connsiteX113" fmla="*/ 633730 w 819150"/>
                  <a:gd name="connsiteY113" fmla="*/ 20638 h 76200"/>
                  <a:gd name="connsiteX114" fmla="*/ 622935 w 819150"/>
                  <a:gd name="connsiteY114" fmla="*/ 21908 h 76200"/>
                  <a:gd name="connsiteX115" fmla="*/ 582295 w 819150"/>
                  <a:gd name="connsiteY115" fmla="*/ 34925 h 76200"/>
                  <a:gd name="connsiteX116" fmla="*/ 584835 w 819150"/>
                  <a:gd name="connsiteY116" fmla="*/ 43180 h 76200"/>
                  <a:gd name="connsiteX117" fmla="*/ 563563 w 819150"/>
                  <a:gd name="connsiteY117" fmla="*/ 43180 h 76200"/>
                  <a:gd name="connsiteX118" fmla="*/ 567055 w 819150"/>
                  <a:gd name="connsiteY118" fmla="*/ 34290 h 76200"/>
                  <a:gd name="connsiteX119" fmla="*/ 574357 w 819150"/>
                  <a:gd name="connsiteY119" fmla="*/ 31433 h 76200"/>
                  <a:gd name="connsiteX120" fmla="*/ 582295 w 819150"/>
                  <a:gd name="connsiteY120" fmla="*/ 34925 h 76200"/>
                  <a:gd name="connsiteX121" fmla="*/ 560705 w 819150"/>
                  <a:gd name="connsiteY121" fmla="*/ 23813 h 76200"/>
                  <a:gd name="connsiteX122" fmla="*/ 551497 w 819150"/>
                  <a:gd name="connsiteY122" fmla="*/ 33655 h 76200"/>
                  <a:gd name="connsiteX123" fmla="*/ 548322 w 819150"/>
                  <a:gd name="connsiteY123" fmla="*/ 49848 h 76200"/>
                  <a:gd name="connsiteX124" fmla="*/ 552132 w 819150"/>
                  <a:gd name="connsiteY124" fmla="*/ 65723 h 76200"/>
                  <a:gd name="connsiteX125" fmla="*/ 562292 w 819150"/>
                  <a:gd name="connsiteY125" fmla="*/ 74930 h 76200"/>
                  <a:gd name="connsiteX126" fmla="*/ 576897 w 819150"/>
                  <a:gd name="connsiteY126" fmla="*/ 78105 h 76200"/>
                  <a:gd name="connsiteX127" fmla="*/ 587692 w 819150"/>
                  <a:gd name="connsiteY127" fmla="*/ 77152 h 76200"/>
                  <a:gd name="connsiteX128" fmla="*/ 596265 w 819150"/>
                  <a:gd name="connsiteY128" fmla="*/ 74295 h 76200"/>
                  <a:gd name="connsiteX129" fmla="*/ 596265 w 819150"/>
                  <a:gd name="connsiteY129" fmla="*/ 62548 h 76200"/>
                  <a:gd name="connsiteX130" fmla="*/ 587057 w 819150"/>
                  <a:gd name="connsiteY130" fmla="*/ 65723 h 76200"/>
                  <a:gd name="connsiteX131" fmla="*/ 577215 w 819150"/>
                  <a:gd name="connsiteY131" fmla="*/ 66675 h 76200"/>
                  <a:gd name="connsiteX132" fmla="*/ 567055 w 819150"/>
                  <a:gd name="connsiteY132" fmla="*/ 62865 h 76200"/>
                  <a:gd name="connsiteX133" fmla="*/ 563245 w 819150"/>
                  <a:gd name="connsiteY133" fmla="*/ 52705 h 76200"/>
                  <a:gd name="connsiteX134" fmla="*/ 599122 w 819150"/>
                  <a:gd name="connsiteY134" fmla="*/ 52705 h 76200"/>
                  <a:gd name="connsiteX135" fmla="*/ 599122 w 819150"/>
                  <a:gd name="connsiteY135" fmla="*/ 45402 h 76200"/>
                  <a:gd name="connsiteX136" fmla="*/ 592455 w 819150"/>
                  <a:gd name="connsiteY136" fmla="*/ 26670 h 76200"/>
                  <a:gd name="connsiteX137" fmla="*/ 574357 w 819150"/>
                  <a:gd name="connsiteY137" fmla="*/ 20002 h 76200"/>
                  <a:gd name="connsiteX138" fmla="*/ 560705 w 819150"/>
                  <a:gd name="connsiteY138" fmla="*/ 23813 h 76200"/>
                  <a:gd name="connsiteX139" fmla="*/ 537845 w 819150"/>
                  <a:gd name="connsiteY139" fmla="*/ 52705 h 76200"/>
                  <a:gd name="connsiteX140" fmla="*/ 532447 w 819150"/>
                  <a:gd name="connsiteY140" fmla="*/ 47625 h 76200"/>
                  <a:gd name="connsiteX141" fmla="*/ 524192 w 819150"/>
                  <a:gd name="connsiteY141" fmla="*/ 43498 h 76200"/>
                  <a:gd name="connsiteX142" fmla="*/ 516890 w 819150"/>
                  <a:gd name="connsiteY142" fmla="*/ 40323 h 76200"/>
                  <a:gd name="connsiteX143" fmla="*/ 513397 w 819150"/>
                  <a:gd name="connsiteY143" fmla="*/ 38100 h 76200"/>
                  <a:gd name="connsiteX144" fmla="*/ 512445 w 819150"/>
                  <a:gd name="connsiteY144" fmla="*/ 35560 h 76200"/>
                  <a:gd name="connsiteX145" fmla="*/ 519113 w 819150"/>
                  <a:gd name="connsiteY145" fmla="*/ 31750 h 76200"/>
                  <a:gd name="connsiteX146" fmla="*/ 526415 w 819150"/>
                  <a:gd name="connsiteY146" fmla="*/ 33020 h 76200"/>
                  <a:gd name="connsiteX147" fmla="*/ 534035 w 819150"/>
                  <a:gd name="connsiteY147" fmla="*/ 35877 h 76200"/>
                  <a:gd name="connsiteX148" fmla="*/ 538480 w 819150"/>
                  <a:gd name="connsiteY148" fmla="*/ 25083 h 76200"/>
                  <a:gd name="connsiteX149" fmla="*/ 528955 w 819150"/>
                  <a:gd name="connsiteY149" fmla="*/ 21590 h 76200"/>
                  <a:gd name="connsiteX150" fmla="*/ 519113 w 819150"/>
                  <a:gd name="connsiteY150" fmla="*/ 20638 h 76200"/>
                  <a:gd name="connsiteX151" fmla="*/ 503238 w 819150"/>
                  <a:gd name="connsiteY151" fmla="*/ 24448 h 76200"/>
                  <a:gd name="connsiteX152" fmla="*/ 497205 w 819150"/>
                  <a:gd name="connsiteY152" fmla="*/ 35877 h 76200"/>
                  <a:gd name="connsiteX153" fmla="*/ 498792 w 819150"/>
                  <a:gd name="connsiteY153" fmla="*/ 43498 h 76200"/>
                  <a:gd name="connsiteX154" fmla="*/ 503872 w 819150"/>
                  <a:gd name="connsiteY154" fmla="*/ 48895 h 76200"/>
                  <a:gd name="connsiteX155" fmla="*/ 512445 w 819150"/>
                  <a:gd name="connsiteY155" fmla="*/ 53340 h 76200"/>
                  <a:gd name="connsiteX156" fmla="*/ 520382 w 819150"/>
                  <a:gd name="connsiteY156" fmla="*/ 57150 h 76200"/>
                  <a:gd name="connsiteX157" fmla="*/ 523557 w 819150"/>
                  <a:gd name="connsiteY157" fmla="*/ 59690 h 76200"/>
                  <a:gd name="connsiteX158" fmla="*/ 524192 w 819150"/>
                  <a:gd name="connsiteY158" fmla="*/ 62230 h 76200"/>
                  <a:gd name="connsiteX159" fmla="*/ 522288 w 819150"/>
                  <a:gd name="connsiteY159" fmla="*/ 65723 h 76200"/>
                  <a:gd name="connsiteX160" fmla="*/ 515938 w 819150"/>
                  <a:gd name="connsiteY160" fmla="*/ 66993 h 76200"/>
                  <a:gd name="connsiteX161" fmla="*/ 506730 w 819150"/>
                  <a:gd name="connsiteY161" fmla="*/ 65723 h 76200"/>
                  <a:gd name="connsiteX162" fmla="*/ 497205 w 819150"/>
                  <a:gd name="connsiteY162" fmla="*/ 62230 h 76200"/>
                  <a:gd name="connsiteX163" fmla="*/ 497205 w 819150"/>
                  <a:gd name="connsiteY163" fmla="*/ 74613 h 76200"/>
                  <a:gd name="connsiteX164" fmla="*/ 505460 w 819150"/>
                  <a:gd name="connsiteY164" fmla="*/ 77152 h 76200"/>
                  <a:gd name="connsiteX165" fmla="*/ 515302 w 819150"/>
                  <a:gd name="connsiteY165" fmla="*/ 77788 h 76200"/>
                  <a:gd name="connsiteX166" fmla="*/ 533082 w 819150"/>
                  <a:gd name="connsiteY166" fmla="*/ 73343 h 76200"/>
                  <a:gd name="connsiteX167" fmla="*/ 539115 w 819150"/>
                  <a:gd name="connsiteY167" fmla="*/ 60325 h 76200"/>
                  <a:gd name="connsiteX168" fmla="*/ 537845 w 819150"/>
                  <a:gd name="connsiteY168" fmla="*/ 52705 h 76200"/>
                  <a:gd name="connsiteX169" fmla="*/ 470217 w 819150"/>
                  <a:gd name="connsiteY169" fmla="*/ 77152 h 76200"/>
                  <a:gd name="connsiteX170" fmla="*/ 485457 w 819150"/>
                  <a:gd name="connsiteY170" fmla="*/ 77152 h 76200"/>
                  <a:gd name="connsiteX171" fmla="*/ 485457 w 819150"/>
                  <a:gd name="connsiteY171" fmla="*/ 21590 h 76200"/>
                  <a:gd name="connsiteX172" fmla="*/ 470217 w 819150"/>
                  <a:gd name="connsiteY172" fmla="*/ 21590 h 76200"/>
                  <a:gd name="connsiteX173" fmla="*/ 470217 w 819150"/>
                  <a:gd name="connsiteY173" fmla="*/ 77152 h 76200"/>
                  <a:gd name="connsiteX174" fmla="*/ 471805 w 819150"/>
                  <a:gd name="connsiteY174" fmla="*/ 1588 h 76200"/>
                  <a:gd name="connsiteX175" fmla="*/ 469265 w 819150"/>
                  <a:gd name="connsiteY175" fmla="*/ 7302 h 76200"/>
                  <a:gd name="connsiteX176" fmla="*/ 471805 w 819150"/>
                  <a:gd name="connsiteY176" fmla="*/ 13018 h 76200"/>
                  <a:gd name="connsiteX177" fmla="*/ 477520 w 819150"/>
                  <a:gd name="connsiteY177" fmla="*/ 14605 h 76200"/>
                  <a:gd name="connsiteX178" fmla="*/ 483235 w 819150"/>
                  <a:gd name="connsiteY178" fmla="*/ 13018 h 76200"/>
                  <a:gd name="connsiteX179" fmla="*/ 485775 w 819150"/>
                  <a:gd name="connsiteY179" fmla="*/ 7302 h 76200"/>
                  <a:gd name="connsiteX180" fmla="*/ 483235 w 819150"/>
                  <a:gd name="connsiteY180" fmla="*/ 1588 h 76200"/>
                  <a:gd name="connsiteX181" fmla="*/ 477520 w 819150"/>
                  <a:gd name="connsiteY181" fmla="*/ 0 h 76200"/>
                  <a:gd name="connsiteX182" fmla="*/ 471805 w 819150"/>
                  <a:gd name="connsiteY182" fmla="*/ 1588 h 76200"/>
                  <a:gd name="connsiteX183" fmla="*/ 420688 w 819150"/>
                  <a:gd name="connsiteY183" fmla="*/ 61913 h 76200"/>
                  <a:gd name="connsiteX184" fmla="*/ 417830 w 819150"/>
                  <a:gd name="connsiteY184" fmla="*/ 49530 h 76200"/>
                  <a:gd name="connsiteX185" fmla="*/ 420688 w 819150"/>
                  <a:gd name="connsiteY185" fmla="*/ 37148 h 76200"/>
                  <a:gd name="connsiteX186" fmla="*/ 428625 w 819150"/>
                  <a:gd name="connsiteY186" fmla="*/ 32702 h 76200"/>
                  <a:gd name="connsiteX187" fmla="*/ 437832 w 819150"/>
                  <a:gd name="connsiteY187" fmla="*/ 37148 h 76200"/>
                  <a:gd name="connsiteX188" fmla="*/ 440372 w 819150"/>
                  <a:gd name="connsiteY188" fmla="*/ 49530 h 76200"/>
                  <a:gd name="connsiteX189" fmla="*/ 440372 w 819150"/>
                  <a:gd name="connsiteY189" fmla="*/ 51118 h 76200"/>
                  <a:gd name="connsiteX190" fmla="*/ 437515 w 819150"/>
                  <a:gd name="connsiteY190" fmla="*/ 62230 h 76200"/>
                  <a:gd name="connsiteX191" fmla="*/ 428625 w 819150"/>
                  <a:gd name="connsiteY191" fmla="*/ 66040 h 76200"/>
                  <a:gd name="connsiteX192" fmla="*/ 420688 w 819150"/>
                  <a:gd name="connsiteY192" fmla="*/ 61913 h 76200"/>
                  <a:gd name="connsiteX193" fmla="*/ 433070 w 819150"/>
                  <a:gd name="connsiteY193" fmla="*/ 75883 h 76200"/>
                  <a:gd name="connsiteX194" fmla="*/ 439102 w 819150"/>
                  <a:gd name="connsiteY194" fmla="*/ 70168 h 76200"/>
                  <a:gd name="connsiteX195" fmla="*/ 439738 w 819150"/>
                  <a:gd name="connsiteY195" fmla="*/ 70168 h 76200"/>
                  <a:gd name="connsiteX196" fmla="*/ 442595 w 819150"/>
                  <a:gd name="connsiteY196" fmla="*/ 77470 h 76200"/>
                  <a:gd name="connsiteX197" fmla="*/ 454025 w 819150"/>
                  <a:gd name="connsiteY197" fmla="*/ 77470 h 76200"/>
                  <a:gd name="connsiteX198" fmla="*/ 454025 w 819150"/>
                  <a:gd name="connsiteY198" fmla="*/ 318 h 76200"/>
                  <a:gd name="connsiteX199" fmla="*/ 438785 w 819150"/>
                  <a:gd name="connsiteY199" fmla="*/ 318 h 76200"/>
                  <a:gd name="connsiteX200" fmla="*/ 438785 w 819150"/>
                  <a:gd name="connsiteY200" fmla="*/ 18098 h 76200"/>
                  <a:gd name="connsiteX201" fmla="*/ 439102 w 819150"/>
                  <a:gd name="connsiteY201" fmla="*/ 24448 h 76200"/>
                  <a:gd name="connsiteX202" fmla="*/ 439738 w 819150"/>
                  <a:gd name="connsiteY202" fmla="*/ 29210 h 76200"/>
                  <a:gd name="connsiteX203" fmla="*/ 439102 w 819150"/>
                  <a:gd name="connsiteY203" fmla="*/ 29210 h 76200"/>
                  <a:gd name="connsiteX204" fmla="*/ 433070 w 819150"/>
                  <a:gd name="connsiteY204" fmla="*/ 23495 h 76200"/>
                  <a:gd name="connsiteX205" fmla="*/ 423227 w 819150"/>
                  <a:gd name="connsiteY205" fmla="*/ 21273 h 76200"/>
                  <a:gd name="connsiteX206" fmla="*/ 407670 w 819150"/>
                  <a:gd name="connsiteY206" fmla="*/ 28575 h 76200"/>
                  <a:gd name="connsiteX207" fmla="*/ 401638 w 819150"/>
                  <a:gd name="connsiteY207" fmla="*/ 50165 h 76200"/>
                  <a:gd name="connsiteX208" fmla="*/ 407352 w 819150"/>
                  <a:gd name="connsiteY208" fmla="*/ 71438 h 76200"/>
                  <a:gd name="connsiteX209" fmla="*/ 422592 w 819150"/>
                  <a:gd name="connsiteY209" fmla="*/ 78740 h 76200"/>
                  <a:gd name="connsiteX210" fmla="*/ 433070 w 819150"/>
                  <a:gd name="connsiteY210" fmla="*/ 75883 h 76200"/>
                  <a:gd name="connsiteX211" fmla="*/ 359410 w 819150"/>
                  <a:gd name="connsiteY211" fmla="*/ 77152 h 76200"/>
                  <a:gd name="connsiteX212" fmla="*/ 366713 w 819150"/>
                  <a:gd name="connsiteY212" fmla="*/ 73977 h 76200"/>
                  <a:gd name="connsiteX213" fmla="*/ 366713 w 819150"/>
                  <a:gd name="connsiteY213" fmla="*/ 60960 h 76200"/>
                  <a:gd name="connsiteX214" fmla="*/ 359727 w 819150"/>
                  <a:gd name="connsiteY214" fmla="*/ 64452 h 76200"/>
                  <a:gd name="connsiteX215" fmla="*/ 351155 w 819150"/>
                  <a:gd name="connsiteY215" fmla="*/ 65723 h 76200"/>
                  <a:gd name="connsiteX216" fmla="*/ 342582 w 819150"/>
                  <a:gd name="connsiteY216" fmla="*/ 61913 h 76200"/>
                  <a:gd name="connsiteX217" fmla="*/ 339407 w 819150"/>
                  <a:gd name="connsiteY217" fmla="*/ 49530 h 76200"/>
                  <a:gd name="connsiteX218" fmla="*/ 351155 w 819150"/>
                  <a:gd name="connsiteY218" fmla="*/ 32702 h 76200"/>
                  <a:gd name="connsiteX219" fmla="*/ 357188 w 819150"/>
                  <a:gd name="connsiteY219" fmla="*/ 33655 h 76200"/>
                  <a:gd name="connsiteX220" fmla="*/ 363855 w 819150"/>
                  <a:gd name="connsiteY220" fmla="*/ 35877 h 76200"/>
                  <a:gd name="connsiteX221" fmla="*/ 368300 w 819150"/>
                  <a:gd name="connsiteY221" fmla="*/ 24130 h 76200"/>
                  <a:gd name="connsiteX222" fmla="*/ 360997 w 819150"/>
                  <a:gd name="connsiteY222" fmla="*/ 21590 h 76200"/>
                  <a:gd name="connsiteX223" fmla="*/ 351155 w 819150"/>
                  <a:gd name="connsiteY223" fmla="*/ 20320 h 76200"/>
                  <a:gd name="connsiteX224" fmla="*/ 336867 w 819150"/>
                  <a:gd name="connsiteY224" fmla="*/ 23495 h 76200"/>
                  <a:gd name="connsiteX225" fmla="*/ 327342 w 819150"/>
                  <a:gd name="connsiteY225" fmla="*/ 33020 h 76200"/>
                  <a:gd name="connsiteX226" fmla="*/ 323850 w 819150"/>
                  <a:gd name="connsiteY226" fmla="*/ 49530 h 76200"/>
                  <a:gd name="connsiteX227" fmla="*/ 330517 w 819150"/>
                  <a:gd name="connsiteY227" fmla="*/ 71120 h 76200"/>
                  <a:gd name="connsiteX228" fmla="*/ 349567 w 819150"/>
                  <a:gd name="connsiteY228" fmla="*/ 77788 h 76200"/>
                  <a:gd name="connsiteX229" fmla="*/ 359410 w 819150"/>
                  <a:gd name="connsiteY229" fmla="*/ 77152 h 76200"/>
                  <a:gd name="connsiteX230" fmla="*/ 296227 w 819150"/>
                  <a:gd name="connsiteY230" fmla="*/ 77152 h 76200"/>
                  <a:gd name="connsiteX231" fmla="*/ 311467 w 819150"/>
                  <a:gd name="connsiteY231" fmla="*/ 77152 h 76200"/>
                  <a:gd name="connsiteX232" fmla="*/ 311467 w 819150"/>
                  <a:gd name="connsiteY232" fmla="*/ 21590 h 76200"/>
                  <a:gd name="connsiteX233" fmla="*/ 296227 w 819150"/>
                  <a:gd name="connsiteY233" fmla="*/ 21590 h 76200"/>
                  <a:gd name="connsiteX234" fmla="*/ 296227 w 819150"/>
                  <a:gd name="connsiteY234" fmla="*/ 77152 h 76200"/>
                  <a:gd name="connsiteX235" fmla="*/ 297815 w 819150"/>
                  <a:gd name="connsiteY235" fmla="*/ 1588 h 76200"/>
                  <a:gd name="connsiteX236" fmla="*/ 295275 w 819150"/>
                  <a:gd name="connsiteY236" fmla="*/ 7302 h 76200"/>
                  <a:gd name="connsiteX237" fmla="*/ 297815 w 819150"/>
                  <a:gd name="connsiteY237" fmla="*/ 13018 h 76200"/>
                  <a:gd name="connsiteX238" fmla="*/ 303530 w 819150"/>
                  <a:gd name="connsiteY238" fmla="*/ 14605 h 76200"/>
                  <a:gd name="connsiteX239" fmla="*/ 309245 w 819150"/>
                  <a:gd name="connsiteY239" fmla="*/ 13018 h 76200"/>
                  <a:gd name="connsiteX240" fmla="*/ 311785 w 819150"/>
                  <a:gd name="connsiteY240" fmla="*/ 7302 h 76200"/>
                  <a:gd name="connsiteX241" fmla="*/ 309245 w 819150"/>
                  <a:gd name="connsiteY241" fmla="*/ 1588 h 76200"/>
                  <a:gd name="connsiteX242" fmla="*/ 303530 w 819150"/>
                  <a:gd name="connsiteY242" fmla="*/ 0 h 76200"/>
                  <a:gd name="connsiteX243" fmla="*/ 297815 w 819150"/>
                  <a:gd name="connsiteY243" fmla="*/ 1588 h 76200"/>
                  <a:gd name="connsiteX244" fmla="*/ 251142 w 819150"/>
                  <a:gd name="connsiteY244" fmla="*/ 22543 h 76200"/>
                  <a:gd name="connsiteX245" fmla="*/ 243840 w 819150"/>
                  <a:gd name="connsiteY245" fmla="*/ 28893 h 76200"/>
                  <a:gd name="connsiteX246" fmla="*/ 242888 w 819150"/>
                  <a:gd name="connsiteY246" fmla="*/ 28893 h 76200"/>
                  <a:gd name="connsiteX247" fmla="*/ 240982 w 819150"/>
                  <a:gd name="connsiteY247" fmla="*/ 21908 h 76200"/>
                  <a:gd name="connsiteX248" fmla="*/ 229552 w 819150"/>
                  <a:gd name="connsiteY248" fmla="*/ 21908 h 76200"/>
                  <a:gd name="connsiteX249" fmla="*/ 229552 w 819150"/>
                  <a:gd name="connsiteY249" fmla="*/ 77470 h 76200"/>
                  <a:gd name="connsiteX250" fmla="*/ 244792 w 819150"/>
                  <a:gd name="connsiteY250" fmla="*/ 77470 h 76200"/>
                  <a:gd name="connsiteX251" fmla="*/ 244792 w 819150"/>
                  <a:gd name="connsiteY251" fmla="*/ 51435 h 76200"/>
                  <a:gd name="connsiteX252" fmla="*/ 247332 w 819150"/>
                  <a:gd name="connsiteY252" fmla="*/ 37783 h 76200"/>
                  <a:gd name="connsiteX253" fmla="*/ 256857 w 819150"/>
                  <a:gd name="connsiteY253" fmla="*/ 33020 h 76200"/>
                  <a:gd name="connsiteX254" fmla="*/ 263525 w 819150"/>
                  <a:gd name="connsiteY254" fmla="*/ 35877 h 76200"/>
                  <a:gd name="connsiteX255" fmla="*/ 265747 w 819150"/>
                  <a:gd name="connsiteY255" fmla="*/ 44768 h 76200"/>
                  <a:gd name="connsiteX256" fmla="*/ 265747 w 819150"/>
                  <a:gd name="connsiteY256" fmla="*/ 77152 h 76200"/>
                  <a:gd name="connsiteX257" fmla="*/ 280988 w 819150"/>
                  <a:gd name="connsiteY257" fmla="*/ 77152 h 76200"/>
                  <a:gd name="connsiteX258" fmla="*/ 280988 w 819150"/>
                  <a:gd name="connsiteY258" fmla="*/ 40958 h 76200"/>
                  <a:gd name="connsiteX259" fmla="*/ 275590 w 819150"/>
                  <a:gd name="connsiteY259" fmla="*/ 25400 h 76200"/>
                  <a:gd name="connsiteX260" fmla="*/ 261302 w 819150"/>
                  <a:gd name="connsiteY260" fmla="*/ 20638 h 76200"/>
                  <a:gd name="connsiteX261" fmla="*/ 251142 w 819150"/>
                  <a:gd name="connsiteY261" fmla="*/ 22543 h 76200"/>
                  <a:gd name="connsiteX262" fmla="*/ 181292 w 819150"/>
                  <a:gd name="connsiteY262" fmla="*/ 36830 h 76200"/>
                  <a:gd name="connsiteX263" fmla="*/ 189865 w 819150"/>
                  <a:gd name="connsiteY263" fmla="*/ 32702 h 76200"/>
                  <a:gd name="connsiteX264" fmla="*/ 198755 w 819150"/>
                  <a:gd name="connsiteY264" fmla="*/ 36830 h 76200"/>
                  <a:gd name="connsiteX265" fmla="*/ 201295 w 819150"/>
                  <a:gd name="connsiteY265" fmla="*/ 49213 h 76200"/>
                  <a:gd name="connsiteX266" fmla="*/ 198755 w 819150"/>
                  <a:gd name="connsiteY266" fmla="*/ 61595 h 76200"/>
                  <a:gd name="connsiteX267" fmla="*/ 190182 w 819150"/>
                  <a:gd name="connsiteY267" fmla="*/ 65723 h 76200"/>
                  <a:gd name="connsiteX268" fmla="*/ 181292 w 819150"/>
                  <a:gd name="connsiteY268" fmla="*/ 61595 h 76200"/>
                  <a:gd name="connsiteX269" fmla="*/ 178752 w 819150"/>
                  <a:gd name="connsiteY269" fmla="*/ 49213 h 76200"/>
                  <a:gd name="connsiteX270" fmla="*/ 181292 w 819150"/>
                  <a:gd name="connsiteY270" fmla="*/ 36830 h 76200"/>
                  <a:gd name="connsiteX271" fmla="*/ 213360 w 819150"/>
                  <a:gd name="connsiteY271" fmla="*/ 33655 h 76200"/>
                  <a:gd name="connsiteX272" fmla="*/ 203835 w 819150"/>
                  <a:gd name="connsiteY272" fmla="*/ 23813 h 76200"/>
                  <a:gd name="connsiteX273" fmla="*/ 189865 w 819150"/>
                  <a:gd name="connsiteY273" fmla="*/ 20320 h 76200"/>
                  <a:gd name="connsiteX274" fmla="*/ 170180 w 819150"/>
                  <a:gd name="connsiteY274" fmla="*/ 27623 h 76200"/>
                  <a:gd name="connsiteX275" fmla="*/ 162877 w 819150"/>
                  <a:gd name="connsiteY275" fmla="*/ 48895 h 76200"/>
                  <a:gd name="connsiteX276" fmla="*/ 166370 w 819150"/>
                  <a:gd name="connsiteY276" fmla="*/ 64452 h 76200"/>
                  <a:gd name="connsiteX277" fmla="*/ 175895 w 819150"/>
                  <a:gd name="connsiteY277" fmla="*/ 74295 h 76200"/>
                  <a:gd name="connsiteX278" fmla="*/ 189547 w 819150"/>
                  <a:gd name="connsiteY278" fmla="*/ 77788 h 76200"/>
                  <a:gd name="connsiteX279" fmla="*/ 209232 w 819150"/>
                  <a:gd name="connsiteY279" fmla="*/ 70168 h 76200"/>
                  <a:gd name="connsiteX280" fmla="*/ 216535 w 819150"/>
                  <a:gd name="connsiteY280" fmla="*/ 48895 h 76200"/>
                  <a:gd name="connsiteX281" fmla="*/ 213360 w 819150"/>
                  <a:gd name="connsiteY281" fmla="*/ 33655 h 76200"/>
                  <a:gd name="connsiteX282" fmla="*/ 143510 w 819150"/>
                  <a:gd name="connsiteY282" fmla="*/ 23813 h 76200"/>
                  <a:gd name="connsiteX283" fmla="*/ 136842 w 819150"/>
                  <a:gd name="connsiteY283" fmla="*/ 31115 h 76200"/>
                  <a:gd name="connsiteX284" fmla="*/ 136207 w 819150"/>
                  <a:gd name="connsiteY284" fmla="*/ 31115 h 76200"/>
                  <a:gd name="connsiteX285" fmla="*/ 133985 w 819150"/>
                  <a:gd name="connsiteY285" fmla="*/ 21908 h 76200"/>
                  <a:gd name="connsiteX286" fmla="*/ 122555 w 819150"/>
                  <a:gd name="connsiteY286" fmla="*/ 21908 h 76200"/>
                  <a:gd name="connsiteX287" fmla="*/ 122555 w 819150"/>
                  <a:gd name="connsiteY287" fmla="*/ 77470 h 76200"/>
                  <a:gd name="connsiteX288" fmla="*/ 137795 w 819150"/>
                  <a:gd name="connsiteY288" fmla="*/ 77470 h 76200"/>
                  <a:gd name="connsiteX289" fmla="*/ 137795 w 819150"/>
                  <a:gd name="connsiteY289" fmla="*/ 49213 h 76200"/>
                  <a:gd name="connsiteX290" fmla="*/ 140017 w 819150"/>
                  <a:gd name="connsiteY290" fmla="*/ 40958 h 76200"/>
                  <a:gd name="connsiteX291" fmla="*/ 145732 w 819150"/>
                  <a:gd name="connsiteY291" fmla="*/ 36513 h 76200"/>
                  <a:gd name="connsiteX292" fmla="*/ 153035 w 819150"/>
                  <a:gd name="connsiteY292" fmla="*/ 35243 h 76200"/>
                  <a:gd name="connsiteX293" fmla="*/ 155257 w 819150"/>
                  <a:gd name="connsiteY293" fmla="*/ 35243 h 76200"/>
                  <a:gd name="connsiteX294" fmla="*/ 157480 w 819150"/>
                  <a:gd name="connsiteY294" fmla="*/ 35560 h 76200"/>
                  <a:gd name="connsiteX295" fmla="*/ 158750 w 819150"/>
                  <a:gd name="connsiteY295" fmla="*/ 21273 h 76200"/>
                  <a:gd name="connsiteX296" fmla="*/ 156210 w 819150"/>
                  <a:gd name="connsiteY296" fmla="*/ 20955 h 76200"/>
                  <a:gd name="connsiteX297" fmla="*/ 153670 w 819150"/>
                  <a:gd name="connsiteY297" fmla="*/ 20955 h 76200"/>
                  <a:gd name="connsiteX298" fmla="*/ 143510 w 819150"/>
                  <a:gd name="connsiteY298" fmla="*/ 23813 h 76200"/>
                  <a:gd name="connsiteX299" fmla="*/ 55563 w 819150"/>
                  <a:gd name="connsiteY299" fmla="*/ 0 h 76200"/>
                  <a:gd name="connsiteX300" fmla="*/ 55563 w 819150"/>
                  <a:gd name="connsiteY300" fmla="*/ 77152 h 76200"/>
                  <a:gd name="connsiteX301" fmla="*/ 70802 w 819150"/>
                  <a:gd name="connsiteY301" fmla="*/ 77152 h 76200"/>
                  <a:gd name="connsiteX302" fmla="*/ 70802 w 819150"/>
                  <a:gd name="connsiteY302" fmla="*/ 51118 h 76200"/>
                  <a:gd name="connsiteX303" fmla="*/ 73342 w 819150"/>
                  <a:gd name="connsiteY303" fmla="*/ 37465 h 76200"/>
                  <a:gd name="connsiteX304" fmla="*/ 82867 w 819150"/>
                  <a:gd name="connsiteY304" fmla="*/ 32702 h 76200"/>
                  <a:gd name="connsiteX305" fmla="*/ 91757 w 819150"/>
                  <a:gd name="connsiteY305" fmla="*/ 44768 h 76200"/>
                  <a:gd name="connsiteX306" fmla="*/ 91757 w 819150"/>
                  <a:gd name="connsiteY306" fmla="*/ 77152 h 76200"/>
                  <a:gd name="connsiteX307" fmla="*/ 106997 w 819150"/>
                  <a:gd name="connsiteY307" fmla="*/ 77152 h 76200"/>
                  <a:gd name="connsiteX308" fmla="*/ 106997 w 819150"/>
                  <a:gd name="connsiteY308" fmla="*/ 40958 h 76200"/>
                  <a:gd name="connsiteX309" fmla="*/ 101600 w 819150"/>
                  <a:gd name="connsiteY309" fmla="*/ 25400 h 76200"/>
                  <a:gd name="connsiteX310" fmla="*/ 87313 w 819150"/>
                  <a:gd name="connsiteY310" fmla="*/ 20638 h 76200"/>
                  <a:gd name="connsiteX311" fmla="*/ 78105 w 819150"/>
                  <a:gd name="connsiteY311" fmla="*/ 22543 h 76200"/>
                  <a:gd name="connsiteX312" fmla="*/ 71438 w 819150"/>
                  <a:gd name="connsiteY312" fmla="*/ 28893 h 76200"/>
                  <a:gd name="connsiteX313" fmla="*/ 70485 w 819150"/>
                  <a:gd name="connsiteY313" fmla="*/ 28893 h 76200"/>
                  <a:gd name="connsiteX314" fmla="*/ 70802 w 819150"/>
                  <a:gd name="connsiteY314" fmla="*/ 23813 h 76200"/>
                  <a:gd name="connsiteX315" fmla="*/ 71120 w 819150"/>
                  <a:gd name="connsiteY315" fmla="*/ 15875 h 76200"/>
                  <a:gd name="connsiteX316" fmla="*/ 71120 w 819150"/>
                  <a:gd name="connsiteY316" fmla="*/ 0 h 76200"/>
                  <a:gd name="connsiteX317" fmla="*/ 55563 w 819150"/>
                  <a:gd name="connsiteY317" fmla="*/ 0 h 76200"/>
                  <a:gd name="connsiteX318" fmla="*/ 35560 w 819150"/>
                  <a:gd name="connsiteY318" fmla="*/ 77152 h 76200"/>
                  <a:gd name="connsiteX319" fmla="*/ 42863 w 819150"/>
                  <a:gd name="connsiteY319" fmla="*/ 73977 h 76200"/>
                  <a:gd name="connsiteX320" fmla="*/ 42863 w 819150"/>
                  <a:gd name="connsiteY320" fmla="*/ 60960 h 76200"/>
                  <a:gd name="connsiteX321" fmla="*/ 35877 w 819150"/>
                  <a:gd name="connsiteY321" fmla="*/ 64452 h 76200"/>
                  <a:gd name="connsiteX322" fmla="*/ 27305 w 819150"/>
                  <a:gd name="connsiteY322" fmla="*/ 65723 h 76200"/>
                  <a:gd name="connsiteX323" fmla="*/ 18732 w 819150"/>
                  <a:gd name="connsiteY323" fmla="*/ 61913 h 76200"/>
                  <a:gd name="connsiteX324" fmla="*/ 15557 w 819150"/>
                  <a:gd name="connsiteY324" fmla="*/ 49530 h 76200"/>
                  <a:gd name="connsiteX325" fmla="*/ 27305 w 819150"/>
                  <a:gd name="connsiteY325" fmla="*/ 32702 h 76200"/>
                  <a:gd name="connsiteX326" fmla="*/ 33338 w 819150"/>
                  <a:gd name="connsiteY326" fmla="*/ 33655 h 76200"/>
                  <a:gd name="connsiteX327" fmla="*/ 40005 w 819150"/>
                  <a:gd name="connsiteY327" fmla="*/ 35877 h 76200"/>
                  <a:gd name="connsiteX328" fmla="*/ 44450 w 819150"/>
                  <a:gd name="connsiteY328" fmla="*/ 24130 h 76200"/>
                  <a:gd name="connsiteX329" fmla="*/ 37147 w 819150"/>
                  <a:gd name="connsiteY329" fmla="*/ 21590 h 76200"/>
                  <a:gd name="connsiteX330" fmla="*/ 27305 w 819150"/>
                  <a:gd name="connsiteY330" fmla="*/ 20320 h 76200"/>
                  <a:gd name="connsiteX331" fmla="*/ 13017 w 819150"/>
                  <a:gd name="connsiteY331" fmla="*/ 23495 h 76200"/>
                  <a:gd name="connsiteX332" fmla="*/ 3492 w 819150"/>
                  <a:gd name="connsiteY332" fmla="*/ 33020 h 76200"/>
                  <a:gd name="connsiteX333" fmla="*/ 0 w 819150"/>
                  <a:gd name="connsiteY333" fmla="*/ 49530 h 76200"/>
                  <a:gd name="connsiteX334" fmla="*/ 6667 w 819150"/>
                  <a:gd name="connsiteY334" fmla="*/ 71120 h 76200"/>
                  <a:gd name="connsiteX335" fmla="*/ 25717 w 819150"/>
                  <a:gd name="connsiteY335" fmla="*/ 77788 h 76200"/>
                  <a:gd name="connsiteX336" fmla="*/ 35560 w 819150"/>
                  <a:gd name="connsiteY336" fmla="*/ 7715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819150" h="76200">
                    <a:moveTo>
                      <a:pt x="820420" y="52705"/>
                    </a:moveTo>
                    <a:cubicBezTo>
                      <a:pt x="819150" y="50483"/>
                      <a:pt x="817245" y="48895"/>
                      <a:pt x="815022" y="47625"/>
                    </a:cubicBezTo>
                    <a:cubicBezTo>
                      <a:pt x="812800" y="46355"/>
                      <a:pt x="809942" y="44768"/>
                      <a:pt x="806767" y="43498"/>
                    </a:cubicBezTo>
                    <a:cubicBezTo>
                      <a:pt x="803592" y="42227"/>
                      <a:pt x="801052" y="40958"/>
                      <a:pt x="799465" y="40323"/>
                    </a:cubicBezTo>
                    <a:cubicBezTo>
                      <a:pt x="797877" y="39370"/>
                      <a:pt x="796607" y="38735"/>
                      <a:pt x="795972" y="38100"/>
                    </a:cubicBezTo>
                    <a:cubicBezTo>
                      <a:pt x="795338" y="37465"/>
                      <a:pt x="795020" y="36513"/>
                      <a:pt x="795020" y="35560"/>
                    </a:cubicBezTo>
                    <a:cubicBezTo>
                      <a:pt x="795020" y="33020"/>
                      <a:pt x="797242" y="31750"/>
                      <a:pt x="801688" y="31750"/>
                    </a:cubicBezTo>
                    <a:cubicBezTo>
                      <a:pt x="804227" y="31750"/>
                      <a:pt x="806767" y="32068"/>
                      <a:pt x="808990" y="33020"/>
                    </a:cubicBezTo>
                    <a:cubicBezTo>
                      <a:pt x="811530" y="33655"/>
                      <a:pt x="814070" y="34608"/>
                      <a:pt x="816610" y="35877"/>
                    </a:cubicBezTo>
                    <a:lnTo>
                      <a:pt x="821055" y="25083"/>
                    </a:lnTo>
                    <a:cubicBezTo>
                      <a:pt x="817880" y="23495"/>
                      <a:pt x="814388" y="22543"/>
                      <a:pt x="811530" y="21590"/>
                    </a:cubicBezTo>
                    <a:cubicBezTo>
                      <a:pt x="808355" y="20955"/>
                      <a:pt x="805180" y="20638"/>
                      <a:pt x="801688" y="20638"/>
                    </a:cubicBezTo>
                    <a:cubicBezTo>
                      <a:pt x="795020" y="20638"/>
                      <a:pt x="789622" y="21908"/>
                      <a:pt x="785813" y="24448"/>
                    </a:cubicBezTo>
                    <a:cubicBezTo>
                      <a:pt x="782002" y="26988"/>
                      <a:pt x="779780" y="30798"/>
                      <a:pt x="779780" y="35877"/>
                    </a:cubicBezTo>
                    <a:cubicBezTo>
                      <a:pt x="779780" y="39052"/>
                      <a:pt x="780415" y="41593"/>
                      <a:pt x="781367" y="43498"/>
                    </a:cubicBezTo>
                    <a:cubicBezTo>
                      <a:pt x="782320" y="45720"/>
                      <a:pt x="784225" y="47308"/>
                      <a:pt x="786447" y="48895"/>
                    </a:cubicBezTo>
                    <a:cubicBezTo>
                      <a:pt x="788670" y="50483"/>
                      <a:pt x="791527" y="51752"/>
                      <a:pt x="795020" y="53340"/>
                    </a:cubicBezTo>
                    <a:cubicBezTo>
                      <a:pt x="798513" y="54927"/>
                      <a:pt x="801370" y="56198"/>
                      <a:pt x="802957" y="57150"/>
                    </a:cubicBezTo>
                    <a:cubicBezTo>
                      <a:pt x="804545" y="58102"/>
                      <a:pt x="805815" y="59055"/>
                      <a:pt x="806132" y="59690"/>
                    </a:cubicBezTo>
                    <a:cubicBezTo>
                      <a:pt x="806767" y="60325"/>
                      <a:pt x="806767" y="61277"/>
                      <a:pt x="806767" y="62230"/>
                    </a:cubicBezTo>
                    <a:cubicBezTo>
                      <a:pt x="806767" y="63500"/>
                      <a:pt x="806132" y="64770"/>
                      <a:pt x="804863" y="65723"/>
                    </a:cubicBezTo>
                    <a:cubicBezTo>
                      <a:pt x="803592" y="66675"/>
                      <a:pt x="801370" y="66993"/>
                      <a:pt x="798513" y="66993"/>
                    </a:cubicBezTo>
                    <a:cubicBezTo>
                      <a:pt x="795972" y="66993"/>
                      <a:pt x="792797" y="66675"/>
                      <a:pt x="789305" y="65723"/>
                    </a:cubicBezTo>
                    <a:cubicBezTo>
                      <a:pt x="785813" y="64770"/>
                      <a:pt x="782638" y="63818"/>
                      <a:pt x="779780" y="62230"/>
                    </a:cubicBezTo>
                    <a:lnTo>
                      <a:pt x="779780" y="74613"/>
                    </a:lnTo>
                    <a:cubicBezTo>
                      <a:pt x="782638" y="75883"/>
                      <a:pt x="785177" y="76518"/>
                      <a:pt x="788035" y="77152"/>
                    </a:cubicBezTo>
                    <a:cubicBezTo>
                      <a:pt x="790892" y="77788"/>
                      <a:pt x="794067" y="77788"/>
                      <a:pt x="797877" y="77788"/>
                    </a:cubicBezTo>
                    <a:cubicBezTo>
                      <a:pt x="805815" y="77788"/>
                      <a:pt x="811530" y="76200"/>
                      <a:pt x="815657" y="73343"/>
                    </a:cubicBezTo>
                    <a:cubicBezTo>
                      <a:pt x="819467" y="70485"/>
                      <a:pt x="821690" y="66040"/>
                      <a:pt x="821690" y="60325"/>
                    </a:cubicBezTo>
                    <a:cubicBezTo>
                      <a:pt x="822325" y="57468"/>
                      <a:pt x="821690" y="54610"/>
                      <a:pt x="820420" y="52705"/>
                    </a:cubicBezTo>
                    <a:moveTo>
                      <a:pt x="754380" y="34925"/>
                    </a:moveTo>
                    <a:cubicBezTo>
                      <a:pt x="755967" y="37148"/>
                      <a:pt x="756920" y="40005"/>
                      <a:pt x="756920" y="43180"/>
                    </a:cubicBezTo>
                    <a:lnTo>
                      <a:pt x="735647" y="43180"/>
                    </a:lnTo>
                    <a:cubicBezTo>
                      <a:pt x="735965" y="39052"/>
                      <a:pt x="737235" y="36195"/>
                      <a:pt x="739140" y="34290"/>
                    </a:cubicBezTo>
                    <a:cubicBezTo>
                      <a:pt x="741045" y="32385"/>
                      <a:pt x="743585" y="31433"/>
                      <a:pt x="746442" y="31433"/>
                    </a:cubicBezTo>
                    <a:cubicBezTo>
                      <a:pt x="749935" y="31433"/>
                      <a:pt x="752475" y="32385"/>
                      <a:pt x="754380" y="34925"/>
                    </a:cubicBezTo>
                    <a:moveTo>
                      <a:pt x="732472" y="23813"/>
                    </a:moveTo>
                    <a:cubicBezTo>
                      <a:pt x="728663" y="26035"/>
                      <a:pt x="725488" y="29210"/>
                      <a:pt x="723265" y="33655"/>
                    </a:cubicBezTo>
                    <a:cubicBezTo>
                      <a:pt x="721042" y="38100"/>
                      <a:pt x="720090" y="43498"/>
                      <a:pt x="720090" y="49848"/>
                    </a:cubicBezTo>
                    <a:cubicBezTo>
                      <a:pt x="720090" y="56198"/>
                      <a:pt x="721360" y="61595"/>
                      <a:pt x="723900" y="65723"/>
                    </a:cubicBezTo>
                    <a:cubicBezTo>
                      <a:pt x="726440" y="69850"/>
                      <a:pt x="729615" y="73025"/>
                      <a:pt x="734060" y="74930"/>
                    </a:cubicBezTo>
                    <a:cubicBezTo>
                      <a:pt x="738188" y="77152"/>
                      <a:pt x="743267" y="78105"/>
                      <a:pt x="748665" y="78105"/>
                    </a:cubicBezTo>
                    <a:cubicBezTo>
                      <a:pt x="752792" y="78105"/>
                      <a:pt x="756602" y="77788"/>
                      <a:pt x="759460" y="77152"/>
                    </a:cubicBezTo>
                    <a:cubicBezTo>
                      <a:pt x="762317" y="76518"/>
                      <a:pt x="765175" y="75565"/>
                      <a:pt x="768032" y="74295"/>
                    </a:cubicBezTo>
                    <a:lnTo>
                      <a:pt x="768032" y="62548"/>
                    </a:lnTo>
                    <a:cubicBezTo>
                      <a:pt x="764857" y="64135"/>
                      <a:pt x="762000" y="65088"/>
                      <a:pt x="758825" y="65723"/>
                    </a:cubicBezTo>
                    <a:cubicBezTo>
                      <a:pt x="755650" y="66358"/>
                      <a:pt x="752792" y="66675"/>
                      <a:pt x="748982" y="66675"/>
                    </a:cubicBezTo>
                    <a:cubicBezTo>
                      <a:pt x="744855" y="66675"/>
                      <a:pt x="741363" y="65405"/>
                      <a:pt x="738822" y="62865"/>
                    </a:cubicBezTo>
                    <a:cubicBezTo>
                      <a:pt x="736282" y="60325"/>
                      <a:pt x="735013" y="57150"/>
                      <a:pt x="735013" y="52705"/>
                    </a:cubicBezTo>
                    <a:lnTo>
                      <a:pt x="770890" y="52705"/>
                    </a:lnTo>
                    <a:lnTo>
                      <a:pt x="770890" y="45402"/>
                    </a:lnTo>
                    <a:cubicBezTo>
                      <a:pt x="770890" y="37465"/>
                      <a:pt x="768667" y="31115"/>
                      <a:pt x="764222" y="26670"/>
                    </a:cubicBezTo>
                    <a:cubicBezTo>
                      <a:pt x="759777" y="22225"/>
                      <a:pt x="753745" y="20002"/>
                      <a:pt x="746125" y="20002"/>
                    </a:cubicBezTo>
                    <a:cubicBezTo>
                      <a:pt x="741045" y="20638"/>
                      <a:pt x="736600" y="21590"/>
                      <a:pt x="732472" y="23813"/>
                    </a:cubicBezTo>
                    <a:moveTo>
                      <a:pt x="709930" y="52705"/>
                    </a:moveTo>
                    <a:cubicBezTo>
                      <a:pt x="708660" y="50483"/>
                      <a:pt x="706755" y="48895"/>
                      <a:pt x="704532" y="47625"/>
                    </a:cubicBezTo>
                    <a:cubicBezTo>
                      <a:pt x="702310" y="46355"/>
                      <a:pt x="699452" y="44768"/>
                      <a:pt x="696277" y="43498"/>
                    </a:cubicBezTo>
                    <a:cubicBezTo>
                      <a:pt x="693102" y="42227"/>
                      <a:pt x="690563" y="40958"/>
                      <a:pt x="688975" y="40323"/>
                    </a:cubicBezTo>
                    <a:cubicBezTo>
                      <a:pt x="687388" y="39370"/>
                      <a:pt x="686117" y="38735"/>
                      <a:pt x="685482" y="38100"/>
                    </a:cubicBezTo>
                    <a:cubicBezTo>
                      <a:pt x="684847" y="37465"/>
                      <a:pt x="684530" y="36513"/>
                      <a:pt x="684530" y="35560"/>
                    </a:cubicBezTo>
                    <a:cubicBezTo>
                      <a:pt x="684530" y="33020"/>
                      <a:pt x="686752" y="31750"/>
                      <a:pt x="691197" y="31750"/>
                    </a:cubicBezTo>
                    <a:cubicBezTo>
                      <a:pt x="693738" y="31750"/>
                      <a:pt x="696277" y="32068"/>
                      <a:pt x="698500" y="33020"/>
                    </a:cubicBezTo>
                    <a:cubicBezTo>
                      <a:pt x="701040" y="33655"/>
                      <a:pt x="703580" y="34608"/>
                      <a:pt x="706120" y="35877"/>
                    </a:cubicBezTo>
                    <a:lnTo>
                      <a:pt x="710565" y="25083"/>
                    </a:lnTo>
                    <a:cubicBezTo>
                      <a:pt x="707390" y="23495"/>
                      <a:pt x="703897" y="22543"/>
                      <a:pt x="701040" y="21590"/>
                    </a:cubicBezTo>
                    <a:cubicBezTo>
                      <a:pt x="697865" y="20955"/>
                      <a:pt x="694690" y="20638"/>
                      <a:pt x="691197" y="20638"/>
                    </a:cubicBezTo>
                    <a:cubicBezTo>
                      <a:pt x="684530" y="20638"/>
                      <a:pt x="679132" y="21908"/>
                      <a:pt x="675322" y="24448"/>
                    </a:cubicBezTo>
                    <a:cubicBezTo>
                      <a:pt x="671195" y="26988"/>
                      <a:pt x="669290" y="30798"/>
                      <a:pt x="669290" y="35877"/>
                    </a:cubicBezTo>
                    <a:cubicBezTo>
                      <a:pt x="669290" y="39052"/>
                      <a:pt x="669925" y="41593"/>
                      <a:pt x="670877" y="43498"/>
                    </a:cubicBezTo>
                    <a:cubicBezTo>
                      <a:pt x="671830" y="45720"/>
                      <a:pt x="673735" y="47308"/>
                      <a:pt x="675957" y="48895"/>
                    </a:cubicBezTo>
                    <a:cubicBezTo>
                      <a:pt x="678180" y="50483"/>
                      <a:pt x="681038" y="51752"/>
                      <a:pt x="684530" y="53340"/>
                    </a:cubicBezTo>
                    <a:cubicBezTo>
                      <a:pt x="688022" y="54927"/>
                      <a:pt x="690880" y="56198"/>
                      <a:pt x="692467" y="57150"/>
                    </a:cubicBezTo>
                    <a:cubicBezTo>
                      <a:pt x="694055" y="58102"/>
                      <a:pt x="695325" y="59055"/>
                      <a:pt x="695642" y="59690"/>
                    </a:cubicBezTo>
                    <a:cubicBezTo>
                      <a:pt x="695960" y="60325"/>
                      <a:pt x="696277" y="61277"/>
                      <a:pt x="696277" y="62230"/>
                    </a:cubicBezTo>
                    <a:cubicBezTo>
                      <a:pt x="696277" y="63500"/>
                      <a:pt x="695642" y="64770"/>
                      <a:pt x="694372" y="65723"/>
                    </a:cubicBezTo>
                    <a:cubicBezTo>
                      <a:pt x="693102" y="66675"/>
                      <a:pt x="690880" y="66993"/>
                      <a:pt x="688022" y="66993"/>
                    </a:cubicBezTo>
                    <a:cubicBezTo>
                      <a:pt x="685482" y="66993"/>
                      <a:pt x="682307" y="66675"/>
                      <a:pt x="678815" y="65723"/>
                    </a:cubicBezTo>
                    <a:cubicBezTo>
                      <a:pt x="675322" y="64770"/>
                      <a:pt x="672147" y="63818"/>
                      <a:pt x="669290" y="62230"/>
                    </a:cubicBezTo>
                    <a:lnTo>
                      <a:pt x="669290" y="74613"/>
                    </a:lnTo>
                    <a:cubicBezTo>
                      <a:pt x="672147" y="75883"/>
                      <a:pt x="675005" y="76518"/>
                      <a:pt x="677545" y="77152"/>
                    </a:cubicBezTo>
                    <a:cubicBezTo>
                      <a:pt x="680402" y="77788"/>
                      <a:pt x="683577" y="77788"/>
                      <a:pt x="687388" y="77788"/>
                    </a:cubicBezTo>
                    <a:cubicBezTo>
                      <a:pt x="695325" y="77788"/>
                      <a:pt x="701040" y="76200"/>
                      <a:pt x="705167" y="73343"/>
                    </a:cubicBezTo>
                    <a:cubicBezTo>
                      <a:pt x="708977" y="70485"/>
                      <a:pt x="711200" y="66040"/>
                      <a:pt x="711200" y="60325"/>
                    </a:cubicBezTo>
                    <a:cubicBezTo>
                      <a:pt x="711835" y="57468"/>
                      <a:pt x="711200" y="54610"/>
                      <a:pt x="709930" y="52705"/>
                    </a:cubicBezTo>
                    <a:moveTo>
                      <a:pt x="642302" y="55880"/>
                    </a:moveTo>
                    <a:cubicBezTo>
                      <a:pt x="642302" y="59373"/>
                      <a:pt x="641032" y="62230"/>
                      <a:pt x="638810" y="64135"/>
                    </a:cubicBezTo>
                    <a:cubicBezTo>
                      <a:pt x="636588" y="66040"/>
                      <a:pt x="633730" y="66993"/>
                      <a:pt x="630555" y="66993"/>
                    </a:cubicBezTo>
                    <a:cubicBezTo>
                      <a:pt x="628332" y="66993"/>
                      <a:pt x="626745" y="66358"/>
                      <a:pt x="625157" y="65405"/>
                    </a:cubicBezTo>
                    <a:cubicBezTo>
                      <a:pt x="623888" y="64452"/>
                      <a:pt x="623252" y="62865"/>
                      <a:pt x="623252" y="60325"/>
                    </a:cubicBezTo>
                    <a:cubicBezTo>
                      <a:pt x="623252" y="57785"/>
                      <a:pt x="624205" y="55563"/>
                      <a:pt x="626110" y="53975"/>
                    </a:cubicBezTo>
                    <a:cubicBezTo>
                      <a:pt x="628015" y="52388"/>
                      <a:pt x="631507" y="51435"/>
                      <a:pt x="636270" y="51435"/>
                    </a:cubicBezTo>
                    <a:lnTo>
                      <a:pt x="642302" y="51118"/>
                    </a:lnTo>
                    <a:lnTo>
                      <a:pt x="642302" y="55880"/>
                    </a:lnTo>
                    <a:close/>
                    <a:moveTo>
                      <a:pt x="622935" y="21908"/>
                    </a:moveTo>
                    <a:cubicBezTo>
                      <a:pt x="619125" y="22860"/>
                      <a:pt x="615950" y="24130"/>
                      <a:pt x="613092" y="25400"/>
                    </a:cubicBezTo>
                    <a:lnTo>
                      <a:pt x="618172" y="35560"/>
                    </a:lnTo>
                    <a:cubicBezTo>
                      <a:pt x="620713" y="34290"/>
                      <a:pt x="623252" y="33338"/>
                      <a:pt x="625792" y="32702"/>
                    </a:cubicBezTo>
                    <a:cubicBezTo>
                      <a:pt x="628332" y="32068"/>
                      <a:pt x="630872" y="31433"/>
                      <a:pt x="633730" y="31433"/>
                    </a:cubicBezTo>
                    <a:cubicBezTo>
                      <a:pt x="636588" y="31433"/>
                      <a:pt x="638492" y="32068"/>
                      <a:pt x="640080" y="33338"/>
                    </a:cubicBezTo>
                    <a:cubicBezTo>
                      <a:pt x="641667" y="34608"/>
                      <a:pt x="642302" y="36830"/>
                      <a:pt x="642302" y="39688"/>
                    </a:cubicBezTo>
                    <a:lnTo>
                      <a:pt x="642302" y="42227"/>
                    </a:lnTo>
                    <a:lnTo>
                      <a:pt x="632777" y="42545"/>
                    </a:lnTo>
                    <a:cubicBezTo>
                      <a:pt x="624522" y="42863"/>
                      <a:pt x="618172" y="44450"/>
                      <a:pt x="614045" y="47308"/>
                    </a:cubicBezTo>
                    <a:cubicBezTo>
                      <a:pt x="609917" y="50165"/>
                      <a:pt x="607695" y="54293"/>
                      <a:pt x="607695" y="60325"/>
                    </a:cubicBezTo>
                    <a:cubicBezTo>
                      <a:pt x="607695" y="66358"/>
                      <a:pt x="609282" y="70802"/>
                      <a:pt x="612457" y="73660"/>
                    </a:cubicBezTo>
                    <a:cubicBezTo>
                      <a:pt x="615632" y="76518"/>
                      <a:pt x="619760" y="77788"/>
                      <a:pt x="624840" y="77788"/>
                    </a:cubicBezTo>
                    <a:cubicBezTo>
                      <a:pt x="629602" y="77788"/>
                      <a:pt x="633095" y="77152"/>
                      <a:pt x="635635" y="75883"/>
                    </a:cubicBezTo>
                    <a:cubicBezTo>
                      <a:pt x="638175" y="74613"/>
                      <a:pt x="640715" y="72390"/>
                      <a:pt x="643255" y="69533"/>
                    </a:cubicBezTo>
                    <a:lnTo>
                      <a:pt x="643572" y="69533"/>
                    </a:lnTo>
                    <a:lnTo>
                      <a:pt x="646430" y="77152"/>
                    </a:lnTo>
                    <a:lnTo>
                      <a:pt x="656907" y="77152"/>
                    </a:lnTo>
                    <a:lnTo>
                      <a:pt x="656907" y="40323"/>
                    </a:lnTo>
                    <a:cubicBezTo>
                      <a:pt x="656907" y="33655"/>
                      <a:pt x="655002" y="28893"/>
                      <a:pt x="650875" y="25400"/>
                    </a:cubicBezTo>
                    <a:cubicBezTo>
                      <a:pt x="647065" y="22225"/>
                      <a:pt x="641350" y="20638"/>
                      <a:pt x="633730" y="20638"/>
                    </a:cubicBezTo>
                    <a:cubicBezTo>
                      <a:pt x="630555" y="20638"/>
                      <a:pt x="626745" y="20955"/>
                      <a:pt x="622935" y="21908"/>
                    </a:cubicBezTo>
                    <a:moveTo>
                      <a:pt x="582295" y="34925"/>
                    </a:moveTo>
                    <a:cubicBezTo>
                      <a:pt x="583882" y="37148"/>
                      <a:pt x="584835" y="40005"/>
                      <a:pt x="584835" y="43180"/>
                    </a:cubicBezTo>
                    <a:lnTo>
                      <a:pt x="563563" y="43180"/>
                    </a:lnTo>
                    <a:cubicBezTo>
                      <a:pt x="563880" y="39052"/>
                      <a:pt x="565150" y="36195"/>
                      <a:pt x="567055" y="34290"/>
                    </a:cubicBezTo>
                    <a:cubicBezTo>
                      <a:pt x="568960" y="32385"/>
                      <a:pt x="571500" y="31433"/>
                      <a:pt x="574357" y="31433"/>
                    </a:cubicBezTo>
                    <a:cubicBezTo>
                      <a:pt x="578167" y="31433"/>
                      <a:pt x="580707" y="32385"/>
                      <a:pt x="582295" y="34925"/>
                    </a:cubicBezTo>
                    <a:moveTo>
                      <a:pt x="560705" y="23813"/>
                    </a:moveTo>
                    <a:cubicBezTo>
                      <a:pt x="556895" y="26035"/>
                      <a:pt x="553720" y="29210"/>
                      <a:pt x="551497" y="33655"/>
                    </a:cubicBezTo>
                    <a:cubicBezTo>
                      <a:pt x="549275" y="38100"/>
                      <a:pt x="548322" y="43498"/>
                      <a:pt x="548322" y="49848"/>
                    </a:cubicBezTo>
                    <a:cubicBezTo>
                      <a:pt x="548322" y="56198"/>
                      <a:pt x="549592" y="61595"/>
                      <a:pt x="552132" y="65723"/>
                    </a:cubicBezTo>
                    <a:cubicBezTo>
                      <a:pt x="554672" y="69850"/>
                      <a:pt x="557847" y="73025"/>
                      <a:pt x="562292" y="74930"/>
                    </a:cubicBezTo>
                    <a:cubicBezTo>
                      <a:pt x="566420" y="77152"/>
                      <a:pt x="571500" y="78105"/>
                      <a:pt x="576897" y="78105"/>
                    </a:cubicBezTo>
                    <a:cubicBezTo>
                      <a:pt x="581025" y="78105"/>
                      <a:pt x="584835" y="77788"/>
                      <a:pt x="587692" y="77152"/>
                    </a:cubicBezTo>
                    <a:cubicBezTo>
                      <a:pt x="590550" y="76518"/>
                      <a:pt x="593407" y="75565"/>
                      <a:pt x="596265" y="74295"/>
                    </a:cubicBezTo>
                    <a:lnTo>
                      <a:pt x="596265" y="62548"/>
                    </a:lnTo>
                    <a:cubicBezTo>
                      <a:pt x="593090" y="64135"/>
                      <a:pt x="590232" y="65088"/>
                      <a:pt x="587057" y="65723"/>
                    </a:cubicBezTo>
                    <a:cubicBezTo>
                      <a:pt x="583882" y="66358"/>
                      <a:pt x="581025" y="66675"/>
                      <a:pt x="577215" y="66675"/>
                    </a:cubicBezTo>
                    <a:cubicBezTo>
                      <a:pt x="573088" y="66675"/>
                      <a:pt x="569595" y="65405"/>
                      <a:pt x="567055" y="62865"/>
                    </a:cubicBezTo>
                    <a:cubicBezTo>
                      <a:pt x="564515" y="60325"/>
                      <a:pt x="563245" y="57150"/>
                      <a:pt x="563245" y="52705"/>
                    </a:cubicBezTo>
                    <a:lnTo>
                      <a:pt x="599122" y="52705"/>
                    </a:lnTo>
                    <a:lnTo>
                      <a:pt x="599122" y="45402"/>
                    </a:lnTo>
                    <a:cubicBezTo>
                      <a:pt x="599122" y="37465"/>
                      <a:pt x="596900" y="31115"/>
                      <a:pt x="592455" y="26670"/>
                    </a:cubicBezTo>
                    <a:cubicBezTo>
                      <a:pt x="588010" y="22225"/>
                      <a:pt x="581977" y="20002"/>
                      <a:pt x="574357" y="20002"/>
                    </a:cubicBezTo>
                    <a:cubicBezTo>
                      <a:pt x="569277" y="20638"/>
                      <a:pt x="564515" y="21590"/>
                      <a:pt x="560705" y="23813"/>
                    </a:cubicBezTo>
                    <a:moveTo>
                      <a:pt x="537845" y="52705"/>
                    </a:moveTo>
                    <a:cubicBezTo>
                      <a:pt x="536575" y="50483"/>
                      <a:pt x="534670" y="48895"/>
                      <a:pt x="532447" y="47625"/>
                    </a:cubicBezTo>
                    <a:cubicBezTo>
                      <a:pt x="530225" y="46355"/>
                      <a:pt x="527367" y="44768"/>
                      <a:pt x="524192" y="43498"/>
                    </a:cubicBezTo>
                    <a:cubicBezTo>
                      <a:pt x="521017" y="42227"/>
                      <a:pt x="518477" y="40958"/>
                      <a:pt x="516890" y="40323"/>
                    </a:cubicBezTo>
                    <a:cubicBezTo>
                      <a:pt x="515302" y="39370"/>
                      <a:pt x="514032" y="38735"/>
                      <a:pt x="513397" y="38100"/>
                    </a:cubicBezTo>
                    <a:cubicBezTo>
                      <a:pt x="512763" y="37465"/>
                      <a:pt x="512445" y="36513"/>
                      <a:pt x="512445" y="35560"/>
                    </a:cubicBezTo>
                    <a:cubicBezTo>
                      <a:pt x="512445" y="33020"/>
                      <a:pt x="514667" y="31750"/>
                      <a:pt x="519113" y="31750"/>
                    </a:cubicBezTo>
                    <a:cubicBezTo>
                      <a:pt x="521652" y="31750"/>
                      <a:pt x="524192" y="32068"/>
                      <a:pt x="526415" y="33020"/>
                    </a:cubicBezTo>
                    <a:cubicBezTo>
                      <a:pt x="528955" y="33655"/>
                      <a:pt x="531495" y="34608"/>
                      <a:pt x="534035" y="35877"/>
                    </a:cubicBezTo>
                    <a:lnTo>
                      <a:pt x="538480" y="25083"/>
                    </a:lnTo>
                    <a:cubicBezTo>
                      <a:pt x="535305" y="23495"/>
                      <a:pt x="531813" y="22543"/>
                      <a:pt x="528955" y="21590"/>
                    </a:cubicBezTo>
                    <a:cubicBezTo>
                      <a:pt x="525780" y="20955"/>
                      <a:pt x="522605" y="20638"/>
                      <a:pt x="519113" y="20638"/>
                    </a:cubicBezTo>
                    <a:cubicBezTo>
                      <a:pt x="512445" y="20638"/>
                      <a:pt x="507047" y="21908"/>
                      <a:pt x="503238" y="24448"/>
                    </a:cubicBezTo>
                    <a:cubicBezTo>
                      <a:pt x="499110" y="26988"/>
                      <a:pt x="497205" y="30798"/>
                      <a:pt x="497205" y="35877"/>
                    </a:cubicBezTo>
                    <a:cubicBezTo>
                      <a:pt x="497205" y="39052"/>
                      <a:pt x="497840" y="41593"/>
                      <a:pt x="498792" y="43498"/>
                    </a:cubicBezTo>
                    <a:cubicBezTo>
                      <a:pt x="499745" y="45720"/>
                      <a:pt x="501650" y="47308"/>
                      <a:pt x="503872" y="48895"/>
                    </a:cubicBezTo>
                    <a:cubicBezTo>
                      <a:pt x="506095" y="50483"/>
                      <a:pt x="508952" y="51752"/>
                      <a:pt x="512445" y="53340"/>
                    </a:cubicBezTo>
                    <a:cubicBezTo>
                      <a:pt x="515938" y="54927"/>
                      <a:pt x="518795" y="56198"/>
                      <a:pt x="520382" y="57150"/>
                    </a:cubicBezTo>
                    <a:cubicBezTo>
                      <a:pt x="521970" y="58102"/>
                      <a:pt x="523240" y="59055"/>
                      <a:pt x="523557" y="59690"/>
                    </a:cubicBezTo>
                    <a:cubicBezTo>
                      <a:pt x="523875" y="60325"/>
                      <a:pt x="524192" y="61277"/>
                      <a:pt x="524192" y="62230"/>
                    </a:cubicBezTo>
                    <a:cubicBezTo>
                      <a:pt x="524192" y="63500"/>
                      <a:pt x="523557" y="64770"/>
                      <a:pt x="522288" y="65723"/>
                    </a:cubicBezTo>
                    <a:cubicBezTo>
                      <a:pt x="521017" y="66675"/>
                      <a:pt x="518795" y="66993"/>
                      <a:pt x="515938" y="66993"/>
                    </a:cubicBezTo>
                    <a:cubicBezTo>
                      <a:pt x="513397" y="66993"/>
                      <a:pt x="510222" y="66675"/>
                      <a:pt x="506730" y="65723"/>
                    </a:cubicBezTo>
                    <a:cubicBezTo>
                      <a:pt x="503238" y="64770"/>
                      <a:pt x="500063" y="63818"/>
                      <a:pt x="497205" y="62230"/>
                    </a:cubicBezTo>
                    <a:lnTo>
                      <a:pt x="497205" y="74613"/>
                    </a:lnTo>
                    <a:cubicBezTo>
                      <a:pt x="500063" y="75883"/>
                      <a:pt x="502602" y="76518"/>
                      <a:pt x="505460" y="77152"/>
                    </a:cubicBezTo>
                    <a:cubicBezTo>
                      <a:pt x="508317" y="77788"/>
                      <a:pt x="511492" y="77788"/>
                      <a:pt x="515302" y="77788"/>
                    </a:cubicBezTo>
                    <a:cubicBezTo>
                      <a:pt x="523240" y="77788"/>
                      <a:pt x="528955" y="76200"/>
                      <a:pt x="533082" y="73343"/>
                    </a:cubicBezTo>
                    <a:cubicBezTo>
                      <a:pt x="536892" y="70485"/>
                      <a:pt x="539115" y="66040"/>
                      <a:pt x="539115" y="60325"/>
                    </a:cubicBezTo>
                    <a:cubicBezTo>
                      <a:pt x="539750" y="57468"/>
                      <a:pt x="539115" y="54610"/>
                      <a:pt x="537845" y="52705"/>
                    </a:cubicBezTo>
                    <a:moveTo>
                      <a:pt x="470217" y="77152"/>
                    </a:moveTo>
                    <a:lnTo>
                      <a:pt x="485457" y="77152"/>
                    </a:lnTo>
                    <a:lnTo>
                      <a:pt x="485457" y="21590"/>
                    </a:lnTo>
                    <a:lnTo>
                      <a:pt x="470217" y="21590"/>
                    </a:lnTo>
                    <a:lnTo>
                      <a:pt x="470217" y="77152"/>
                    </a:lnTo>
                    <a:close/>
                    <a:moveTo>
                      <a:pt x="471805" y="1588"/>
                    </a:moveTo>
                    <a:cubicBezTo>
                      <a:pt x="470217" y="2540"/>
                      <a:pt x="469265" y="4445"/>
                      <a:pt x="469265" y="7302"/>
                    </a:cubicBezTo>
                    <a:cubicBezTo>
                      <a:pt x="469265" y="10160"/>
                      <a:pt x="469900" y="12065"/>
                      <a:pt x="471805" y="13018"/>
                    </a:cubicBezTo>
                    <a:cubicBezTo>
                      <a:pt x="473392" y="13970"/>
                      <a:pt x="475297" y="14605"/>
                      <a:pt x="477520" y="14605"/>
                    </a:cubicBezTo>
                    <a:cubicBezTo>
                      <a:pt x="479742" y="14605"/>
                      <a:pt x="481647" y="13970"/>
                      <a:pt x="483235" y="13018"/>
                    </a:cubicBezTo>
                    <a:cubicBezTo>
                      <a:pt x="484822" y="12065"/>
                      <a:pt x="485775" y="10160"/>
                      <a:pt x="485775" y="7302"/>
                    </a:cubicBezTo>
                    <a:cubicBezTo>
                      <a:pt x="485775" y="4445"/>
                      <a:pt x="484822" y="2540"/>
                      <a:pt x="483235" y="1588"/>
                    </a:cubicBezTo>
                    <a:cubicBezTo>
                      <a:pt x="481647" y="635"/>
                      <a:pt x="479742" y="0"/>
                      <a:pt x="477520" y="0"/>
                    </a:cubicBezTo>
                    <a:cubicBezTo>
                      <a:pt x="475297" y="0"/>
                      <a:pt x="473392" y="318"/>
                      <a:pt x="471805" y="1588"/>
                    </a:cubicBezTo>
                    <a:moveTo>
                      <a:pt x="420688" y="61913"/>
                    </a:moveTo>
                    <a:cubicBezTo>
                      <a:pt x="418782" y="59055"/>
                      <a:pt x="417830" y="55245"/>
                      <a:pt x="417830" y="49530"/>
                    </a:cubicBezTo>
                    <a:cubicBezTo>
                      <a:pt x="417830" y="44133"/>
                      <a:pt x="418782" y="40005"/>
                      <a:pt x="420688" y="37148"/>
                    </a:cubicBezTo>
                    <a:cubicBezTo>
                      <a:pt x="422592" y="34290"/>
                      <a:pt x="425132" y="32702"/>
                      <a:pt x="428625" y="32702"/>
                    </a:cubicBezTo>
                    <a:cubicBezTo>
                      <a:pt x="433070" y="32702"/>
                      <a:pt x="436245" y="34290"/>
                      <a:pt x="437832" y="37148"/>
                    </a:cubicBezTo>
                    <a:cubicBezTo>
                      <a:pt x="439420" y="40005"/>
                      <a:pt x="440372" y="44133"/>
                      <a:pt x="440372" y="49530"/>
                    </a:cubicBezTo>
                    <a:lnTo>
                      <a:pt x="440372" y="51118"/>
                    </a:lnTo>
                    <a:cubicBezTo>
                      <a:pt x="440372" y="56198"/>
                      <a:pt x="439420" y="59690"/>
                      <a:pt x="437515" y="62230"/>
                    </a:cubicBezTo>
                    <a:cubicBezTo>
                      <a:pt x="435927" y="64770"/>
                      <a:pt x="432752" y="66040"/>
                      <a:pt x="428625" y="66040"/>
                    </a:cubicBezTo>
                    <a:cubicBezTo>
                      <a:pt x="425132" y="66040"/>
                      <a:pt x="422592" y="64770"/>
                      <a:pt x="420688" y="61913"/>
                    </a:cubicBezTo>
                    <a:moveTo>
                      <a:pt x="433070" y="75883"/>
                    </a:moveTo>
                    <a:cubicBezTo>
                      <a:pt x="435610" y="74295"/>
                      <a:pt x="437515" y="72390"/>
                      <a:pt x="439102" y="70168"/>
                    </a:cubicBezTo>
                    <a:lnTo>
                      <a:pt x="439738" y="70168"/>
                    </a:lnTo>
                    <a:lnTo>
                      <a:pt x="442595" y="77470"/>
                    </a:lnTo>
                    <a:lnTo>
                      <a:pt x="454025" y="77470"/>
                    </a:lnTo>
                    <a:lnTo>
                      <a:pt x="454025" y="318"/>
                    </a:lnTo>
                    <a:lnTo>
                      <a:pt x="438785" y="318"/>
                    </a:lnTo>
                    <a:lnTo>
                      <a:pt x="438785" y="18098"/>
                    </a:lnTo>
                    <a:cubicBezTo>
                      <a:pt x="438785" y="20320"/>
                      <a:pt x="438785" y="22225"/>
                      <a:pt x="439102" y="24448"/>
                    </a:cubicBezTo>
                    <a:cubicBezTo>
                      <a:pt x="439420" y="26670"/>
                      <a:pt x="439738" y="27940"/>
                      <a:pt x="439738" y="29210"/>
                    </a:cubicBezTo>
                    <a:lnTo>
                      <a:pt x="439102" y="29210"/>
                    </a:lnTo>
                    <a:cubicBezTo>
                      <a:pt x="437515" y="26988"/>
                      <a:pt x="435610" y="25083"/>
                      <a:pt x="433070" y="23495"/>
                    </a:cubicBezTo>
                    <a:cubicBezTo>
                      <a:pt x="430530" y="21908"/>
                      <a:pt x="427355" y="21273"/>
                      <a:pt x="423227" y="21273"/>
                    </a:cubicBezTo>
                    <a:cubicBezTo>
                      <a:pt x="416877" y="21273"/>
                      <a:pt x="411797" y="23813"/>
                      <a:pt x="407670" y="28575"/>
                    </a:cubicBezTo>
                    <a:cubicBezTo>
                      <a:pt x="403860" y="33338"/>
                      <a:pt x="401638" y="40640"/>
                      <a:pt x="401638" y="50165"/>
                    </a:cubicBezTo>
                    <a:cubicBezTo>
                      <a:pt x="401638" y="59690"/>
                      <a:pt x="403542" y="66675"/>
                      <a:pt x="407352" y="71438"/>
                    </a:cubicBezTo>
                    <a:cubicBezTo>
                      <a:pt x="411163" y="76200"/>
                      <a:pt x="416242" y="78740"/>
                      <a:pt x="422592" y="78740"/>
                    </a:cubicBezTo>
                    <a:cubicBezTo>
                      <a:pt x="427355" y="78105"/>
                      <a:pt x="430530" y="77470"/>
                      <a:pt x="433070" y="75883"/>
                    </a:cubicBezTo>
                    <a:moveTo>
                      <a:pt x="359410" y="77152"/>
                    </a:moveTo>
                    <a:cubicBezTo>
                      <a:pt x="361950" y="76518"/>
                      <a:pt x="364490" y="75565"/>
                      <a:pt x="366713" y="73977"/>
                    </a:cubicBezTo>
                    <a:lnTo>
                      <a:pt x="366713" y="60960"/>
                    </a:lnTo>
                    <a:cubicBezTo>
                      <a:pt x="364490" y="62548"/>
                      <a:pt x="361950" y="63500"/>
                      <a:pt x="359727" y="64452"/>
                    </a:cubicBezTo>
                    <a:cubicBezTo>
                      <a:pt x="357188" y="65405"/>
                      <a:pt x="354330" y="65723"/>
                      <a:pt x="351155" y="65723"/>
                    </a:cubicBezTo>
                    <a:cubicBezTo>
                      <a:pt x="347345" y="65723"/>
                      <a:pt x="344488" y="64452"/>
                      <a:pt x="342582" y="61913"/>
                    </a:cubicBezTo>
                    <a:cubicBezTo>
                      <a:pt x="340360" y="59373"/>
                      <a:pt x="339407" y="55245"/>
                      <a:pt x="339407" y="49530"/>
                    </a:cubicBezTo>
                    <a:cubicBezTo>
                      <a:pt x="339407" y="38418"/>
                      <a:pt x="343217" y="32702"/>
                      <a:pt x="351155" y="32702"/>
                    </a:cubicBezTo>
                    <a:cubicBezTo>
                      <a:pt x="353060" y="32702"/>
                      <a:pt x="355282" y="33020"/>
                      <a:pt x="357188" y="33655"/>
                    </a:cubicBezTo>
                    <a:cubicBezTo>
                      <a:pt x="359092" y="34290"/>
                      <a:pt x="361315" y="34925"/>
                      <a:pt x="363855" y="35877"/>
                    </a:cubicBezTo>
                    <a:lnTo>
                      <a:pt x="368300" y="24130"/>
                    </a:lnTo>
                    <a:cubicBezTo>
                      <a:pt x="366077" y="23177"/>
                      <a:pt x="363855" y="22225"/>
                      <a:pt x="360997" y="21590"/>
                    </a:cubicBezTo>
                    <a:cubicBezTo>
                      <a:pt x="358140" y="20955"/>
                      <a:pt x="354965" y="20320"/>
                      <a:pt x="351155" y="20320"/>
                    </a:cubicBezTo>
                    <a:cubicBezTo>
                      <a:pt x="345757" y="20320"/>
                      <a:pt x="340995" y="21273"/>
                      <a:pt x="336867" y="23495"/>
                    </a:cubicBezTo>
                    <a:cubicBezTo>
                      <a:pt x="332740" y="25400"/>
                      <a:pt x="329565" y="28575"/>
                      <a:pt x="327342" y="33020"/>
                    </a:cubicBezTo>
                    <a:cubicBezTo>
                      <a:pt x="325120" y="37148"/>
                      <a:pt x="323850" y="42863"/>
                      <a:pt x="323850" y="49530"/>
                    </a:cubicBezTo>
                    <a:cubicBezTo>
                      <a:pt x="323850" y="59373"/>
                      <a:pt x="326072" y="66675"/>
                      <a:pt x="330517" y="71120"/>
                    </a:cubicBezTo>
                    <a:cubicBezTo>
                      <a:pt x="334963" y="75565"/>
                      <a:pt x="341313" y="77788"/>
                      <a:pt x="349567" y="77788"/>
                    </a:cubicBezTo>
                    <a:cubicBezTo>
                      <a:pt x="353695" y="78105"/>
                      <a:pt x="356870" y="77788"/>
                      <a:pt x="359410" y="77152"/>
                    </a:cubicBezTo>
                    <a:moveTo>
                      <a:pt x="296227" y="77152"/>
                    </a:moveTo>
                    <a:lnTo>
                      <a:pt x="311467" y="77152"/>
                    </a:lnTo>
                    <a:lnTo>
                      <a:pt x="311467" y="21590"/>
                    </a:lnTo>
                    <a:lnTo>
                      <a:pt x="296227" y="21590"/>
                    </a:lnTo>
                    <a:lnTo>
                      <a:pt x="296227" y="77152"/>
                    </a:lnTo>
                    <a:close/>
                    <a:moveTo>
                      <a:pt x="297815" y="1588"/>
                    </a:moveTo>
                    <a:cubicBezTo>
                      <a:pt x="296227" y="2540"/>
                      <a:pt x="295275" y="4445"/>
                      <a:pt x="295275" y="7302"/>
                    </a:cubicBezTo>
                    <a:cubicBezTo>
                      <a:pt x="295275" y="10160"/>
                      <a:pt x="295910" y="12065"/>
                      <a:pt x="297815" y="13018"/>
                    </a:cubicBezTo>
                    <a:cubicBezTo>
                      <a:pt x="299402" y="13970"/>
                      <a:pt x="301307" y="14605"/>
                      <a:pt x="303530" y="14605"/>
                    </a:cubicBezTo>
                    <a:cubicBezTo>
                      <a:pt x="305752" y="14605"/>
                      <a:pt x="307657" y="13970"/>
                      <a:pt x="309245" y="13018"/>
                    </a:cubicBezTo>
                    <a:cubicBezTo>
                      <a:pt x="310832" y="12065"/>
                      <a:pt x="311785" y="10160"/>
                      <a:pt x="311785" y="7302"/>
                    </a:cubicBezTo>
                    <a:cubicBezTo>
                      <a:pt x="311785" y="4445"/>
                      <a:pt x="310832" y="2540"/>
                      <a:pt x="309245" y="1588"/>
                    </a:cubicBezTo>
                    <a:cubicBezTo>
                      <a:pt x="307657" y="635"/>
                      <a:pt x="305752" y="0"/>
                      <a:pt x="303530" y="0"/>
                    </a:cubicBezTo>
                    <a:cubicBezTo>
                      <a:pt x="301625" y="0"/>
                      <a:pt x="299402" y="318"/>
                      <a:pt x="297815" y="1588"/>
                    </a:cubicBezTo>
                    <a:moveTo>
                      <a:pt x="251142" y="22543"/>
                    </a:moveTo>
                    <a:cubicBezTo>
                      <a:pt x="247967" y="23813"/>
                      <a:pt x="245745" y="26035"/>
                      <a:pt x="243840" y="28893"/>
                    </a:cubicBezTo>
                    <a:lnTo>
                      <a:pt x="242888" y="28893"/>
                    </a:lnTo>
                    <a:lnTo>
                      <a:pt x="240982" y="21908"/>
                    </a:lnTo>
                    <a:lnTo>
                      <a:pt x="229552" y="21908"/>
                    </a:lnTo>
                    <a:lnTo>
                      <a:pt x="229552" y="77470"/>
                    </a:lnTo>
                    <a:lnTo>
                      <a:pt x="244792" y="77470"/>
                    </a:lnTo>
                    <a:lnTo>
                      <a:pt x="244792" y="51435"/>
                    </a:lnTo>
                    <a:cubicBezTo>
                      <a:pt x="244792" y="45402"/>
                      <a:pt x="245745" y="40958"/>
                      <a:pt x="247332" y="37783"/>
                    </a:cubicBezTo>
                    <a:cubicBezTo>
                      <a:pt x="248920" y="34608"/>
                      <a:pt x="252095" y="33020"/>
                      <a:pt x="256857" y="33020"/>
                    </a:cubicBezTo>
                    <a:cubicBezTo>
                      <a:pt x="260032" y="33020"/>
                      <a:pt x="262255" y="33973"/>
                      <a:pt x="263525" y="35877"/>
                    </a:cubicBezTo>
                    <a:cubicBezTo>
                      <a:pt x="264795" y="37783"/>
                      <a:pt x="265747" y="40958"/>
                      <a:pt x="265747" y="44768"/>
                    </a:cubicBezTo>
                    <a:lnTo>
                      <a:pt x="265747" y="77152"/>
                    </a:lnTo>
                    <a:lnTo>
                      <a:pt x="280988" y="77152"/>
                    </a:lnTo>
                    <a:lnTo>
                      <a:pt x="280988" y="40958"/>
                    </a:lnTo>
                    <a:cubicBezTo>
                      <a:pt x="280988" y="33973"/>
                      <a:pt x="279082" y="28575"/>
                      <a:pt x="275590" y="25400"/>
                    </a:cubicBezTo>
                    <a:cubicBezTo>
                      <a:pt x="272097" y="22225"/>
                      <a:pt x="267335" y="20638"/>
                      <a:pt x="261302" y="20638"/>
                    </a:cubicBezTo>
                    <a:cubicBezTo>
                      <a:pt x="257492" y="20638"/>
                      <a:pt x="254317" y="21273"/>
                      <a:pt x="251142" y="22543"/>
                    </a:cubicBezTo>
                    <a:moveTo>
                      <a:pt x="181292" y="36830"/>
                    </a:moveTo>
                    <a:cubicBezTo>
                      <a:pt x="183197" y="33973"/>
                      <a:pt x="186055" y="32702"/>
                      <a:pt x="189865" y="32702"/>
                    </a:cubicBezTo>
                    <a:cubicBezTo>
                      <a:pt x="193992" y="32702"/>
                      <a:pt x="196850" y="33973"/>
                      <a:pt x="198755" y="36830"/>
                    </a:cubicBezTo>
                    <a:cubicBezTo>
                      <a:pt x="200660" y="39688"/>
                      <a:pt x="201295" y="43815"/>
                      <a:pt x="201295" y="49213"/>
                    </a:cubicBezTo>
                    <a:cubicBezTo>
                      <a:pt x="201295" y="54610"/>
                      <a:pt x="200342" y="58738"/>
                      <a:pt x="198755" y="61595"/>
                    </a:cubicBezTo>
                    <a:cubicBezTo>
                      <a:pt x="196850" y="64452"/>
                      <a:pt x="193992" y="65723"/>
                      <a:pt x="190182" y="65723"/>
                    </a:cubicBezTo>
                    <a:cubicBezTo>
                      <a:pt x="186055" y="65723"/>
                      <a:pt x="183197" y="64452"/>
                      <a:pt x="181292" y="61595"/>
                    </a:cubicBezTo>
                    <a:cubicBezTo>
                      <a:pt x="179388" y="58738"/>
                      <a:pt x="178752" y="54610"/>
                      <a:pt x="178752" y="49213"/>
                    </a:cubicBezTo>
                    <a:cubicBezTo>
                      <a:pt x="178752" y="43815"/>
                      <a:pt x="179388" y="39688"/>
                      <a:pt x="181292" y="36830"/>
                    </a:cubicBezTo>
                    <a:moveTo>
                      <a:pt x="213360" y="33655"/>
                    </a:moveTo>
                    <a:cubicBezTo>
                      <a:pt x="211138" y="29527"/>
                      <a:pt x="207963" y="26035"/>
                      <a:pt x="203835" y="23813"/>
                    </a:cubicBezTo>
                    <a:cubicBezTo>
                      <a:pt x="199707" y="21590"/>
                      <a:pt x="195263" y="20320"/>
                      <a:pt x="189865" y="20320"/>
                    </a:cubicBezTo>
                    <a:cubicBezTo>
                      <a:pt x="181610" y="20320"/>
                      <a:pt x="174942" y="22860"/>
                      <a:pt x="170180" y="27623"/>
                    </a:cubicBezTo>
                    <a:cubicBezTo>
                      <a:pt x="165417" y="32702"/>
                      <a:pt x="162877" y="39688"/>
                      <a:pt x="162877" y="48895"/>
                    </a:cubicBezTo>
                    <a:cubicBezTo>
                      <a:pt x="162877" y="54927"/>
                      <a:pt x="164147" y="60325"/>
                      <a:pt x="166370" y="64452"/>
                    </a:cubicBezTo>
                    <a:cubicBezTo>
                      <a:pt x="168592" y="68580"/>
                      <a:pt x="171767" y="72073"/>
                      <a:pt x="175895" y="74295"/>
                    </a:cubicBezTo>
                    <a:cubicBezTo>
                      <a:pt x="180022" y="76518"/>
                      <a:pt x="184467" y="77788"/>
                      <a:pt x="189547" y="77788"/>
                    </a:cubicBezTo>
                    <a:cubicBezTo>
                      <a:pt x="197802" y="77788"/>
                      <a:pt x="204470" y="75248"/>
                      <a:pt x="209232" y="70168"/>
                    </a:cubicBezTo>
                    <a:cubicBezTo>
                      <a:pt x="213995" y="65088"/>
                      <a:pt x="216535" y="58102"/>
                      <a:pt x="216535" y="48895"/>
                    </a:cubicBezTo>
                    <a:cubicBezTo>
                      <a:pt x="216852" y="43180"/>
                      <a:pt x="215900" y="38100"/>
                      <a:pt x="213360" y="33655"/>
                    </a:cubicBezTo>
                    <a:moveTo>
                      <a:pt x="143510" y="23813"/>
                    </a:moveTo>
                    <a:cubicBezTo>
                      <a:pt x="140652" y="25718"/>
                      <a:pt x="138430" y="28258"/>
                      <a:pt x="136842" y="31115"/>
                    </a:cubicBezTo>
                    <a:lnTo>
                      <a:pt x="136207" y="31115"/>
                    </a:lnTo>
                    <a:lnTo>
                      <a:pt x="133985" y="21908"/>
                    </a:lnTo>
                    <a:lnTo>
                      <a:pt x="122555" y="21908"/>
                    </a:lnTo>
                    <a:lnTo>
                      <a:pt x="122555" y="77470"/>
                    </a:lnTo>
                    <a:lnTo>
                      <a:pt x="137795" y="77470"/>
                    </a:lnTo>
                    <a:lnTo>
                      <a:pt x="137795" y="49213"/>
                    </a:lnTo>
                    <a:cubicBezTo>
                      <a:pt x="137795" y="45720"/>
                      <a:pt x="138430" y="42863"/>
                      <a:pt x="140017" y="40958"/>
                    </a:cubicBezTo>
                    <a:cubicBezTo>
                      <a:pt x="141605" y="39052"/>
                      <a:pt x="143510" y="37465"/>
                      <a:pt x="145732" y="36513"/>
                    </a:cubicBezTo>
                    <a:cubicBezTo>
                      <a:pt x="147955" y="35560"/>
                      <a:pt x="150495" y="35243"/>
                      <a:pt x="153035" y="35243"/>
                    </a:cubicBezTo>
                    <a:cubicBezTo>
                      <a:pt x="153670" y="35243"/>
                      <a:pt x="154622" y="35243"/>
                      <a:pt x="155257" y="35243"/>
                    </a:cubicBezTo>
                    <a:cubicBezTo>
                      <a:pt x="156210" y="35243"/>
                      <a:pt x="156845" y="35560"/>
                      <a:pt x="157480" y="35560"/>
                    </a:cubicBezTo>
                    <a:lnTo>
                      <a:pt x="158750" y="21273"/>
                    </a:lnTo>
                    <a:cubicBezTo>
                      <a:pt x="158115" y="21273"/>
                      <a:pt x="157480" y="20955"/>
                      <a:pt x="156210" y="20955"/>
                    </a:cubicBezTo>
                    <a:cubicBezTo>
                      <a:pt x="155257" y="20955"/>
                      <a:pt x="154305" y="20955"/>
                      <a:pt x="153670" y="20955"/>
                    </a:cubicBezTo>
                    <a:cubicBezTo>
                      <a:pt x="149542" y="20638"/>
                      <a:pt x="146367" y="21590"/>
                      <a:pt x="143510" y="23813"/>
                    </a:cubicBezTo>
                    <a:moveTo>
                      <a:pt x="55563" y="0"/>
                    </a:moveTo>
                    <a:lnTo>
                      <a:pt x="55563" y="77152"/>
                    </a:lnTo>
                    <a:lnTo>
                      <a:pt x="70802" y="77152"/>
                    </a:lnTo>
                    <a:lnTo>
                      <a:pt x="70802" y="51118"/>
                    </a:lnTo>
                    <a:cubicBezTo>
                      <a:pt x="70802" y="45085"/>
                      <a:pt x="71755" y="40640"/>
                      <a:pt x="73342" y="37465"/>
                    </a:cubicBezTo>
                    <a:cubicBezTo>
                      <a:pt x="74930" y="34290"/>
                      <a:pt x="78105" y="32702"/>
                      <a:pt x="82867" y="32702"/>
                    </a:cubicBezTo>
                    <a:cubicBezTo>
                      <a:pt x="88900" y="32702"/>
                      <a:pt x="91757" y="36830"/>
                      <a:pt x="91757" y="44768"/>
                    </a:cubicBezTo>
                    <a:lnTo>
                      <a:pt x="91757" y="77152"/>
                    </a:lnTo>
                    <a:lnTo>
                      <a:pt x="106997" y="77152"/>
                    </a:lnTo>
                    <a:lnTo>
                      <a:pt x="106997" y="40958"/>
                    </a:lnTo>
                    <a:cubicBezTo>
                      <a:pt x="106997" y="33973"/>
                      <a:pt x="105092" y="28575"/>
                      <a:pt x="101600" y="25400"/>
                    </a:cubicBezTo>
                    <a:cubicBezTo>
                      <a:pt x="98107" y="22225"/>
                      <a:pt x="93027" y="20638"/>
                      <a:pt x="87313" y="20638"/>
                    </a:cubicBezTo>
                    <a:cubicBezTo>
                      <a:pt x="83820" y="20638"/>
                      <a:pt x="80963" y="21273"/>
                      <a:pt x="78105" y="22543"/>
                    </a:cubicBezTo>
                    <a:cubicBezTo>
                      <a:pt x="75247" y="23813"/>
                      <a:pt x="73025" y="26035"/>
                      <a:pt x="71438" y="28893"/>
                    </a:cubicBezTo>
                    <a:lnTo>
                      <a:pt x="70485" y="28893"/>
                    </a:lnTo>
                    <a:cubicBezTo>
                      <a:pt x="70485" y="27940"/>
                      <a:pt x="70802" y="26035"/>
                      <a:pt x="70802" y="23813"/>
                    </a:cubicBezTo>
                    <a:cubicBezTo>
                      <a:pt x="71120" y="21273"/>
                      <a:pt x="71120" y="18733"/>
                      <a:pt x="71120" y="15875"/>
                    </a:cubicBezTo>
                    <a:lnTo>
                      <a:pt x="71120" y="0"/>
                    </a:lnTo>
                    <a:lnTo>
                      <a:pt x="55563" y="0"/>
                    </a:lnTo>
                    <a:close/>
                    <a:moveTo>
                      <a:pt x="35560" y="77152"/>
                    </a:moveTo>
                    <a:cubicBezTo>
                      <a:pt x="38100" y="76518"/>
                      <a:pt x="40640" y="75565"/>
                      <a:pt x="42863" y="73977"/>
                    </a:cubicBezTo>
                    <a:lnTo>
                      <a:pt x="42863" y="60960"/>
                    </a:lnTo>
                    <a:cubicBezTo>
                      <a:pt x="40640" y="62548"/>
                      <a:pt x="38100" y="63500"/>
                      <a:pt x="35877" y="64452"/>
                    </a:cubicBezTo>
                    <a:cubicBezTo>
                      <a:pt x="33338" y="65405"/>
                      <a:pt x="30480" y="65723"/>
                      <a:pt x="27305" y="65723"/>
                    </a:cubicBezTo>
                    <a:cubicBezTo>
                      <a:pt x="23495" y="65723"/>
                      <a:pt x="20638" y="64452"/>
                      <a:pt x="18732" y="61913"/>
                    </a:cubicBezTo>
                    <a:cubicBezTo>
                      <a:pt x="16510" y="59373"/>
                      <a:pt x="15557" y="55245"/>
                      <a:pt x="15557" y="49530"/>
                    </a:cubicBezTo>
                    <a:cubicBezTo>
                      <a:pt x="15557" y="38418"/>
                      <a:pt x="19367" y="32702"/>
                      <a:pt x="27305" y="32702"/>
                    </a:cubicBezTo>
                    <a:cubicBezTo>
                      <a:pt x="29210" y="32702"/>
                      <a:pt x="31432" y="33020"/>
                      <a:pt x="33338" y="33655"/>
                    </a:cubicBezTo>
                    <a:cubicBezTo>
                      <a:pt x="35560" y="34290"/>
                      <a:pt x="37465" y="34925"/>
                      <a:pt x="40005" y="35877"/>
                    </a:cubicBezTo>
                    <a:lnTo>
                      <a:pt x="44450" y="24130"/>
                    </a:lnTo>
                    <a:cubicBezTo>
                      <a:pt x="42227" y="23177"/>
                      <a:pt x="40005" y="22225"/>
                      <a:pt x="37147" y="21590"/>
                    </a:cubicBezTo>
                    <a:cubicBezTo>
                      <a:pt x="34290" y="20955"/>
                      <a:pt x="31115" y="20320"/>
                      <a:pt x="27305" y="20320"/>
                    </a:cubicBezTo>
                    <a:cubicBezTo>
                      <a:pt x="21907" y="20320"/>
                      <a:pt x="17145" y="21273"/>
                      <a:pt x="13017" y="23495"/>
                    </a:cubicBezTo>
                    <a:cubicBezTo>
                      <a:pt x="8890" y="25718"/>
                      <a:pt x="5715" y="28575"/>
                      <a:pt x="3492" y="33020"/>
                    </a:cubicBezTo>
                    <a:cubicBezTo>
                      <a:pt x="1270" y="37465"/>
                      <a:pt x="0" y="42863"/>
                      <a:pt x="0" y="49530"/>
                    </a:cubicBezTo>
                    <a:cubicBezTo>
                      <a:pt x="0" y="59373"/>
                      <a:pt x="2222" y="66675"/>
                      <a:pt x="6667" y="71120"/>
                    </a:cubicBezTo>
                    <a:cubicBezTo>
                      <a:pt x="11113" y="75565"/>
                      <a:pt x="17463" y="77788"/>
                      <a:pt x="25717" y="77788"/>
                    </a:cubicBezTo>
                    <a:cubicBezTo>
                      <a:pt x="29845" y="78105"/>
                      <a:pt x="33020" y="77788"/>
                      <a:pt x="35560" y="77152"/>
                    </a:cubicBezTo>
                  </a:path>
                </a:pathLst>
              </a:custGeom>
              <a:solidFill>
                <a:srgbClr val="001965"/>
              </a:solidFill>
              <a:ln w="3175" cap="flat">
                <a:noFill/>
                <a:prstDash val="solid"/>
                <a:miter/>
              </a:ln>
            </p:spPr>
            <p:txBody>
              <a:bodyPr rtlCol="0" anchor="ctr"/>
              <a:lstStyle/>
              <a:p>
                <a:endParaRPr lang="en-GB">
                  <a:solidFill>
                    <a:srgbClr val="000000"/>
                  </a:solidFill>
                  <a:latin typeface="Verdana"/>
                </a:endParaRPr>
              </a:p>
            </p:txBody>
          </p:sp>
          <p:sp>
            <p:nvSpPr>
              <p:cNvPr id="28" name="Freeform: Shape 27">
                <a:extLst>
                  <a:ext uri="{FF2B5EF4-FFF2-40B4-BE49-F238E27FC236}">
                    <a16:creationId xmlns:a16="http://schemas.microsoft.com/office/drawing/2014/main" id="{A69877A0-6825-4D05-8592-F4989079674D}"/>
                  </a:ext>
                </a:extLst>
              </p:cNvPr>
              <p:cNvSpPr/>
              <p:nvPr/>
            </p:nvSpPr>
            <p:spPr>
              <a:xfrm>
                <a:off x="4133215" y="2606040"/>
                <a:ext cx="882650" cy="76200"/>
              </a:xfrm>
              <a:custGeom>
                <a:avLst/>
                <a:gdLst>
                  <a:gd name="connsiteX0" fmla="*/ 883285 w 882650"/>
                  <a:gd name="connsiteY0" fmla="*/ 52705 h 76200"/>
                  <a:gd name="connsiteX1" fmla="*/ 877888 w 882650"/>
                  <a:gd name="connsiteY1" fmla="*/ 47625 h 76200"/>
                  <a:gd name="connsiteX2" fmla="*/ 869632 w 882650"/>
                  <a:gd name="connsiteY2" fmla="*/ 43498 h 76200"/>
                  <a:gd name="connsiteX3" fmla="*/ 862330 w 882650"/>
                  <a:gd name="connsiteY3" fmla="*/ 40323 h 76200"/>
                  <a:gd name="connsiteX4" fmla="*/ 858838 w 882650"/>
                  <a:gd name="connsiteY4" fmla="*/ 38100 h 76200"/>
                  <a:gd name="connsiteX5" fmla="*/ 857885 w 882650"/>
                  <a:gd name="connsiteY5" fmla="*/ 35560 h 76200"/>
                  <a:gd name="connsiteX6" fmla="*/ 864552 w 882650"/>
                  <a:gd name="connsiteY6" fmla="*/ 31750 h 76200"/>
                  <a:gd name="connsiteX7" fmla="*/ 871855 w 882650"/>
                  <a:gd name="connsiteY7" fmla="*/ 33020 h 76200"/>
                  <a:gd name="connsiteX8" fmla="*/ 879475 w 882650"/>
                  <a:gd name="connsiteY8" fmla="*/ 35877 h 76200"/>
                  <a:gd name="connsiteX9" fmla="*/ 883920 w 882650"/>
                  <a:gd name="connsiteY9" fmla="*/ 25083 h 76200"/>
                  <a:gd name="connsiteX10" fmla="*/ 874395 w 882650"/>
                  <a:gd name="connsiteY10" fmla="*/ 21590 h 76200"/>
                  <a:gd name="connsiteX11" fmla="*/ 864552 w 882650"/>
                  <a:gd name="connsiteY11" fmla="*/ 20638 h 76200"/>
                  <a:gd name="connsiteX12" fmla="*/ 848677 w 882650"/>
                  <a:gd name="connsiteY12" fmla="*/ 24448 h 76200"/>
                  <a:gd name="connsiteX13" fmla="*/ 842645 w 882650"/>
                  <a:gd name="connsiteY13" fmla="*/ 35877 h 76200"/>
                  <a:gd name="connsiteX14" fmla="*/ 844232 w 882650"/>
                  <a:gd name="connsiteY14" fmla="*/ 43498 h 76200"/>
                  <a:gd name="connsiteX15" fmla="*/ 849313 w 882650"/>
                  <a:gd name="connsiteY15" fmla="*/ 48895 h 76200"/>
                  <a:gd name="connsiteX16" fmla="*/ 857885 w 882650"/>
                  <a:gd name="connsiteY16" fmla="*/ 53340 h 76200"/>
                  <a:gd name="connsiteX17" fmla="*/ 865822 w 882650"/>
                  <a:gd name="connsiteY17" fmla="*/ 57150 h 76200"/>
                  <a:gd name="connsiteX18" fmla="*/ 868997 w 882650"/>
                  <a:gd name="connsiteY18" fmla="*/ 59690 h 76200"/>
                  <a:gd name="connsiteX19" fmla="*/ 869632 w 882650"/>
                  <a:gd name="connsiteY19" fmla="*/ 62230 h 76200"/>
                  <a:gd name="connsiteX20" fmla="*/ 867727 w 882650"/>
                  <a:gd name="connsiteY20" fmla="*/ 65723 h 76200"/>
                  <a:gd name="connsiteX21" fmla="*/ 861377 w 882650"/>
                  <a:gd name="connsiteY21" fmla="*/ 66993 h 76200"/>
                  <a:gd name="connsiteX22" fmla="*/ 852170 w 882650"/>
                  <a:gd name="connsiteY22" fmla="*/ 65723 h 76200"/>
                  <a:gd name="connsiteX23" fmla="*/ 842645 w 882650"/>
                  <a:gd name="connsiteY23" fmla="*/ 62230 h 76200"/>
                  <a:gd name="connsiteX24" fmla="*/ 842645 w 882650"/>
                  <a:gd name="connsiteY24" fmla="*/ 74613 h 76200"/>
                  <a:gd name="connsiteX25" fmla="*/ 850900 w 882650"/>
                  <a:gd name="connsiteY25" fmla="*/ 77152 h 76200"/>
                  <a:gd name="connsiteX26" fmla="*/ 860742 w 882650"/>
                  <a:gd name="connsiteY26" fmla="*/ 77788 h 76200"/>
                  <a:gd name="connsiteX27" fmla="*/ 878522 w 882650"/>
                  <a:gd name="connsiteY27" fmla="*/ 73343 h 76200"/>
                  <a:gd name="connsiteX28" fmla="*/ 884555 w 882650"/>
                  <a:gd name="connsiteY28" fmla="*/ 60325 h 76200"/>
                  <a:gd name="connsiteX29" fmla="*/ 883285 w 882650"/>
                  <a:gd name="connsiteY29" fmla="*/ 52705 h 76200"/>
                  <a:gd name="connsiteX30" fmla="*/ 815340 w 882650"/>
                  <a:gd name="connsiteY30" fmla="*/ 21590 h 76200"/>
                  <a:gd name="connsiteX31" fmla="*/ 815340 w 882650"/>
                  <a:gd name="connsiteY31" fmla="*/ 47625 h 76200"/>
                  <a:gd name="connsiteX32" fmla="*/ 812800 w 882650"/>
                  <a:gd name="connsiteY32" fmla="*/ 61277 h 76200"/>
                  <a:gd name="connsiteX33" fmla="*/ 803275 w 882650"/>
                  <a:gd name="connsiteY33" fmla="*/ 66040 h 76200"/>
                  <a:gd name="connsiteX34" fmla="*/ 796607 w 882650"/>
                  <a:gd name="connsiteY34" fmla="*/ 63183 h 76200"/>
                  <a:gd name="connsiteX35" fmla="*/ 794385 w 882650"/>
                  <a:gd name="connsiteY35" fmla="*/ 54293 h 76200"/>
                  <a:gd name="connsiteX36" fmla="*/ 794385 w 882650"/>
                  <a:gd name="connsiteY36" fmla="*/ 21908 h 76200"/>
                  <a:gd name="connsiteX37" fmla="*/ 779145 w 882650"/>
                  <a:gd name="connsiteY37" fmla="*/ 21908 h 76200"/>
                  <a:gd name="connsiteX38" fmla="*/ 779145 w 882650"/>
                  <a:gd name="connsiteY38" fmla="*/ 57785 h 76200"/>
                  <a:gd name="connsiteX39" fmla="*/ 784542 w 882650"/>
                  <a:gd name="connsiteY39" fmla="*/ 73343 h 76200"/>
                  <a:gd name="connsiteX40" fmla="*/ 798830 w 882650"/>
                  <a:gd name="connsiteY40" fmla="*/ 78105 h 76200"/>
                  <a:gd name="connsiteX41" fmla="*/ 808672 w 882650"/>
                  <a:gd name="connsiteY41" fmla="*/ 76200 h 76200"/>
                  <a:gd name="connsiteX42" fmla="*/ 815975 w 882650"/>
                  <a:gd name="connsiteY42" fmla="*/ 69850 h 76200"/>
                  <a:gd name="connsiteX43" fmla="*/ 816927 w 882650"/>
                  <a:gd name="connsiteY43" fmla="*/ 69850 h 76200"/>
                  <a:gd name="connsiteX44" fmla="*/ 818832 w 882650"/>
                  <a:gd name="connsiteY44" fmla="*/ 76835 h 76200"/>
                  <a:gd name="connsiteX45" fmla="*/ 830263 w 882650"/>
                  <a:gd name="connsiteY45" fmla="*/ 76835 h 76200"/>
                  <a:gd name="connsiteX46" fmla="*/ 830263 w 882650"/>
                  <a:gd name="connsiteY46" fmla="*/ 21273 h 76200"/>
                  <a:gd name="connsiteX47" fmla="*/ 815340 w 882650"/>
                  <a:gd name="connsiteY47" fmla="*/ 21273 h 76200"/>
                  <a:gd name="connsiteX48" fmla="*/ 731520 w 882650"/>
                  <a:gd name="connsiteY48" fmla="*/ 36830 h 76200"/>
                  <a:gd name="connsiteX49" fmla="*/ 740092 w 882650"/>
                  <a:gd name="connsiteY49" fmla="*/ 32702 h 76200"/>
                  <a:gd name="connsiteX50" fmla="*/ 748982 w 882650"/>
                  <a:gd name="connsiteY50" fmla="*/ 36830 h 76200"/>
                  <a:gd name="connsiteX51" fmla="*/ 751522 w 882650"/>
                  <a:gd name="connsiteY51" fmla="*/ 49213 h 76200"/>
                  <a:gd name="connsiteX52" fmla="*/ 748982 w 882650"/>
                  <a:gd name="connsiteY52" fmla="*/ 61595 h 76200"/>
                  <a:gd name="connsiteX53" fmla="*/ 740410 w 882650"/>
                  <a:gd name="connsiteY53" fmla="*/ 65723 h 76200"/>
                  <a:gd name="connsiteX54" fmla="*/ 731520 w 882650"/>
                  <a:gd name="connsiteY54" fmla="*/ 61595 h 76200"/>
                  <a:gd name="connsiteX55" fmla="*/ 728980 w 882650"/>
                  <a:gd name="connsiteY55" fmla="*/ 49213 h 76200"/>
                  <a:gd name="connsiteX56" fmla="*/ 731520 w 882650"/>
                  <a:gd name="connsiteY56" fmla="*/ 36830 h 76200"/>
                  <a:gd name="connsiteX57" fmla="*/ 763905 w 882650"/>
                  <a:gd name="connsiteY57" fmla="*/ 33655 h 76200"/>
                  <a:gd name="connsiteX58" fmla="*/ 754380 w 882650"/>
                  <a:gd name="connsiteY58" fmla="*/ 23813 h 76200"/>
                  <a:gd name="connsiteX59" fmla="*/ 740410 w 882650"/>
                  <a:gd name="connsiteY59" fmla="*/ 20320 h 76200"/>
                  <a:gd name="connsiteX60" fmla="*/ 720725 w 882650"/>
                  <a:gd name="connsiteY60" fmla="*/ 27623 h 76200"/>
                  <a:gd name="connsiteX61" fmla="*/ 713422 w 882650"/>
                  <a:gd name="connsiteY61" fmla="*/ 48895 h 76200"/>
                  <a:gd name="connsiteX62" fmla="*/ 716915 w 882650"/>
                  <a:gd name="connsiteY62" fmla="*/ 64452 h 76200"/>
                  <a:gd name="connsiteX63" fmla="*/ 726440 w 882650"/>
                  <a:gd name="connsiteY63" fmla="*/ 74295 h 76200"/>
                  <a:gd name="connsiteX64" fmla="*/ 740092 w 882650"/>
                  <a:gd name="connsiteY64" fmla="*/ 77788 h 76200"/>
                  <a:gd name="connsiteX65" fmla="*/ 759777 w 882650"/>
                  <a:gd name="connsiteY65" fmla="*/ 70168 h 76200"/>
                  <a:gd name="connsiteX66" fmla="*/ 767080 w 882650"/>
                  <a:gd name="connsiteY66" fmla="*/ 48895 h 76200"/>
                  <a:gd name="connsiteX67" fmla="*/ 763905 w 882650"/>
                  <a:gd name="connsiteY67" fmla="*/ 33655 h 76200"/>
                  <a:gd name="connsiteX68" fmla="*/ 685800 w 882650"/>
                  <a:gd name="connsiteY68" fmla="*/ 77152 h 76200"/>
                  <a:gd name="connsiteX69" fmla="*/ 701040 w 882650"/>
                  <a:gd name="connsiteY69" fmla="*/ 77152 h 76200"/>
                  <a:gd name="connsiteX70" fmla="*/ 701040 w 882650"/>
                  <a:gd name="connsiteY70" fmla="*/ 21590 h 76200"/>
                  <a:gd name="connsiteX71" fmla="*/ 685800 w 882650"/>
                  <a:gd name="connsiteY71" fmla="*/ 21590 h 76200"/>
                  <a:gd name="connsiteX72" fmla="*/ 685800 w 882650"/>
                  <a:gd name="connsiteY72" fmla="*/ 77152 h 76200"/>
                  <a:gd name="connsiteX73" fmla="*/ 687705 w 882650"/>
                  <a:gd name="connsiteY73" fmla="*/ 1588 h 76200"/>
                  <a:gd name="connsiteX74" fmla="*/ 685165 w 882650"/>
                  <a:gd name="connsiteY74" fmla="*/ 7302 h 76200"/>
                  <a:gd name="connsiteX75" fmla="*/ 687705 w 882650"/>
                  <a:gd name="connsiteY75" fmla="*/ 13018 h 76200"/>
                  <a:gd name="connsiteX76" fmla="*/ 693420 w 882650"/>
                  <a:gd name="connsiteY76" fmla="*/ 14605 h 76200"/>
                  <a:gd name="connsiteX77" fmla="*/ 699135 w 882650"/>
                  <a:gd name="connsiteY77" fmla="*/ 13018 h 76200"/>
                  <a:gd name="connsiteX78" fmla="*/ 701675 w 882650"/>
                  <a:gd name="connsiteY78" fmla="*/ 7302 h 76200"/>
                  <a:gd name="connsiteX79" fmla="*/ 699135 w 882650"/>
                  <a:gd name="connsiteY79" fmla="*/ 1588 h 76200"/>
                  <a:gd name="connsiteX80" fmla="*/ 693420 w 882650"/>
                  <a:gd name="connsiteY80" fmla="*/ 0 h 76200"/>
                  <a:gd name="connsiteX81" fmla="*/ 687705 w 882650"/>
                  <a:gd name="connsiteY81" fmla="*/ 1588 h 76200"/>
                  <a:gd name="connsiteX82" fmla="*/ 660717 w 882650"/>
                  <a:gd name="connsiteY82" fmla="*/ 23813 h 76200"/>
                  <a:gd name="connsiteX83" fmla="*/ 654050 w 882650"/>
                  <a:gd name="connsiteY83" fmla="*/ 31115 h 76200"/>
                  <a:gd name="connsiteX84" fmla="*/ 653415 w 882650"/>
                  <a:gd name="connsiteY84" fmla="*/ 31115 h 76200"/>
                  <a:gd name="connsiteX85" fmla="*/ 651192 w 882650"/>
                  <a:gd name="connsiteY85" fmla="*/ 21908 h 76200"/>
                  <a:gd name="connsiteX86" fmla="*/ 639763 w 882650"/>
                  <a:gd name="connsiteY86" fmla="*/ 21908 h 76200"/>
                  <a:gd name="connsiteX87" fmla="*/ 639763 w 882650"/>
                  <a:gd name="connsiteY87" fmla="*/ 77470 h 76200"/>
                  <a:gd name="connsiteX88" fmla="*/ 655002 w 882650"/>
                  <a:gd name="connsiteY88" fmla="*/ 77470 h 76200"/>
                  <a:gd name="connsiteX89" fmla="*/ 655002 w 882650"/>
                  <a:gd name="connsiteY89" fmla="*/ 49213 h 76200"/>
                  <a:gd name="connsiteX90" fmla="*/ 657225 w 882650"/>
                  <a:gd name="connsiteY90" fmla="*/ 40958 h 76200"/>
                  <a:gd name="connsiteX91" fmla="*/ 662940 w 882650"/>
                  <a:gd name="connsiteY91" fmla="*/ 36513 h 76200"/>
                  <a:gd name="connsiteX92" fmla="*/ 670242 w 882650"/>
                  <a:gd name="connsiteY92" fmla="*/ 35243 h 76200"/>
                  <a:gd name="connsiteX93" fmla="*/ 672465 w 882650"/>
                  <a:gd name="connsiteY93" fmla="*/ 35243 h 76200"/>
                  <a:gd name="connsiteX94" fmla="*/ 674688 w 882650"/>
                  <a:gd name="connsiteY94" fmla="*/ 35560 h 76200"/>
                  <a:gd name="connsiteX95" fmla="*/ 675957 w 882650"/>
                  <a:gd name="connsiteY95" fmla="*/ 21273 h 76200"/>
                  <a:gd name="connsiteX96" fmla="*/ 673417 w 882650"/>
                  <a:gd name="connsiteY96" fmla="*/ 20955 h 76200"/>
                  <a:gd name="connsiteX97" fmla="*/ 670877 w 882650"/>
                  <a:gd name="connsiteY97" fmla="*/ 20955 h 76200"/>
                  <a:gd name="connsiteX98" fmla="*/ 660717 w 882650"/>
                  <a:gd name="connsiteY98" fmla="*/ 23813 h 76200"/>
                  <a:gd name="connsiteX99" fmla="*/ 610552 w 882650"/>
                  <a:gd name="connsiteY99" fmla="*/ 34925 h 76200"/>
                  <a:gd name="connsiteX100" fmla="*/ 613092 w 882650"/>
                  <a:gd name="connsiteY100" fmla="*/ 43180 h 76200"/>
                  <a:gd name="connsiteX101" fmla="*/ 591820 w 882650"/>
                  <a:gd name="connsiteY101" fmla="*/ 43180 h 76200"/>
                  <a:gd name="connsiteX102" fmla="*/ 595313 w 882650"/>
                  <a:gd name="connsiteY102" fmla="*/ 34290 h 76200"/>
                  <a:gd name="connsiteX103" fmla="*/ 602615 w 882650"/>
                  <a:gd name="connsiteY103" fmla="*/ 31433 h 76200"/>
                  <a:gd name="connsiteX104" fmla="*/ 610552 w 882650"/>
                  <a:gd name="connsiteY104" fmla="*/ 34925 h 76200"/>
                  <a:gd name="connsiteX105" fmla="*/ 588963 w 882650"/>
                  <a:gd name="connsiteY105" fmla="*/ 23813 h 76200"/>
                  <a:gd name="connsiteX106" fmla="*/ 579755 w 882650"/>
                  <a:gd name="connsiteY106" fmla="*/ 33655 h 76200"/>
                  <a:gd name="connsiteX107" fmla="*/ 576580 w 882650"/>
                  <a:gd name="connsiteY107" fmla="*/ 49848 h 76200"/>
                  <a:gd name="connsiteX108" fmla="*/ 580390 w 882650"/>
                  <a:gd name="connsiteY108" fmla="*/ 65723 h 76200"/>
                  <a:gd name="connsiteX109" fmla="*/ 590550 w 882650"/>
                  <a:gd name="connsiteY109" fmla="*/ 74930 h 76200"/>
                  <a:gd name="connsiteX110" fmla="*/ 605155 w 882650"/>
                  <a:gd name="connsiteY110" fmla="*/ 78105 h 76200"/>
                  <a:gd name="connsiteX111" fmla="*/ 615950 w 882650"/>
                  <a:gd name="connsiteY111" fmla="*/ 77152 h 76200"/>
                  <a:gd name="connsiteX112" fmla="*/ 624522 w 882650"/>
                  <a:gd name="connsiteY112" fmla="*/ 74295 h 76200"/>
                  <a:gd name="connsiteX113" fmla="*/ 624522 w 882650"/>
                  <a:gd name="connsiteY113" fmla="*/ 62548 h 76200"/>
                  <a:gd name="connsiteX114" fmla="*/ 615315 w 882650"/>
                  <a:gd name="connsiteY114" fmla="*/ 65723 h 76200"/>
                  <a:gd name="connsiteX115" fmla="*/ 605472 w 882650"/>
                  <a:gd name="connsiteY115" fmla="*/ 66675 h 76200"/>
                  <a:gd name="connsiteX116" fmla="*/ 595313 w 882650"/>
                  <a:gd name="connsiteY116" fmla="*/ 62865 h 76200"/>
                  <a:gd name="connsiteX117" fmla="*/ 591502 w 882650"/>
                  <a:gd name="connsiteY117" fmla="*/ 52705 h 76200"/>
                  <a:gd name="connsiteX118" fmla="*/ 627380 w 882650"/>
                  <a:gd name="connsiteY118" fmla="*/ 52705 h 76200"/>
                  <a:gd name="connsiteX119" fmla="*/ 627380 w 882650"/>
                  <a:gd name="connsiteY119" fmla="*/ 45402 h 76200"/>
                  <a:gd name="connsiteX120" fmla="*/ 620713 w 882650"/>
                  <a:gd name="connsiteY120" fmla="*/ 26670 h 76200"/>
                  <a:gd name="connsiteX121" fmla="*/ 602615 w 882650"/>
                  <a:gd name="connsiteY121" fmla="*/ 20002 h 76200"/>
                  <a:gd name="connsiteX122" fmla="*/ 588963 w 882650"/>
                  <a:gd name="connsiteY122" fmla="*/ 23813 h 76200"/>
                  <a:gd name="connsiteX123" fmla="*/ 566102 w 882650"/>
                  <a:gd name="connsiteY123" fmla="*/ 52705 h 76200"/>
                  <a:gd name="connsiteX124" fmla="*/ 560705 w 882650"/>
                  <a:gd name="connsiteY124" fmla="*/ 47625 h 76200"/>
                  <a:gd name="connsiteX125" fmla="*/ 552450 w 882650"/>
                  <a:gd name="connsiteY125" fmla="*/ 43498 h 76200"/>
                  <a:gd name="connsiteX126" fmla="*/ 545147 w 882650"/>
                  <a:gd name="connsiteY126" fmla="*/ 40323 h 76200"/>
                  <a:gd name="connsiteX127" fmla="*/ 541655 w 882650"/>
                  <a:gd name="connsiteY127" fmla="*/ 38100 h 76200"/>
                  <a:gd name="connsiteX128" fmla="*/ 540702 w 882650"/>
                  <a:gd name="connsiteY128" fmla="*/ 35560 h 76200"/>
                  <a:gd name="connsiteX129" fmla="*/ 547370 w 882650"/>
                  <a:gd name="connsiteY129" fmla="*/ 31750 h 76200"/>
                  <a:gd name="connsiteX130" fmla="*/ 554672 w 882650"/>
                  <a:gd name="connsiteY130" fmla="*/ 33020 h 76200"/>
                  <a:gd name="connsiteX131" fmla="*/ 562292 w 882650"/>
                  <a:gd name="connsiteY131" fmla="*/ 35877 h 76200"/>
                  <a:gd name="connsiteX132" fmla="*/ 566738 w 882650"/>
                  <a:gd name="connsiteY132" fmla="*/ 25083 h 76200"/>
                  <a:gd name="connsiteX133" fmla="*/ 557213 w 882650"/>
                  <a:gd name="connsiteY133" fmla="*/ 21590 h 76200"/>
                  <a:gd name="connsiteX134" fmla="*/ 547370 w 882650"/>
                  <a:gd name="connsiteY134" fmla="*/ 20638 h 76200"/>
                  <a:gd name="connsiteX135" fmla="*/ 531495 w 882650"/>
                  <a:gd name="connsiteY135" fmla="*/ 24448 h 76200"/>
                  <a:gd name="connsiteX136" fmla="*/ 525463 w 882650"/>
                  <a:gd name="connsiteY136" fmla="*/ 35877 h 76200"/>
                  <a:gd name="connsiteX137" fmla="*/ 527050 w 882650"/>
                  <a:gd name="connsiteY137" fmla="*/ 43498 h 76200"/>
                  <a:gd name="connsiteX138" fmla="*/ 532130 w 882650"/>
                  <a:gd name="connsiteY138" fmla="*/ 48895 h 76200"/>
                  <a:gd name="connsiteX139" fmla="*/ 540702 w 882650"/>
                  <a:gd name="connsiteY139" fmla="*/ 53340 h 76200"/>
                  <a:gd name="connsiteX140" fmla="*/ 548640 w 882650"/>
                  <a:gd name="connsiteY140" fmla="*/ 57150 h 76200"/>
                  <a:gd name="connsiteX141" fmla="*/ 551815 w 882650"/>
                  <a:gd name="connsiteY141" fmla="*/ 59690 h 76200"/>
                  <a:gd name="connsiteX142" fmla="*/ 552450 w 882650"/>
                  <a:gd name="connsiteY142" fmla="*/ 62230 h 76200"/>
                  <a:gd name="connsiteX143" fmla="*/ 550545 w 882650"/>
                  <a:gd name="connsiteY143" fmla="*/ 65723 h 76200"/>
                  <a:gd name="connsiteX144" fmla="*/ 544195 w 882650"/>
                  <a:gd name="connsiteY144" fmla="*/ 66993 h 76200"/>
                  <a:gd name="connsiteX145" fmla="*/ 534988 w 882650"/>
                  <a:gd name="connsiteY145" fmla="*/ 65723 h 76200"/>
                  <a:gd name="connsiteX146" fmla="*/ 525463 w 882650"/>
                  <a:gd name="connsiteY146" fmla="*/ 62230 h 76200"/>
                  <a:gd name="connsiteX147" fmla="*/ 525463 w 882650"/>
                  <a:gd name="connsiteY147" fmla="*/ 74613 h 76200"/>
                  <a:gd name="connsiteX148" fmla="*/ 533717 w 882650"/>
                  <a:gd name="connsiteY148" fmla="*/ 77152 h 76200"/>
                  <a:gd name="connsiteX149" fmla="*/ 543560 w 882650"/>
                  <a:gd name="connsiteY149" fmla="*/ 77788 h 76200"/>
                  <a:gd name="connsiteX150" fmla="*/ 561340 w 882650"/>
                  <a:gd name="connsiteY150" fmla="*/ 73343 h 76200"/>
                  <a:gd name="connsiteX151" fmla="*/ 567372 w 882650"/>
                  <a:gd name="connsiteY151" fmla="*/ 60325 h 76200"/>
                  <a:gd name="connsiteX152" fmla="*/ 566102 w 882650"/>
                  <a:gd name="connsiteY152" fmla="*/ 52705 h 76200"/>
                  <a:gd name="connsiteX153" fmla="*/ 477838 w 882650"/>
                  <a:gd name="connsiteY153" fmla="*/ 23813 h 76200"/>
                  <a:gd name="connsiteX154" fmla="*/ 471170 w 882650"/>
                  <a:gd name="connsiteY154" fmla="*/ 31115 h 76200"/>
                  <a:gd name="connsiteX155" fmla="*/ 470535 w 882650"/>
                  <a:gd name="connsiteY155" fmla="*/ 31115 h 76200"/>
                  <a:gd name="connsiteX156" fmla="*/ 468313 w 882650"/>
                  <a:gd name="connsiteY156" fmla="*/ 21908 h 76200"/>
                  <a:gd name="connsiteX157" fmla="*/ 456882 w 882650"/>
                  <a:gd name="connsiteY157" fmla="*/ 21908 h 76200"/>
                  <a:gd name="connsiteX158" fmla="*/ 456882 w 882650"/>
                  <a:gd name="connsiteY158" fmla="*/ 77470 h 76200"/>
                  <a:gd name="connsiteX159" fmla="*/ 472122 w 882650"/>
                  <a:gd name="connsiteY159" fmla="*/ 77470 h 76200"/>
                  <a:gd name="connsiteX160" fmla="*/ 472122 w 882650"/>
                  <a:gd name="connsiteY160" fmla="*/ 49213 h 76200"/>
                  <a:gd name="connsiteX161" fmla="*/ 474345 w 882650"/>
                  <a:gd name="connsiteY161" fmla="*/ 40958 h 76200"/>
                  <a:gd name="connsiteX162" fmla="*/ 480060 w 882650"/>
                  <a:gd name="connsiteY162" fmla="*/ 36513 h 76200"/>
                  <a:gd name="connsiteX163" fmla="*/ 487363 w 882650"/>
                  <a:gd name="connsiteY163" fmla="*/ 35243 h 76200"/>
                  <a:gd name="connsiteX164" fmla="*/ 489585 w 882650"/>
                  <a:gd name="connsiteY164" fmla="*/ 35243 h 76200"/>
                  <a:gd name="connsiteX165" fmla="*/ 491807 w 882650"/>
                  <a:gd name="connsiteY165" fmla="*/ 35560 h 76200"/>
                  <a:gd name="connsiteX166" fmla="*/ 493077 w 882650"/>
                  <a:gd name="connsiteY166" fmla="*/ 21273 h 76200"/>
                  <a:gd name="connsiteX167" fmla="*/ 490538 w 882650"/>
                  <a:gd name="connsiteY167" fmla="*/ 20955 h 76200"/>
                  <a:gd name="connsiteX168" fmla="*/ 487997 w 882650"/>
                  <a:gd name="connsiteY168" fmla="*/ 20955 h 76200"/>
                  <a:gd name="connsiteX169" fmla="*/ 477838 w 882650"/>
                  <a:gd name="connsiteY169" fmla="*/ 23813 h 76200"/>
                  <a:gd name="connsiteX170" fmla="*/ 427355 w 882650"/>
                  <a:gd name="connsiteY170" fmla="*/ 34925 h 76200"/>
                  <a:gd name="connsiteX171" fmla="*/ 429895 w 882650"/>
                  <a:gd name="connsiteY171" fmla="*/ 43180 h 76200"/>
                  <a:gd name="connsiteX172" fmla="*/ 408622 w 882650"/>
                  <a:gd name="connsiteY172" fmla="*/ 43180 h 76200"/>
                  <a:gd name="connsiteX173" fmla="*/ 412115 w 882650"/>
                  <a:gd name="connsiteY173" fmla="*/ 34290 h 76200"/>
                  <a:gd name="connsiteX174" fmla="*/ 419417 w 882650"/>
                  <a:gd name="connsiteY174" fmla="*/ 31433 h 76200"/>
                  <a:gd name="connsiteX175" fmla="*/ 427355 w 882650"/>
                  <a:gd name="connsiteY175" fmla="*/ 34925 h 76200"/>
                  <a:gd name="connsiteX176" fmla="*/ 405765 w 882650"/>
                  <a:gd name="connsiteY176" fmla="*/ 23813 h 76200"/>
                  <a:gd name="connsiteX177" fmla="*/ 396557 w 882650"/>
                  <a:gd name="connsiteY177" fmla="*/ 33655 h 76200"/>
                  <a:gd name="connsiteX178" fmla="*/ 393382 w 882650"/>
                  <a:gd name="connsiteY178" fmla="*/ 49848 h 76200"/>
                  <a:gd name="connsiteX179" fmla="*/ 397192 w 882650"/>
                  <a:gd name="connsiteY179" fmla="*/ 65723 h 76200"/>
                  <a:gd name="connsiteX180" fmla="*/ 407352 w 882650"/>
                  <a:gd name="connsiteY180" fmla="*/ 74930 h 76200"/>
                  <a:gd name="connsiteX181" fmla="*/ 421957 w 882650"/>
                  <a:gd name="connsiteY181" fmla="*/ 78105 h 76200"/>
                  <a:gd name="connsiteX182" fmla="*/ 432752 w 882650"/>
                  <a:gd name="connsiteY182" fmla="*/ 77152 h 76200"/>
                  <a:gd name="connsiteX183" fmla="*/ 441325 w 882650"/>
                  <a:gd name="connsiteY183" fmla="*/ 74295 h 76200"/>
                  <a:gd name="connsiteX184" fmla="*/ 441325 w 882650"/>
                  <a:gd name="connsiteY184" fmla="*/ 62548 h 76200"/>
                  <a:gd name="connsiteX185" fmla="*/ 432117 w 882650"/>
                  <a:gd name="connsiteY185" fmla="*/ 65723 h 76200"/>
                  <a:gd name="connsiteX186" fmla="*/ 422275 w 882650"/>
                  <a:gd name="connsiteY186" fmla="*/ 66675 h 76200"/>
                  <a:gd name="connsiteX187" fmla="*/ 412115 w 882650"/>
                  <a:gd name="connsiteY187" fmla="*/ 62865 h 76200"/>
                  <a:gd name="connsiteX188" fmla="*/ 408305 w 882650"/>
                  <a:gd name="connsiteY188" fmla="*/ 52705 h 76200"/>
                  <a:gd name="connsiteX189" fmla="*/ 444182 w 882650"/>
                  <a:gd name="connsiteY189" fmla="*/ 52705 h 76200"/>
                  <a:gd name="connsiteX190" fmla="*/ 444182 w 882650"/>
                  <a:gd name="connsiteY190" fmla="*/ 45402 h 76200"/>
                  <a:gd name="connsiteX191" fmla="*/ 437515 w 882650"/>
                  <a:gd name="connsiteY191" fmla="*/ 26670 h 76200"/>
                  <a:gd name="connsiteX192" fmla="*/ 419417 w 882650"/>
                  <a:gd name="connsiteY192" fmla="*/ 20002 h 76200"/>
                  <a:gd name="connsiteX193" fmla="*/ 405765 w 882650"/>
                  <a:gd name="connsiteY193" fmla="*/ 23813 h 76200"/>
                  <a:gd name="connsiteX194" fmla="*/ 329882 w 882650"/>
                  <a:gd name="connsiteY194" fmla="*/ 0 h 76200"/>
                  <a:gd name="connsiteX195" fmla="*/ 329882 w 882650"/>
                  <a:gd name="connsiteY195" fmla="*/ 77152 h 76200"/>
                  <a:gd name="connsiteX196" fmla="*/ 345122 w 882650"/>
                  <a:gd name="connsiteY196" fmla="*/ 77152 h 76200"/>
                  <a:gd name="connsiteX197" fmla="*/ 345122 w 882650"/>
                  <a:gd name="connsiteY197" fmla="*/ 51118 h 76200"/>
                  <a:gd name="connsiteX198" fmla="*/ 347663 w 882650"/>
                  <a:gd name="connsiteY198" fmla="*/ 37465 h 76200"/>
                  <a:gd name="connsiteX199" fmla="*/ 357188 w 882650"/>
                  <a:gd name="connsiteY199" fmla="*/ 32702 h 76200"/>
                  <a:gd name="connsiteX200" fmla="*/ 366077 w 882650"/>
                  <a:gd name="connsiteY200" fmla="*/ 44768 h 76200"/>
                  <a:gd name="connsiteX201" fmla="*/ 366077 w 882650"/>
                  <a:gd name="connsiteY201" fmla="*/ 77152 h 76200"/>
                  <a:gd name="connsiteX202" fmla="*/ 381317 w 882650"/>
                  <a:gd name="connsiteY202" fmla="*/ 77152 h 76200"/>
                  <a:gd name="connsiteX203" fmla="*/ 381317 w 882650"/>
                  <a:gd name="connsiteY203" fmla="*/ 40958 h 76200"/>
                  <a:gd name="connsiteX204" fmla="*/ 375920 w 882650"/>
                  <a:gd name="connsiteY204" fmla="*/ 25400 h 76200"/>
                  <a:gd name="connsiteX205" fmla="*/ 361632 w 882650"/>
                  <a:gd name="connsiteY205" fmla="*/ 20638 h 76200"/>
                  <a:gd name="connsiteX206" fmla="*/ 352425 w 882650"/>
                  <a:gd name="connsiteY206" fmla="*/ 22543 h 76200"/>
                  <a:gd name="connsiteX207" fmla="*/ 345757 w 882650"/>
                  <a:gd name="connsiteY207" fmla="*/ 28893 h 76200"/>
                  <a:gd name="connsiteX208" fmla="*/ 344805 w 882650"/>
                  <a:gd name="connsiteY208" fmla="*/ 28893 h 76200"/>
                  <a:gd name="connsiteX209" fmla="*/ 345122 w 882650"/>
                  <a:gd name="connsiteY209" fmla="*/ 23813 h 76200"/>
                  <a:gd name="connsiteX210" fmla="*/ 345440 w 882650"/>
                  <a:gd name="connsiteY210" fmla="*/ 15875 h 76200"/>
                  <a:gd name="connsiteX211" fmla="*/ 345440 w 882650"/>
                  <a:gd name="connsiteY211" fmla="*/ 0 h 76200"/>
                  <a:gd name="connsiteX212" fmla="*/ 329882 w 882650"/>
                  <a:gd name="connsiteY212" fmla="*/ 0 h 76200"/>
                  <a:gd name="connsiteX213" fmla="*/ 304482 w 882650"/>
                  <a:gd name="connsiteY213" fmla="*/ 64452 h 76200"/>
                  <a:gd name="connsiteX214" fmla="*/ 302577 w 882650"/>
                  <a:gd name="connsiteY214" fmla="*/ 59690 h 76200"/>
                  <a:gd name="connsiteX215" fmla="*/ 302577 w 882650"/>
                  <a:gd name="connsiteY215" fmla="*/ 33020 h 76200"/>
                  <a:gd name="connsiteX216" fmla="*/ 318135 w 882650"/>
                  <a:gd name="connsiteY216" fmla="*/ 33020 h 76200"/>
                  <a:gd name="connsiteX217" fmla="*/ 318135 w 882650"/>
                  <a:gd name="connsiteY217" fmla="*/ 21590 h 76200"/>
                  <a:gd name="connsiteX218" fmla="*/ 302577 w 882650"/>
                  <a:gd name="connsiteY218" fmla="*/ 21590 h 76200"/>
                  <a:gd name="connsiteX219" fmla="*/ 302577 w 882650"/>
                  <a:gd name="connsiteY219" fmla="*/ 9843 h 76200"/>
                  <a:gd name="connsiteX220" fmla="*/ 293052 w 882650"/>
                  <a:gd name="connsiteY220" fmla="*/ 9843 h 76200"/>
                  <a:gd name="connsiteX221" fmla="*/ 288607 w 882650"/>
                  <a:gd name="connsiteY221" fmla="*/ 21590 h 76200"/>
                  <a:gd name="connsiteX222" fmla="*/ 280352 w 882650"/>
                  <a:gd name="connsiteY222" fmla="*/ 26670 h 76200"/>
                  <a:gd name="connsiteX223" fmla="*/ 280352 w 882650"/>
                  <a:gd name="connsiteY223" fmla="*/ 33020 h 76200"/>
                  <a:gd name="connsiteX224" fmla="*/ 287655 w 882650"/>
                  <a:gd name="connsiteY224" fmla="*/ 33020 h 76200"/>
                  <a:gd name="connsiteX225" fmla="*/ 287655 w 882650"/>
                  <a:gd name="connsiteY225" fmla="*/ 59690 h 76200"/>
                  <a:gd name="connsiteX226" fmla="*/ 289877 w 882650"/>
                  <a:gd name="connsiteY226" fmla="*/ 70802 h 76200"/>
                  <a:gd name="connsiteX227" fmla="*/ 296227 w 882650"/>
                  <a:gd name="connsiteY227" fmla="*/ 76518 h 76200"/>
                  <a:gd name="connsiteX228" fmla="*/ 305117 w 882650"/>
                  <a:gd name="connsiteY228" fmla="*/ 78105 h 76200"/>
                  <a:gd name="connsiteX229" fmla="*/ 313055 w 882650"/>
                  <a:gd name="connsiteY229" fmla="*/ 77470 h 76200"/>
                  <a:gd name="connsiteX230" fmla="*/ 319088 w 882650"/>
                  <a:gd name="connsiteY230" fmla="*/ 75565 h 76200"/>
                  <a:gd name="connsiteX231" fmla="*/ 319088 w 882650"/>
                  <a:gd name="connsiteY231" fmla="*/ 64135 h 76200"/>
                  <a:gd name="connsiteX232" fmla="*/ 314325 w 882650"/>
                  <a:gd name="connsiteY232" fmla="*/ 65405 h 76200"/>
                  <a:gd name="connsiteX233" fmla="*/ 309563 w 882650"/>
                  <a:gd name="connsiteY233" fmla="*/ 65723 h 76200"/>
                  <a:gd name="connsiteX234" fmla="*/ 304482 w 882650"/>
                  <a:gd name="connsiteY234" fmla="*/ 64452 h 76200"/>
                  <a:gd name="connsiteX235" fmla="*/ 237490 w 882650"/>
                  <a:gd name="connsiteY235" fmla="*/ 36830 h 76200"/>
                  <a:gd name="connsiteX236" fmla="*/ 246063 w 882650"/>
                  <a:gd name="connsiteY236" fmla="*/ 32702 h 76200"/>
                  <a:gd name="connsiteX237" fmla="*/ 254952 w 882650"/>
                  <a:gd name="connsiteY237" fmla="*/ 36830 h 76200"/>
                  <a:gd name="connsiteX238" fmla="*/ 257492 w 882650"/>
                  <a:gd name="connsiteY238" fmla="*/ 49213 h 76200"/>
                  <a:gd name="connsiteX239" fmla="*/ 254952 w 882650"/>
                  <a:gd name="connsiteY239" fmla="*/ 61595 h 76200"/>
                  <a:gd name="connsiteX240" fmla="*/ 246380 w 882650"/>
                  <a:gd name="connsiteY240" fmla="*/ 65723 h 76200"/>
                  <a:gd name="connsiteX241" fmla="*/ 237490 w 882650"/>
                  <a:gd name="connsiteY241" fmla="*/ 61595 h 76200"/>
                  <a:gd name="connsiteX242" fmla="*/ 234950 w 882650"/>
                  <a:gd name="connsiteY242" fmla="*/ 49213 h 76200"/>
                  <a:gd name="connsiteX243" fmla="*/ 237490 w 882650"/>
                  <a:gd name="connsiteY243" fmla="*/ 36830 h 76200"/>
                  <a:gd name="connsiteX244" fmla="*/ 269875 w 882650"/>
                  <a:gd name="connsiteY244" fmla="*/ 33655 h 76200"/>
                  <a:gd name="connsiteX245" fmla="*/ 260350 w 882650"/>
                  <a:gd name="connsiteY245" fmla="*/ 23813 h 76200"/>
                  <a:gd name="connsiteX246" fmla="*/ 246380 w 882650"/>
                  <a:gd name="connsiteY246" fmla="*/ 20320 h 76200"/>
                  <a:gd name="connsiteX247" fmla="*/ 226695 w 882650"/>
                  <a:gd name="connsiteY247" fmla="*/ 27623 h 76200"/>
                  <a:gd name="connsiteX248" fmla="*/ 219392 w 882650"/>
                  <a:gd name="connsiteY248" fmla="*/ 48895 h 76200"/>
                  <a:gd name="connsiteX249" fmla="*/ 222885 w 882650"/>
                  <a:gd name="connsiteY249" fmla="*/ 64452 h 76200"/>
                  <a:gd name="connsiteX250" fmla="*/ 232410 w 882650"/>
                  <a:gd name="connsiteY250" fmla="*/ 74295 h 76200"/>
                  <a:gd name="connsiteX251" fmla="*/ 246063 w 882650"/>
                  <a:gd name="connsiteY251" fmla="*/ 77788 h 76200"/>
                  <a:gd name="connsiteX252" fmla="*/ 265747 w 882650"/>
                  <a:gd name="connsiteY252" fmla="*/ 70168 h 76200"/>
                  <a:gd name="connsiteX253" fmla="*/ 273050 w 882650"/>
                  <a:gd name="connsiteY253" fmla="*/ 48895 h 76200"/>
                  <a:gd name="connsiteX254" fmla="*/ 269875 w 882650"/>
                  <a:gd name="connsiteY254" fmla="*/ 33655 h 76200"/>
                  <a:gd name="connsiteX255" fmla="*/ 147002 w 882650"/>
                  <a:gd name="connsiteY255" fmla="*/ 61913 h 76200"/>
                  <a:gd name="connsiteX256" fmla="*/ 144145 w 882650"/>
                  <a:gd name="connsiteY256" fmla="*/ 49530 h 76200"/>
                  <a:gd name="connsiteX257" fmla="*/ 147002 w 882650"/>
                  <a:gd name="connsiteY257" fmla="*/ 37148 h 76200"/>
                  <a:gd name="connsiteX258" fmla="*/ 154940 w 882650"/>
                  <a:gd name="connsiteY258" fmla="*/ 32702 h 76200"/>
                  <a:gd name="connsiteX259" fmla="*/ 164147 w 882650"/>
                  <a:gd name="connsiteY259" fmla="*/ 37148 h 76200"/>
                  <a:gd name="connsiteX260" fmla="*/ 166688 w 882650"/>
                  <a:gd name="connsiteY260" fmla="*/ 49530 h 76200"/>
                  <a:gd name="connsiteX261" fmla="*/ 166688 w 882650"/>
                  <a:gd name="connsiteY261" fmla="*/ 51118 h 76200"/>
                  <a:gd name="connsiteX262" fmla="*/ 163830 w 882650"/>
                  <a:gd name="connsiteY262" fmla="*/ 62230 h 76200"/>
                  <a:gd name="connsiteX263" fmla="*/ 154940 w 882650"/>
                  <a:gd name="connsiteY263" fmla="*/ 66040 h 76200"/>
                  <a:gd name="connsiteX264" fmla="*/ 147002 w 882650"/>
                  <a:gd name="connsiteY264" fmla="*/ 61913 h 76200"/>
                  <a:gd name="connsiteX265" fmla="*/ 159385 w 882650"/>
                  <a:gd name="connsiteY265" fmla="*/ 75883 h 76200"/>
                  <a:gd name="connsiteX266" fmla="*/ 165417 w 882650"/>
                  <a:gd name="connsiteY266" fmla="*/ 70168 h 76200"/>
                  <a:gd name="connsiteX267" fmla="*/ 166052 w 882650"/>
                  <a:gd name="connsiteY267" fmla="*/ 70168 h 76200"/>
                  <a:gd name="connsiteX268" fmla="*/ 168910 w 882650"/>
                  <a:gd name="connsiteY268" fmla="*/ 77470 h 76200"/>
                  <a:gd name="connsiteX269" fmla="*/ 180340 w 882650"/>
                  <a:gd name="connsiteY269" fmla="*/ 77470 h 76200"/>
                  <a:gd name="connsiteX270" fmla="*/ 180340 w 882650"/>
                  <a:gd name="connsiteY270" fmla="*/ 318 h 76200"/>
                  <a:gd name="connsiteX271" fmla="*/ 165100 w 882650"/>
                  <a:gd name="connsiteY271" fmla="*/ 318 h 76200"/>
                  <a:gd name="connsiteX272" fmla="*/ 165100 w 882650"/>
                  <a:gd name="connsiteY272" fmla="*/ 18098 h 76200"/>
                  <a:gd name="connsiteX273" fmla="*/ 165417 w 882650"/>
                  <a:gd name="connsiteY273" fmla="*/ 24448 h 76200"/>
                  <a:gd name="connsiteX274" fmla="*/ 166052 w 882650"/>
                  <a:gd name="connsiteY274" fmla="*/ 29210 h 76200"/>
                  <a:gd name="connsiteX275" fmla="*/ 165417 w 882650"/>
                  <a:gd name="connsiteY275" fmla="*/ 29210 h 76200"/>
                  <a:gd name="connsiteX276" fmla="*/ 159385 w 882650"/>
                  <a:gd name="connsiteY276" fmla="*/ 23495 h 76200"/>
                  <a:gd name="connsiteX277" fmla="*/ 149542 w 882650"/>
                  <a:gd name="connsiteY277" fmla="*/ 21273 h 76200"/>
                  <a:gd name="connsiteX278" fmla="*/ 133985 w 882650"/>
                  <a:gd name="connsiteY278" fmla="*/ 28575 h 76200"/>
                  <a:gd name="connsiteX279" fmla="*/ 127952 w 882650"/>
                  <a:gd name="connsiteY279" fmla="*/ 50165 h 76200"/>
                  <a:gd name="connsiteX280" fmla="*/ 133667 w 882650"/>
                  <a:gd name="connsiteY280" fmla="*/ 71438 h 76200"/>
                  <a:gd name="connsiteX281" fmla="*/ 148907 w 882650"/>
                  <a:gd name="connsiteY281" fmla="*/ 78740 h 76200"/>
                  <a:gd name="connsiteX282" fmla="*/ 159385 w 882650"/>
                  <a:gd name="connsiteY282" fmla="*/ 75883 h 76200"/>
                  <a:gd name="connsiteX283" fmla="*/ 86995 w 882650"/>
                  <a:gd name="connsiteY283" fmla="*/ 22543 h 76200"/>
                  <a:gd name="connsiteX284" fmla="*/ 79692 w 882650"/>
                  <a:gd name="connsiteY284" fmla="*/ 28893 h 76200"/>
                  <a:gd name="connsiteX285" fmla="*/ 78740 w 882650"/>
                  <a:gd name="connsiteY285" fmla="*/ 28893 h 76200"/>
                  <a:gd name="connsiteX286" fmla="*/ 76835 w 882650"/>
                  <a:gd name="connsiteY286" fmla="*/ 21908 h 76200"/>
                  <a:gd name="connsiteX287" fmla="*/ 65405 w 882650"/>
                  <a:gd name="connsiteY287" fmla="*/ 21908 h 76200"/>
                  <a:gd name="connsiteX288" fmla="*/ 65405 w 882650"/>
                  <a:gd name="connsiteY288" fmla="*/ 77470 h 76200"/>
                  <a:gd name="connsiteX289" fmla="*/ 80645 w 882650"/>
                  <a:gd name="connsiteY289" fmla="*/ 77470 h 76200"/>
                  <a:gd name="connsiteX290" fmla="*/ 80645 w 882650"/>
                  <a:gd name="connsiteY290" fmla="*/ 51435 h 76200"/>
                  <a:gd name="connsiteX291" fmla="*/ 83185 w 882650"/>
                  <a:gd name="connsiteY291" fmla="*/ 37783 h 76200"/>
                  <a:gd name="connsiteX292" fmla="*/ 92710 w 882650"/>
                  <a:gd name="connsiteY292" fmla="*/ 33020 h 76200"/>
                  <a:gd name="connsiteX293" fmla="*/ 99377 w 882650"/>
                  <a:gd name="connsiteY293" fmla="*/ 35877 h 76200"/>
                  <a:gd name="connsiteX294" fmla="*/ 101600 w 882650"/>
                  <a:gd name="connsiteY294" fmla="*/ 44768 h 76200"/>
                  <a:gd name="connsiteX295" fmla="*/ 101600 w 882650"/>
                  <a:gd name="connsiteY295" fmla="*/ 77152 h 76200"/>
                  <a:gd name="connsiteX296" fmla="*/ 116840 w 882650"/>
                  <a:gd name="connsiteY296" fmla="*/ 77152 h 76200"/>
                  <a:gd name="connsiteX297" fmla="*/ 116840 w 882650"/>
                  <a:gd name="connsiteY297" fmla="*/ 40958 h 76200"/>
                  <a:gd name="connsiteX298" fmla="*/ 111442 w 882650"/>
                  <a:gd name="connsiteY298" fmla="*/ 25400 h 76200"/>
                  <a:gd name="connsiteX299" fmla="*/ 97155 w 882650"/>
                  <a:gd name="connsiteY299" fmla="*/ 20638 h 76200"/>
                  <a:gd name="connsiteX300" fmla="*/ 86995 w 882650"/>
                  <a:gd name="connsiteY300" fmla="*/ 22543 h 76200"/>
                  <a:gd name="connsiteX301" fmla="*/ 34925 w 882650"/>
                  <a:gd name="connsiteY301" fmla="*/ 55880 h 76200"/>
                  <a:gd name="connsiteX302" fmla="*/ 31432 w 882650"/>
                  <a:gd name="connsiteY302" fmla="*/ 64135 h 76200"/>
                  <a:gd name="connsiteX303" fmla="*/ 23177 w 882650"/>
                  <a:gd name="connsiteY303" fmla="*/ 66993 h 76200"/>
                  <a:gd name="connsiteX304" fmla="*/ 17780 w 882650"/>
                  <a:gd name="connsiteY304" fmla="*/ 65405 h 76200"/>
                  <a:gd name="connsiteX305" fmla="*/ 15875 w 882650"/>
                  <a:gd name="connsiteY305" fmla="*/ 60325 h 76200"/>
                  <a:gd name="connsiteX306" fmla="*/ 18732 w 882650"/>
                  <a:gd name="connsiteY306" fmla="*/ 53975 h 76200"/>
                  <a:gd name="connsiteX307" fmla="*/ 28892 w 882650"/>
                  <a:gd name="connsiteY307" fmla="*/ 51435 h 76200"/>
                  <a:gd name="connsiteX308" fmla="*/ 34925 w 882650"/>
                  <a:gd name="connsiteY308" fmla="*/ 51118 h 76200"/>
                  <a:gd name="connsiteX309" fmla="*/ 34925 w 882650"/>
                  <a:gd name="connsiteY309" fmla="*/ 55880 h 76200"/>
                  <a:gd name="connsiteX310" fmla="*/ 15240 w 882650"/>
                  <a:gd name="connsiteY310" fmla="*/ 21908 h 76200"/>
                  <a:gd name="connsiteX311" fmla="*/ 5397 w 882650"/>
                  <a:gd name="connsiteY311" fmla="*/ 25400 h 76200"/>
                  <a:gd name="connsiteX312" fmla="*/ 10477 w 882650"/>
                  <a:gd name="connsiteY312" fmla="*/ 35560 h 76200"/>
                  <a:gd name="connsiteX313" fmla="*/ 18097 w 882650"/>
                  <a:gd name="connsiteY313" fmla="*/ 32702 h 76200"/>
                  <a:gd name="connsiteX314" fmla="*/ 26035 w 882650"/>
                  <a:gd name="connsiteY314" fmla="*/ 31433 h 76200"/>
                  <a:gd name="connsiteX315" fmla="*/ 32385 w 882650"/>
                  <a:gd name="connsiteY315" fmla="*/ 33338 h 76200"/>
                  <a:gd name="connsiteX316" fmla="*/ 34607 w 882650"/>
                  <a:gd name="connsiteY316" fmla="*/ 39688 h 76200"/>
                  <a:gd name="connsiteX317" fmla="*/ 34607 w 882650"/>
                  <a:gd name="connsiteY317" fmla="*/ 42227 h 76200"/>
                  <a:gd name="connsiteX318" fmla="*/ 25082 w 882650"/>
                  <a:gd name="connsiteY318" fmla="*/ 42545 h 76200"/>
                  <a:gd name="connsiteX319" fmla="*/ 6350 w 882650"/>
                  <a:gd name="connsiteY319" fmla="*/ 47308 h 76200"/>
                  <a:gd name="connsiteX320" fmla="*/ 0 w 882650"/>
                  <a:gd name="connsiteY320" fmla="*/ 60325 h 76200"/>
                  <a:gd name="connsiteX321" fmla="*/ 4763 w 882650"/>
                  <a:gd name="connsiteY321" fmla="*/ 73660 h 76200"/>
                  <a:gd name="connsiteX322" fmla="*/ 17145 w 882650"/>
                  <a:gd name="connsiteY322" fmla="*/ 77788 h 76200"/>
                  <a:gd name="connsiteX323" fmla="*/ 27940 w 882650"/>
                  <a:gd name="connsiteY323" fmla="*/ 75883 h 76200"/>
                  <a:gd name="connsiteX324" fmla="*/ 35560 w 882650"/>
                  <a:gd name="connsiteY324" fmla="*/ 69533 h 76200"/>
                  <a:gd name="connsiteX325" fmla="*/ 35877 w 882650"/>
                  <a:gd name="connsiteY325" fmla="*/ 69533 h 76200"/>
                  <a:gd name="connsiteX326" fmla="*/ 38735 w 882650"/>
                  <a:gd name="connsiteY326" fmla="*/ 77152 h 76200"/>
                  <a:gd name="connsiteX327" fmla="*/ 49213 w 882650"/>
                  <a:gd name="connsiteY327" fmla="*/ 77152 h 76200"/>
                  <a:gd name="connsiteX328" fmla="*/ 49213 w 882650"/>
                  <a:gd name="connsiteY328" fmla="*/ 40323 h 76200"/>
                  <a:gd name="connsiteX329" fmla="*/ 43180 w 882650"/>
                  <a:gd name="connsiteY329" fmla="*/ 25400 h 76200"/>
                  <a:gd name="connsiteX330" fmla="*/ 26035 w 882650"/>
                  <a:gd name="connsiteY330" fmla="*/ 20638 h 76200"/>
                  <a:gd name="connsiteX331" fmla="*/ 15240 w 882650"/>
                  <a:gd name="connsiteY331" fmla="*/ 21908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Lst>
                <a:rect l="l" t="t" r="r" b="b"/>
                <a:pathLst>
                  <a:path w="882650" h="76200">
                    <a:moveTo>
                      <a:pt x="883285" y="52705"/>
                    </a:moveTo>
                    <a:cubicBezTo>
                      <a:pt x="882015" y="50483"/>
                      <a:pt x="880110" y="48895"/>
                      <a:pt x="877888" y="47625"/>
                    </a:cubicBezTo>
                    <a:cubicBezTo>
                      <a:pt x="875665" y="46355"/>
                      <a:pt x="872807" y="44768"/>
                      <a:pt x="869632" y="43498"/>
                    </a:cubicBezTo>
                    <a:cubicBezTo>
                      <a:pt x="866457" y="42227"/>
                      <a:pt x="863917" y="40958"/>
                      <a:pt x="862330" y="40323"/>
                    </a:cubicBezTo>
                    <a:cubicBezTo>
                      <a:pt x="860742" y="39370"/>
                      <a:pt x="859472" y="38735"/>
                      <a:pt x="858838" y="38100"/>
                    </a:cubicBezTo>
                    <a:cubicBezTo>
                      <a:pt x="858202" y="37465"/>
                      <a:pt x="857885" y="36513"/>
                      <a:pt x="857885" y="35560"/>
                    </a:cubicBezTo>
                    <a:cubicBezTo>
                      <a:pt x="857885" y="33020"/>
                      <a:pt x="860107" y="31750"/>
                      <a:pt x="864552" y="31750"/>
                    </a:cubicBezTo>
                    <a:cubicBezTo>
                      <a:pt x="867092" y="31750"/>
                      <a:pt x="869632" y="32068"/>
                      <a:pt x="871855" y="33020"/>
                    </a:cubicBezTo>
                    <a:cubicBezTo>
                      <a:pt x="874395" y="33655"/>
                      <a:pt x="876935" y="34608"/>
                      <a:pt x="879475" y="35877"/>
                    </a:cubicBezTo>
                    <a:lnTo>
                      <a:pt x="883920" y="25083"/>
                    </a:lnTo>
                    <a:cubicBezTo>
                      <a:pt x="880745" y="23495"/>
                      <a:pt x="877252" y="22543"/>
                      <a:pt x="874395" y="21590"/>
                    </a:cubicBezTo>
                    <a:cubicBezTo>
                      <a:pt x="871220" y="20955"/>
                      <a:pt x="868045" y="20638"/>
                      <a:pt x="864552" y="20638"/>
                    </a:cubicBezTo>
                    <a:cubicBezTo>
                      <a:pt x="857885" y="20638"/>
                      <a:pt x="852488" y="21908"/>
                      <a:pt x="848677" y="24448"/>
                    </a:cubicBezTo>
                    <a:cubicBezTo>
                      <a:pt x="844550" y="26988"/>
                      <a:pt x="842645" y="30798"/>
                      <a:pt x="842645" y="35877"/>
                    </a:cubicBezTo>
                    <a:cubicBezTo>
                      <a:pt x="842645" y="39052"/>
                      <a:pt x="843280" y="41593"/>
                      <a:pt x="844232" y="43498"/>
                    </a:cubicBezTo>
                    <a:cubicBezTo>
                      <a:pt x="845185" y="45720"/>
                      <a:pt x="847090" y="47308"/>
                      <a:pt x="849313" y="48895"/>
                    </a:cubicBezTo>
                    <a:cubicBezTo>
                      <a:pt x="851535" y="50483"/>
                      <a:pt x="854392" y="51752"/>
                      <a:pt x="857885" y="53340"/>
                    </a:cubicBezTo>
                    <a:cubicBezTo>
                      <a:pt x="861377" y="54927"/>
                      <a:pt x="864235" y="56198"/>
                      <a:pt x="865822" y="57150"/>
                    </a:cubicBezTo>
                    <a:cubicBezTo>
                      <a:pt x="867410" y="58102"/>
                      <a:pt x="868680" y="59055"/>
                      <a:pt x="868997" y="59690"/>
                    </a:cubicBezTo>
                    <a:cubicBezTo>
                      <a:pt x="869632" y="60325"/>
                      <a:pt x="869632" y="61277"/>
                      <a:pt x="869632" y="62230"/>
                    </a:cubicBezTo>
                    <a:cubicBezTo>
                      <a:pt x="869632" y="63500"/>
                      <a:pt x="868997" y="64770"/>
                      <a:pt x="867727" y="65723"/>
                    </a:cubicBezTo>
                    <a:cubicBezTo>
                      <a:pt x="866457" y="66675"/>
                      <a:pt x="864235" y="66993"/>
                      <a:pt x="861377" y="66993"/>
                    </a:cubicBezTo>
                    <a:cubicBezTo>
                      <a:pt x="858838" y="66993"/>
                      <a:pt x="855663" y="66675"/>
                      <a:pt x="852170" y="65723"/>
                    </a:cubicBezTo>
                    <a:cubicBezTo>
                      <a:pt x="848677" y="64770"/>
                      <a:pt x="845502" y="63818"/>
                      <a:pt x="842645" y="62230"/>
                    </a:cubicBezTo>
                    <a:lnTo>
                      <a:pt x="842645" y="74613"/>
                    </a:lnTo>
                    <a:cubicBezTo>
                      <a:pt x="845502" y="75883"/>
                      <a:pt x="848042" y="76518"/>
                      <a:pt x="850900" y="77152"/>
                    </a:cubicBezTo>
                    <a:cubicBezTo>
                      <a:pt x="853757" y="77788"/>
                      <a:pt x="856932" y="77788"/>
                      <a:pt x="860742" y="77788"/>
                    </a:cubicBezTo>
                    <a:cubicBezTo>
                      <a:pt x="868680" y="77788"/>
                      <a:pt x="874395" y="76200"/>
                      <a:pt x="878522" y="73343"/>
                    </a:cubicBezTo>
                    <a:cubicBezTo>
                      <a:pt x="882332" y="70485"/>
                      <a:pt x="884555" y="66040"/>
                      <a:pt x="884555" y="60325"/>
                    </a:cubicBezTo>
                    <a:cubicBezTo>
                      <a:pt x="885190" y="57468"/>
                      <a:pt x="884555" y="54610"/>
                      <a:pt x="883285" y="52705"/>
                    </a:cubicBezTo>
                    <a:moveTo>
                      <a:pt x="815340" y="21590"/>
                    </a:moveTo>
                    <a:lnTo>
                      <a:pt x="815340" y="47625"/>
                    </a:lnTo>
                    <a:cubicBezTo>
                      <a:pt x="815340" y="53658"/>
                      <a:pt x="814388" y="58102"/>
                      <a:pt x="812800" y="61277"/>
                    </a:cubicBezTo>
                    <a:cubicBezTo>
                      <a:pt x="811213" y="64452"/>
                      <a:pt x="808038" y="66040"/>
                      <a:pt x="803275" y="66040"/>
                    </a:cubicBezTo>
                    <a:cubicBezTo>
                      <a:pt x="800100" y="66040"/>
                      <a:pt x="797877" y="65088"/>
                      <a:pt x="796607" y="63183"/>
                    </a:cubicBezTo>
                    <a:cubicBezTo>
                      <a:pt x="795338" y="61277"/>
                      <a:pt x="794385" y="58102"/>
                      <a:pt x="794385" y="54293"/>
                    </a:cubicBezTo>
                    <a:lnTo>
                      <a:pt x="794385" y="21908"/>
                    </a:lnTo>
                    <a:lnTo>
                      <a:pt x="779145" y="21908"/>
                    </a:lnTo>
                    <a:lnTo>
                      <a:pt x="779145" y="57785"/>
                    </a:lnTo>
                    <a:cubicBezTo>
                      <a:pt x="779145" y="64770"/>
                      <a:pt x="781050" y="70168"/>
                      <a:pt x="784542" y="73343"/>
                    </a:cubicBezTo>
                    <a:cubicBezTo>
                      <a:pt x="788035" y="76518"/>
                      <a:pt x="792797" y="78105"/>
                      <a:pt x="798830" y="78105"/>
                    </a:cubicBezTo>
                    <a:cubicBezTo>
                      <a:pt x="802322" y="78105"/>
                      <a:pt x="805497" y="77470"/>
                      <a:pt x="808672" y="76200"/>
                    </a:cubicBezTo>
                    <a:cubicBezTo>
                      <a:pt x="811847" y="74930"/>
                      <a:pt x="814070" y="72708"/>
                      <a:pt x="815975" y="69850"/>
                    </a:cubicBezTo>
                    <a:lnTo>
                      <a:pt x="816927" y="69850"/>
                    </a:lnTo>
                    <a:lnTo>
                      <a:pt x="818832" y="76835"/>
                    </a:lnTo>
                    <a:lnTo>
                      <a:pt x="830263" y="76835"/>
                    </a:lnTo>
                    <a:lnTo>
                      <a:pt x="830263" y="21273"/>
                    </a:lnTo>
                    <a:lnTo>
                      <a:pt x="815340" y="21273"/>
                    </a:lnTo>
                    <a:close/>
                    <a:moveTo>
                      <a:pt x="731520" y="36830"/>
                    </a:moveTo>
                    <a:cubicBezTo>
                      <a:pt x="733425" y="33973"/>
                      <a:pt x="736282" y="32702"/>
                      <a:pt x="740092" y="32702"/>
                    </a:cubicBezTo>
                    <a:cubicBezTo>
                      <a:pt x="744220" y="32702"/>
                      <a:pt x="747077" y="33973"/>
                      <a:pt x="748982" y="36830"/>
                    </a:cubicBezTo>
                    <a:cubicBezTo>
                      <a:pt x="750888" y="39688"/>
                      <a:pt x="751522" y="43815"/>
                      <a:pt x="751522" y="49213"/>
                    </a:cubicBezTo>
                    <a:cubicBezTo>
                      <a:pt x="751522" y="54610"/>
                      <a:pt x="750570" y="58738"/>
                      <a:pt x="748982" y="61595"/>
                    </a:cubicBezTo>
                    <a:cubicBezTo>
                      <a:pt x="747077" y="64452"/>
                      <a:pt x="744220" y="65723"/>
                      <a:pt x="740410" y="65723"/>
                    </a:cubicBezTo>
                    <a:cubicBezTo>
                      <a:pt x="736282" y="65723"/>
                      <a:pt x="733425" y="64452"/>
                      <a:pt x="731520" y="61595"/>
                    </a:cubicBezTo>
                    <a:cubicBezTo>
                      <a:pt x="729615" y="58738"/>
                      <a:pt x="728980" y="54610"/>
                      <a:pt x="728980" y="49213"/>
                    </a:cubicBezTo>
                    <a:cubicBezTo>
                      <a:pt x="728980" y="43815"/>
                      <a:pt x="729932" y="39688"/>
                      <a:pt x="731520" y="36830"/>
                    </a:cubicBezTo>
                    <a:moveTo>
                      <a:pt x="763905" y="33655"/>
                    </a:moveTo>
                    <a:cubicBezTo>
                      <a:pt x="761682" y="29527"/>
                      <a:pt x="758507" y="26035"/>
                      <a:pt x="754380" y="23813"/>
                    </a:cubicBezTo>
                    <a:cubicBezTo>
                      <a:pt x="750252" y="21590"/>
                      <a:pt x="745807" y="20320"/>
                      <a:pt x="740410" y="20320"/>
                    </a:cubicBezTo>
                    <a:cubicBezTo>
                      <a:pt x="732155" y="20320"/>
                      <a:pt x="725488" y="22860"/>
                      <a:pt x="720725" y="27623"/>
                    </a:cubicBezTo>
                    <a:cubicBezTo>
                      <a:pt x="715963" y="32702"/>
                      <a:pt x="713422" y="39688"/>
                      <a:pt x="713422" y="48895"/>
                    </a:cubicBezTo>
                    <a:cubicBezTo>
                      <a:pt x="713422" y="54927"/>
                      <a:pt x="714692" y="60325"/>
                      <a:pt x="716915" y="64452"/>
                    </a:cubicBezTo>
                    <a:cubicBezTo>
                      <a:pt x="719138" y="68898"/>
                      <a:pt x="722313" y="72073"/>
                      <a:pt x="726440" y="74295"/>
                    </a:cubicBezTo>
                    <a:cubicBezTo>
                      <a:pt x="730567" y="76518"/>
                      <a:pt x="735013" y="77788"/>
                      <a:pt x="740092" y="77788"/>
                    </a:cubicBezTo>
                    <a:cubicBezTo>
                      <a:pt x="748347" y="77788"/>
                      <a:pt x="755015" y="75248"/>
                      <a:pt x="759777" y="70168"/>
                    </a:cubicBezTo>
                    <a:cubicBezTo>
                      <a:pt x="764540" y="65088"/>
                      <a:pt x="767080" y="58102"/>
                      <a:pt x="767080" y="48895"/>
                    </a:cubicBezTo>
                    <a:cubicBezTo>
                      <a:pt x="767080" y="43180"/>
                      <a:pt x="766127" y="38100"/>
                      <a:pt x="763905" y="33655"/>
                    </a:cubicBezTo>
                    <a:moveTo>
                      <a:pt x="685800" y="77152"/>
                    </a:moveTo>
                    <a:lnTo>
                      <a:pt x="701040" y="77152"/>
                    </a:lnTo>
                    <a:lnTo>
                      <a:pt x="701040" y="21590"/>
                    </a:lnTo>
                    <a:lnTo>
                      <a:pt x="685800" y="21590"/>
                    </a:lnTo>
                    <a:lnTo>
                      <a:pt x="685800" y="77152"/>
                    </a:lnTo>
                    <a:close/>
                    <a:moveTo>
                      <a:pt x="687705" y="1588"/>
                    </a:moveTo>
                    <a:cubicBezTo>
                      <a:pt x="686117" y="2540"/>
                      <a:pt x="685165" y="4445"/>
                      <a:pt x="685165" y="7302"/>
                    </a:cubicBezTo>
                    <a:cubicBezTo>
                      <a:pt x="685165" y="10160"/>
                      <a:pt x="686117" y="12065"/>
                      <a:pt x="687705" y="13018"/>
                    </a:cubicBezTo>
                    <a:cubicBezTo>
                      <a:pt x="689292" y="13970"/>
                      <a:pt x="691197" y="14605"/>
                      <a:pt x="693420" y="14605"/>
                    </a:cubicBezTo>
                    <a:cubicBezTo>
                      <a:pt x="695642" y="14605"/>
                      <a:pt x="697547" y="13970"/>
                      <a:pt x="699135" y="13018"/>
                    </a:cubicBezTo>
                    <a:cubicBezTo>
                      <a:pt x="700722" y="12065"/>
                      <a:pt x="701675" y="10160"/>
                      <a:pt x="701675" y="7302"/>
                    </a:cubicBezTo>
                    <a:cubicBezTo>
                      <a:pt x="701675" y="4445"/>
                      <a:pt x="700722" y="2540"/>
                      <a:pt x="699135" y="1588"/>
                    </a:cubicBezTo>
                    <a:cubicBezTo>
                      <a:pt x="697547" y="635"/>
                      <a:pt x="695642" y="0"/>
                      <a:pt x="693420" y="0"/>
                    </a:cubicBezTo>
                    <a:cubicBezTo>
                      <a:pt x="691197" y="0"/>
                      <a:pt x="689292" y="318"/>
                      <a:pt x="687705" y="1588"/>
                    </a:cubicBezTo>
                    <a:moveTo>
                      <a:pt x="660717" y="23813"/>
                    </a:moveTo>
                    <a:cubicBezTo>
                      <a:pt x="657860" y="25718"/>
                      <a:pt x="655638" y="28258"/>
                      <a:pt x="654050" y="31115"/>
                    </a:cubicBezTo>
                    <a:lnTo>
                      <a:pt x="653415" y="31115"/>
                    </a:lnTo>
                    <a:lnTo>
                      <a:pt x="651192" y="21908"/>
                    </a:lnTo>
                    <a:lnTo>
                      <a:pt x="639763" y="21908"/>
                    </a:lnTo>
                    <a:lnTo>
                      <a:pt x="639763" y="77470"/>
                    </a:lnTo>
                    <a:lnTo>
                      <a:pt x="655002" y="77470"/>
                    </a:lnTo>
                    <a:lnTo>
                      <a:pt x="655002" y="49213"/>
                    </a:lnTo>
                    <a:cubicBezTo>
                      <a:pt x="655002" y="45720"/>
                      <a:pt x="655638" y="42863"/>
                      <a:pt x="657225" y="40958"/>
                    </a:cubicBezTo>
                    <a:cubicBezTo>
                      <a:pt x="658813" y="39052"/>
                      <a:pt x="660717" y="37465"/>
                      <a:pt x="662940" y="36513"/>
                    </a:cubicBezTo>
                    <a:cubicBezTo>
                      <a:pt x="665163" y="35560"/>
                      <a:pt x="667702" y="35243"/>
                      <a:pt x="670242" y="35243"/>
                    </a:cubicBezTo>
                    <a:cubicBezTo>
                      <a:pt x="670877" y="35243"/>
                      <a:pt x="671830" y="35243"/>
                      <a:pt x="672465" y="35243"/>
                    </a:cubicBezTo>
                    <a:cubicBezTo>
                      <a:pt x="673417" y="35243"/>
                      <a:pt x="674052" y="35560"/>
                      <a:pt x="674688" y="35560"/>
                    </a:cubicBezTo>
                    <a:lnTo>
                      <a:pt x="675957" y="21273"/>
                    </a:lnTo>
                    <a:cubicBezTo>
                      <a:pt x="675322" y="21273"/>
                      <a:pt x="674688" y="20955"/>
                      <a:pt x="673417" y="20955"/>
                    </a:cubicBezTo>
                    <a:cubicBezTo>
                      <a:pt x="672465" y="20955"/>
                      <a:pt x="671513" y="20955"/>
                      <a:pt x="670877" y="20955"/>
                    </a:cubicBezTo>
                    <a:cubicBezTo>
                      <a:pt x="667067" y="20638"/>
                      <a:pt x="663575" y="21590"/>
                      <a:pt x="660717" y="23813"/>
                    </a:cubicBezTo>
                    <a:moveTo>
                      <a:pt x="610552" y="34925"/>
                    </a:moveTo>
                    <a:cubicBezTo>
                      <a:pt x="612140" y="37148"/>
                      <a:pt x="613092" y="40005"/>
                      <a:pt x="613092" y="43180"/>
                    </a:cubicBezTo>
                    <a:lnTo>
                      <a:pt x="591820" y="43180"/>
                    </a:lnTo>
                    <a:cubicBezTo>
                      <a:pt x="592138" y="39052"/>
                      <a:pt x="593407" y="36195"/>
                      <a:pt x="595313" y="34290"/>
                    </a:cubicBezTo>
                    <a:cubicBezTo>
                      <a:pt x="597217" y="32385"/>
                      <a:pt x="599757" y="31433"/>
                      <a:pt x="602615" y="31433"/>
                    </a:cubicBezTo>
                    <a:cubicBezTo>
                      <a:pt x="606107" y="31433"/>
                      <a:pt x="608647" y="32385"/>
                      <a:pt x="610552" y="34925"/>
                    </a:cubicBezTo>
                    <a:moveTo>
                      <a:pt x="588963" y="23813"/>
                    </a:moveTo>
                    <a:cubicBezTo>
                      <a:pt x="585152" y="26035"/>
                      <a:pt x="581977" y="29210"/>
                      <a:pt x="579755" y="33655"/>
                    </a:cubicBezTo>
                    <a:cubicBezTo>
                      <a:pt x="577532" y="38100"/>
                      <a:pt x="576580" y="43498"/>
                      <a:pt x="576580" y="49848"/>
                    </a:cubicBezTo>
                    <a:cubicBezTo>
                      <a:pt x="576580" y="56198"/>
                      <a:pt x="577850" y="61595"/>
                      <a:pt x="580390" y="65723"/>
                    </a:cubicBezTo>
                    <a:cubicBezTo>
                      <a:pt x="582930" y="69850"/>
                      <a:pt x="586105" y="73025"/>
                      <a:pt x="590550" y="74930"/>
                    </a:cubicBezTo>
                    <a:cubicBezTo>
                      <a:pt x="594995" y="76835"/>
                      <a:pt x="599757" y="78105"/>
                      <a:pt x="605155" y="78105"/>
                    </a:cubicBezTo>
                    <a:cubicBezTo>
                      <a:pt x="609282" y="78105"/>
                      <a:pt x="613092" y="77788"/>
                      <a:pt x="615950" y="77152"/>
                    </a:cubicBezTo>
                    <a:cubicBezTo>
                      <a:pt x="618807" y="76518"/>
                      <a:pt x="621665" y="75565"/>
                      <a:pt x="624522" y="74295"/>
                    </a:cubicBezTo>
                    <a:lnTo>
                      <a:pt x="624522" y="62548"/>
                    </a:lnTo>
                    <a:cubicBezTo>
                      <a:pt x="621347" y="64135"/>
                      <a:pt x="618490" y="65088"/>
                      <a:pt x="615315" y="65723"/>
                    </a:cubicBezTo>
                    <a:cubicBezTo>
                      <a:pt x="612140" y="66358"/>
                      <a:pt x="609282" y="66675"/>
                      <a:pt x="605472" y="66675"/>
                    </a:cubicBezTo>
                    <a:cubicBezTo>
                      <a:pt x="601345" y="66675"/>
                      <a:pt x="597852" y="65405"/>
                      <a:pt x="595313" y="62865"/>
                    </a:cubicBezTo>
                    <a:cubicBezTo>
                      <a:pt x="592772" y="60325"/>
                      <a:pt x="591502" y="57150"/>
                      <a:pt x="591502" y="52705"/>
                    </a:cubicBezTo>
                    <a:lnTo>
                      <a:pt x="627380" y="52705"/>
                    </a:lnTo>
                    <a:lnTo>
                      <a:pt x="627380" y="45402"/>
                    </a:lnTo>
                    <a:cubicBezTo>
                      <a:pt x="627380" y="37465"/>
                      <a:pt x="625157" y="31115"/>
                      <a:pt x="620713" y="26670"/>
                    </a:cubicBezTo>
                    <a:cubicBezTo>
                      <a:pt x="616267" y="22225"/>
                      <a:pt x="610235" y="20002"/>
                      <a:pt x="602615" y="20002"/>
                    </a:cubicBezTo>
                    <a:cubicBezTo>
                      <a:pt x="597217" y="20638"/>
                      <a:pt x="592772" y="21590"/>
                      <a:pt x="588963" y="23813"/>
                    </a:cubicBezTo>
                    <a:moveTo>
                      <a:pt x="566102" y="52705"/>
                    </a:moveTo>
                    <a:cubicBezTo>
                      <a:pt x="564832" y="50483"/>
                      <a:pt x="562927" y="48895"/>
                      <a:pt x="560705" y="47625"/>
                    </a:cubicBezTo>
                    <a:cubicBezTo>
                      <a:pt x="558482" y="46355"/>
                      <a:pt x="555625" y="44768"/>
                      <a:pt x="552450" y="43498"/>
                    </a:cubicBezTo>
                    <a:cubicBezTo>
                      <a:pt x="549275" y="42227"/>
                      <a:pt x="546735" y="40958"/>
                      <a:pt x="545147" y="40323"/>
                    </a:cubicBezTo>
                    <a:cubicBezTo>
                      <a:pt x="543560" y="39370"/>
                      <a:pt x="542290" y="38735"/>
                      <a:pt x="541655" y="38100"/>
                    </a:cubicBezTo>
                    <a:cubicBezTo>
                      <a:pt x="541020" y="37465"/>
                      <a:pt x="540702" y="36513"/>
                      <a:pt x="540702" y="35560"/>
                    </a:cubicBezTo>
                    <a:cubicBezTo>
                      <a:pt x="540702" y="33020"/>
                      <a:pt x="542925" y="31750"/>
                      <a:pt x="547370" y="31750"/>
                    </a:cubicBezTo>
                    <a:cubicBezTo>
                      <a:pt x="549910" y="31750"/>
                      <a:pt x="552450" y="32068"/>
                      <a:pt x="554672" y="33020"/>
                    </a:cubicBezTo>
                    <a:cubicBezTo>
                      <a:pt x="557213" y="33655"/>
                      <a:pt x="559752" y="34608"/>
                      <a:pt x="562292" y="35877"/>
                    </a:cubicBezTo>
                    <a:lnTo>
                      <a:pt x="566738" y="25083"/>
                    </a:lnTo>
                    <a:cubicBezTo>
                      <a:pt x="563563" y="23495"/>
                      <a:pt x="560070" y="22543"/>
                      <a:pt x="557213" y="21590"/>
                    </a:cubicBezTo>
                    <a:cubicBezTo>
                      <a:pt x="554038" y="20955"/>
                      <a:pt x="550863" y="20638"/>
                      <a:pt x="547370" y="20638"/>
                    </a:cubicBezTo>
                    <a:cubicBezTo>
                      <a:pt x="540702" y="20638"/>
                      <a:pt x="535305" y="21908"/>
                      <a:pt x="531495" y="24448"/>
                    </a:cubicBezTo>
                    <a:cubicBezTo>
                      <a:pt x="527367" y="26988"/>
                      <a:pt x="525463" y="30798"/>
                      <a:pt x="525463" y="35877"/>
                    </a:cubicBezTo>
                    <a:cubicBezTo>
                      <a:pt x="525463" y="39052"/>
                      <a:pt x="526097" y="41593"/>
                      <a:pt x="527050" y="43498"/>
                    </a:cubicBezTo>
                    <a:cubicBezTo>
                      <a:pt x="528002" y="45720"/>
                      <a:pt x="529907" y="47308"/>
                      <a:pt x="532130" y="48895"/>
                    </a:cubicBezTo>
                    <a:cubicBezTo>
                      <a:pt x="534352" y="50483"/>
                      <a:pt x="537210" y="51752"/>
                      <a:pt x="540702" y="53340"/>
                    </a:cubicBezTo>
                    <a:cubicBezTo>
                      <a:pt x="544195" y="54927"/>
                      <a:pt x="547052" y="56198"/>
                      <a:pt x="548640" y="57150"/>
                    </a:cubicBezTo>
                    <a:cubicBezTo>
                      <a:pt x="550227" y="58102"/>
                      <a:pt x="551497" y="59055"/>
                      <a:pt x="551815" y="59690"/>
                    </a:cubicBezTo>
                    <a:cubicBezTo>
                      <a:pt x="552450" y="60325"/>
                      <a:pt x="552450" y="61277"/>
                      <a:pt x="552450" y="62230"/>
                    </a:cubicBezTo>
                    <a:cubicBezTo>
                      <a:pt x="552450" y="63500"/>
                      <a:pt x="551815" y="64770"/>
                      <a:pt x="550545" y="65723"/>
                    </a:cubicBezTo>
                    <a:cubicBezTo>
                      <a:pt x="549275" y="66675"/>
                      <a:pt x="547052" y="66993"/>
                      <a:pt x="544195" y="66993"/>
                    </a:cubicBezTo>
                    <a:cubicBezTo>
                      <a:pt x="541655" y="66993"/>
                      <a:pt x="538480" y="66675"/>
                      <a:pt x="534988" y="65723"/>
                    </a:cubicBezTo>
                    <a:cubicBezTo>
                      <a:pt x="531495" y="64770"/>
                      <a:pt x="528320" y="63818"/>
                      <a:pt x="525463" y="62230"/>
                    </a:cubicBezTo>
                    <a:lnTo>
                      <a:pt x="525463" y="74613"/>
                    </a:lnTo>
                    <a:cubicBezTo>
                      <a:pt x="528320" y="75883"/>
                      <a:pt x="531177" y="76518"/>
                      <a:pt x="533717" y="77152"/>
                    </a:cubicBezTo>
                    <a:cubicBezTo>
                      <a:pt x="536575" y="77788"/>
                      <a:pt x="539750" y="77788"/>
                      <a:pt x="543560" y="77788"/>
                    </a:cubicBezTo>
                    <a:cubicBezTo>
                      <a:pt x="551497" y="77788"/>
                      <a:pt x="557213" y="76200"/>
                      <a:pt x="561340" y="73343"/>
                    </a:cubicBezTo>
                    <a:cubicBezTo>
                      <a:pt x="565150" y="70485"/>
                      <a:pt x="567372" y="66040"/>
                      <a:pt x="567372" y="60325"/>
                    </a:cubicBezTo>
                    <a:cubicBezTo>
                      <a:pt x="568007" y="57468"/>
                      <a:pt x="567372" y="54610"/>
                      <a:pt x="566102" y="52705"/>
                    </a:cubicBezTo>
                    <a:moveTo>
                      <a:pt x="477838" y="23813"/>
                    </a:moveTo>
                    <a:cubicBezTo>
                      <a:pt x="474980" y="25718"/>
                      <a:pt x="472757" y="28258"/>
                      <a:pt x="471170" y="31115"/>
                    </a:cubicBezTo>
                    <a:lnTo>
                      <a:pt x="470535" y="31115"/>
                    </a:lnTo>
                    <a:lnTo>
                      <a:pt x="468313" y="21908"/>
                    </a:lnTo>
                    <a:lnTo>
                      <a:pt x="456882" y="21908"/>
                    </a:lnTo>
                    <a:lnTo>
                      <a:pt x="456882" y="77470"/>
                    </a:lnTo>
                    <a:lnTo>
                      <a:pt x="472122" y="77470"/>
                    </a:lnTo>
                    <a:lnTo>
                      <a:pt x="472122" y="49213"/>
                    </a:lnTo>
                    <a:cubicBezTo>
                      <a:pt x="472122" y="45720"/>
                      <a:pt x="472757" y="42863"/>
                      <a:pt x="474345" y="40958"/>
                    </a:cubicBezTo>
                    <a:cubicBezTo>
                      <a:pt x="475932" y="39052"/>
                      <a:pt x="477838" y="37465"/>
                      <a:pt x="480060" y="36513"/>
                    </a:cubicBezTo>
                    <a:cubicBezTo>
                      <a:pt x="482282" y="35560"/>
                      <a:pt x="484822" y="35243"/>
                      <a:pt x="487363" y="35243"/>
                    </a:cubicBezTo>
                    <a:cubicBezTo>
                      <a:pt x="487997" y="35243"/>
                      <a:pt x="488950" y="35243"/>
                      <a:pt x="489585" y="35243"/>
                    </a:cubicBezTo>
                    <a:cubicBezTo>
                      <a:pt x="490538" y="35243"/>
                      <a:pt x="491172" y="35560"/>
                      <a:pt x="491807" y="35560"/>
                    </a:cubicBezTo>
                    <a:lnTo>
                      <a:pt x="493077" y="21273"/>
                    </a:lnTo>
                    <a:cubicBezTo>
                      <a:pt x="492442" y="21273"/>
                      <a:pt x="491807" y="20955"/>
                      <a:pt x="490538" y="20955"/>
                    </a:cubicBezTo>
                    <a:cubicBezTo>
                      <a:pt x="489585" y="20955"/>
                      <a:pt x="488632" y="20955"/>
                      <a:pt x="487997" y="20955"/>
                    </a:cubicBezTo>
                    <a:cubicBezTo>
                      <a:pt x="483870" y="20638"/>
                      <a:pt x="480695" y="21590"/>
                      <a:pt x="477838" y="23813"/>
                    </a:cubicBezTo>
                    <a:moveTo>
                      <a:pt x="427355" y="34925"/>
                    </a:moveTo>
                    <a:cubicBezTo>
                      <a:pt x="428942" y="37148"/>
                      <a:pt x="429895" y="40005"/>
                      <a:pt x="429895" y="43180"/>
                    </a:cubicBezTo>
                    <a:lnTo>
                      <a:pt x="408622" y="43180"/>
                    </a:lnTo>
                    <a:cubicBezTo>
                      <a:pt x="408940" y="39052"/>
                      <a:pt x="410210" y="36195"/>
                      <a:pt x="412115" y="34290"/>
                    </a:cubicBezTo>
                    <a:cubicBezTo>
                      <a:pt x="414020" y="32385"/>
                      <a:pt x="416560" y="31433"/>
                      <a:pt x="419417" y="31433"/>
                    </a:cubicBezTo>
                    <a:cubicBezTo>
                      <a:pt x="423227" y="31433"/>
                      <a:pt x="425767" y="32385"/>
                      <a:pt x="427355" y="34925"/>
                    </a:cubicBezTo>
                    <a:moveTo>
                      <a:pt x="405765" y="23813"/>
                    </a:moveTo>
                    <a:cubicBezTo>
                      <a:pt x="401955" y="26035"/>
                      <a:pt x="398780" y="29210"/>
                      <a:pt x="396557" y="33655"/>
                    </a:cubicBezTo>
                    <a:cubicBezTo>
                      <a:pt x="394335" y="38100"/>
                      <a:pt x="393382" y="43498"/>
                      <a:pt x="393382" y="49848"/>
                    </a:cubicBezTo>
                    <a:cubicBezTo>
                      <a:pt x="393382" y="56198"/>
                      <a:pt x="394652" y="61595"/>
                      <a:pt x="397192" y="65723"/>
                    </a:cubicBezTo>
                    <a:cubicBezTo>
                      <a:pt x="399732" y="69850"/>
                      <a:pt x="402907" y="73025"/>
                      <a:pt x="407352" y="74930"/>
                    </a:cubicBezTo>
                    <a:cubicBezTo>
                      <a:pt x="411480" y="77152"/>
                      <a:pt x="416560" y="78105"/>
                      <a:pt x="421957" y="78105"/>
                    </a:cubicBezTo>
                    <a:cubicBezTo>
                      <a:pt x="426085" y="78105"/>
                      <a:pt x="429895" y="77788"/>
                      <a:pt x="432752" y="77152"/>
                    </a:cubicBezTo>
                    <a:cubicBezTo>
                      <a:pt x="435610" y="76518"/>
                      <a:pt x="438467" y="75565"/>
                      <a:pt x="441325" y="74295"/>
                    </a:cubicBezTo>
                    <a:lnTo>
                      <a:pt x="441325" y="62548"/>
                    </a:lnTo>
                    <a:cubicBezTo>
                      <a:pt x="438150" y="64135"/>
                      <a:pt x="435292" y="65088"/>
                      <a:pt x="432117" y="65723"/>
                    </a:cubicBezTo>
                    <a:cubicBezTo>
                      <a:pt x="428942" y="66358"/>
                      <a:pt x="426085" y="66675"/>
                      <a:pt x="422275" y="66675"/>
                    </a:cubicBezTo>
                    <a:cubicBezTo>
                      <a:pt x="418147" y="66675"/>
                      <a:pt x="414655" y="65405"/>
                      <a:pt x="412115" y="62865"/>
                    </a:cubicBezTo>
                    <a:cubicBezTo>
                      <a:pt x="409575" y="60325"/>
                      <a:pt x="408305" y="57150"/>
                      <a:pt x="408305" y="52705"/>
                    </a:cubicBezTo>
                    <a:lnTo>
                      <a:pt x="444182" y="52705"/>
                    </a:lnTo>
                    <a:lnTo>
                      <a:pt x="444182" y="45402"/>
                    </a:lnTo>
                    <a:cubicBezTo>
                      <a:pt x="444182" y="37465"/>
                      <a:pt x="441960" y="31115"/>
                      <a:pt x="437515" y="26670"/>
                    </a:cubicBezTo>
                    <a:cubicBezTo>
                      <a:pt x="433070" y="22225"/>
                      <a:pt x="427038" y="20002"/>
                      <a:pt x="419417" y="20002"/>
                    </a:cubicBezTo>
                    <a:cubicBezTo>
                      <a:pt x="414338" y="20638"/>
                      <a:pt x="409575" y="21590"/>
                      <a:pt x="405765" y="23813"/>
                    </a:cubicBezTo>
                    <a:moveTo>
                      <a:pt x="329882" y="0"/>
                    </a:moveTo>
                    <a:lnTo>
                      <a:pt x="329882" y="77152"/>
                    </a:lnTo>
                    <a:lnTo>
                      <a:pt x="345122" y="77152"/>
                    </a:lnTo>
                    <a:lnTo>
                      <a:pt x="345122" y="51118"/>
                    </a:lnTo>
                    <a:cubicBezTo>
                      <a:pt x="345122" y="45085"/>
                      <a:pt x="346075" y="40640"/>
                      <a:pt x="347663" y="37465"/>
                    </a:cubicBezTo>
                    <a:cubicBezTo>
                      <a:pt x="349250" y="34290"/>
                      <a:pt x="352425" y="32702"/>
                      <a:pt x="357188" y="32702"/>
                    </a:cubicBezTo>
                    <a:cubicBezTo>
                      <a:pt x="363220" y="32702"/>
                      <a:pt x="366077" y="36830"/>
                      <a:pt x="366077" y="44768"/>
                    </a:cubicBezTo>
                    <a:lnTo>
                      <a:pt x="366077" y="77152"/>
                    </a:lnTo>
                    <a:lnTo>
                      <a:pt x="381317" y="77152"/>
                    </a:lnTo>
                    <a:lnTo>
                      <a:pt x="381317" y="40958"/>
                    </a:lnTo>
                    <a:cubicBezTo>
                      <a:pt x="381317" y="33973"/>
                      <a:pt x="379413" y="28575"/>
                      <a:pt x="375920" y="25400"/>
                    </a:cubicBezTo>
                    <a:cubicBezTo>
                      <a:pt x="372110" y="22225"/>
                      <a:pt x="367347" y="20638"/>
                      <a:pt x="361632" y="20638"/>
                    </a:cubicBezTo>
                    <a:cubicBezTo>
                      <a:pt x="358140" y="20638"/>
                      <a:pt x="355282" y="21273"/>
                      <a:pt x="352425" y="22543"/>
                    </a:cubicBezTo>
                    <a:cubicBezTo>
                      <a:pt x="349567" y="23813"/>
                      <a:pt x="347345" y="26035"/>
                      <a:pt x="345757" y="28893"/>
                    </a:cubicBezTo>
                    <a:lnTo>
                      <a:pt x="344805" y="28893"/>
                    </a:lnTo>
                    <a:cubicBezTo>
                      <a:pt x="344805" y="27940"/>
                      <a:pt x="345122" y="26035"/>
                      <a:pt x="345122" y="23813"/>
                    </a:cubicBezTo>
                    <a:cubicBezTo>
                      <a:pt x="345440" y="21273"/>
                      <a:pt x="345440" y="18733"/>
                      <a:pt x="345440" y="15875"/>
                    </a:cubicBezTo>
                    <a:lnTo>
                      <a:pt x="345440" y="0"/>
                    </a:lnTo>
                    <a:lnTo>
                      <a:pt x="329882" y="0"/>
                    </a:lnTo>
                    <a:close/>
                    <a:moveTo>
                      <a:pt x="304482" y="64452"/>
                    </a:moveTo>
                    <a:cubicBezTo>
                      <a:pt x="303213" y="63500"/>
                      <a:pt x="302577" y="61913"/>
                      <a:pt x="302577" y="59690"/>
                    </a:cubicBezTo>
                    <a:lnTo>
                      <a:pt x="302577" y="33020"/>
                    </a:lnTo>
                    <a:lnTo>
                      <a:pt x="318135" y="33020"/>
                    </a:lnTo>
                    <a:lnTo>
                      <a:pt x="318135" y="21590"/>
                    </a:lnTo>
                    <a:lnTo>
                      <a:pt x="302577" y="21590"/>
                    </a:lnTo>
                    <a:lnTo>
                      <a:pt x="302577" y="9843"/>
                    </a:lnTo>
                    <a:lnTo>
                      <a:pt x="293052" y="9843"/>
                    </a:lnTo>
                    <a:lnTo>
                      <a:pt x="288607" y="21590"/>
                    </a:lnTo>
                    <a:lnTo>
                      <a:pt x="280352" y="26670"/>
                    </a:lnTo>
                    <a:lnTo>
                      <a:pt x="280352" y="33020"/>
                    </a:lnTo>
                    <a:lnTo>
                      <a:pt x="287655" y="33020"/>
                    </a:lnTo>
                    <a:lnTo>
                      <a:pt x="287655" y="59690"/>
                    </a:lnTo>
                    <a:cubicBezTo>
                      <a:pt x="287655" y="64452"/>
                      <a:pt x="288290" y="68263"/>
                      <a:pt x="289877" y="70802"/>
                    </a:cubicBezTo>
                    <a:cubicBezTo>
                      <a:pt x="291465" y="73343"/>
                      <a:pt x="293370" y="75248"/>
                      <a:pt x="296227" y="76518"/>
                    </a:cubicBezTo>
                    <a:cubicBezTo>
                      <a:pt x="298767" y="77470"/>
                      <a:pt x="301942" y="78105"/>
                      <a:pt x="305117" y="78105"/>
                    </a:cubicBezTo>
                    <a:cubicBezTo>
                      <a:pt x="307975" y="78105"/>
                      <a:pt x="310515" y="77788"/>
                      <a:pt x="313055" y="77470"/>
                    </a:cubicBezTo>
                    <a:cubicBezTo>
                      <a:pt x="315595" y="77152"/>
                      <a:pt x="317500" y="76518"/>
                      <a:pt x="319088" y="75565"/>
                    </a:cubicBezTo>
                    <a:lnTo>
                      <a:pt x="319088" y="64135"/>
                    </a:lnTo>
                    <a:cubicBezTo>
                      <a:pt x="317500" y="64770"/>
                      <a:pt x="315913" y="65088"/>
                      <a:pt x="314325" y="65405"/>
                    </a:cubicBezTo>
                    <a:cubicBezTo>
                      <a:pt x="312738" y="65723"/>
                      <a:pt x="311150" y="65723"/>
                      <a:pt x="309563" y="65723"/>
                    </a:cubicBezTo>
                    <a:cubicBezTo>
                      <a:pt x="307022" y="66040"/>
                      <a:pt x="305435" y="65405"/>
                      <a:pt x="304482" y="64452"/>
                    </a:cubicBezTo>
                    <a:moveTo>
                      <a:pt x="237490" y="36830"/>
                    </a:moveTo>
                    <a:cubicBezTo>
                      <a:pt x="239395" y="33973"/>
                      <a:pt x="242252" y="32702"/>
                      <a:pt x="246063" y="32702"/>
                    </a:cubicBezTo>
                    <a:cubicBezTo>
                      <a:pt x="250190" y="32702"/>
                      <a:pt x="253047" y="33973"/>
                      <a:pt x="254952" y="36830"/>
                    </a:cubicBezTo>
                    <a:cubicBezTo>
                      <a:pt x="256857" y="39688"/>
                      <a:pt x="257492" y="43815"/>
                      <a:pt x="257492" y="49213"/>
                    </a:cubicBezTo>
                    <a:cubicBezTo>
                      <a:pt x="257492" y="54610"/>
                      <a:pt x="256540" y="58738"/>
                      <a:pt x="254952" y="61595"/>
                    </a:cubicBezTo>
                    <a:cubicBezTo>
                      <a:pt x="253047" y="64452"/>
                      <a:pt x="250190" y="65723"/>
                      <a:pt x="246380" y="65723"/>
                    </a:cubicBezTo>
                    <a:cubicBezTo>
                      <a:pt x="242252" y="65723"/>
                      <a:pt x="239395" y="64452"/>
                      <a:pt x="237490" y="61595"/>
                    </a:cubicBezTo>
                    <a:cubicBezTo>
                      <a:pt x="235585" y="58738"/>
                      <a:pt x="234950" y="54610"/>
                      <a:pt x="234950" y="49213"/>
                    </a:cubicBezTo>
                    <a:cubicBezTo>
                      <a:pt x="234950" y="43815"/>
                      <a:pt x="235902" y="39688"/>
                      <a:pt x="237490" y="36830"/>
                    </a:cubicBezTo>
                    <a:moveTo>
                      <a:pt x="269875" y="33655"/>
                    </a:moveTo>
                    <a:cubicBezTo>
                      <a:pt x="267652" y="29527"/>
                      <a:pt x="264477" y="26035"/>
                      <a:pt x="260350" y="23813"/>
                    </a:cubicBezTo>
                    <a:cubicBezTo>
                      <a:pt x="256222" y="21590"/>
                      <a:pt x="251777" y="20320"/>
                      <a:pt x="246380" y="20320"/>
                    </a:cubicBezTo>
                    <a:cubicBezTo>
                      <a:pt x="238125" y="20320"/>
                      <a:pt x="231457" y="22860"/>
                      <a:pt x="226695" y="27623"/>
                    </a:cubicBezTo>
                    <a:cubicBezTo>
                      <a:pt x="221932" y="32702"/>
                      <a:pt x="219392" y="39688"/>
                      <a:pt x="219392" y="48895"/>
                    </a:cubicBezTo>
                    <a:cubicBezTo>
                      <a:pt x="219392" y="54927"/>
                      <a:pt x="220663" y="60325"/>
                      <a:pt x="222885" y="64452"/>
                    </a:cubicBezTo>
                    <a:cubicBezTo>
                      <a:pt x="225107" y="68898"/>
                      <a:pt x="228282" y="72073"/>
                      <a:pt x="232410" y="74295"/>
                    </a:cubicBezTo>
                    <a:cubicBezTo>
                      <a:pt x="236538" y="76518"/>
                      <a:pt x="240982" y="77788"/>
                      <a:pt x="246063" y="77788"/>
                    </a:cubicBezTo>
                    <a:cubicBezTo>
                      <a:pt x="254317" y="77788"/>
                      <a:pt x="260985" y="75248"/>
                      <a:pt x="265747" y="70168"/>
                    </a:cubicBezTo>
                    <a:cubicBezTo>
                      <a:pt x="270510" y="65088"/>
                      <a:pt x="273050" y="58102"/>
                      <a:pt x="273050" y="48895"/>
                    </a:cubicBezTo>
                    <a:cubicBezTo>
                      <a:pt x="273367" y="43180"/>
                      <a:pt x="272097" y="38100"/>
                      <a:pt x="269875" y="33655"/>
                    </a:cubicBezTo>
                    <a:moveTo>
                      <a:pt x="147002" y="61913"/>
                    </a:moveTo>
                    <a:cubicBezTo>
                      <a:pt x="145097" y="59055"/>
                      <a:pt x="144145" y="55245"/>
                      <a:pt x="144145" y="49530"/>
                    </a:cubicBezTo>
                    <a:cubicBezTo>
                      <a:pt x="144145" y="43815"/>
                      <a:pt x="145097" y="40005"/>
                      <a:pt x="147002" y="37148"/>
                    </a:cubicBezTo>
                    <a:cubicBezTo>
                      <a:pt x="148907" y="34290"/>
                      <a:pt x="151447" y="32702"/>
                      <a:pt x="154940" y="32702"/>
                    </a:cubicBezTo>
                    <a:cubicBezTo>
                      <a:pt x="159385" y="32702"/>
                      <a:pt x="162560" y="34290"/>
                      <a:pt x="164147" y="37148"/>
                    </a:cubicBezTo>
                    <a:cubicBezTo>
                      <a:pt x="165735" y="40005"/>
                      <a:pt x="166688" y="44133"/>
                      <a:pt x="166688" y="49530"/>
                    </a:cubicBezTo>
                    <a:lnTo>
                      <a:pt x="166688" y="51118"/>
                    </a:lnTo>
                    <a:cubicBezTo>
                      <a:pt x="166688" y="56198"/>
                      <a:pt x="165735" y="59690"/>
                      <a:pt x="163830" y="62230"/>
                    </a:cubicBezTo>
                    <a:cubicBezTo>
                      <a:pt x="162242" y="64770"/>
                      <a:pt x="159067" y="66040"/>
                      <a:pt x="154940" y="66040"/>
                    </a:cubicBezTo>
                    <a:cubicBezTo>
                      <a:pt x="151447" y="66040"/>
                      <a:pt x="148907" y="64770"/>
                      <a:pt x="147002" y="61913"/>
                    </a:cubicBezTo>
                    <a:moveTo>
                      <a:pt x="159385" y="75883"/>
                    </a:moveTo>
                    <a:cubicBezTo>
                      <a:pt x="161925" y="74295"/>
                      <a:pt x="163830" y="72390"/>
                      <a:pt x="165417" y="70168"/>
                    </a:cubicBezTo>
                    <a:lnTo>
                      <a:pt x="166052" y="70168"/>
                    </a:lnTo>
                    <a:lnTo>
                      <a:pt x="168910" y="77470"/>
                    </a:lnTo>
                    <a:lnTo>
                      <a:pt x="180340" y="77470"/>
                    </a:lnTo>
                    <a:lnTo>
                      <a:pt x="180340" y="318"/>
                    </a:lnTo>
                    <a:lnTo>
                      <a:pt x="165100" y="318"/>
                    </a:lnTo>
                    <a:lnTo>
                      <a:pt x="165100" y="18098"/>
                    </a:lnTo>
                    <a:cubicBezTo>
                      <a:pt x="165100" y="20320"/>
                      <a:pt x="165100" y="22225"/>
                      <a:pt x="165417" y="24448"/>
                    </a:cubicBezTo>
                    <a:cubicBezTo>
                      <a:pt x="165735" y="26670"/>
                      <a:pt x="166052" y="27940"/>
                      <a:pt x="166052" y="29210"/>
                    </a:cubicBezTo>
                    <a:lnTo>
                      <a:pt x="165417" y="29210"/>
                    </a:lnTo>
                    <a:cubicBezTo>
                      <a:pt x="163830" y="26988"/>
                      <a:pt x="161925" y="25083"/>
                      <a:pt x="159385" y="23495"/>
                    </a:cubicBezTo>
                    <a:cubicBezTo>
                      <a:pt x="156845" y="21908"/>
                      <a:pt x="153670" y="21273"/>
                      <a:pt x="149542" y="21273"/>
                    </a:cubicBezTo>
                    <a:cubicBezTo>
                      <a:pt x="143192" y="21273"/>
                      <a:pt x="138113" y="23813"/>
                      <a:pt x="133985" y="28575"/>
                    </a:cubicBezTo>
                    <a:cubicBezTo>
                      <a:pt x="130175" y="33338"/>
                      <a:pt x="127952" y="40640"/>
                      <a:pt x="127952" y="50165"/>
                    </a:cubicBezTo>
                    <a:cubicBezTo>
                      <a:pt x="127952" y="59690"/>
                      <a:pt x="129857" y="66675"/>
                      <a:pt x="133667" y="71438"/>
                    </a:cubicBezTo>
                    <a:cubicBezTo>
                      <a:pt x="137477" y="76200"/>
                      <a:pt x="142557" y="78740"/>
                      <a:pt x="148907" y="78740"/>
                    </a:cubicBezTo>
                    <a:cubicBezTo>
                      <a:pt x="153670" y="78105"/>
                      <a:pt x="156845" y="77470"/>
                      <a:pt x="159385" y="75883"/>
                    </a:cubicBezTo>
                    <a:moveTo>
                      <a:pt x="86995" y="22543"/>
                    </a:moveTo>
                    <a:cubicBezTo>
                      <a:pt x="83820" y="23813"/>
                      <a:pt x="81597" y="26035"/>
                      <a:pt x="79692" y="28893"/>
                    </a:cubicBezTo>
                    <a:lnTo>
                      <a:pt x="78740" y="28893"/>
                    </a:lnTo>
                    <a:lnTo>
                      <a:pt x="76835" y="21908"/>
                    </a:lnTo>
                    <a:lnTo>
                      <a:pt x="65405" y="21908"/>
                    </a:lnTo>
                    <a:lnTo>
                      <a:pt x="65405" y="77470"/>
                    </a:lnTo>
                    <a:lnTo>
                      <a:pt x="80645" y="77470"/>
                    </a:lnTo>
                    <a:lnTo>
                      <a:pt x="80645" y="51435"/>
                    </a:lnTo>
                    <a:cubicBezTo>
                      <a:pt x="80645" y="45402"/>
                      <a:pt x="81597" y="40958"/>
                      <a:pt x="83185" y="37783"/>
                    </a:cubicBezTo>
                    <a:cubicBezTo>
                      <a:pt x="84772" y="34608"/>
                      <a:pt x="87947" y="33020"/>
                      <a:pt x="92710" y="33020"/>
                    </a:cubicBezTo>
                    <a:cubicBezTo>
                      <a:pt x="95885" y="33020"/>
                      <a:pt x="98107" y="33973"/>
                      <a:pt x="99377" y="35877"/>
                    </a:cubicBezTo>
                    <a:cubicBezTo>
                      <a:pt x="100647" y="37783"/>
                      <a:pt x="101600" y="40958"/>
                      <a:pt x="101600" y="44768"/>
                    </a:cubicBezTo>
                    <a:lnTo>
                      <a:pt x="101600" y="77152"/>
                    </a:lnTo>
                    <a:lnTo>
                      <a:pt x="116840" y="77152"/>
                    </a:lnTo>
                    <a:lnTo>
                      <a:pt x="116840" y="40958"/>
                    </a:lnTo>
                    <a:cubicBezTo>
                      <a:pt x="116840" y="33973"/>
                      <a:pt x="114935" y="28575"/>
                      <a:pt x="111442" y="25400"/>
                    </a:cubicBezTo>
                    <a:cubicBezTo>
                      <a:pt x="107950" y="22225"/>
                      <a:pt x="103188" y="20638"/>
                      <a:pt x="97155" y="20638"/>
                    </a:cubicBezTo>
                    <a:cubicBezTo>
                      <a:pt x="93345" y="20638"/>
                      <a:pt x="90170" y="21273"/>
                      <a:pt x="86995" y="22543"/>
                    </a:cubicBezTo>
                    <a:moveTo>
                      <a:pt x="34925" y="55880"/>
                    </a:moveTo>
                    <a:cubicBezTo>
                      <a:pt x="34925" y="59373"/>
                      <a:pt x="33655" y="62230"/>
                      <a:pt x="31432" y="64135"/>
                    </a:cubicBezTo>
                    <a:cubicBezTo>
                      <a:pt x="29210" y="66040"/>
                      <a:pt x="26352" y="66993"/>
                      <a:pt x="23177" y="66993"/>
                    </a:cubicBezTo>
                    <a:cubicBezTo>
                      <a:pt x="20955" y="66993"/>
                      <a:pt x="19367" y="66358"/>
                      <a:pt x="17780" y="65405"/>
                    </a:cubicBezTo>
                    <a:cubicBezTo>
                      <a:pt x="16510" y="64452"/>
                      <a:pt x="15875" y="62865"/>
                      <a:pt x="15875" y="60325"/>
                    </a:cubicBezTo>
                    <a:cubicBezTo>
                      <a:pt x="15875" y="57785"/>
                      <a:pt x="16827" y="55563"/>
                      <a:pt x="18732" y="53975"/>
                    </a:cubicBezTo>
                    <a:cubicBezTo>
                      <a:pt x="20638" y="52388"/>
                      <a:pt x="24130" y="51435"/>
                      <a:pt x="28892" y="51435"/>
                    </a:cubicBezTo>
                    <a:lnTo>
                      <a:pt x="34925" y="51118"/>
                    </a:lnTo>
                    <a:lnTo>
                      <a:pt x="34925" y="55880"/>
                    </a:lnTo>
                    <a:close/>
                    <a:moveTo>
                      <a:pt x="15240" y="21908"/>
                    </a:moveTo>
                    <a:cubicBezTo>
                      <a:pt x="11430" y="22860"/>
                      <a:pt x="8255" y="24130"/>
                      <a:pt x="5397" y="25400"/>
                    </a:cubicBezTo>
                    <a:lnTo>
                      <a:pt x="10477" y="35560"/>
                    </a:lnTo>
                    <a:cubicBezTo>
                      <a:pt x="13017" y="34290"/>
                      <a:pt x="15557" y="33338"/>
                      <a:pt x="18097" y="32702"/>
                    </a:cubicBezTo>
                    <a:cubicBezTo>
                      <a:pt x="20638" y="32068"/>
                      <a:pt x="23177" y="31433"/>
                      <a:pt x="26035" y="31433"/>
                    </a:cubicBezTo>
                    <a:cubicBezTo>
                      <a:pt x="28892" y="31433"/>
                      <a:pt x="30797" y="32068"/>
                      <a:pt x="32385" y="33338"/>
                    </a:cubicBezTo>
                    <a:cubicBezTo>
                      <a:pt x="33972" y="34608"/>
                      <a:pt x="34607" y="36830"/>
                      <a:pt x="34607" y="39688"/>
                    </a:cubicBezTo>
                    <a:lnTo>
                      <a:pt x="34607" y="42227"/>
                    </a:lnTo>
                    <a:lnTo>
                      <a:pt x="25082" y="42545"/>
                    </a:lnTo>
                    <a:cubicBezTo>
                      <a:pt x="16827" y="42863"/>
                      <a:pt x="10477" y="44450"/>
                      <a:pt x="6350" y="47308"/>
                    </a:cubicBezTo>
                    <a:cubicBezTo>
                      <a:pt x="2222" y="50165"/>
                      <a:pt x="0" y="54293"/>
                      <a:pt x="0" y="60325"/>
                    </a:cubicBezTo>
                    <a:cubicBezTo>
                      <a:pt x="0" y="66358"/>
                      <a:pt x="1588" y="70802"/>
                      <a:pt x="4763" y="73660"/>
                    </a:cubicBezTo>
                    <a:cubicBezTo>
                      <a:pt x="7938" y="76518"/>
                      <a:pt x="12065" y="77788"/>
                      <a:pt x="17145" y="77788"/>
                    </a:cubicBezTo>
                    <a:cubicBezTo>
                      <a:pt x="21907" y="77788"/>
                      <a:pt x="25400" y="77152"/>
                      <a:pt x="27940" y="75883"/>
                    </a:cubicBezTo>
                    <a:cubicBezTo>
                      <a:pt x="30480" y="74613"/>
                      <a:pt x="33020" y="72390"/>
                      <a:pt x="35560" y="69533"/>
                    </a:cubicBezTo>
                    <a:lnTo>
                      <a:pt x="35877" y="69533"/>
                    </a:lnTo>
                    <a:lnTo>
                      <a:pt x="38735" y="77152"/>
                    </a:lnTo>
                    <a:lnTo>
                      <a:pt x="49213" y="77152"/>
                    </a:lnTo>
                    <a:lnTo>
                      <a:pt x="49213" y="40323"/>
                    </a:lnTo>
                    <a:cubicBezTo>
                      <a:pt x="49213" y="33655"/>
                      <a:pt x="47307" y="28893"/>
                      <a:pt x="43180" y="25400"/>
                    </a:cubicBezTo>
                    <a:cubicBezTo>
                      <a:pt x="39370" y="22225"/>
                      <a:pt x="33655" y="20638"/>
                      <a:pt x="26035" y="20638"/>
                    </a:cubicBezTo>
                    <a:cubicBezTo>
                      <a:pt x="22860" y="20638"/>
                      <a:pt x="19050" y="20955"/>
                      <a:pt x="15240" y="21908"/>
                    </a:cubicBezTo>
                  </a:path>
                </a:pathLst>
              </a:custGeom>
              <a:solidFill>
                <a:srgbClr val="001965"/>
              </a:solidFill>
              <a:ln w="3175" cap="flat">
                <a:noFill/>
                <a:prstDash val="solid"/>
                <a:miter/>
              </a:ln>
            </p:spPr>
            <p:txBody>
              <a:bodyPr rtlCol="0" anchor="ctr"/>
              <a:lstStyle/>
              <a:p>
                <a:endParaRPr lang="en-GB">
                  <a:solidFill>
                    <a:srgbClr val="000000"/>
                  </a:solidFill>
                  <a:latin typeface="Verdana"/>
                </a:endParaRPr>
              </a:p>
            </p:txBody>
          </p:sp>
          <p:sp>
            <p:nvSpPr>
              <p:cNvPr id="29" name="Freeform: Shape 28">
                <a:extLst>
                  <a:ext uri="{FF2B5EF4-FFF2-40B4-BE49-F238E27FC236}">
                    <a16:creationId xmlns:a16="http://schemas.microsoft.com/office/drawing/2014/main" id="{157AA137-EAA5-456F-85B3-8F31E5AEA477}"/>
                  </a:ext>
                </a:extLst>
              </p:cNvPr>
              <p:cNvSpPr/>
              <p:nvPr/>
            </p:nvSpPr>
            <p:spPr>
              <a:xfrm>
                <a:off x="4184015" y="2478405"/>
                <a:ext cx="781050" cy="79375"/>
              </a:xfrm>
              <a:custGeom>
                <a:avLst/>
                <a:gdLst>
                  <a:gd name="connsiteX0" fmla="*/ 781685 w 781050"/>
                  <a:gd name="connsiteY0" fmla="*/ 53340 h 79375"/>
                  <a:gd name="connsiteX1" fmla="*/ 776288 w 781050"/>
                  <a:gd name="connsiteY1" fmla="*/ 48260 h 79375"/>
                  <a:gd name="connsiteX2" fmla="*/ 768032 w 781050"/>
                  <a:gd name="connsiteY2" fmla="*/ 44133 h 79375"/>
                  <a:gd name="connsiteX3" fmla="*/ 760730 w 781050"/>
                  <a:gd name="connsiteY3" fmla="*/ 40958 h 79375"/>
                  <a:gd name="connsiteX4" fmla="*/ 757238 w 781050"/>
                  <a:gd name="connsiteY4" fmla="*/ 38735 h 79375"/>
                  <a:gd name="connsiteX5" fmla="*/ 756285 w 781050"/>
                  <a:gd name="connsiteY5" fmla="*/ 36195 h 79375"/>
                  <a:gd name="connsiteX6" fmla="*/ 762952 w 781050"/>
                  <a:gd name="connsiteY6" fmla="*/ 32385 h 79375"/>
                  <a:gd name="connsiteX7" fmla="*/ 770255 w 781050"/>
                  <a:gd name="connsiteY7" fmla="*/ 33655 h 79375"/>
                  <a:gd name="connsiteX8" fmla="*/ 777875 w 781050"/>
                  <a:gd name="connsiteY8" fmla="*/ 36513 h 79375"/>
                  <a:gd name="connsiteX9" fmla="*/ 782320 w 781050"/>
                  <a:gd name="connsiteY9" fmla="*/ 25718 h 79375"/>
                  <a:gd name="connsiteX10" fmla="*/ 772795 w 781050"/>
                  <a:gd name="connsiteY10" fmla="*/ 22225 h 79375"/>
                  <a:gd name="connsiteX11" fmla="*/ 762952 w 781050"/>
                  <a:gd name="connsiteY11" fmla="*/ 21273 h 79375"/>
                  <a:gd name="connsiteX12" fmla="*/ 747077 w 781050"/>
                  <a:gd name="connsiteY12" fmla="*/ 25083 h 79375"/>
                  <a:gd name="connsiteX13" fmla="*/ 741045 w 781050"/>
                  <a:gd name="connsiteY13" fmla="*/ 36513 h 79375"/>
                  <a:gd name="connsiteX14" fmla="*/ 742632 w 781050"/>
                  <a:gd name="connsiteY14" fmla="*/ 44133 h 79375"/>
                  <a:gd name="connsiteX15" fmla="*/ 747713 w 781050"/>
                  <a:gd name="connsiteY15" fmla="*/ 49530 h 79375"/>
                  <a:gd name="connsiteX16" fmla="*/ 756285 w 781050"/>
                  <a:gd name="connsiteY16" fmla="*/ 53975 h 79375"/>
                  <a:gd name="connsiteX17" fmla="*/ 764222 w 781050"/>
                  <a:gd name="connsiteY17" fmla="*/ 57785 h 79375"/>
                  <a:gd name="connsiteX18" fmla="*/ 767397 w 781050"/>
                  <a:gd name="connsiteY18" fmla="*/ 60325 h 79375"/>
                  <a:gd name="connsiteX19" fmla="*/ 768032 w 781050"/>
                  <a:gd name="connsiteY19" fmla="*/ 62865 h 79375"/>
                  <a:gd name="connsiteX20" fmla="*/ 766127 w 781050"/>
                  <a:gd name="connsiteY20" fmla="*/ 66358 h 79375"/>
                  <a:gd name="connsiteX21" fmla="*/ 759777 w 781050"/>
                  <a:gd name="connsiteY21" fmla="*/ 67628 h 79375"/>
                  <a:gd name="connsiteX22" fmla="*/ 750570 w 781050"/>
                  <a:gd name="connsiteY22" fmla="*/ 66358 h 79375"/>
                  <a:gd name="connsiteX23" fmla="*/ 741045 w 781050"/>
                  <a:gd name="connsiteY23" fmla="*/ 62865 h 79375"/>
                  <a:gd name="connsiteX24" fmla="*/ 741045 w 781050"/>
                  <a:gd name="connsiteY24" fmla="*/ 75248 h 79375"/>
                  <a:gd name="connsiteX25" fmla="*/ 749300 w 781050"/>
                  <a:gd name="connsiteY25" fmla="*/ 77788 h 79375"/>
                  <a:gd name="connsiteX26" fmla="*/ 759142 w 781050"/>
                  <a:gd name="connsiteY26" fmla="*/ 78423 h 79375"/>
                  <a:gd name="connsiteX27" fmla="*/ 776922 w 781050"/>
                  <a:gd name="connsiteY27" fmla="*/ 73978 h 79375"/>
                  <a:gd name="connsiteX28" fmla="*/ 782955 w 781050"/>
                  <a:gd name="connsiteY28" fmla="*/ 60960 h 79375"/>
                  <a:gd name="connsiteX29" fmla="*/ 781685 w 781050"/>
                  <a:gd name="connsiteY29" fmla="*/ 53340 h 79375"/>
                  <a:gd name="connsiteX30" fmla="*/ 715645 w 781050"/>
                  <a:gd name="connsiteY30" fmla="*/ 35560 h 79375"/>
                  <a:gd name="connsiteX31" fmla="*/ 718185 w 781050"/>
                  <a:gd name="connsiteY31" fmla="*/ 43815 h 79375"/>
                  <a:gd name="connsiteX32" fmla="*/ 696913 w 781050"/>
                  <a:gd name="connsiteY32" fmla="*/ 43815 h 79375"/>
                  <a:gd name="connsiteX33" fmla="*/ 700405 w 781050"/>
                  <a:gd name="connsiteY33" fmla="*/ 34925 h 79375"/>
                  <a:gd name="connsiteX34" fmla="*/ 707707 w 781050"/>
                  <a:gd name="connsiteY34" fmla="*/ 32068 h 79375"/>
                  <a:gd name="connsiteX35" fmla="*/ 715645 w 781050"/>
                  <a:gd name="connsiteY35" fmla="*/ 35560 h 79375"/>
                  <a:gd name="connsiteX36" fmla="*/ 694055 w 781050"/>
                  <a:gd name="connsiteY36" fmla="*/ 24448 h 79375"/>
                  <a:gd name="connsiteX37" fmla="*/ 684847 w 781050"/>
                  <a:gd name="connsiteY37" fmla="*/ 34290 h 79375"/>
                  <a:gd name="connsiteX38" fmla="*/ 681672 w 781050"/>
                  <a:gd name="connsiteY38" fmla="*/ 50483 h 79375"/>
                  <a:gd name="connsiteX39" fmla="*/ 685482 w 781050"/>
                  <a:gd name="connsiteY39" fmla="*/ 66358 h 79375"/>
                  <a:gd name="connsiteX40" fmla="*/ 695642 w 781050"/>
                  <a:gd name="connsiteY40" fmla="*/ 75565 h 79375"/>
                  <a:gd name="connsiteX41" fmla="*/ 710247 w 781050"/>
                  <a:gd name="connsiteY41" fmla="*/ 78740 h 79375"/>
                  <a:gd name="connsiteX42" fmla="*/ 721042 w 781050"/>
                  <a:gd name="connsiteY42" fmla="*/ 77788 h 79375"/>
                  <a:gd name="connsiteX43" fmla="*/ 729615 w 781050"/>
                  <a:gd name="connsiteY43" fmla="*/ 74930 h 79375"/>
                  <a:gd name="connsiteX44" fmla="*/ 729615 w 781050"/>
                  <a:gd name="connsiteY44" fmla="*/ 63183 h 79375"/>
                  <a:gd name="connsiteX45" fmla="*/ 720407 w 781050"/>
                  <a:gd name="connsiteY45" fmla="*/ 66358 h 79375"/>
                  <a:gd name="connsiteX46" fmla="*/ 710565 w 781050"/>
                  <a:gd name="connsiteY46" fmla="*/ 67310 h 79375"/>
                  <a:gd name="connsiteX47" fmla="*/ 700405 w 781050"/>
                  <a:gd name="connsiteY47" fmla="*/ 63500 h 79375"/>
                  <a:gd name="connsiteX48" fmla="*/ 696595 w 781050"/>
                  <a:gd name="connsiteY48" fmla="*/ 53340 h 79375"/>
                  <a:gd name="connsiteX49" fmla="*/ 732472 w 781050"/>
                  <a:gd name="connsiteY49" fmla="*/ 53340 h 79375"/>
                  <a:gd name="connsiteX50" fmla="*/ 732472 w 781050"/>
                  <a:gd name="connsiteY50" fmla="*/ 46038 h 79375"/>
                  <a:gd name="connsiteX51" fmla="*/ 725805 w 781050"/>
                  <a:gd name="connsiteY51" fmla="*/ 27305 h 79375"/>
                  <a:gd name="connsiteX52" fmla="*/ 707707 w 781050"/>
                  <a:gd name="connsiteY52" fmla="*/ 20638 h 79375"/>
                  <a:gd name="connsiteX53" fmla="*/ 694055 w 781050"/>
                  <a:gd name="connsiteY53" fmla="*/ 24448 h 79375"/>
                  <a:gd name="connsiteX54" fmla="*/ 659130 w 781050"/>
                  <a:gd name="connsiteY54" fmla="*/ 65088 h 79375"/>
                  <a:gd name="connsiteX55" fmla="*/ 657225 w 781050"/>
                  <a:gd name="connsiteY55" fmla="*/ 60325 h 79375"/>
                  <a:gd name="connsiteX56" fmla="*/ 657225 w 781050"/>
                  <a:gd name="connsiteY56" fmla="*/ 33655 h 79375"/>
                  <a:gd name="connsiteX57" fmla="*/ 672782 w 781050"/>
                  <a:gd name="connsiteY57" fmla="*/ 33655 h 79375"/>
                  <a:gd name="connsiteX58" fmla="*/ 672782 w 781050"/>
                  <a:gd name="connsiteY58" fmla="*/ 22225 h 79375"/>
                  <a:gd name="connsiteX59" fmla="*/ 657225 w 781050"/>
                  <a:gd name="connsiteY59" fmla="*/ 22225 h 79375"/>
                  <a:gd name="connsiteX60" fmla="*/ 657225 w 781050"/>
                  <a:gd name="connsiteY60" fmla="*/ 10478 h 79375"/>
                  <a:gd name="connsiteX61" fmla="*/ 647700 w 781050"/>
                  <a:gd name="connsiteY61" fmla="*/ 10478 h 79375"/>
                  <a:gd name="connsiteX62" fmla="*/ 643255 w 781050"/>
                  <a:gd name="connsiteY62" fmla="*/ 22225 h 79375"/>
                  <a:gd name="connsiteX63" fmla="*/ 635000 w 781050"/>
                  <a:gd name="connsiteY63" fmla="*/ 27305 h 79375"/>
                  <a:gd name="connsiteX64" fmla="*/ 635000 w 781050"/>
                  <a:gd name="connsiteY64" fmla="*/ 33655 h 79375"/>
                  <a:gd name="connsiteX65" fmla="*/ 642302 w 781050"/>
                  <a:gd name="connsiteY65" fmla="*/ 33655 h 79375"/>
                  <a:gd name="connsiteX66" fmla="*/ 642302 w 781050"/>
                  <a:gd name="connsiteY66" fmla="*/ 60325 h 79375"/>
                  <a:gd name="connsiteX67" fmla="*/ 644525 w 781050"/>
                  <a:gd name="connsiteY67" fmla="*/ 71438 h 79375"/>
                  <a:gd name="connsiteX68" fmla="*/ 650875 w 781050"/>
                  <a:gd name="connsiteY68" fmla="*/ 77153 h 79375"/>
                  <a:gd name="connsiteX69" fmla="*/ 659765 w 781050"/>
                  <a:gd name="connsiteY69" fmla="*/ 78740 h 79375"/>
                  <a:gd name="connsiteX70" fmla="*/ 667702 w 781050"/>
                  <a:gd name="connsiteY70" fmla="*/ 78105 h 79375"/>
                  <a:gd name="connsiteX71" fmla="*/ 673735 w 781050"/>
                  <a:gd name="connsiteY71" fmla="*/ 76200 h 79375"/>
                  <a:gd name="connsiteX72" fmla="*/ 673735 w 781050"/>
                  <a:gd name="connsiteY72" fmla="*/ 64770 h 79375"/>
                  <a:gd name="connsiteX73" fmla="*/ 668972 w 781050"/>
                  <a:gd name="connsiteY73" fmla="*/ 66040 h 79375"/>
                  <a:gd name="connsiteX74" fmla="*/ 664210 w 781050"/>
                  <a:gd name="connsiteY74" fmla="*/ 66358 h 79375"/>
                  <a:gd name="connsiteX75" fmla="*/ 659130 w 781050"/>
                  <a:gd name="connsiteY75" fmla="*/ 65088 h 79375"/>
                  <a:gd name="connsiteX76" fmla="*/ 611505 w 781050"/>
                  <a:gd name="connsiteY76" fmla="*/ 35560 h 79375"/>
                  <a:gd name="connsiteX77" fmla="*/ 614045 w 781050"/>
                  <a:gd name="connsiteY77" fmla="*/ 43815 h 79375"/>
                  <a:gd name="connsiteX78" fmla="*/ 592772 w 781050"/>
                  <a:gd name="connsiteY78" fmla="*/ 43815 h 79375"/>
                  <a:gd name="connsiteX79" fmla="*/ 596265 w 781050"/>
                  <a:gd name="connsiteY79" fmla="*/ 34925 h 79375"/>
                  <a:gd name="connsiteX80" fmla="*/ 603567 w 781050"/>
                  <a:gd name="connsiteY80" fmla="*/ 32068 h 79375"/>
                  <a:gd name="connsiteX81" fmla="*/ 611505 w 781050"/>
                  <a:gd name="connsiteY81" fmla="*/ 35560 h 79375"/>
                  <a:gd name="connsiteX82" fmla="*/ 589915 w 781050"/>
                  <a:gd name="connsiteY82" fmla="*/ 24448 h 79375"/>
                  <a:gd name="connsiteX83" fmla="*/ 580707 w 781050"/>
                  <a:gd name="connsiteY83" fmla="*/ 34290 h 79375"/>
                  <a:gd name="connsiteX84" fmla="*/ 577532 w 781050"/>
                  <a:gd name="connsiteY84" fmla="*/ 50483 h 79375"/>
                  <a:gd name="connsiteX85" fmla="*/ 581342 w 781050"/>
                  <a:gd name="connsiteY85" fmla="*/ 66358 h 79375"/>
                  <a:gd name="connsiteX86" fmla="*/ 591502 w 781050"/>
                  <a:gd name="connsiteY86" fmla="*/ 75565 h 79375"/>
                  <a:gd name="connsiteX87" fmla="*/ 606107 w 781050"/>
                  <a:gd name="connsiteY87" fmla="*/ 78740 h 79375"/>
                  <a:gd name="connsiteX88" fmla="*/ 616902 w 781050"/>
                  <a:gd name="connsiteY88" fmla="*/ 77788 h 79375"/>
                  <a:gd name="connsiteX89" fmla="*/ 625475 w 781050"/>
                  <a:gd name="connsiteY89" fmla="*/ 74930 h 79375"/>
                  <a:gd name="connsiteX90" fmla="*/ 625475 w 781050"/>
                  <a:gd name="connsiteY90" fmla="*/ 63183 h 79375"/>
                  <a:gd name="connsiteX91" fmla="*/ 616267 w 781050"/>
                  <a:gd name="connsiteY91" fmla="*/ 66358 h 79375"/>
                  <a:gd name="connsiteX92" fmla="*/ 606425 w 781050"/>
                  <a:gd name="connsiteY92" fmla="*/ 67310 h 79375"/>
                  <a:gd name="connsiteX93" fmla="*/ 596265 w 781050"/>
                  <a:gd name="connsiteY93" fmla="*/ 63500 h 79375"/>
                  <a:gd name="connsiteX94" fmla="*/ 592455 w 781050"/>
                  <a:gd name="connsiteY94" fmla="*/ 53340 h 79375"/>
                  <a:gd name="connsiteX95" fmla="*/ 628332 w 781050"/>
                  <a:gd name="connsiteY95" fmla="*/ 53340 h 79375"/>
                  <a:gd name="connsiteX96" fmla="*/ 628332 w 781050"/>
                  <a:gd name="connsiteY96" fmla="*/ 46038 h 79375"/>
                  <a:gd name="connsiteX97" fmla="*/ 621665 w 781050"/>
                  <a:gd name="connsiteY97" fmla="*/ 27305 h 79375"/>
                  <a:gd name="connsiteX98" fmla="*/ 603567 w 781050"/>
                  <a:gd name="connsiteY98" fmla="*/ 20638 h 79375"/>
                  <a:gd name="connsiteX99" fmla="*/ 589915 w 781050"/>
                  <a:gd name="connsiteY99" fmla="*/ 24448 h 79375"/>
                  <a:gd name="connsiteX100" fmla="*/ 549910 w 781050"/>
                  <a:gd name="connsiteY100" fmla="*/ 37465 h 79375"/>
                  <a:gd name="connsiteX101" fmla="*/ 552767 w 781050"/>
                  <a:gd name="connsiteY101" fmla="*/ 49848 h 79375"/>
                  <a:gd name="connsiteX102" fmla="*/ 549910 w 781050"/>
                  <a:gd name="connsiteY102" fmla="*/ 62230 h 79375"/>
                  <a:gd name="connsiteX103" fmla="*/ 542607 w 781050"/>
                  <a:gd name="connsiteY103" fmla="*/ 66675 h 79375"/>
                  <a:gd name="connsiteX104" fmla="*/ 534035 w 781050"/>
                  <a:gd name="connsiteY104" fmla="*/ 62230 h 79375"/>
                  <a:gd name="connsiteX105" fmla="*/ 531495 w 781050"/>
                  <a:gd name="connsiteY105" fmla="*/ 49848 h 79375"/>
                  <a:gd name="connsiteX106" fmla="*/ 531495 w 781050"/>
                  <a:gd name="connsiteY106" fmla="*/ 48260 h 79375"/>
                  <a:gd name="connsiteX107" fmla="*/ 534035 w 781050"/>
                  <a:gd name="connsiteY107" fmla="*/ 37148 h 79375"/>
                  <a:gd name="connsiteX108" fmla="*/ 542290 w 781050"/>
                  <a:gd name="connsiteY108" fmla="*/ 33338 h 79375"/>
                  <a:gd name="connsiteX109" fmla="*/ 549910 w 781050"/>
                  <a:gd name="connsiteY109" fmla="*/ 37465 h 79375"/>
                  <a:gd name="connsiteX110" fmla="*/ 516255 w 781050"/>
                  <a:gd name="connsiteY110" fmla="*/ 635 h 79375"/>
                  <a:gd name="connsiteX111" fmla="*/ 516255 w 781050"/>
                  <a:gd name="connsiteY111" fmla="*/ 77788 h 79375"/>
                  <a:gd name="connsiteX112" fmla="*/ 527685 w 781050"/>
                  <a:gd name="connsiteY112" fmla="*/ 77788 h 79375"/>
                  <a:gd name="connsiteX113" fmla="*/ 530225 w 781050"/>
                  <a:gd name="connsiteY113" fmla="*/ 71755 h 79375"/>
                  <a:gd name="connsiteX114" fmla="*/ 531177 w 781050"/>
                  <a:gd name="connsiteY114" fmla="*/ 71755 h 79375"/>
                  <a:gd name="connsiteX115" fmla="*/ 536892 w 781050"/>
                  <a:gd name="connsiteY115" fmla="*/ 76835 h 79375"/>
                  <a:gd name="connsiteX116" fmla="*/ 546417 w 781050"/>
                  <a:gd name="connsiteY116" fmla="*/ 79058 h 79375"/>
                  <a:gd name="connsiteX117" fmla="*/ 561975 w 781050"/>
                  <a:gd name="connsiteY117" fmla="*/ 71755 h 79375"/>
                  <a:gd name="connsiteX118" fmla="*/ 568007 w 781050"/>
                  <a:gd name="connsiteY118" fmla="*/ 50165 h 79375"/>
                  <a:gd name="connsiteX119" fmla="*/ 562292 w 781050"/>
                  <a:gd name="connsiteY119" fmla="*/ 28893 h 79375"/>
                  <a:gd name="connsiteX120" fmla="*/ 547052 w 781050"/>
                  <a:gd name="connsiteY120" fmla="*/ 21590 h 79375"/>
                  <a:gd name="connsiteX121" fmla="*/ 537210 w 781050"/>
                  <a:gd name="connsiteY121" fmla="*/ 24130 h 79375"/>
                  <a:gd name="connsiteX122" fmla="*/ 531177 w 781050"/>
                  <a:gd name="connsiteY122" fmla="*/ 29845 h 79375"/>
                  <a:gd name="connsiteX123" fmla="*/ 530542 w 781050"/>
                  <a:gd name="connsiteY123" fmla="*/ 29845 h 79375"/>
                  <a:gd name="connsiteX124" fmla="*/ 530860 w 781050"/>
                  <a:gd name="connsiteY124" fmla="*/ 25083 h 79375"/>
                  <a:gd name="connsiteX125" fmla="*/ 531177 w 781050"/>
                  <a:gd name="connsiteY125" fmla="*/ 18733 h 79375"/>
                  <a:gd name="connsiteX126" fmla="*/ 531177 w 781050"/>
                  <a:gd name="connsiteY126" fmla="*/ 635 h 79375"/>
                  <a:gd name="connsiteX127" fmla="*/ 516255 w 781050"/>
                  <a:gd name="connsiteY127" fmla="*/ 635 h 79375"/>
                  <a:gd name="connsiteX128" fmla="*/ 485775 w 781050"/>
                  <a:gd name="connsiteY128" fmla="*/ 56515 h 79375"/>
                  <a:gd name="connsiteX129" fmla="*/ 482282 w 781050"/>
                  <a:gd name="connsiteY129" fmla="*/ 64770 h 79375"/>
                  <a:gd name="connsiteX130" fmla="*/ 474027 w 781050"/>
                  <a:gd name="connsiteY130" fmla="*/ 67628 h 79375"/>
                  <a:gd name="connsiteX131" fmla="*/ 468630 w 781050"/>
                  <a:gd name="connsiteY131" fmla="*/ 66040 h 79375"/>
                  <a:gd name="connsiteX132" fmla="*/ 466725 w 781050"/>
                  <a:gd name="connsiteY132" fmla="*/ 60960 h 79375"/>
                  <a:gd name="connsiteX133" fmla="*/ 469582 w 781050"/>
                  <a:gd name="connsiteY133" fmla="*/ 54610 h 79375"/>
                  <a:gd name="connsiteX134" fmla="*/ 479742 w 781050"/>
                  <a:gd name="connsiteY134" fmla="*/ 52070 h 79375"/>
                  <a:gd name="connsiteX135" fmla="*/ 485775 w 781050"/>
                  <a:gd name="connsiteY135" fmla="*/ 51753 h 79375"/>
                  <a:gd name="connsiteX136" fmla="*/ 485775 w 781050"/>
                  <a:gd name="connsiteY136" fmla="*/ 56515 h 79375"/>
                  <a:gd name="connsiteX137" fmla="*/ 466407 w 781050"/>
                  <a:gd name="connsiteY137" fmla="*/ 22543 h 79375"/>
                  <a:gd name="connsiteX138" fmla="*/ 456565 w 781050"/>
                  <a:gd name="connsiteY138" fmla="*/ 26035 h 79375"/>
                  <a:gd name="connsiteX139" fmla="*/ 461645 w 781050"/>
                  <a:gd name="connsiteY139" fmla="*/ 36195 h 79375"/>
                  <a:gd name="connsiteX140" fmla="*/ 469265 w 781050"/>
                  <a:gd name="connsiteY140" fmla="*/ 33338 h 79375"/>
                  <a:gd name="connsiteX141" fmla="*/ 477202 w 781050"/>
                  <a:gd name="connsiteY141" fmla="*/ 32068 h 79375"/>
                  <a:gd name="connsiteX142" fmla="*/ 483552 w 781050"/>
                  <a:gd name="connsiteY142" fmla="*/ 33973 h 79375"/>
                  <a:gd name="connsiteX143" fmla="*/ 485775 w 781050"/>
                  <a:gd name="connsiteY143" fmla="*/ 40323 h 79375"/>
                  <a:gd name="connsiteX144" fmla="*/ 485775 w 781050"/>
                  <a:gd name="connsiteY144" fmla="*/ 42863 h 79375"/>
                  <a:gd name="connsiteX145" fmla="*/ 476250 w 781050"/>
                  <a:gd name="connsiteY145" fmla="*/ 43180 h 79375"/>
                  <a:gd name="connsiteX146" fmla="*/ 457517 w 781050"/>
                  <a:gd name="connsiteY146" fmla="*/ 47943 h 79375"/>
                  <a:gd name="connsiteX147" fmla="*/ 451167 w 781050"/>
                  <a:gd name="connsiteY147" fmla="*/ 60960 h 79375"/>
                  <a:gd name="connsiteX148" fmla="*/ 455930 w 781050"/>
                  <a:gd name="connsiteY148" fmla="*/ 74295 h 79375"/>
                  <a:gd name="connsiteX149" fmla="*/ 468313 w 781050"/>
                  <a:gd name="connsiteY149" fmla="*/ 78423 h 79375"/>
                  <a:gd name="connsiteX150" fmla="*/ 479107 w 781050"/>
                  <a:gd name="connsiteY150" fmla="*/ 76518 h 79375"/>
                  <a:gd name="connsiteX151" fmla="*/ 486727 w 781050"/>
                  <a:gd name="connsiteY151" fmla="*/ 70168 h 79375"/>
                  <a:gd name="connsiteX152" fmla="*/ 487045 w 781050"/>
                  <a:gd name="connsiteY152" fmla="*/ 70168 h 79375"/>
                  <a:gd name="connsiteX153" fmla="*/ 489902 w 781050"/>
                  <a:gd name="connsiteY153" fmla="*/ 77788 h 79375"/>
                  <a:gd name="connsiteX154" fmla="*/ 500380 w 781050"/>
                  <a:gd name="connsiteY154" fmla="*/ 77788 h 79375"/>
                  <a:gd name="connsiteX155" fmla="*/ 500380 w 781050"/>
                  <a:gd name="connsiteY155" fmla="*/ 40958 h 79375"/>
                  <a:gd name="connsiteX156" fmla="*/ 494347 w 781050"/>
                  <a:gd name="connsiteY156" fmla="*/ 26035 h 79375"/>
                  <a:gd name="connsiteX157" fmla="*/ 477202 w 781050"/>
                  <a:gd name="connsiteY157" fmla="*/ 21273 h 79375"/>
                  <a:gd name="connsiteX158" fmla="*/ 466407 w 781050"/>
                  <a:gd name="connsiteY158" fmla="*/ 22543 h 79375"/>
                  <a:gd name="connsiteX159" fmla="*/ 423863 w 781050"/>
                  <a:gd name="connsiteY159" fmla="*/ 77788 h 79375"/>
                  <a:gd name="connsiteX160" fmla="*/ 439102 w 781050"/>
                  <a:gd name="connsiteY160" fmla="*/ 77788 h 79375"/>
                  <a:gd name="connsiteX161" fmla="*/ 439102 w 781050"/>
                  <a:gd name="connsiteY161" fmla="*/ 22225 h 79375"/>
                  <a:gd name="connsiteX162" fmla="*/ 423863 w 781050"/>
                  <a:gd name="connsiteY162" fmla="*/ 22225 h 79375"/>
                  <a:gd name="connsiteX163" fmla="*/ 423863 w 781050"/>
                  <a:gd name="connsiteY163" fmla="*/ 77788 h 79375"/>
                  <a:gd name="connsiteX164" fmla="*/ 425767 w 781050"/>
                  <a:gd name="connsiteY164" fmla="*/ 2223 h 79375"/>
                  <a:gd name="connsiteX165" fmla="*/ 423227 w 781050"/>
                  <a:gd name="connsiteY165" fmla="*/ 7938 h 79375"/>
                  <a:gd name="connsiteX166" fmla="*/ 425767 w 781050"/>
                  <a:gd name="connsiteY166" fmla="*/ 13653 h 79375"/>
                  <a:gd name="connsiteX167" fmla="*/ 431482 w 781050"/>
                  <a:gd name="connsiteY167" fmla="*/ 15240 h 79375"/>
                  <a:gd name="connsiteX168" fmla="*/ 437197 w 781050"/>
                  <a:gd name="connsiteY168" fmla="*/ 13653 h 79375"/>
                  <a:gd name="connsiteX169" fmla="*/ 439738 w 781050"/>
                  <a:gd name="connsiteY169" fmla="*/ 7938 h 79375"/>
                  <a:gd name="connsiteX170" fmla="*/ 437197 w 781050"/>
                  <a:gd name="connsiteY170" fmla="*/ 2223 h 79375"/>
                  <a:gd name="connsiteX171" fmla="*/ 431482 w 781050"/>
                  <a:gd name="connsiteY171" fmla="*/ 635 h 79375"/>
                  <a:gd name="connsiteX172" fmla="*/ 425767 w 781050"/>
                  <a:gd name="connsiteY172" fmla="*/ 2223 h 79375"/>
                  <a:gd name="connsiteX173" fmla="*/ 374650 w 781050"/>
                  <a:gd name="connsiteY173" fmla="*/ 62548 h 79375"/>
                  <a:gd name="connsiteX174" fmla="*/ 371792 w 781050"/>
                  <a:gd name="connsiteY174" fmla="*/ 50165 h 79375"/>
                  <a:gd name="connsiteX175" fmla="*/ 374650 w 781050"/>
                  <a:gd name="connsiteY175" fmla="*/ 37783 h 79375"/>
                  <a:gd name="connsiteX176" fmla="*/ 382588 w 781050"/>
                  <a:gd name="connsiteY176" fmla="*/ 33338 h 79375"/>
                  <a:gd name="connsiteX177" fmla="*/ 391795 w 781050"/>
                  <a:gd name="connsiteY177" fmla="*/ 37783 h 79375"/>
                  <a:gd name="connsiteX178" fmla="*/ 394335 w 781050"/>
                  <a:gd name="connsiteY178" fmla="*/ 50165 h 79375"/>
                  <a:gd name="connsiteX179" fmla="*/ 394335 w 781050"/>
                  <a:gd name="connsiteY179" fmla="*/ 51753 h 79375"/>
                  <a:gd name="connsiteX180" fmla="*/ 391477 w 781050"/>
                  <a:gd name="connsiteY180" fmla="*/ 62865 h 79375"/>
                  <a:gd name="connsiteX181" fmla="*/ 382588 w 781050"/>
                  <a:gd name="connsiteY181" fmla="*/ 66675 h 79375"/>
                  <a:gd name="connsiteX182" fmla="*/ 374650 w 781050"/>
                  <a:gd name="connsiteY182" fmla="*/ 62548 h 79375"/>
                  <a:gd name="connsiteX183" fmla="*/ 387032 w 781050"/>
                  <a:gd name="connsiteY183" fmla="*/ 76518 h 79375"/>
                  <a:gd name="connsiteX184" fmla="*/ 393065 w 781050"/>
                  <a:gd name="connsiteY184" fmla="*/ 70803 h 79375"/>
                  <a:gd name="connsiteX185" fmla="*/ 393700 w 781050"/>
                  <a:gd name="connsiteY185" fmla="*/ 70803 h 79375"/>
                  <a:gd name="connsiteX186" fmla="*/ 396557 w 781050"/>
                  <a:gd name="connsiteY186" fmla="*/ 78105 h 79375"/>
                  <a:gd name="connsiteX187" fmla="*/ 407988 w 781050"/>
                  <a:gd name="connsiteY187" fmla="*/ 78105 h 79375"/>
                  <a:gd name="connsiteX188" fmla="*/ 407988 w 781050"/>
                  <a:gd name="connsiteY188" fmla="*/ 953 h 79375"/>
                  <a:gd name="connsiteX189" fmla="*/ 392747 w 781050"/>
                  <a:gd name="connsiteY189" fmla="*/ 953 h 79375"/>
                  <a:gd name="connsiteX190" fmla="*/ 392747 w 781050"/>
                  <a:gd name="connsiteY190" fmla="*/ 18733 h 79375"/>
                  <a:gd name="connsiteX191" fmla="*/ 393065 w 781050"/>
                  <a:gd name="connsiteY191" fmla="*/ 25083 h 79375"/>
                  <a:gd name="connsiteX192" fmla="*/ 393700 w 781050"/>
                  <a:gd name="connsiteY192" fmla="*/ 29845 h 79375"/>
                  <a:gd name="connsiteX193" fmla="*/ 393065 w 781050"/>
                  <a:gd name="connsiteY193" fmla="*/ 29845 h 79375"/>
                  <a:gd name="connsiteX194" fmla="*/ 387032 w 781050"/>
                  <a:gd name="connsiteY194" fmla="*/ 24130 h 79375"/>
                  <a:gd name="connsiteX195" fmla="*/ 377190 w 781050"/>
                  <a:gd name="connsiteY195" fmla="*/ 21908 h 79375"/>
                  <a:gd name="connsiteX196" fmla="*/ 361632 w 781050"/>
                  <a:gd name="connsiteY196" fmla="*/ 29210 h 79375"/>
                  <a:gd name="connsiteX197" fmla="*/ 355600 w 781050"/>
                  <a:gd name="connsiteY197" fmla="*/ 50800 h 79375"/>
                  <a:gd name="connsiteX198" fmla="*/ 361315 w 781050"/>
                  <a:gd name="connsiteY198" fmla="*/ 72073 h 79375"/>
                  <a:gd name="connsiteX199" fmla="*/ 376555 w 781050"/>
                  <a:gd name="connsiteY199" fmla="*/ 79375 h 79375"/>
                  <a:gd name="connsiteX200" fmla="*/ 387032 w 781050"/>
                  <a:gd name="connsiteY200" fmla="*/ 76518 h 79375"/>
                  <a:gd name="connsiteX201" fmla="*/ 307657 w 781050"/>
                  <a:gd name="connsiteY201" fmla="*/ 65088 h 79375"/>
                  <a:gd name="connsiteX202" fmla="*/ 305752 w 781050"/>
                  <a:gd name="connsiteY202" fmla="*/ 60325 h 79375"/>
                  <a:gd name="connsiteX203" fmla="*/ 305752 w 781050"/>
                  <a:gd name="connsiteY203" fmla="*/ 33655 h 79375"/>
                  <a:gd name="connsiteX204" fmla="*/ 321310 w 781050"/>
                  <a:gd name="connsiteY204" fmla="*/ 33655 h 79375"/>
                  <a:gd name="connsiteX205" fmla="*/ 321310 w 781050"/>
                  <a:gd name="connsiteY205" fmla="*/ 22225 h 79375"/>
                  <a:gd name="connsiteX206" fmla="*/ 305752 w 781050"/>
                  <a:gd name="connsiteY206" fmla="*/ 22225 h 79375"/>
                  <a:gd name="connsiteX207" fmla="*/ 305752 w 781050"/>
                  <a:gd name="connsiteY207" fmla="*/ 10478 h 79375"/>
                  <a:gd name="connsiteX208" fmla="*/ 296227 w 781050"/>
                  <a:gd name="connsiteY208" fmla="*/ 10478 h 79375"/>
                  <a:gd name="connsiteX209" fmla="*/ 291782 w 781050"/>
                  <a:gd name="connsiteY209" fmla="*/ 22225 h 79375"/>
                  <a:gd name="connsiteX210" fmla="*/ 283527 w 781050"/>
                  <a:gd name="connsiteY210" fmla="*/ 27305 h 79375"/>
                  <a:gd name="connsiteX211" fmla="*/ 283527 w 781050"/>
                  <a:gd name="connsiteY211" fmla="*/ 33655 h 79375"/>
                  <a:gd name="connsiteX212" fmla="*/ 290830 w 781050"/>
                  <a:gd name="connsiteY212" fmla="*/ 33655 h 79375"/>
                  <a:gd name="connsiteX213" fmla="*/ 290830 w 781050"/>
                  <a:gd name="connsiteY213" fmla="*/ 60325 h 79375"/>
                  <a:gd name="connsiteX214" fmla="*/ 293052 w 781050"/>
                  <a:gd name="connsiteY214" fmla="*/ 71438 h 79375"/>
                  <a:gd name="connsiteX215" fmla="*/ 299402 w 781050"/>
                  <a:gd name="connsiteY215" fmla="*/ 77153 h 79375"/>
                  <a:gd name="connsiteX216" fmla="*/ 308292 w 781050"/>
                  <a:gd name="connsiteY216" fmla="*/ 78740 h 79375"/>
                  <a:gd name="connsiteX217" fmla="*/ 316230 w 781050"/>
                  <a:gd name="connsiteY217" fmla="*/ 78105 h 79375"/>
                  <a:gd name="connsiteX218" fmla="*/ 322263 w 781050"/>
                  <a:gd name="connsiteY218" fmla="*/ 76200 h 79375"/>
                  <a:gd name="connsiteX219" fmla="*/ 322263 w 781050"/>
                  <a:gd name="connsiteY219" fmla="*/ 64770 h 79375"/>
                  <a:gd name="connsiteX220" fmla="*/ 317500 w 781050"/>
                  <a:gd name="connsiteY220" fmla="*/ 66040 h 79375"/>
                  <a:gd name="connsiteX221" fmla="*/ 312738 w 781050"/>
                  <a:gd name="connsiteY221" fmla="*/ 66358 h 79375"/>
                  <a:gd name="connsiteX222" fmla="*/ 307657 w 781050"/>
                  <a:gd name="connsiteY222" fmla="*/ 65088 h 79375"/>
                  <a:gd name="connsiteX223" fmla="*/ 258445 w 781050"/>
                  <a:gd name="connsiteY223" fmla="*/ 56515 h 79375"/>
                  <a:gd name="connsiteX224" fmla="*/ 254952 w 781050"/>
                  <a:gd name="connsiteY224" fmla="*/ 64770 h 79375"/>
                  <a:gd name="connsiteX225" fmla="*/ 246697 w 781050"/>
                  <a:gd name="connsiteY225" fmla="*/ 67628 h 79375"/>
                  <a:gd name="connsiteX226" fmla="*/ 241300 w 781050"/>
                  <a:gd name="connsiteY226" fmla="*/ 66040 h 79375"/>
                  <a:gd name="connsiteX227" fmla="*/ 239395 w 781050"/>
                  <a:gd name="connsiteY227" fmla="*/ 60960 h 79375"/>
                  <a:gd name="connsiteX228" fmla="*/ 242252 w 781050"/>
                  <a:gd name="connsiteY228" fmla="*/ 54610 h 79375"/>
                  <a:gd name="connsiteX229" fmla="*/ 252413 w 781050"/>
                  <a:gd name="connsiteY229" fmla="*/ 52070 h 79375"/>
                  <a:gd name="connsiteX230" fmla="*/ 258445 w 781050"/>
                  <a:gd name="connsiteY230" fmla="*/ 51753 h 79375"/>
                  <a:gd name="connsiteX231" fmla="*/ 258445 w 781050"/>
                  <a:gd name="connsiteY231" fmla="*/ 56515 h 79375"/>
                  <a:gd name="connsiteX232" fmla="*/ 239077 w 781050"/>
                  <a:gd name="connsiteY232" fmla="*/ 22543 h 79375"/>
                  <a:gd name="connsiteX233" fmla="*/ 229235 w 781050"/>
                  <a:gd name="connsiteY233" fmla="*/ 26035 h 79375"/>
                  <a:gd name="connsiteX234" fmla="*/ 234315 w 781050"/>
                  <a:gd name="connsiteY234" fmla="*/ 36195 h 79375"/>
                  <a:gd name="connsiteX235" fmla="*/ 241935 w 781050"/>
                  <a:gd name="connsiteY235" fmla="*/ 33338 h 79375"/>
                  <a:gd name="connsiteX236" fmla="*/ 249872 w 781050"/>
                  <a:gd name="connsiteY236" fmla="*/ 32068 h 79375"/>
                  <a:gd name="connsiteX237" fmla="*/ 256222 w 781050"/>
                  <a:gd name="connsiteY237" fmla="*/ 33973 h 79375"/>
                  <a:gd name="connsiteX238" fmla="*/ 258445 w 781050"/>
                  <a:gd name="connsiteY238" fmla="*/ 40323 h 79375"/>
                  <a:gd name="connsiteX239" fmla="*/ 258445 w 781050"/>
                  <a:gd name="connsiteY239" fmla="*/ 42863 h 79375"/>
                  <a:gd name="connsiteX240" fmla="*/ 248920 w 781050"/>
                  <a:gd name="connsiteY240" fmla="*/ 43180 h 79375"/>
                  <a:gd name="connsiteX241" fmla="*/ 230188 w 781050"/>
                  <a:gd name="connsiteY241" fmla="*/ 47943 h 79375"/>
                  <a:gd name="connsiteX242" fmla="*/ 223838 w 781050"/>
                  <a:gd name="connsiteY242" fmla="*/ 60960 h 79375"/>
                  <a:gd name="connsiteX243" fmla="*/ 228600 w 781050"/>
                  <a:gd name="connsiteY243" fmla="*/ 74295 h 79375"/>
                  <a:gd name="connsiteX244" fmla="*/ 240982 w 781050"/>
                  <a:gd name="connsiteY244" fmla="*/ 78423 h 79375"/>
                  <a:gd name="connsiteX245" fmla="*/ 251777 w 781050"/>
                  <a:gd name="connsiteY245" fmla="*/ 76518 h 79375"/>
                  <a:gd name="connsiteX246" fmla="*/ 259397 w 781050"/>
                  <a:gd name="connsiteY246" fmla="*/ 70168 h 79375"/>
                  <a:gd name="connsiteX247" fmla="*/ 259715 w 781050"/>
                  <a:gd name="connsiteY247" fmla="*/ 70168 h 79375"/>
                  <a:gd name="connsiteX248" fmla="*/ 262572 w 781050"/>
                  <a:gd name="connsiteY248" fmla="*/ 77788 h 79375"/>
                  <a:gd name="connsiteX249" fmla="*/ 273050 w 781050"/>
                  <a:gd name="connsiteY249" fmla="*/ 77788 h 79375"/>
                  <a:gd name="connsiteX250" fmla="*/ 273050 w 781050"/>
                  <a:gd name="connsiteY250" fmla="*/ 40958 h 79375"/>
                  <a:gd name="connsiteX251" fmla="*/ 267017 w 781050"/>
                  <a:gd name="connsiteY251" fmla="*/ 26035 h 79375"/>
                  <a:gd name="connsiteX252" fmla="*/ 249872 w 781050"/>
                  <a:gd name="connsiteY252" fmla="*/ 21273 h 79375"/>
                  <a:gd name="connsiteX253" fmla="*/ 239077 w 781050"/>
                  <a:gd name="connsiteY253" fmla="*/ 22543 h 79375"/>
                  <a:gd name="connsiteX254" fmla="*/ 198438 w 781050"/>
                  <a:gd name="connsiteY254" fmla="*/ 35560 h 79375"/>
                  <a:gd name="connsiteX255" fmla="*/ 200977 w 781050"/>
                  <a:gd name="connsiteY255" fmla="*/ 43815 h 79375"/>
                  <a:gd name="connsiteX256" fmla="*/ 179705 w 781050"/>
                  <a:gd name="connsiteY256" fmla="*/ 43815 h 79375"/>
                  <a:gd name="connsiteX257" fmla="*/ 183197 w 781050"/>
                  <a:gd name="connsiteY257" fmla="*/ 34925 h 79375"/>
                  <a:gd name="connsiteX258" fmla="*/ 190500 w 781050"/>
                  <a:gd name="connsiteY258" fmla="*/ 32068 h 79375"/>
                  <a:gd name="connsiteX259" fmla="*/ 198438 w 781050"/>
                  <a:gd name="connsiteY259" fmla="*/ 35560 h 79375"/>
                  <a:gd name="connsiteX260" fmla="*/ 176847 w 781050"/>
                  <a:gd name="connsiteY260" fmla="*/ 24448 h 79375"/>
                  <a:gd name="connsiteX261" fmla="*/ 167640 w 781050"/>
                  <a:gd name="connsiteY261" fmla="*/ 34290 h 79375"/>
                  <a:gd name="connsiteX262" fmla="*/ 164465 w 781050"/>
                  <a:gd name="connsiteY262" fmla="*/ 50483 h 79375"/>
                  <a:gd name="connsiteX263" fmla="*/ 168275 w 781050"/>
                  <a:gd name="connsiteY263" fmla="*/ 66358 h 79375"/>
                  <a:gd name="connsiteX264" fmla="*/ 178435 w 781050"/>
                  <a:gd name="connsiteY264" fmla="*/ 75565 h 79375"/>
                  <a:gd name="connsiteX265" fmla="*/ 193040 w 781050"/>
                  <a:gd name="connsiteY265" fmla="*/ 78740 h 79375"/>
                  <a:gd name="connsiteX266" fmla="*/ 203835 w 781050"/>
                  <a:gd name="connsiteY266" fmla="*/ 77788 h 79375"/>
                  <a:gd name="connsiteX267" fmla="*/ 212407 w 781050"/>
                  <a:gd name="connsiteY267" fmla="*/ 74930 h 79375"/>
                  <a:gd name="connsiteX268" fmla="*/ 212407 w 781050"/>
                  <a:gd name="connsiteY268" fmla="*/ 63183 h 79375"/>
                  <a:gd name="connsiteX269" fmla="*/ 203200 w 781050"/>
                  <a:gd name="connsiteY269" fmla="*/ 66358 h 79375"/>
                  <a:gd name="connsiteX270" fmla="*/ 193357 w 781050"/>
                  <a:gd name="connsiteY270" fmla="*/ 67310 h 79375"/>
                  <a:gd name="connsiteX271" fmla="*/ 183197 w 781050"/>
                  <a:gd name="connsiteY271" fmla="*/ 63500 h 79375"/>
                  <a:gd name="connsiteX272" fmla="*/ 179388 w 781050"/>
                  <a:gd name="connsiteY272" fmla="*/ 53340 h 79375"/>
                  <a:gd name="connsiteX273" fmla="*/ 215265 w 781050"/>
                  <a:gd name="connsiteY273" fmla="*/ 53340 h 79375"/>
                  <a:gd name="connsiteX274" fmla="*/ 215265 w 781050"/>
                  <a:gd name="connsiteY274" fmla="*/ 46038 h 79375"/>
                  <a:gd name="connsiteX275" fmla="*/ 208597 w 781050"/>
                  <a:gd name="connsiteY275" fmla="*/ 27305 h 79375"/>
                  <a:gd name="connsiteX276" fmla="*/ 190500 w 781050"/>
                  <a:gd name="connsiteY276" fmla="*/ 20638 h 79375"/>
                  <a:gd name="connsiteX277" fmla="*/ 176847 w 781050"/>
                  <a:gd name="connsiteY277" fmla="*/ 24448 h 79375"/>
                  <a:gd name="connsiteX278" fmla="*/ 159067 w 781050"/>
                  <a:gd name="connsiteY278" fmla="*/ 22225 h 79375"/>
                  <a:gd name="connsiteX279" fmla="*/ 146050 w 781050"/>
                  <a:gd name="connsiteY279" fmla="*/ 22225 h 79375"/>
                  <a:gd name="connsiteX280" fmla="*/ 146050 w 781050"/>
                  <a:gd name="connsiteY280" fmla="*/ 18733 h 79375"/>
                  <a:gd name="connsiteX281" fmla="*/ 147638 w 781050"/>
                  <a:gd name="connsiteY281" fmla="*/ 13970 h 79375"/>
                  <a:gd name="connsiteX282" fmla="*/ 152400 w 781050"/>
                  <a:gd name="connsiteY282" fmla="*/ 12065 h 79375"/>
                  <a:gd name="connsiteX283" fmla="*/ 157163 w 781050"/>
                  <a:gd name="connsiteY283" fmla="*/ 12383 h 79375"/>
                  <a:gd name="connsiteX284" fmla="*/ 160972 w 781050"/>
                  <a:gd name="connsiteY284" fmla="*/ 13335 h 79375"/>
                  <a:gd name="connsiteX285" fmla="*/ 164782 w 781050"/>
                  <a:gd name="connsiteY285" fmla="*/ 2223 h 79375"/>
                  <a:gd name="connsiteX286" fmla="*/ 158750 w 781050"/>
                  <a:gd name="connsiteY286" fmla="*/ 635 h 79375"/>
                  <a:gd name="connsiteX287" fmla="*/ 150813 w 781050"/>
                  <a:gd name="connsiteY287" fmla="*/ 0 h 79375"/>
                  <a:gd name="connsiteX288" fmla="*/ 140335 w 781050"/>
                  <a:gd name="connsiteY288" fmla="*/ 1588 h 79375"/>
                  <a:gd name="connsiteX289" fmla="*/ 133667 w 781050"/>
                  <a:gd name="connsiteY289" fmla="*/ 6985 h 79375"/>
                  <a:gd name="connsiteX290" fmla="*/ 131127 w 781050"/>
                  <a:gd name="connsiteY290" fmla="*/ 18098 h 79375"/>
                  <a:gd name="connsiteX291" fmla="*/ 131127 w 781050"/>
                  <a:gd name="connsiteY291" fmla="*/ 22225 h 79375"/>
                  <a:gd name="connsiteX292" fmla="*/ 122872 w 781050"/>
                  <a:gd name="connsiteY292" fmla="*/ 26353 h 79375"/>
                  <a:gd name="connsiteX293" fmla="*/ 122872 w 781050"/>
                  <a:gd name="connsiteY293" fmla="*/ 33655 h 79375"/>
                  <a:gd name="connsiteX294" fmla="*/ 131127 w 781050"/>
                  <a:gd name="connsiteY294" fmla="*/ 33655 h 79375"/>
                  <a:gd name="connsiteX295" fmla="*/ 131127 w 781050"/>
                  <a:gd name="connsiteY295" fmla="*/ 77788 h 79375"/>
                  <a:gd name="connsiteX296" fmla="*/ 146367 w 781050"/>
                  <a:gd name="connsiteY296" fmla="*/ 77788 h 79375"/>
                  <a:gd name="connsiteX297" fmla="*/ 146367 w 781050"/>
                  <a:gd name="connsiteY297" fmla="*/ 33655 h 79375"/>
                  <a:gd name="connsiteX298" fmla="*/ 159385 w 781050"/>
                  <a:gd name="connsiteY298" fmla="*/ 33655 h 79375"/>
                  <a:gd name="connsiteX299" fmla="*/ 159385 w 781050"/>
                  <a:gd name="connsiteY299" fmla="*/ 22225 h 79375"/>
                  <a:gd name="connsiteX300" fmla="*/ 99060 w 781050"/>
                  <a:gd name="connsiteY300" fmla="*/ 35560 h 79375"/>
                  <a:gd name="connsiteX301" fmla="*/ 101600 w 781050"/>
                  <a:gd name="connsiteY301" fmla="*/ 43815 h 79375"/>
                  <a:gd name="connsiteX302" fmla="*/ 80327 w 781050"/>
                  <a:gd name="connsiteY302" fmla="*/ 43815 h 79375"/>
                  <a:gd name="connsiteX303" fmla="*/ 83820 w 781050"/>
                  <a:gd name="connsiteY303" fmla="*/ 34925 h 79375"/>
                  <a:gd name="connsiteX304" fmla="*/ 91122 w 781050"/>
                  <a:gd name="connsiteY304" fmla="*/ 32068 h 79375"/>
                  <a:gd name="connsiteX305" fmla="*/ 99060 w 781050"/>
                  <a:gd name="connsiteY305" fmla="*/ 35560 h 79375"/>
                  <a:gd name="connsiteX306" fmla="*/ 77470 w 781050"/>
                  <a:gd name="connsiteY306" fmla="*/ 24448 h 79375"/>
                  <a:gd name="connsiteX307" fmla="*/ 68263 w 781050"/>
                  <a:gd name="connsiteY307" fmla="*/ 34290 h 79375"/>
                  <a:gd name="connsiteX308" fmla="*/ 65088 w 781050"/>
                  <a:gd name="connsiteY308" fmla="*/ 50483 h 79375"/>
                  <a:gd name="connsiteX309" fmla="*/ 68897 w 781050"/>
                  <a:gd name="connsiteY309" fmla="*/ 66358 h 79375"/>
                  <a:gd name="connsiteX310" fmla="*/ 79057 w 781050"/>
                  <a:gd name="connsiteY310" fmla="*/ 75565 h 79375"/>
                  <a:gd name="connsiteX311" fmla="*/ 93663 w 781050"/>
                  <a:gd name="connsiteY311" fmla="*/ 78740 h 79375"/>
                  <a:gd name="connsiteX312" fmla="*/ 104457 w 781050"/>
                  <a:gd name="connsiteY312" fmla="*/ 77788 h 79375"/>
                  <a:gd name="connsiteX313" fmla="*/ 113030 w 781050"/>
                  <a:gd name="connsiteY313" fmla="*/ 74930 h 79375"/>
                  <a:gd name="connsiteX314" fmla="*/ 113030 w 781050"/>
                  <a:gd name="connsiteY314" fmla="*/ 63183 h 79375"/>
                  <a:gd name="connsiteX315" fmla="*/ 103822 w 781050"/>
                  <a:gd name="connsiteY315" fmla="*/ 66358 h 79375"/>
                  <a:gd name="connsiteX316" fmla="*/ 93980 w 781050"/>
                  <a:gd name="connsiteY316" fmla="*/ 67310 h 79375"/>
                  <a:gd name="connsiteX317" fmla="*/ 83820 w 781050"/>
                  <a:gd name="connsiteY317" fmla="*/ 63500 h 79375"/>
                  <a:gd name="connsiteX318" fmla="*/ 80010 w 781050"/>
                  <a:gd name="connsiteY318" fmla="*/ 53340 h 79375"/>
                  <a:gd name="connsiteX319" fmla="*/ 115888 w 781050"/>
                  <a:gd name="connsiteY319" fmla="*/ 53340 h 79375"/>
                  <a:gd name="connsiteX320" fmla="*/ 115888 w 781050"/>
                  <a:gd name="connsiteY320" fmla="*/ 46038 h 79375"/>
                  <a:gd name="connsiteX321" fmla="*/ 109220 w 781050"/>
                  <a:gd name="connsiteY321" fmla="*/ 27305 h 79375"/>
                  <a:gd name="connsiteX322" fmla="*/ 91122 w 781050"/>
                  <a:gd name="connsiteY322" fmla="*/ 20638 h 79375"/>
                  <a:gd name="connsiteX323" fmla="*/ 77470 w 781050"/>
                  <a:gd name="connsiteY323" fmla="*/ 24448 h 79375"/>
                  <a:gd name="connsiteX324" fmla="*/ 19050 w 781050"/>
                  <a:gd name="connsiteY324" fmla="*/ 62548 h 79375"/>
                  <a:gd name="connsiteX325" fmla="*/ 16192 w 781050"/>
                  <a:gd name="connsiteY325" fmla="*/ 50165 h 79375"/>
                  <a:gd name="connsiteX326" fmla="*/ 19050 w 781050"/>
                  <a:gd name="connsiteY326" fmla="*/ 37783 h 79375"/>
                  <a:gd name="connsiteX327" fmla="*/ 26988 w 781050"/>
                  <a:gd name="connsiteY327" fmla="*/ 33338 h 79375"/>
                  <a:gd name="connsiteX328" fmla="*/ 36195 w 781050"/>
                  <a:gd name="connsiteY328" fmla="*/ 37783 h 79375"/>
                  <a:gd name="connsiteX329" fmla="*/ 38735 w 781050"/>
                  <a:gd name="connsiteY329" fmla="*/ 50165 h 79375"/>
                  <a:gd name="connsiteX330" fmla="*/ 38735 w 781050"/>
                  <a:gd name="connsiteY330" fmla="*/ 51753 h 79375"/>
                  <a:gd name="connsiteX331" fmla="*/ 35877 w 781050"/>
                  <a:gd name="connsiteY331" fmla="*/ 62865 h 79375"/>
                  <a:gd name="connsiteX332" fmla="*/ 26988 w 781050"/>
                  <a:gd name="connsiteY332" fmla="*/ 66675 h 79375"/>
                  <a:gd name="connsiteX333" fmla="*/ 19050 w 781050"/>
                  <a:gd name="connsiteY333" fmla="*/ 62548 h 79375"/>
                  <a:gd name="connsiteX334" fmla="*/ 31432 w 781050"/>
                  <a:gd name="connsiteY334" fmla="*/ 76518 h 79375"/>
                  <a:gd name="connsiteX335" fmla="*/ 37465 w 781050"/>
                  <a:gd name="connsiteY335" fmla="*/ 70803 h 79375"/>
                  <a:gd name="connsiteX336" fmla="*/ 38100 w 781050"/>
                  <a:gd name="connsiteY336" fmla="*/ 70803 h 79375"/>
                  <a:gd name="connsiteX337" fmla="*/ 40957 w 781050"/>
                  <a:gd name="connsiteY337" fmla="*/ 78105 h 79375"/>
                  <a:gd name="connsiteX338" fmla="*/ 52388 w 781050"/>
                  <a:gd name="connsiteY338" fmla="*/ 78105 h 79375"/>
                  <a:gd name="connsiteX339" fmla="*/ 52388 w 781050"/>
                  <a:gd name="connsiteY339" fmla="*/ 953 h 79375"/>
                  <a:gd name="connsiteX340" fmla="*/ 37147 w 781050"/>
                  <a:gd name="connsiteY340" fmla="*/ 953 h 79375"/>
                  <a:gd name="connsiteX341" fmla="*/ 37147 w 781050"/>
                  <a:gd name="connsiteY341" fmla="*/ 18733 h 79375"/>
                  <a:gd name="connsiteX342" fmla="*/ 37465 w 781050"/>
                  <a:gd name="connsiteY342" fmla="*/ 25083 h 79375"/>
                  <a:gd name="connsiteX343" fmla="*/ 38100 w 781050"/>
                  <a:gd name="connsiteY343" fmla="*/ 29845 h 79375"/>
                  <a:gd name="connsiteX344" fmla="*/ 37465 w 781050"/>
                  <a:gd name="connsiteY344" fmla="*/ 29845 h 79375"/>
                  <a:gd name="connsiteX345" fmla="*/ 31432 w 781050"/>
                  <a:gd name="connsiteY345" fmla="*/ 24130 h 79375"/>
                  <a:gd name="connsiteX346" fmla="*/ 21590 w 781050"/>
                  <a:gd name="connsiteY346" fmla="*/ 21908 h 79375"/>
                  <a:gd name="connsiteX347" fmla="*/ 6032 w 781050"/>
                  <a:gd name="connsiteY347" fmla="*/ 29210 h 79375"/>
                  <a:gd name="connsiteX348" fmla="*/ 0 w 781050"/>
                  <a:gd name="connsiteY348" fmla="*/ 50800 h 79375"/>
                  <a:gd name="connsiteX349" fmla="*/ 5715 w 781050"/>
                  <a:gd name="connsiteY349" fmla="*/ 72073 h 79375"/>
                  <a:gd name="connsiteX350" fmla="*/ 20955 w 781050"/>
                  <a:gd name="connsiteY350" fmla="*/ 79375 h 79375"/>
                  <a:gd name="connsiteX351" fmla="*/ 31432 w 781050"/>
                  <a:gd name="connsiteY351" fmla="*/ 76518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Lst>
                <a:rect l="l" t="t" r="r" b="b"/>
                <a:pathLst>
                  <a:path w="781050" h="79375">
                    <a:moveTo>
                      <a:pt x="781685" y="53340"/>
                    </a:moveTo>
                    <a:cubicBezTo>
                      <a:pt x="780415" y="51118"/>
                      <a:pt x="778510" y="49530"/>
                      <a:pt x="776288" y="48260"/>
                    </a:cubicBezTo>
                    <a:cubicBezTo>
                      <a:pt x="774065" y="46990"/>
                      <a:pt x="771207" y="45403"/>
                      <a:pt x="768032" y="44133"/>
                    </a:cubicBezTo>
                    <a:cubicBezTo>
                      <a:pt x="764857" y="42863"/>
                      <a:pt x="762317" y="41593"/>
                      <a:pt x="760730" y="40958"/>
                    </a:cubicBezTo>
                    <a:cubicBezTo>
                      <a:pt x="759142" y="40005"/>
                      <a:pt x="757872" y="39370"/>
                      <a:pt x="757238" y="38735"/>
                    </a:cubicBezTo>
                    <a:cubicBezTo>
                      <a:pt x="756602" y="38100"/>
                      <a:pt x="756285" y="37148"/>
                      <a:pt x="756285" y="36195"/>
                    </a:cubicBezTo>
                    <a:cubicBezTo>
                      <a:pt x="756285" y="33655"/>
                      <a:pt x="758507" y="32385"/>
                      <a:pt x="762952" y="32385"/>
                    </a:cubicBezTo>
                    <a:cubicBezTo>
                      <a:pt x="765492" y="32385"/>
                      <a:pt x="768032" y="32703"/>
                      <a:pt x="770255" y="33655"/>
                    </a:cubicBezTo>
                    <a:cubicBezTo>
                      <a:pt x="772795" y="34290"/>
                      <a:pt x="775335" y="35243"/>
                      <a:pt x="777875" y="36513"/>
                    </a:cubicBezTo>
                    <a:lnTo>
                      <a:pt x="782320" y="25718"/>
                    </a:lnTo>
                    <a:cubicBezTo>
                      <a:pt x="779145" y="24130"/>
                      <a:pt x="775652" y="23178"/>
                      <a:pt x="772795" y="22225"/>
                    </a:cubicBezTo>
                    <a:cubicBezTo>
                      <a:pt x="769620" y="21590"/>
                      <a:pt x="766445" y="21273"/>
                      <a:pt x="762952" y="21273"/>
                    </a:cubicBezTo>
                    <a:cubicBezTo>
                      <a:pt x="756285" y="21273"/>
                      <a:pt x="750888" y="22543"/>
                      <a:pt x="747077" y="25083"/>
                    </a:cubicBezTo>
                    <a:cubicBezTo>
                      <a:pt x="743267" y="27623"/>
                      <a:pt x="741045" y="31433"/>
                      <a:pt x="741045" y="36513"/>
                    </a:cubicBezTo>
                    <a:cubicBezTo>
                      <a:pt x="741045" y="39688"/>
                      <a:pt x="741680" y="42228"/>
                      <a:pt x="742632" y="44133"/>
                    </a:cubicBezTo>
                    <a:cubicBezTo>
                      <a:pt x="743585" y="46355"/>
                      <a:pt x="745490" y="47943"/>
                      <a:pt x="747713" y="49530"/>
                    </a:cubicBezTo>
                    <a:cubicBezTo>
                      <a:pt x="749935" y="51118"/>
                      <a:pt x="752792" y="52388"/>
                      <a:pt x="756285" y="53975"/>
                    </a:cubicBezTo>
                    <a:cubicBezTo>
                      <a:pt x="759777" y="55563"/>
                      <a:pt x="762635" y="56833"/>
                      <a:pt x="764222" y="57785"/>
                    </a:cubicBezTo>
                    <a:cubicBezTo>
                      <a:pt x="765810" y="58738"/>
                      <a:pt x="767080" y="59690"/>
                      <a:pt x="767397" y="60325"/>
                    </a:cubicBezTo>
                    <a:cubicBezTo>
                      <a:pt x="768032" y="60960"/>
                      <a:pt x="768032" y="61913"/>
                      <a:pt x="768032" y="62865"/>
                    </a:cubicBezTo>
                    <a:cubicBezTo>
                      <a:pt x="768032" y="64135"/>
                      <a:pt x="767397" y="65405"/>
                      <a:pt x="766127" y="66358"/>
                    </a:cubicBezTo>
                    <a:cubicBezTo>
                      <a:pt x="764857" y="67310"/>
                      <a:pt x="762635" y="67628"/>
                      <a:pt x="759777" y="67628"/>
                    </a:cubicBezTo>
                    <a:cubicBezTo>
                      <a:pt x="757238" y="67628"/>
                      <a:pt x="754063" y="67310"/>
                      <a:pt x="750570" y="66358"/>
                    </a:cubicBezTo>
                    <a:cubicBezTo>
                      <a:pt x="747077" y="65405"/>
                      <a:pt x="743902" y="64453"/>
                      <a:pt x="741045" y="62865"/>
                    </a:cubicBezTo>
                    <a:lnTo>
                      <a:pt x="741045" y="75248"/>
                    </a:lnTo>
                    <a:cubicBezTo>
                      <a:pt x="743902" y="76518"/>
                      <a:pt x="746442" y="77153"/>
                      <a:pt x="749300" y="77788"/>
                    </a:cubicBezTo>
                    <a:cubicBezTo>
                      <a:pt x="752157" y="78423"/>
                      <a:pt x="755332" y="78423"/>
                      <a:pt x="759142" y="78423"/>
                    </a:cubicBezTo>
                    <a:cubicBezTo>
                      <a:pt x="767080" y="78423"/>
                      <a:pt x="772795" y="76835"/>
                      <a:pt x="776922" y="73978"/>
                    </a:cubicBezTo>
                    <a:cubicBezTo>
                      <a:pt x="780732" y="71120"/>
                      <a:pt x="782955" y="66675"/>
                      <a:pt x="782955" y="60960"/>
                    </a:cubicBezTo>
                    <a:cubicBezTo>
                      <a:pt x="783590" y="58103"/>
                      <a:pt x="782955" y="55245"/>
                      <a:pt x="781685" y="53340"/>
                    </a:cubicBezTo>
                    <a:moveTo>
                      <a:pt x="715645" y="35560"/>
                    </a:moveTo>
                    <a:cubicBezTo>
                      <a:pt x="717232" y="37783"/>
                      <a:pt x="718185" y="40640"/>
                      <a:pt x="718185" y="43815"/>
                    </a:cubicBezTo>
                    <a:lnTo>
                      <a:pt x="696913" y="43815"/>
                    </a:lnTo>
                    <a:cubicBezTo>
                      <a:pt x="697230" y="39688"/>
                      <a:pt x="698500" y="36830"/>
                      <a:pt x="700405" y="34925"/>
                    </a:cubicBezTo>
                    <a:cubicBezTo>
                      <a:pt x="702310" y="33020"/>
                      <a:pt x="704850" y="32068"/>
                      <a:pt x="707707" y="32068"/>
                    </a:cubicBezTo>
                    <a:cubicBezTo>
                      <a:pt x="711200" y="32068"/>
                      <a:pt x="713740" y="33020"/>
                      <a:pt x="715645" y="35560"/>
                    </a:cubicBezTo>
                    <a:moveTo>
                      <a:pt x="694055" y="24448"/>
                    </a:moveTo>
                    <a:cubicBezTo>
                      <a:pt x="690245" y="26670"/>
                      <a:pt x="687070" y="29845"/>
                      <a:pt x="684847" y="34290"/>
                    </a:cubicBezTo>
                    <a:cubicBezTo>
                      <a:pt x="682625" y="38735"/>
                      <a:pt x="681672" y="44133"/>
                      <a:pt x="681672" y="50483"/>
                    </a:cubicBezTo>
                    <a:cubicBezTo>
                      <a:pt x="681672" y="56833"/>
                      <a:pt x="682942" y="62230"/>
                      <a:pt x="685482" y="66358"/>
                    </a:cubicBezTo>
                    <a:cubicBezTo>
                      <a:pt x="688022" y="70485"/>
                      <a:pt x="691197" y="73660"/>
                      <a:pt x="695642" y="75565"/>
                    </a:cubicBezTo>
                    <a:cubicBezTo>
                      <a:pt x="699770" y="77788"/>
                      <a:pt x="704850" y="78740"/>
                      <a:pt x="710247" y="78740"/>
                    </a:cubicBezTo>
                    <a:cubicBezTo>
                      <a:pt x="714375" y="78740"/>
                      <a:pt x="718185" y="78423"/>
                      <a:pt x="721042" y="77788"/>
                    </a:cubicBezTo>
                    <a:cubicBezTo>
                      <a:pt x="723900" y="77153"/>
                      <a:pt x="726757" y="76200"/>
                      <a:pt x="729615" y="74930"/>
                    </a:cubicBezTo>
                    <a:lnTo>
                      <a:pt x="729615" y="63183"/>
                    </a:lnTo>
                    <a:cubicBezTo>
                      <a:pt x="726440" y="64770"/>
                      <a:pt x="723582" y="65723"/>
                      <a:pt x="720407" y="66358"/>
                    </a:cubicBezTo>
                    <a:cubicBezTo>
                      <a:pt x="717232" y="66993"/>
                      <a:pt x="714375" y="67310"/>
                      <a:pt x="710565" y="67310"/>
                    </a:cubicBezTo>
                    <a:cubicBezTo>
                      <a:pt x="706438" y="67310"/>
                      <a:pt x="702945" y="66040"/>
                      <a:pt x="700405" y="63500"/>
                    </a:cubicBezTo>
                    <a:cubicBezTo>
                      <a:pt x="697865" y="60960"/>
                      <a:pt x="696595" y="57785"/>
                      <a:pt x="696595" y="53340"/>
                    </a:cubicBezTo>
                    <a:lnTo>
                      <a:pt x="732472" y="53340"/>
                    </a:lnTo>
                    <a:lnTo>
                      <a:pt x="732472" y="46038"/>
                    </a:lnTo>
                    <a:cubicBezTo>
                      <a:pt x="732472" y="38100"/>
                      <a:pt x="730250" y="31750"/>
                      <a:pt x="725805" y="27305"/>
                    </a:cubicBezTo>
                    <a:cubicBezTo>
                      <a:pt x="721360" y="22860"/>
                      <a:pt x="715327" y="20638"/>
                      <a:pt x="707707" y="20638"/>
                    </a:cubicBezTo>
                    <a:cubicBezTo>
                      <a:pt x="702310" y="21273"/>
                      <a:pt x="697865" y="22225"/>
                      <a:pt x="694055" y="24448"/>
                    </a:cubicBezTo>
                    <a:moveTo>
                      <a:pt x="659130" y="65088"/>
                    </a:moveTo>
                    <a:cubicBezTo>
                      <a:pt x="657860" y="64135"/>
                      <a:pt x="657225" y="62548"/>
                      <a:pt x="657225" y="60325"/>
                    </a:cubicBezTo>
                    <a:lnTo>
                      <a:pt x="657225" y="33655"/>
                    </a:lnTo>
                    <a:lnTo>
                      <a:pt x="672782" y="33655"/>
                    </a:lnTo>
                    <a:lnTo>
                      <a:pt x="672782" y="22225"/>
                    </a:lnTo>
                    <a:lnTo>
                      <a:pt x="657225" y="22225"/>
                    </a:lnTo>
                    <a:lnTo>
                      <a:pt x="657225" y="10478"/>
                    </a:lnTo>
                    <a:lnTo>
                      <a:pt x="647700" y="10478"/>
                    </a:lnTo>
                    <a:lnTo>
                      <a:pt x="643255" y="22225"/>
                    </a:lnTo>
                    <a:lnTo>
                      <a:pt x="635000" y="27305"/>
                    </a:lnTo>
                    <a:lnTo>
                      <a:pt x="635000" y="33655"/>
                    </a:lnTo>
                    <a:lnTo>
                      <a:pt x="642302" y="33655"/>
                    </a:lnTo>
                    <a:lnTo>
                      <a:pt x="642302" y="60325"/>
                    </a:lnTo>
                    <a:cubicBezTo>
                      <a:pt x="642302" y="65088"/>
                      <a:pt x="642938" y="68898"/>
                      <a:pt x="644525" y="71438"/>
                    </a:cubicBezTo>
                    <a:cubicBezTo>
                      <a:pt x="646113" y="73978"/>
                      <a:pt x="648017" y="75883"/>
                      <a:pt x="650875" y="77153"/>
                    </a:cubicBezTo>
                    <a:cubicBezTo>
                      <a:pt x="653415" y="78105"/>
                      <a:pt x="656590" y="78740"/>
                      <a:pt x="659765" y="78740"/>
                    </a:cubicBezTo>
                    <a:cubicBezTo>
                      <a:pt x="662622" y="78740"/>
                      <a:pt x="665163" y="78423"/>
                      <a:pt x="667702" y="78105"/>
                    </a:cubicBezTo>
                    <a:cubicBezTo>
                      <a:pt x="670242" y="77788"/>
                      <a:pt x="672147" y="77153"/>
                      <a:pt x="673735" y="76200"/>
                    </a:cubicBezTo>
                    <a:lnTo>
                      <a:pt x="673735" y="64770"/>
                    </a:lnTo>
                    <a:cubicBezTo>
                      <a:pt x="672147" y="65405"/>
                      <a:pt x="670560" y="65723"/>
                      <a:pt x="668972" y="66040"/>
                    </a:cubicBezTo>
                    <a:cubicBezTo>
                      <a:pt x="667385" y="66358"/>
                      <a:pt x="665797" y="66358"/>
                      <a:pt x="664210" y="66358"/>
                    </a:cubicBezTo>
                    <a:cubicBezTo>
                      <a:pt x="661988" y="66675"/>
                      <a:pt x="660400" y="66040"/>
                      <a:pt x="659130" y="65088"/>
                    </a:cubicBezTo>
                    <a:moveTo>
                      <a:pt x="611505" y="35560"/>
                    </a:moveTo>
                    <a:cubicBezTo>
                      <a:pt x="613092" y="37783"/>
                      <a:pt x="614045" y="40640"/>
                      <a:pt x="614045" y="43815"/>
                    </a:cubicBezTo>
                    <a:lnTo>
                      <a:pt x="592772" y="43815"/>
                    </a:lnTo>
                    <a:cubicBezTo>
                      <a:pt x="593090" y="39688"/>
                      <a:pt x="594360" y="36830"/>
                      <a:pt x="596265" y="34925"/>
                    </a:cubicBezTo>
                    <a:cubicBezTo>
                      <a:pt x="598170" y="33020"/>
                      <a:pt x="600710" y="32068"/>
                      <a:pt x="603567" y="32068"/>
                    </a:cubicBezTo>
                    <a:cubicBezTo>
                      <a:pt x="607060" y="32068"/>
                      <a:pt x="609600" y="33020"/>
                      <a:pt x="611505" y="35560"/>
                    </a:cubicBezTo>
                    <a:moveTo>
                      <a:pt x="589915" y="24448"/>
                    </a:moveTo>
                    <a:cubicBezTo>
                      <a:pt x="586105" y="26670"/>
                      <a:pt x="582930" y="29845"/>
                      <a:pt x="580707" y="34290"/>
                    </a:cubicBezTo>
                    <a:cubicBezTo>
                      <a:pt x="578485" y="38735"/>
                      <a:pt x="577532" y="44133"/>
                      <a:pt x="577532" y="50483"/>
                    </a:cubicBezTo>
                    <a:cubicBezTo>
                      <a:pt x="577532" y="56833"/>
                      <a:pt x="578802" y="62230"/>
                      <a:pt x="581342" y="66358"/>
                    </a:cubicBezTo>
                    <a:cubicBezTo>
                      <a:pt x="583882" y="70485"/>
                      <a:pt x="587057" y="73660"/>
                      <a:pt x="591502" y="75565"/>
                    </a:cubicBezTo>
                    <a:cubicBezTo>
                      <a:pt x="595630" y="77788"/>
                      <a:pt x="600710" y="78740"/>
                      <a:pt x="606107" y="78740"/>
                    </a:cubicBezTo>
                    <a:cubicBezTo>
                      <a:pt x="610235" y="78740"/>
                      <a:pt x="614045" y="78423"/>
                      <a:pt x="616902" y="77788"/>
                    </a:cubicBezTo>
                    <a:cubicBezTo>
                      <a:pt x="619760" y="77153"/>
                      <a:pt x="622617" y="76200"/>
                      <a:pt x="625475" y="74930"/>
                    </a:cubicBezTo>
                    <a:lnTo>
                      <a:pt x="625475" y="63183"/>
                    </a:lnTo>
                    <a:cubicBezTo>
                      <a:pt x="622300" y="64770"/>
                      <a:pt x="619442" y="65723"/>
                      <a:pt x="616267" y="66358"/>
                    </a:cubicBezTo>
                    <a:cubicBezTo>
                      <a:pt x="613410" y="66993"/>
                      <a:pt x="610235" y="67310"/>
                      <a:pt x="606425" y="67310"/>
                    </a:cubicBezTo>
                    <a:cubicBezTo>
                      <a:pt x="602297" y="67310"/>
                      <a:pt x="598805" y="66040"/>
                      <a:pt x="596265" y="63500"/>
                    </a:cubicBezTo>
                    <a:cubicBezTo>
                      <a:pt x="593725" y="60960"/>
                      <a:pt x="592455" y="57785"/>
                      <a:pt x="592455" y="53340"/>
                    </a:cubicBezTo>
                    <a:lnTo>
                      <a:pt x="628332" y="53340"/>
                    </a:lnTo>
                    <a:lnTo>
                      <a:pt x="628332" y="46038"/>
                    </a:lnTo>
                    <a:cubicBezTo>
                      <a:pt x="628332" y="38100"/>
                      <a:pt x="626110" y="31750"/>
                      <a:pt x="621665" y="27305"/>
                    </a:cubicBezTo>
                    <a:cubicBezTo>
                      <a:pt x="617220" y="22860"/>
                      <a:pt x="611188" y="20638"/>
                      <a:pt x="603567" y="20638"/>
                    </a:cubicBezTo>
                    <a:cubicBezTo>
                      <a:pt x="598170" y="21273"/>
                      <a:pt x="593725" y="22225"/>
                      <a:pt x="589915" y="24448"/>
                    </a:cubicBezTo>
                    <a:moveTo>
                      <a:pt x="549910" y="37465"/>
                    </a:moveTo>
                    <a:cubicBezTo>
                      <a:pt x="551815" y="40323"/>
                      <a:pt x="552767" y="44133"/>
                      <a:pt x="552767" y="49848"/>
                    </a:cubicBezTo>
                    <a:cubicBezTo>
                      <a:pt x="552767" y="55563"/>
                      <a:pt x="551815" y="59373"/>
                      <a:pt x="549910" y="62230"/>
                    </a:cubicBezTo>
                    <a:cubicBezTo>
                      <a:pt x="548005" y="65088"/>
                      <a:pt x="545465" y="66675"/>
                      <a:pt x="542607" y="66675"/>
                    </a:cubicBezTo>
                    <a:cubicBezTo>
                      <a:pt x="538480" y="66675"/>
                      <a:pt x="535622" y="65088"/>
                      <a:pt x="534035" y="62230"/>
                    </a:cubicBezTo>
                    <a:cubicBezTo>
                      <a:pt x="532447" y="59373"/>
                      <a:pt x="531495" y="55245"/>
                      <a:pt x="531495" y="49848"/>
                    </a:cubicBezTo>
                    <a:lnTo>
                      <a:pt x="531495" y="48260"/>
                    </a:lnTo>
                    <a:cubicBezTo>
                      <a:pt x="531495" y="43180"/>
                      <a:pt x="532447" y="39688"/>
                      <a:pt x="534035" y="37148"/>
                    </a:cubicBezTo>
                    <a:cubicBezTo>
                      <a:pt x="535622" y="34608"/>
                      <a:pt x="538480" y="33338"/>
                      <a:pt x="542290" y="33338"/>
                    </a:cubicBezTo>
                    <a:cubicBezTo>
                      <a:pt x="545465" y="33338"/>
                      <a:pt x="548005" y="34608"/>
                      <a:pt x="549910" y="37465"/>
                    </a:cubicBezTo>
                    <a:moveTo>
                      <a:pt x="516255" y="635"/>
                    </a:moveTo>
                    <a:lnTo>
                      <a:pt x="516255" y="77788"/>
                    </a:lnTo>
                    <a:lnTo>
                      <a:pt x="527685" y="77788"/>
                    </a:lnTo>
                    <a:lnTo>
                      <a:pt x="530225" y="71755"/>
                    </a:lnTo>
                    <a:lnTo>
                      <a:pt x="531177" y="71755"/>
                    </a:lnTo>
                    <a:cubicBezTo>
                      <a:pt x="532765" y="73660"/>
                      <a:pt x="534670" y="75248"/>
                      <a:pt x="536892" y="76835"/>
                    </a:cubicBezTo>
                    <a:cubicBezTo>
                      <a:pt x="539115" y="78423"/>
                      <a:pt x="542290" y="79058"/>
                      <a:pt x="546417" y="79058"/>
                    </a:cubicBezTo>
                    <a:cubicBezTo>
                      <a:pt x="552767" y="79058"/>
                      <a:pt x="557847" y="76518"/>
                      <a:pt x="561975" y="71755"/>
                    </a:cubicBezTo>
                    <a:cubicBezTo>
                      <a:pt x="565785" y="66993"/>
                      <a:pt x="568007" y="59690"/>
                      <a:pt x="568007" y="50165"/>
                    </a:cubicBezTo>
                    <a:cubicBezTo>
                      <a:pt x="568007" y="40640"/>
                      <a:pt x="566102" y="33655"/>
                      <a:pt x="562292" y="28893"/>
                    </a:cubicBezTo>
                    <a:cubicBezTo>
                      <a:pt x="558482" y="24130"/>
                      <a:pt x="553402" y="21590"/>
                      <a:pt x="547052" y="21590"/>
                    </a:cubicBezTo>
                    <a:cubicBezTo>
                      <a:pt x="542925" y="21590"/>
                      <a:pt x="539750" y="22543"/>
                      <a:pt x="537210" y="24130"/>
                    </a:cubicBezTo>
                    <a:cubicBezTo>
                      <a:pt x="534670" y="25718"/>
                      <a:pt x="532765" y="27623"/>
                      <a:pt x="531177" y="29845"/>
                    </a:cubicBezTo>
                    <a:lnTo>
                      <a:pt x="530542" y="29845"/>
                    </a:lnTo>
                    <a:cubicBezTo>
                      <a:pt x="530542" y="28575"/>
                      <a:pt x="530860" y="26988"/>
                      <a:pt x="530860" y="25083"/>
                    </a:cubicBezTo>
                    <a:cubicBezTo>
                      <a:pt x="530860" y="23178"/>
                      <a:pt x="531177" y="20955"/>
                      <a:pt x="531177" y="18733"/>
                    </a:cubicBezTo>
                    <a:lnTo>
                      <a:pt x="531177" y="635"/>
                    </a:lnTo>
                    <a:lnTo>
                      <a:pt x="516255" y="635"/>
                    </a:lnTo>
                    <a:close/>
                    <a:moveTo>
                      <a:pt x="485775" y="56515"/>
                    </a:moveTo>
                    <a:cubicBezTo>
                      <a:pt x="485775" y="60008"/>
                      <a:pt x="484505" y="62865"/>
                      <a:pt x="482282" y="64770"/>
                    </a:cubicBezTo>
                    <a:cubicBezTo>
                      <a:pt x="480060" y="66675"/>
                      <a:pt x="477202" y="67628"/>
                      <a:pt x="474027" y="67628"/>
                    </a:cubicBezTo>
                    <a:cubicBezTo>
                      <a:pt x="471805" y="67628"/>
                      <a:pt x="470217" y="66993"/>
                      <a:pt x="468630" y="66040"/>
                    </a:cubicBezTo>
                    <a:cubicBezTo>
                      <a:pt x="467360" y="65088"/>
                      <a:pt x="466725" y="63500"/>
                      <a:pt x="466725" y="60960"/>
                    </a:cubicBezTo>
                    <a:cubicBezTo>
                      <a:pt x="466725" y="58420"/>
                      <a:pt x="467677" y="56198"/>
                      <a:pt x="469582" y="54610"/>
                    </a:cubicBezTo>
                    <a:cubicBezTo>
                      <a:pt x="471488" y="53023"/>
                      <a:pt x="474980" y="52070"/>
                      <a:pt x="479742" y="52070"/>
                    </a:cubicBezTo>
                    <a:lnTo>
                      <a:pt x="485775" y="51753"/>
                    </a:lnTo>
                    <a:lnTo>
                      <a:pt x="485775" y="56515"/>
                    </a:lnTo>
                    <a:close/>
                    <a:moveTo>
                      <a:pt x="466407" y="22543"/>
                    </a:moveTo>
                    <a:cubicBezTo>
                      <a:pt x="462597" y="23495"/>
                      <a:pt x="459422" y="24765"/>
                      <a:pt x="456565" y="26035"/>
                    </a:cubicBezTo>
                    <a:lnTo>
                      <a:pt x="461645" y="36195"/>
                    </a:lnTo>
                    <a:cubicBezTo>
                      <a:pt x="464185" y="34925"/>
                      <a:pt x="466725" y="33973"/>
                      <a:pt x="469265" y="33338"/>
                    </a:cubicBezTo>
                    <a:cubicBezTo>
                      <a:pt x="471805" y="32703"/>
                      <a:pt x="474345" y="32068"/>
                      <a:pt x="477202" y="32068"/>
                    </a:cubicBezTo>
                    <a:cubicBezTo>
                      <a:pt x="480060" y="32068"/>
                      <a:pt x="481965" y="32703"/>
                      <a:pt x="483552" y="33973"/>
                    </a:cubicBezTo>
                    <a:cubicBezTo>
                      <a:pt x="485140" y="35243"/>
                      <a:pt x="485775" y="37465"/>
                      <a:pt x="485775" y="40323"/>
                    </a:cubicBezTo>
                    <a:lnTo>
                      <a:pt x="485775" y="42863"/>
                    </a:lnTo>
                    <a:lnTo>
                      <a:pt x="476250" y="43180"/>
                    </a:lnTo>
                    <a:cubicBezTo>
                      <a:pt x="467995" y="43498"/>
                      <a:pt x="461645" y="45085"/>
                      <a:pt x="457517" y="47943"/>
                    </a:cubicBezTo>
                    <a:cubicBezTo>
                      <a:pt x="453390" y="50800"/>
                      <a:pt x="451167" y="54928"/>
                      <a:pt x="451167" y="60960"/>
                    </a:cubicBezTo>
                    <a:cubicBezTo>
                      <a:pt x="451167" y="66993"/>
                      <a:pt x="452755" y="71438"/>
                      <a:pt x="455930" y="74295"/>
                    </a:cubicBezTo>
                    <a:cubicBezTo>
                      <a:pt x="459105" y="77153"/>
                      <a:pt x="463232" y="78423"/>
                      <a:pt x="468313" y="78423"/>
                    </a:cubicBezTo>
                    <a:cubicBezTo>
                      <a:pt x="473075" y="78423"/>
                      <a:pt x="476567" y="77788"/>
                      <a:pt x="479107" y="76518"/>
                    </a:cubicBezTo>
                    <a:cubicBezTo>
                      <a:pt x="481647" y="75248"/>
                      <a:pt x="484188" y="73025"/>
                      <a:pt x="486727" y="70168"/>
                    </a:cubicBezTo>
                    <a:lnTo>
                      <a:pt x="487045" y="70168"/>
                    </a:lnTo>
                    <a:lnTo>
                      <a:pt x="489902" y="77788"/>
                    </a:lnTo>
                    <a:lnTo>
                      <a:pt x="500380" y="77788"/>
                    </a:lnTo>
                    <a:lnTo>
                      <a:pt x="500380" y="40958"/>
                    </a:lnTo>
                    <a:cubicBezTo>
                      <a:pt x="500380" y="34290"/>
                      <a:pt x="498475" y="29528"/>
                      <a:pt x="494347" y="26035"/>
                    </a:cubicBezTo>
                    <a:cubicBezTo>
                      <a:pt x="490538" y="22860"/>
                      <a:pt x="484822" y="21273"/>
                      <a:pt x="477202" y="21273"/>
                    </a:cubicBezTo>
                    <a:cubicBezTo>
                      <a:pt x="473710" y="21273"/>
                      <a:pt x="469900" y="21590"/>
                      <a:pt x="466407" y="22543"/>
                    </a:cubicBezTo>
                    <a:moveTo>
                      <a:pt x="423863" y="77788"/>
                    </a:moveTo>
                    <a:lnTo>
                      <a:pt x="439102" y="77788"/>
                    </a:lnTo>
                    <a:lnTo>
                      <a:pt x="439102" y="22225"/>
                    </a:lnTo>
                    <a:lnTo>
                      <a:pt x="423863" y="22225"/>
                    </a:lnTo>
                    <a:lnTo>
                      <a:pt x="423863" y="77788"/>
                    </a:lnTo>
                    <a:close/>
                    <a:moveTo>
                      <a:pt x="425767" y="2223"/>
                    </a:moveTo>
                    <a:cubicBezTo>
                      <a:pt x="424180" y="3175"/>
                      <a:pt x="423227" y="5080"/>
                      <a:pt x="423227" y="7938"/>
                    </a:cubicBezTo>
                    <a:cubicBezTo>
                      <a:pt x="423227" y="10795"/>
                      <a:pt x="424180" y="12700"/>
                      <a:pt x="425767" y="13653"/>
                    </a:cubicBezTo>
                    <a:cubicBezTo>
                      <a:pt x="427355" y="14605"/>
                      <a:pt x="429260" y="15240"/>
                      <a:pt x="431482" y="15240"/>
                    </a:cubicBezTo>
                    <a:cubicBezTo>
                      <a:pt x="433705" y="15240"/>
                      <a:pt x="435610" y="14605"/>
                      <a:pt x="437197" y="13653"/>
                    </a:cubicBezTo>
                    <a:cubicBezTo>
                      <a:pt x="438785" y="12700"/>
                      <a:pt x="439738" y="10795"/>
                      <a:pt x="439738" y="7938"/>
                    </a:cubicBezTo>
                    <a:cubicBezTo>
                      <a:pt x="439738" y="5080"/>
                      <a:pt x="438785" y="3175"/>
                      <a:pt x="437197" y="2223"/>
                    </a:cubicBezTo>
                    <a:cubicBezTo>
                      <a:pt x="435610" y="1270"/>
                      <a:pt x="433705" y="635"/>
                      <a:pt x="431482" y="635"/>
                    </a:cubicBezTo>
                    <a:cubicBezTo>
                      <a:pt x="429260" y="635"/>
                      <a:pt x="427355" y="953"/>
                      <a:pt x="425767" y="2223"/>
                    </a:cubicBezTo>
                    <a:moveTo>
                      <a:pt x="374650" y="62548"/>
                    </a:moveTo>
                    <a:cubicBezTo>
                      <a:pt x="372745" y="59690"/>
                      <a:pt x="371792" y="55880"/>
                      <a:pt x="371792" y="50165"/>
                    </a:cubicBezTo>
                    <a:cubicBezTo>
                      <a:pt x="371792" y="44768"/>
                      <a:pt x="372745" y="40640"/>
                      <a:pt x="374650" y="37783"/>
                    </a:cubicBezTo>
                    <a:cubicBezTo>
                      <a:pt x="376555" y="34925"/>
                      <a:pt x="379095" y="33338"/>
                      <a:pt x="382588" y="33338"/>
                    </a:cubicBezTo>
                    <a:cubicBezTo>
                      <a:pt x="387032" y="33338"/>
                      <a:pt x="390207" y="34925"/>
                      <a:pt x="391795" y="37783"/>
                    </a:cubicBezTo>
                    <a:cubicBezTo>
                      <a:pt x="393382" y="40640"/>
                      <a:pt x="394335" y="44768"/>
                      <a:pt x="394335" y="50165"/>
                    </a:cubicBezTo>
                    <a:lnTo>
                      <a:pt x="394335" y="51753"/>
                    </a:lnTo>
                    <a:cubicBezTo>
                      <a:pt x="394335" y="56833"/>
                      <a:pt x="393382" y="60325"/>
                      <a:pt x="391477" y="62865"/>
                    </a:cubicBezTo>
                    <a:cubicBezTo>
                      <a:pt x="389890" y="65405"/>
                      <a:pt x="386715" y="66675"/>
                      <a:pt x="382588" y="66675"/>
                    </a:cubicBezTo>
                    <a:cubicBezTo>
                      <a:pt x="379095" y="66675"/>
                      <a:pt x="376238" y="65405"/>
                      <a:pt x="374650" y="62548"/>
                    </a:cubicBezTo>
                    <a:moveTo>
                      <a:pt x="387032" y="76518"/>
                    </a:moveTo>
                    <a:cubicBezTo>
                      <a:pt x="389572" y="74930"/>
                      <a:pt x="391477" y="73025"/>
                      <a:pt x="393065" y="70803"/>
                    </a:cubicBezTo>
                    <a:lnTo>
                      <a:pt x="393700" y="70803"/>
                    </a:lnTo>
                    <a:lnTo>
                      <a:pt x="396557" y="78105"/>
                    </a:lnTo>
                    <a:lnTo>
                      <a:pt x="407988" y="78105"/>
                    </a:lnTo>
                    <a:lnTo>
                      <a:pt x="407988" y="953"/>
                    </a:lnTo>
                    <a:lnTo>
                      <a:pt x="392747" y="953"/>
                    </a:lnTo>
                    <a:lnTo>
                      <a:pt x="392747" y="18733"/>
                    </a:lnTo>
                    <a:cubicBezTo>
                      <a:pt x="392747" y="20955"/>
                      <a:pt x="392747" y="22860"/>
                      <a:pt x="393065" y="25083"/>
                    </a:cubicBezTo>
                    <a:cubicBezTo>
                      <a:pt x="393382" y="27305"/>
                      <a:pt x="393700" y="28575"/>
                      <a:pt x="393700" y="29845"/>
                    </a:cubicBezTo>
                    <a:lnTo>
                      <a:pt x="393065" y="29845"/>
                    </a:lnTo>
                    <a:cubicBezTo>
                      <a:pt x="391477" y="27623"/>
                      <a:pt x="389572" y="25718"/>
                      <a:pt x="387032" y="24130"/>
                    </a:cubicBezTo>
                    <a:cubicBezTo>
                      <a:pt x="384492" y="22543"/>
                      <a:pt x="381317" y="21908"/>
                      <a:pt x="377190" y="21908"/>
                    </a:cubicBezTo>
                    <a:cubicBezTo>
                      <a:pt x="370840" y="21908"/>
                      <a:pt x="365760" y="24448"/>
                      <a:pt x="361632" y="29210"/>
                    </a:cubicBezTo>
                    <a:cubicBezTo>
                      <a:pt x="357822" y="33973"/>
                      <a:pt x="355600" y="41275"/>
                      <a:pt x="355600" y="50800"/>
                    </a:cubicBezTo>
                    <a:cubicBezTo>
                      <a:pt x="355600" y="60325"/>
                      <a:pt x="357505" y="67310"/>
                      <a:pt x="361315" y="72073"/>
                    </a:cubicBezTo>
                    <a:cubicBezTo>
                      <a:pt x="365125" y="76835"/>
                      <a:pt x="370205" y="79375"/>
                      <a:pt x="376555" y="79375"/>
                    </a:cubicBezTo>
                    <a:cubicBezTo>
                      <a:pt x="381317" y="78740"/>
                      <a:pt x="384492" y="78105"/>
                      <a:pt x="387032" y="76518"/>
                    </a:cubicBezTo>
                    <a:moveTo>
                      <a:pt x="307657" y="65088"/>
                    </a:moveTo>
                    <a:cubicBezTo>
                      <a:pt x="306388" y="64135"/>
                      <a:pt x="305752" y="62548"/>
                      <a:pt x="305752" y="60325"/>
                    </a:cubicBezTo>
                    <a:lnTo>
                      <a:pt x="305752" y="33655"/>
                    </a:lnTo>
                    <a:lnTo>
                      <a:pt x="321310" y="33655"/>
                    </a:lnTo>
                    <a:lnTo>
                      <a:pt x="321310" y="22225"/>
                    </a:lnTo>
                    <a:lnTo>
                      <a:pt x="305752" y="22225"/>
                    </a:lnTo>
                    <a:lnTo>
                      <a:pt x="305752" y="10478"/>
                    </a:lnTo>
                    <a:lnTo>
                      <a:pt x="296227" y="10478"/>
                    </a:lnTo>
                    <a:lnTo>
                      <a:pt x="291782" y="22225"/>
                    </a:lnTo>
                    <a:lnTo>
                      <a:pt x="283527" y="27305"/>
                    </a:lnTo>
                    <a:lnTo>
                      <a:pt x="283527" y="33655"/>
                    </a:lnTo>
                    <a:lnTo>
                      <a:pt x="290830" y="33655"/>
                    </a:lnTo>
                    <a:lnTo>
                      <a:pt x="290830" y="60325"/>
                    </a:lnTo>
                    <a:cubicBezTo>
                      <a:pt x="290830" y="65088"/>
                      <a:pt x="291465" y="68898"/>
                      <a:pt x="293052" y="71438"/>
                    </a:cubicBezTo>
                    <a:cubicBezTo>
                      <a:pt x="294640" y="73978"/>
                      <a:pt x="296545" y="75883"/>
                      <a:pt x="299402" y="77153"/>
                    </a:cubicBezTo>
                    <a:cubicBezTo>
                      <a:pt x="301942" y="78105"/>
                      <a:pt x="305117" y="78740"/>
                      <a:pt x="308292" y="78740"/>
                    </a:cubicBezTo>
                    <a:cubicBezTo>
                      <a:pt x="311150" y="78740"/>
                      <a:pt x="313690" y="78423"/>
                      <a:pt x="316230" y="78105"/>
                    </a:cubicBezTo>
                    <a:cubicBezTo>
                      <a:pt x="318770" y="77788"/>
                      <a:pt x="320675" y="77153"/>
                      <a:pt x="322263" y="76200"/>
                    </a:cubicBezTo>
                    <a:lnTo>
                      <a:pt x="322263" y="64770"/>
                    </a:lnTo>
                    <a:cubicBezTo>
                      <a:pt x="320675" y="65405"/>
                      <a:pt x="319088" y="65723"/>
                      <a:pt x="317500" y="66040"/>
                    </a:cubicBezTo>
                    <a:cubicBezTo>
                      <a:pt x="315913" y="66358"/>
                      <a:pt x="314325" y="66358"/>
                      <a:pt x="312738" y="66358"/>
                    </a:cubicBezTo>
                    <a:cubicBezTo>
                      <a:pt x="310515" y="66675"/>
                      <a:pt x="308927" y="66040"/>
                      <a:pt x="307657" y="65088"/>
                    </a:cubicBezTo>
                    <a:moveTo>
                      <a:pt x="258445" y="56515"/>
                    </a:moveTo>
                    <a:cubicBezTo>
                      <a:pt x="258445" y="60008"/>
                      <a:pt x="257175" y="62865"/>
                      <a:pt x="254952" y="64770"/>
                    </a:cubicBezTo>
                    <a:cubicBezTo>
                      <a:pt x="252730" y="66675"/>
                      <a:pt x="249872" y="67628"/>
                      <a:pt x="246697" y="67628"/>
                    </a:cubicBezTo>
                    <a:cubicBezTo>
                      <a:pt x="244475" y="67628"/>
                      <a:pt x="242888" y="66993"/>
                      <a:pt x="241300" y="66040"/>
                    </a:cubicBezTo>
                    <a:cubicBezTo>
                      <a:pt x="240030" y="65088"/>
                      <a:pt x="239395" y="63500"/>
                      <a:pt x="239395" y="60960"/>
                    </a:cubicBezTo>
                    <a:cubicBezTo>
                      <a:pt x="239395" y="58420"/>
                      <a:pt x="240347" y="56198"/>
                      <a:pt x="242252" y="54610"/>
                    </a:cubicBezTo>
                    <a:cubicBezTo>
                      <a:pt x="244157" y="53023"/>
                      <a:pt x="247650" y="52070"/>
                      <a:pt x="252413" y="52070"/>
                    </a:cubicBezTo>
                    <a:lnTo>
                      <a:pt x="258445" y="51753"/>
                    </a:lnTo>
                    <a:lnTo>
                      <a:pt x="258445" y="56515"/>
                    </a:lnTo>
                    <a:close/>
                    <a:moveTo>
                      <a:pt x="239077" y="22543"/>
                    </a:moveTo>
                    <a:cubicBezTo>
                      <a:pt x="235267" y="23495"/>
                      <a:pt x="232092" y="24765"/>
                      <a:pt x="229235" y="26035"/>
                    </a:cubicBezTo>
                    <a:lnTo>
                      <a:pt x="234315" y="36195"/>
                    </a:lnTo>
                    <a:cubicBezTo>
                      <a:pt x="236855" y="34925"/>
                      <a:pt x="239395" y="33973"/>
                      <a:pt x="241935" y="33338"/>
                    </a:cubicBezTo>
                    <a:cubicBezTo>
                      <a:pt x="244475" y="32703"/>
                      <a:pt x="247015" y="32068"/>
                      <a:pt x="249872" y="32068"/>
                    </a:cubicBezTo>
                    <a:cubicBezTo>
                      <a:pt x="252730" y="32068"/>
                      <a:pt x="254635" y="32703"/>
                      <a:pt x="256222" y="33973"/>
                    </a:cubicBezTo>
                    <a:cubicBezTo>
                      <a:pt x="257810" y="35243"/>
                      <a:pt x="258445" y="37465"/>
                      <a:pt x="258445" y="40323"/>
                    </a:cubicBezTo>
                    <a:lnTo>
                      <a:pt x="258445" y="42863"/>
                    </a:lnTo>
                    <a:lnTo>
                      <a:pt x="248920" y="43180"/>
                    </a:lnTo>
                    <a:cubicBezTo>
                      <a:pt x="240665" y="43498"/>
                      <a:pt x="234315" y="45085"/>
                      <a:pt x="230188" y="47943"/>
                    </a:cubicBezTo>
                    <a:cubicBezTo>
                      <a:pt x="226060" y="50800"/>
                      <a:pt x="223838" y="54928"/>
                      <a:pt x="223838" y="60960"/>
                    </a:cubicBezTo>
                    <a:cubicBezTo>
                      <a:pt x="223838" y="66993"/>
                      <a:pt x="225425" y="71438"/>
                      <a:pt x="228600" y="74295"/>
                    </a:cubicBezTo>
                    <a:cubicBezTo>
                      <a:pt x="231775" y="77153"/>
                      <a:pt x="235902" y="78423"/>
                      <a:pt x="240982" y="78423"/>
                    </a:cubicBezTo>
                    <a:cubicBezTo>
                      <a:pt x="245427" y="78423"/>
                      <a:pt x="249238" y="77788"/>
                      <a:pt x="251777" y="76518"/>
                    </a:cubicBezTo>
                    <a:cubicBezTo>
                      <a:pt x="254317" y="75248"/>
                      <a:pt x="256857" y="73025"/>
                      <a:pt x="259397" y="70168"/>
                    </a:cubicBezTo>
                    <a:lnTo>
                      <a:pt x="259715" y="70168"/>
                    </a:lnTo>
                    <a:lnTo>
                      <a:pt x="262572" y="77788"/>
                    </a:lnTo>
                    <a:lnTo>
                      <a:pt x="273050" y="77788"/>
                    </a:lnTo>
                    <a:lnTo>
                      <a:pt x="273050" y="40958"/>
                    </a:lnTo>
                    <a:cubicBezTo>
                      <a:pt x="273050" y="34290"/>
                      <a:pt x="271145" y="29528"/>
                      <a:pt x="267017" y="26035"/>
                    </a:cubicBezTo>
                    <a:cubicBezTo>
                      <a:pt x="263207" y="22860"/>
                      <a:pt x="257492" y="21273"/>
                      <a:pt x="249872" y="21273"/>
                    </a:cubicBezTo>
                    <a:cubicBezTo>
                      <a:pt x="246697" y="21273"/>
                      <a:pt x="242888" y="21590"/>
                      <a:pt x="239077" y="22543"/>
                    </a:cubicBezTo>
                    <a:moveTo>
                      <a:pt x="198438" y="35560"/>
                    </a:moveTo>
                    <a:cubicBezTo>
                      <a:pt x="200025" y="37783"/>
                      <a:pt x="200977" y="40640"/>
                      <a:pt x="200977" y="43815"/>
                    </a:cubicBezTo>
                    <a:lnTo>
                      <a:pt x="179705" y="43815"/>
                    </a:lnTo>
                    <a:cubicBezTo>
                      <a:pt x="180022" y="39688"/>
                      <a:pt x="181292" y="36830"/>
                      <a:pt x="183197" y="34925"/>
                    </a:cubicBezTo>
                    <a:cubicBezTo>
                      <a:pt x="185102" y="33020"/>
                      <a:pt x="187642" y="32068"/>
                      <a:pt x="190500" y="32068"/>
                    </a:cubicBezTo>
                    <a:cubicBezTo>
                      <a:pt x="194310" y="32068"/>
                      <a:pt x="196850" y="33020"/>
                      <a:pt x="198438" y="35560"/>
                    </a:cubicBezTo>
                    <a:moveTo>
                      <a:pt x="176847" y="24448"/>
                    </a:moveTo>
                    <a:cubicBezTo>
                      <a:pt x="173038" y="26670"/>
                      <a:pt x="169863" y="29845"/>
                      <a:pt x="167640" y="34290"/>
                    </a:cubicBezTo>
                    <a:cubicBezTo>
                      <a:pt x="165417" y="38735"/>
                      <a:pt x="164465" y="44133"/>
                      <a:pt x="164465" y="50483"/>
                    </a:cubicBezTo>
                    <a:cubicBezTo>
                      <a:pt x="164465" y="56833"/>
                      <a:pt x="165735" y="62230"/>
                      <a:pt x="168275" y="66358"/>
                    </a:cubicBezTo>
                    <a:cubicBezTo>
                      <a:pt x="170815" y="70485"/>
                      <a:pt x="173990" y="73660"/>
                      <a:pt x="178435" y="75565"/>
                    </a:cubicBezTo>
                    <a:cubicBezTo>
                      <a:pt x="182563" y="77788"/>
                      <a:pt x="187642" y="78740"/>
                      <a:pt x="193040" y="78740"/>
                    </a:cubicBezTo>
                    <a:cubicBezTo>
                      <a:pt x="197167" y="78740"/>
                      <a:pt x="200977" y="78423"/>
                      <a:pt x="203835" y="77788"/>
                    </a:cubicBezTo>
                    <a:cubicBezTo>
                      <a:pt x="206692" y="77153"/>
                      <a:pt x="209550" y="76200"/>
                      <a:pt x="212407" y="74930"/>
                    </a:cubicBezTo>
                    <a:lnTo>
                      <a:pt x="212407" y="63183"/>
                    </a:lnTo>
                    <a:cubicBezTo>
                      <a:pt x="209232" y="64770"/>
                      <a:pt x="206375" y="65723"/>
                      <a:pt x="203200" y="66358"/>
                    </a:cubicBezTo>
                    <a:cubicBezTo>
                      <a:pt x="200025" y="66993"/>
                      <a:pt x="197167" y="67310"/>
                      <a:pt x="193357" y="67310"/>
                    </a:cubicBezTo>
                    <a:cubicBezTo>
                      <a:pt x="189230" y="67310"/>
                      <a:pt x="185738" y="66040"/>
                      <a:pt x="183197" y="63500"/>
                    </a:cubicBezTo>
                    <a:cubicBezTo>
                      <a:pt x="180657" y="60960"/>
                      <a:pt x="179388" y="57785"/>
                      <a:pt x="179388" y="53340"/>
                    </a:cubicBezTo>
                    <a:lnTo>
                      <a:pt x="215265" y="53340"/>
                    </a:lnTo>
                    <a:lnTo>
                      <a:pt x="215265" y="46038"/>
                    </a:lnTo>
                    <a:cubicBezTo>
                      <a:pt x="215265" y="38100"/>
                      <a:pt x="213042" y="31750"/>
                      <a:pt x="208597" y="27305"/>
                    </a:cubicBezTo>
                    <a:cubicBezTo>
                      <a:pt x="204152" y="22860"/>
                      <a:pt x="198120" y="20638"/>
                      <a:pt x="190500" y="20638"/>
                    </a:cubicBezTo>
                    <a:cubicBezTo>
                      <a:pt x="185420" y="21273"/>
                      <a:pt x="180657" y="22225"/>
                      <a:pt x="176847" y="24448"/>
                    </a:cubicBezTo>
                    <a:moveTo>
                      <a:pt x="159067" y="22225"/>
                    </a:moveTo>
                    <a:lnTo>
                      <a:pt x="146050" y="22225"/>
                    </a:lnTo>
                    <a:lnTo>
                      <a:pt x="146050" y="18733"/>
                    </a:lnTo>
                    <a:cubicBezTo>
                      <a:pt x="146050" y="16828"/>
                      <a:pt x="146685" y="15240"/>
                      <a:pt x="147638" y="13970"/>
                    </a:cubicBezTo>
                    <a:cubicBezTo>
                      <a:pt x="148590" y="12700"/>
                      <a:pt x="150177" y="12065"/>
                      <a:pt x="152400" y="12065"/>
                    </a:cubicBezTo>
                    <a:cubicBezTo>
                      <a:pt x="153988" y="12065"/>
                      <a:pt x="155575" y="12065"/>
                      <a:pt x="157163" y="12383"/>
                    </a:cubicBezTo>
                    <a:cubicBezTo>
                      <a:pt x="158432" y="12700"/>
                      <a:pt x="159702" y="13018"/>
                      <a:pt x="160972" y="13335"/>
                    </a:cubicBezTo>
                    <a:lnTo>
                      <a:pt x="164782" y="2223"/>
                    </a:lnTo>
                    <a:cubicBezTo>
                      <a:pt x="163195" y="1588"/>
                      <a:pt x="161290" y="953"/>
                      <a:pt x="158750" y="635"/>
                    </a:cubicBezTo>
                    <a:cubicBezTo>
                      <a:pt x="156210" y="318"/>
                      <a:pt x="153670" y="0"/>
                      <a:pt x="150813" y="0"/>
                    </a:cubicBezTo>
                    <a:cubicBezTo>
                      <a:pt x="146685" y="0"/>
                      <a:pt x="143192" y="635"/>
                      <a:pt x="140335" y="1588"/>
                    </a:cubicBezTo>
                    <a:cubicBezTo>
                      <a:pt x="137477" y="2540"/>
                      <a:pt x="135255" y="4445"/>
                      <a:pt x="133667" y="6985"/>
                    </a:cubicBezTo>
                    <a:cubicBezTo>
                      <a:pt x="132080" y="9525"/>
                      <a:pt x="131127" y="13335"/>
                      <a:pt x="131127" y="18098"/>
                    </a:cubicBezTo>
                    <a:lnTo>
                      <a:pt x="131127" y="22225"/>
                    </a:lnTo>
                    <a:lnTo>
                      <a:pt x="122872" y="26353"/>
                    </a:lnTo>
                    <a:lnTo>
                      <a:pt x="122872" y="33655"/>
                    </a:lnTo>
                    <a:lnTo>
                      <a:pt x="131127" y="33655"/>
                    </a:lnTo>
                    <a:lnTo>
                      <a:pt x="131127" y="77788"/>
                    </a:lnTo>
                    <a:lnTo>
                      <a:pt x="146367" y="77788"/>
                    </a:lnTo>
                    <a:lnTo>
                      <a:pt x="146367" y="33655"/>
                    </a:lnTo>
                    <a:lnTo>
                      <a:pt x="159385" y="33655"/>
                    </a:lnTo>
                    <a:lnTo>
                      <a:pt x="159385" y="22225"/>
                    </a:lnTo>
                    <a:close/>
                    <a:moveTo>
                      <a:pt x="99060" y="35560"/>
                    </a:moveTo>
                    <a:cubicBezTo>
                      <a:pt x="100647" y="37783"/>
                      <a:pt x="101600" y="40640"/>
                      <a:pt x="101600" y="43815"/>
                    </a:cubicBezTo>
                    <a:lnTo>
                      <a:pt x="80327" y="43815"/>
                    </a:lnTo>
                    <a:cubicBezTo>
                      <a:pt x="80645" y="39688"/>
                      <a:pt x="81915" y="36830"/>
                      <a:pt x="83820" y="34925"/>
                    </a:cubicBezTo>
                    <a:cubicBezTo>
                      <a:pt x="85725" y="33020"/>
                      <a:pt x="88265" y="32068"/>
                      <a:pt x="91122" y="32068"/>
                    </a:cubicBezTo>
                    <a:cubicBezTo>
                      <a:pt x="94932" y="32068"/>
                      <a:pt x="97472" y="33020"/>
                      <a:pt x="99060" y="35560"/>
                    </a:cubicBezTo>
                    <a:moveTo>
                      <a:pt x="77470" y="24448"/>
                    </a:moveTo>
                    <a:cubicBezTo>
                      <a:pt x="73660" y="26670"/>
                      <a:pt x="70485" y="29845"/>
                      <a:pt x="68263" y="34290"/>
                    </a:cubicBezTo>
                    <a:cubicBezTo>
                      <a:pt x="66040" y="38735"/>
                      <a:pt x="65088" y="44133"/>
                      <a:pt x="65088" y="50483"/>
                    </a:cubicBezTo>
                    <a:cubicBezTo>
                      <a:pt x="65088" y="56833"/>
                      <a:pt x="66357" y="62230"/>
                      <a:pt x="68897" y="66358"/>
                    </a:cubicBezTo>
                    <a:cubicBezTo>
                      <a:pt x="71438" y="70485"/>
                      <a:pt x="74613" y="73660"/>
                      <a:pt x="79057" y="75565"/>
                    </a:cubicBezTo>
                    <a:cubicBezTo>
                      <a:pt x="83185" y="77788"/>
                      <a:pt x="88265" y="78740"/>
                      <a:pt x="93663" y="78740"/>
                    </a:cubicBezTo>
                    <a:cubicBezTo>
                      <a:pt x="97790" y="78740"/>
                      <a:pt x="101600" y="78423"/>
                      <a:pt x="104457" y="77788"/>
                    </a:cubicBezTo>
                    <a:cubicBezTo>
                      <a:pt x="107315" y="77153"/>
                      <a:pt x="110172" y="76200"/>
                      <a:pt x="113030" y="74930"/>
                    </a:cubicBezTo>
                    <a:lnTo>
                      <a:pt x="113030" y="63183"/>
                    </a:lnTo>
                    <a:cubicBezTo>
                      <a:pt x="109855" y="64770"/>
                      <a:pt x="106997" y="65723"/>
                      <a:pt x="103822" y="66358"/>
                    </a:cubicBezTo>
                    <a:cubicBezTo>
                      <a:pt x="100647" y="66993"/>
                      <a:pt x="97790" y="67310"/>
                      <a:pt x="93980" y="67310"/>
                    </a:cubicBezTo>
                    <a:cubicBezTo>
                      <a:pt x="89852" y="67310"/>
                      <a:pt x="86360" y="66040"/>
                      <a:pt x="83820" y="63500"/>
                    </a:cubicBezTo>
                    <a:cubicBezTo>
                      <a:pt x="81280" y="60960"/>
                      <a:pt x="80010" y="57785"/>
                      <a:pt x="80010" y="53340"/>
                    </a:cubicBezTo>
                    <a:lnTo>
                      <a:pt x="115888" y="53340"/>
                    </a:lnTo>
                    <a:lnTo>
                      <a:pt x="115888" y="46038"/>
                    </a:lnTo>
                    <a:cubicBezTo>
                      <a:pt x="115888" y="38100"/>
                      <a:pt x="113665" y="31750"/>
                      <a:pt x="109220" y="27305"/>
                    </a:cubicBezTo>
                    <a:cubicBezTo>
                      <a:pt x="104775" y="22860"/>
                      <a:pt x="98742" y="20638"/>
                      <a:pt x="91122" y="20638"/>
                    </a:cubicBezTo>
                    <a:cubicBezTo>
                      <a:pt x="86042" y="21273"/>
                      <a:pt x="81597" y="22225"/>
                      <a:pt x="77470" y="24448"/>
                    </a:cubicBezTo>
                    <a:moveTo>
                      <a:pt x="19050" y="62548"/>
                    </a:moveTo>
                    <a:cubicBezTo>
                      <a:pt x="17145" y="59690"/>
                      <a:pt x="16192" y="55880"/>
                      <a:pt x="16192" y="50165"/>
                    </a:cubicBezTo>
                    <a:cubicBezTo>
                      <a:pt x="16192" y="44768"/>
                      <a:pt x="17145" y="40640"/>
                      <a:pt x="19050" y="37783"/>
                    </a:cubicBezTo>
                    <a:cubicBezTo>
                      <a:pt x="20955" y="34925"/>
                      <a:pt x="23495" y="33338"/>
                      <a:pt x="26988" y="33338"/>
                    </a:cubicBezTo>
                    <a:cubicBezTo>
                      <a:pt x="31432" y="33338"/>
                      <a:pt x="34607" y="34925"/>
                      <a:pt x="36195" y="37783"/>
                    </a:cubicBezTo>
                    <a:cubicBezTo>
                      <a:pt x="37782" y="40640"/>
                      <a:pt x="38735" y="44768"/>
                      <a:pt x="38735" y="50165"/>
                    </a:cubicBezTo>
                    <a:lnTo>
                      <a:pt x="38735" y="51753"/>
                    </a:lnTo>
                    <a:cubicBezTo>
                      <a:pt x="38735" y="56833"/>
                      <a:pt x="37782" y="60325"/>
                      <a:pt x="35877" y="62865"/>
                    </a:cubicBezTo>
                    <a:cubicBezTo>
                      <a:pt x="34290" y="65405"/>
                      <a:pt x="31115" y="66675"/>
                      <a:pt x="26988" y="66675"/>
                    </a:cubicBezTo>
                    <a:cubicBezTo>
                      <a:pt x="23495" y="66675"/>
                      <a:pt x="20638" y="65405"/>
                      <a:pt x="19050" y="62548"/>
                    </a:cubicBezTo>
                    <a:moveTo>
                      <a:pt x="31432" y="76518"/>
                    </a:moveTo>
                    <a:cubicBezTo>
                      <a:pt x="33972" y="74930"/>
                      <a:pt x="35877" y="73025"/>
                      <a:pt x="37465" y="70803"/>
                    </a:cubicBezTo>
                    <a:lnTo>
                      <a:pt x="38100" y="70803"/>
                    </a:lnTo>
                    <a:lnTo>
                      <a:pt x="40957" y="78105"/>
                    </a:lnTo>
                    <a:lnTo>
                      <a:pt x="52388" y="78105"/>
                    </a:lnTo>
                    <a:lnTo>
                      <a:pt x="52388" y="953"/>
                    </a:lnTo>
                    <a:lnTo>
                      <a:pt x="37147" y="953"/>
                    </a:lnTo>
                    <a:lnTo>
                      <a:pt x="37147" y="18733"/>
                    </a:lnTo>
                    <a:cubicBezTo>
                      <a:pt x="37147" y="20955"/>
                      <a:pt x="37147" y="22860"/>
                      <a:pt x="37465" y="25083"/>
                    </a:cubicBezTo>
                    <a:cubicBezTo>
                      <a:pt x="37782" y="27305"/>
                      <a:pt x="38100" y="28575"/>
                      <a:pt x="38100" y="29845"/>
                    </a:cubicBezTo>
                    <a:lnTo>
                      <a:pt x="37465" y="29845"/>
                    </a:lnTo>
                    <a:cubicBezTo>
                      <a:pt x="35877" y="27623"/>
                      <a:pt x="33972" y="25718"/>
                      <a:pt x="31432" y="24130"/>
                    </a:cubicBezTo>
                    <a:cubicBezTo>
                      <a:pt x="28892" y="22543"/>
                      <a:pt x="25717" y="21908"/>
                      <a:pt x="21590" y="21908"/>
                    </a:cubicBezTo>
                    <a:cubicBezTo>
                      <a:pt x="15240" y="21908"/>
                      <a:pt x="10160" y="24448"/>
                      <a:pt x="6032" y="29210"/>
                    </a:cubicBezTo>
                    <a:cubicBezTo>
                      <a:pt x="2222" y="33973"/>
                      <a:pt x="0" y="41275"/>
                      <a:pt x="0" y="50800"/>
                    </a:cubicBezTo>
                    <a:cubicBezTo>
                      <a:pt x="0" y="60325"/>
                      <a:pt x="1905" y="67310"/>
                      <a:pt x="5715" y="72073"/>
                    </a:cubicBezTo>
                    <a:cubicBezTo>
                      <a:pt x="9525" y="76835"/>
                      <a:pt x="14605" y="79375"/>
                      <a:pt x="20955" y="79375"/>
                    </a:cubicBezTo>
                    <a:cubicBezTo>
                      <a:pt x="25717" y="78740"/>
                      <a:pt x="28892" y="78105"/>
                      <a:pt x="31432" y="76518"/>
                    </a:cubicBezTo>
                  </a:path>
                </a:pathLst>
              </a:custGeom>
              <a:solidFill>
                <a:srgbClr val="001965"/>
              </a:solidFill>
              <a:ln w="3175" cap="flat">
                <a:noFill/>
                <a:prstDash val="solid"/>
                <a:miter/>
              </a:ln>
            </p:spPr>
            <p:txBody>
              <a:bodyPr rtlCol="0" anchor="ctr"/>
              <a:lstStyle/>
              <a:p>
                <a:endParaRPr lang="en-GB">
                  <a:solidFill>
                    <a:srgbClr val="000000"/>
                  </a:solidFill>
                  <a:latin typeface="Verdana"/>
                </a:endParaRPr>
              </a:p>
            </p:txBody>
          </p:sp>
          <p:sp>
            <p:nvSpPr>
              <p:cNvPr id="30" name="Freeform: Shape 29">
                <a:extLst>
                  <a:ext uri="{FF2B5EF4-FFF2-40B4-BE49-F238E27FC236}">
                    <a16:creationId xmlns:a16="http://schemas.microsoft.com/office/drawing/2014/main" id="{10D2C9BF-C9DB-45BD-A030-33F322D2DE06}"/>
                  </a:ext>
                </a:extLst>
              </p:cNvPr>
              <p:cNvSpPr/>
              <p:nvPr/>
            </p:nvSpPr>
            <p:spPr>
              <a:xfrm>
                <a:off x="4133215" y="2352040"/>
                <a:ext cx="889000" cy="101600"/>
              </a:xfrm>
              <a:custGeom>
                <a:avLst/>
                <a:gdLst>
                  <a:gd name="connsiteX0" fmla="*/ 854075 w 889000"/>
                  <a:gd name="connsiteY0" fmla="*/ 36830 h 101600"/>
                  <a:gd name="connsiteX1" fmla="*/ 862647 w 889000"/>
                  <a:gd name="connsiteY1" fmla="*/ 32702 h 101600"/>
                  <a:gd name="connsiteX2" fmla="*/ 871538 w 889000"/>
                  <a:gd name="connsiteY2" fmla="*/ 36830 h 101600"/>
                  <a:gd name="connsiteX3" fmla="*/ 874077 w 889000"/>
                  <a:gd name="connsiteY3" fmla="*/ 49213 h 101600"/>
                  <a:gd name="connsiteX4" fmla="*/ 871538 w 889000"/>
                  <a:gd name="connsiteY4" fmla="*/ 61595 h 101600"/>
                  <a:gd name="connsiteX5" fmla="*/ 862965 w 889000"/>
                  <a:gd name="connsiteY5" fmla="*/ 65723 h 101600"/>
                  <a:gd name="connsiteX6" fmla="*/ 854075 w 889000"/>
                  <a:gd name="connsiteY6" fmla="*/ 61595 h 101600"/>
                  <a:gd name="connsiteX7" fmla="*/ 851535 w 889000"/>
                  <a:gd name="connsiteY7" fmla="*/ 49213 h 101600"/>
                  <a:gd name="connsiteX8" fmla="*/ 854075 w 889000"/>
                  <a:gd name="connsiteY8" fmla="*/ 36830 h 101600"/>
                  <a:gd name="connsiteX9" fmla="*/ 886142 w 889000"/>
                  <a:gd name="connsiteY9" fmla="*/ 33655 h 101600"/>
                  <a:gd name="connsiteX10" fmla="*/ 876617 w 889000"/>
                  <a:gd name="connsiteY10" fmla="*/ 23813 h 101600"/>
                  <a:gd name="connsiteX11" fmla="*/ 862647 w 889000"/>
                  <a:gd name="connsiteY11" fmla="*/ 20320 h 101600"/>
                  <a:gd name="connsiteX12" fmla="*/ 842963 w 889000"/>
                  <a:gd name="connsiteY12" fmla="*/ 27623 h 101600"/>
                  <a:gd name="connsiteX13" fmla="*/ 835660 w 889000"/>
                  <a:gd name="connsiteY13" fmla="*/ 48895 h 101600"/>
                  <a:gd name="connsiteX14" fmla="*/ 839152 w 889000"/>
                  <a:gd name="connsiteY14" fmla="*/ 64452 h 101600"/>
                  <a:gd name="connsiteX15" fmla="*/ 848677 w 889000"/>
                  <a:gd name="connsiteY15" fmla="*/ 74295 h 101600"/>
                  <a:gd name="connsiteX16" fmla="*/ 862330 w 889000"/>
                  <a:gd name="connsiteY16" fmla="*/ 77788 h 101600"/>
                  <a:gd name="connsiteX17" fmla="*/ 882015 w 889000"/>
                  <a:gd name="connsiteY17" fmla="*/ 70168 h 101600"/>
                  <a:gd name="connsiteX18" fmla="*/ 889317 w 889000"/>
                  <a:gd name="connsiteY18" fmla="*/ 48895 h 101600"/>
                  <a:gd name="connsiteX19" fmla="*/ 886142 w 889000"/>
                  <a:gd name="connsiteY19" fmla="*/ 33655 h 101600"/>
                  <a:gd name="connsiteX20" fmla="*/ 813752 w 889000"/>
                  <a:gd name="connsiteY20" fmla="*/ 64452 h 101600"/>
                  <a:gd name="connsiteX21" fmla="*/ 811847 w 889000"/>
                  <a:gd name="connsiteY21" fmla="*/ 59690 h 101600"/>
                  <a:gd name="connsiteX22" fmla="*/ 811847 w 889000"/>
                  <a:gd name="connsiteY22" fmla="*/ 33020 h 101600"/>
                  <a:gd name="connsiteX23" fmla="*/ 827405 w 889000"/>
                  <a:gd name="connsiteY23" fmla="*/ 33020 h 101600"/>
                  <a:gd name="connsiteX24" fmla="*/ 827405 w 889000"/>
                  <a:gd name="connsiteY24" fmla="*/ 21590 h 101600"/>
                  <a:gd name="connsiteX25" fmla="*/ 811847 w 889000"/>
                  <a:gd name="connsiteY25" fmla="*/ 21590 h 101600"/>
                  <a:gd name="connsiteX26" fmla="*/ 811847 w 889000"/>
                  <a:gd name="connsiteY26" fmla="*/ 9843 h 101600"/>
                  <a:gd name="connsiteX27" fmla="*/ 802322 w 889000"/>
                  <a:gd name="connsiteY27" fmla="*/ 9843 h 101600"/>
                  <a:gd name="connsiteX28" fmla="*/ 797877 w 889000"/>
                  <a:gd name="connsiteY28" fmla="*/ 21590 h 101600"/>
                  <a:gd name="connsiteX29" fmla="*/ 789622 w 889000"/>
                  <a:gd name="connsiteY29" fmla="*/ 26670 h 101600"/>
                  <a:gd name="connsiteX30" fmla="*/ 789622 w 889000"/>
                  <a:gd name="connsiteY30" fmla="*/ 33020 h 101600"/>
                  <a:gd name="connsiteX31" fmla="*/ 796925 w 889000"/>
                  <a:gd name="connsiteY31" fmla="*/ 33020 h 101600"/>
                  <a:gd name="connsiteX32" fmla="*/ 796925 w 889000"/>
                  <a:gd name="connsiteY32" fmla="*/ 59690 h 101600"/>
                  <a:gd name="connsiteX33" fmla="*/ 799147 w 889000"/>
                  <a:gd name="connsiteY33" fmla="*/ 70802 h 101600"/>
                  <a:gd name="connsiteX34" fmla="*/ 805497 w 889000"/>
                  <a:gd name="connsiteY34" fmla="*/ 76518 h 101600"/>
                  <a:gd name="connsiteX35" fmla="*/ 814388 w 889000"/>
                  <a:gd name="connsiteY35" fmla="*/ 78105 h 101600"/>
                  <a:gd name="connsiteX36" fmla="*/ 822325 w 889000"/>
                  <a:gd name="connsiteY36" fmla="*/ 77470 h 101600"/>
                  <a:gd name="connsiteX37" fmla="*/ 828357 w 889000"/>
                  <a:gd name="connsiteY37" fmla="*/ 75565 h 101600"/>
                  <a:gd name="connsiteX38" fmla="*/ 828357 w 889000"/>
                  <a:gd name="connsiteY38" fmla="*/ 64135 h 101600"/>
                  <a:gd name="connsiteX39" fmla="*/ 823595 w 889000"/>
                  <a:gd name="connsiteY39" fmla="*/ 65405 h 101600"/>
                  <a:gd name="connsiteX40" fmla="*/ 818832 w 889000"/>
                  <a:gd name="connsiteY40" fmla="*/ 65723 h 101600"/>
                  <a:gd name="connsiteX41" fmla="*/ 813752 w 889000"/>
                  <a:gd name="connsiteY41" fmla="*/ 64452 h 101600"/>
                  <a:gd name="connsiteX42" fmla="*/ 739457 w 889000"/>
                  <a:gd name="connsiteY42" fmla="*/ 34925 h 101600"/>
                  <a:gd name="connsiteX43" fmla="*/ 741997 w 889000"/>
                  <a:gd name="connsiteY43" fmla="*/ 43180 h 101600"/>
                  <a:gd name="connsiteX44" fmla="*/ 720725 w 889000"/>
                  <a:gd name="connsiteY44" fmla="*/ 43180 h 101600"/>
                  <a:gd name="connsiteX45" fmla="*/ 724217 w 889000"/>
                  <a:gd name="connsiteY45" fmla="*/ 34290 h 101600"/>
                  <a:gd name="connsiteX46" fmla="*/ 731520 w 889000"/>
                  <a:gd name="connsiteY46" fmla="*/ 31433 h 101600"/>
                  <a:gd name="connsiteX47" fmla="*/ 739457 w 889000"/>
                  <a:gd name="connsiteY47" fmla="*/ 34925 h 101600"/>
                  <a:gd name="connsiteX48" fmla="*/ 717867 w 889000"/>
                  <a:gd name="connsiteY48" fmla="*/ 23813 h 101600"/>
                  <a:gd name="connsiteX49" fmla="*/ 708660 w 889000"/>
                  <a:gd name="connsiteY49" fmla="*/ 33655 h 101600"/>
                  <a:gd name="connsiteX50" fmla="*/ 705485 w 889000"/>
                  <a:gd name="connsiteY50" fmla="*/ 49848 h 101600"/>
                  <a:gd name="connsiteX51" fmla="*/ 709295 w 889000"/>
                  <a:gd name="connsiteY51" fmla="*/ 65723 h 101600"/>
                  <a:gd name="connsiteX52" fmla="*/ 719455 w 889000"/>
                  <a:gd name="connsiteY52" fmla="*/ 74930 h 101600"/>
                  <a:gd name="connsiteX53" fmla="*/ 734060 w 889000"/>
                  <a:gd name="connsiteY53" fmla="*/ 78105 h 101600"/>
                  <a:gd name="connsiteX54" fmla="*/ 744855 w 889000"/>
                  <a:gd name="connsiteY54" fmla="*/ 77152 h 101600"/>
                  <a:gd name="connsiteX55" fmla="*/ 753427 w 889000"/>
                  <a:gd name="connsiteY55" fmla="*/ 74295 h 101600"/>
                  <a:gd name="connsiteX56" fmla="*/ 753427 w 889000"/>
                  <a:gd name="connsiteY56" fmla="*/ 62548 h 101600"/>
                  <a:gd name="connsiteX57" fmla="*/ 744220 w 889000"/>
                  <a:gd name="connsiteY57" fmla="*/ 65723 h 101600"/>
                  <a:gd name="connsiteX58" fmla="*/ 734377 w 889000"/>
                  <a:gd name="connsiteY58" fmla="*/ 66675 h 101600"/>
                  <a:gd name="connsiteX59" fmla="*/ 724217 w 889000"/>
                  <a:gd name="connsiteY59" fmla="*/ 62865 h 101600"/>
                  <a:gd name="connsiteX60" fmla="*/ 720407 w 889000"/>
                  <a:gd name="connsiteY60" fmla="*/ 52705 h 101600"/>
                  <a:gd name="connsiteX61" fmla="*/ 756285 w 889000"/>
                  <a:gd name="connsiteY61" fmla="*/ 52705 h 101600"/>
                  <a:gd name="connsiteX62" fmla="*/ 756285 w 889000"/>
                  <a:gd name="connsiteY62" fmla="*/ 45402 h 101600"/>
                  <a:gd name="connsiteX63" fmla="*/ 749617 w 889000"/>
                  <a:gd name="connsiteY63" fmla="*/ 26670 h 101600"/>
                  <a:gd name="connsiteX64" fmla="*/ 731520 w 889000"/>
                  <a:gd name="connsiteY64" fmla="*/ 20002 h 101600"/>
                  <a:gd name="connsiteX65" fmla="*/ 717867 w 889000"/>
                  <a:gd name="connsiteY65" fmla="*/ 23813 h 101600"/>
                  <a:gd name="connsiteX66" fmla="*/ 675957 w 889000"/>
                  <a:gd name="connsiteY66" fmla="*/ 36830 h 101600"/>
                  <a:gd name="connsiteX67" fmla="*/ 678815 w 889000"/>
                  <a:gd name="connsiteY67" fmla="*/ 49530 h 101600"/>
                  <a:gd name="connsiteX68" fmla="*/ 678815 w 889000"/>
                  <a:gd name="connsiteY68" fmla="*/ 51435 h 101600"/>
                  <a:gd name="connsiteX69" fmla="*/ 675957 w 889000"/>
                  <a:gd name="connsiteY69" fmla="*/ 62865 h 101600"/>
                  <a:gd name="connsiteX70" fmla="*/ 667385 w 889000"/>
                  <a:gd name="connsiteY70" fmla="*/ 66040 h 101600"/>
                  <a:gd name="connsiteX71" fmla="*/ 656590 w 889000"/>
                  <a:gd name="connsiteY71" fmla="*/ 49530 h 101600"/>
                  <a:gd name="connsiteX72" fmla="*/ 667385 w 889000"/>
                  <a:gd name="connsiteY72" fmla="*/ 32702 h 101600"/>
                  <a:gd name="connsiteX73" fmla="*/ 675957 w 889000"/>
                  <a:gd name="connsiteY73" fmla="*/ 36830 h 101600"/>
                  <a:gd name="connsiteX74" fmla="*/ 646747 w 889000"/>
                  <a:gd name="connsiteY74" fmla="*/ 28258 h 101600"/>
                  <a:gd name="connsiteX75" fmla="*/ 641032 w 889000"/>
                  <a:gd name="connsiteY75" fmla="*/ 49530 h 101600"/>
                  <a:gd name="connsiteX76" fmla="*/ 646430 w 889000"/>
                  <a:gd name="connsiteY76" fmla="*/ 70485 h 101600"/>
                  <a:gd name="connsiteX77" fmla="*/ 661670 w 889000"/>
                  <a:gd name="connsiteY77" fmla="*/ 78105 h 101600"/>
                  <a:gd name="connsiteX78" fmla="*/ 670560 w 889000"/>
                  <a:gd name="connsiteY78" fmla="*/ 76200 h 101600"/>
                  <a:gd name="connsiteX79" fmla="*/ 677227 w 889000"/>
                  <a:gd name="connsiteY79" fmla="*/ 69850 h 101600"/>
                  <a:gd name="connsiteX80" fmla="*/ 677545 w 889000"/>
                  <a:gd name="connsiteY80" fmla="*/ 69850 h 101600"/>
                  <a:gd name="connsiteX81" fmla="*/ 677227 w 889000"/>
                  <a:gd name="connsiteY81" fmla="*/ 73025 h 101600"/>
                  <a:gd name="connsiteX82" fmla="*/ 677227 w 889000"/>
                  <a:gd name="connsiteY82" fmla="*/ 76518 h 101600"/>
                  <a:gd name="connsiteX83" fmla="*/ 677227 w 889000"/>
                  <a:gd name="connsiteY83" fmla="*/ 77788 h 101600"/>
                  <a:gd name="connsiteX84" fmla="*/ 665480 w 889000"/>
                  <a:gd name="connsiteY84" fmla="*/ 90488 h 101600"/>
                  <a:gd name="connsiteX85" fmla="*/ 643890 w 889000"/>
                  <a:gd name="connsiteY85" fmla="*/ 86360 h 101600"/>
                  <a:gd name="connsiteX86" fmla="*/ 643890 w 889000"/>
                  <a:gd name="connsiteY86" fmla="*/ 98425 h 101600"/>
                  <a:gd name="connsiteX87" fmla="*/ 653732 w 889000"/>
                  <a:gd name="connsiteY87" fmla="*/ 100965 h 101600"/>
                  <a:gd name="connsiteX88" fmla="*/ 664527 w 889000"/>
                  <a:gd name="connsiteY88" fmla="*/ 101600 h 101600"/>
                  <a:gd name="connsiteX89" fmla="*/ 685165 w 889000"/>
                  <a:gd name="connsiteY89" fmla="*/ 95250 h 101600"/>
                  <a:gd name="connsiteX90" fmla="*/ 692150 w 889000"/>
                  <a:gd name="connsiteY90" fmla="*/ 77152 h 101600"/>
                  <a:gd name="connsiteX91" fmla="*/ 692150 w 889000"/>
                  <a:gd name="connsiteY91" fmla="*/ 21590 h 101600"/>
                  <a:gd name="connsiteX92" fmla="*/ 679450 w 889000"/>
                  <a:gd name="connsiteY92" fmla="*/ 21590 h 101600"/>
                  <a:gd name="connsiteX93" fmla="*/ 678180 w 889000"/>
                  <a:gd name="connsiteY93" fmla="*/ 28575 h 101600"/>
                  <a:gd name="connsiteX94" fmla="*/ 677863 w 889000"/>
                  <a:gd name="connsiteY94" fmla="*/ 28575 h 101600"/>
                  <a:gd name="connsiteX95" fmla="*/ 661670 w 889000"/>
                  <a:gd name="connsiteY95" fmla="*/ 20320 h 101600"/>
                  <a:gd name="connsiteX96" fmla="*/ 646747 w 889000"/>
                  <a:gd name="connsiteY96" fmla="*/ 28258 h 101600"/>
                  <a:gd name="connsiteX97" fmla="*/ 599440 w 889000"/>
                  <a:gd name="connsiteY97" fmla="*/ 22543 h 101600"/>
                  <a:gd name="connsiteX98" fmla="*/ 592138 w 889000"/>
                  <a:gd name="connsiteY98" fmla="*/ 28893 h 101600"/>
                  <a:gd name="connsiteX99" fmla="*/ 591185 w 889000"/>
                  <a:gd name="connsiteY99" fmla="*/ 28893 h 101600"/>
                  <a:gd name="connsiteX100" fmla="*/ 589280 w 889000"/>
                  <a:gd name="connsiteY100" fmla="*/ 21908 h 101600"/>
                  <a:gd name="connsiteX101" fmla="*/ 577850 w 889000"/>
                  <a:gd name="connsiteY101" fmla="*/ 21908 h 101600"/>
                  <a:gd name="connsiteX102" fmla="*/ 577850 w 889000"/>
                  <a:gd name="connsiteY102" fmla="*/ 77470 h 101600"/>
                  <a:gd name="connsiteX103" fmla="*/ 593090 w 889000"/>
                  <a:gd name="connsiteY103" fmla="*/ 77470 h 101600"/>
                  <a:gd name="connsiteX104" fmla="*/ 593090 w 889000"/>
                  <a:gd name="connsiteY104" fmla="*/ 51435 h 101600"/>
                  <a:gd name="connsiteX105" fmla="*/ 595630 w 889000"/>
                  <a:gd name="connsiteY105" fmla="*/ 37783 h 101600"/>
                  <a:gd name="connsiteX106" fmla="*/ 605155 w 889000"/>
                  <a:gd name="connsiteY106" fmla="*/ 33020 h 101600"/>
                  <a:gd name="connsiteX107" fmla="*/ 611822 w 889000"/>
                  <a:gd name="connsiteY107" fmla="*/ 35877 h 101600"/>
                  <a:gd name="connsiteX108" fmla="*/ 614045 w 889000"/>
                  <a:gd name="connsiteY108" fmla="*/ 44768 h 101600"/>
                  <a:gd name="connsiteX109" fmla="*/ 614045 w 889000"/>
                  <a:gd name="connsiteY109" fmla="*/ 77152 h 101600"/>
                  <a:gd name="connsiteX110" fmla="*/ 629285 w 889000"/>
                  <a:gd name="connsiteY110" fmla="*/ 77152 h 101600"/>
                  <a:gd name="connsiteX111" fmla="*/ 629285 w 889000"/>
                  <a:gd name="connsiteY111" fmla="*/ 40958 h 101600"/>
                  <a:gd name="connsiteX112" fmla="*/ 623888 w 889000"/>
                  <a:gd name="connsiteY112" fmla="*/ 25400 h 101600"/>
                  <a:gd name="connsiteX113" fmla="*/ 609600 w 889000"/>
                  <a:gd name="connsiteY113" fmla="*/ 20638 h 101600"/>
                  <a:gd name="connsiteX114" fmla="*/ 599440 w 889000"/>
                  <a:gd name="connsiteY114" fmla="*/ 22543 h 101600"/>
                  <a:gd name="connsiteX115" fmla="*/ 547052 w 889000"/>
                  <a:gd name="connsiteY115" fmla="*/ 55880 h 101600"/>
                  <a:gd name="connsiteX116" fmla="*/ 543560 w 889000"/>
                  <a:gd name="connsiteY116" fmla="*/ 64135 h 101600"/>
                  <a:gd name="connsiteX117" fmla="*/ 535305 w 889000"/>
                  <a:gd name="connsiteY117" fmla="*/ 66993 h 101600"/>
                  <a:gd name="connsiteX118" fmla="*/ 529907 w 889000"/>
                  <a:gd name="connsiteY118" fmla="*/ 65405 h 101600"/>
                  <a:gd name="connsiteX119" fmla="*/ 528002 w 889000"/>
                  <a:gd name="connsiteY119" fmla="*/ 60325 h 101600"/>
                  <a:gd name="connsiteX120" fmla="*/ 530860 w 889000"/>
                  <a:gd name="connsiteY120" fmla="*/ 53975 h 101600"/>
                  <a:gd name="connsiteX121" fmla="*/ 541020 w 889000"/>
                  <a:gd name="connsiteY121" fmla="*/ 51435 h 101600"/>
                  <a:gd name="connsiteX122" fmla="*/ 547052 w 889000"/>
                  <a:gd name="connsiteY122" fmla="*/ 51118 h 101600"/>
                  <a:gd name="connsiteX123" fmla="*/ 547052 w 889000"/>
                  <a:gd name="connsiteY123" fmla="*/ 55880 h 101600"/>
                  <a:gd name="connsiteX124" fmla="*/ 527685 w 889000"/>
                  <a:gd name="connsiteY124" fmla="*/ 21908 h 101600"/>
                  <a:gd name="connsiteX125" fmla="*/ 517842 w 889000"/>
                  <a:gd name="connsiteY125" fmla="*/ 25400 h 101600"/>
                  <a:gd name="connsiteX126" fmla="*/ 522922 w 889000"/>
                  <a:gd name="connsiteY126" fmla="*/ 35560 h 101600"/>
                  <a:gd name="connsiteX127" fmla="*/ 530542 w 889000"/>
                  <a:gd name="connsiteY127" fmla="*/ 32702 h 101600"/>
                  <a:gd name="connsiteX128" fmla="*/ 538480 w 889000"/>
                  <a:gd name="connsiteY128" fmla="*/ 31433 h 101600"/>
                  <a:gd name="connsiteX129" fmla="*/ 544830 w 889000"/>
                  <a:gd name="connsiteY129" fmla="*/ 33338 h 101600"/>
                  <a:gd name="connsiteX130" fmla="*/ 547052 w 889000"/>
                  <a:gd name="connsiteY130" fmla="*/ 39688 h 101600"/>
                  <a:gd name="connsiteX131" fmla="*/ 547052 w 889000"/>
                  <a:gd name="connsiteY131" fmla="*/ 42227 h 101600"/>
                  <a:gd name="connsiteX132" fmla="*/ 537527 w 889000"/>
                  <a:gd name="connsiteY132" fmla="*/ 42545 h 101600"/>
                  <a:gd name="connsiteX133" fmla="*/ 518795 w 889000"/>
                  <a:gd name="connsiteY133" fmla="*/ 47308 h 101600"/>
                  <a:gd name="connsiteX134" fmla="*/ 512445 w 889000"/>
                  <a:gd name="connsiteY134" fmla="*/ 60325 h 101600"/>
                  <a:gd name="connsiteX135" fmla="*/ 517207 w 889000"/>
                  <a:gd name="connsiteY135" fmla="*/ 73660 h 101600"/>
                  <a:gd name="connsiteX136" fmla="*/ 529590 w 889000"/>
                  <a:gd name="connsiteY136" fmla="*/ 77788 h 101600"/>
                  <a:gd name="connsiteX137" fmla="*/ 540385 w 889000"/>
                  <a:gd name="connsiteY137" fmla="*/ 75883 h 101600"/>
                  <a:gd name="connsiteX138" fmla="*/ 548005 w 889000"/>
                  <a:gd name="connsiteY138" fmla="*/ 69533 h 101600"/>
                  <a:gd name="connsiteX139" fmla="*/ 548322 w 889000"/>
                  <a:gd name="connsiteY139" fmla="*/ 69533 h 101600"/>
                  <a:gd name="connsiteX140" fmla="*/ 551180 w 889000"/>
                  <a:gd name="connsiteY140" fmla="*/ 77152 h 101600"/>
                  <a:gd name="connsiteX141" fmla="*/ 561657 w 889000"/>
                  <a:gd name="connsiteY141" fmla="*/ 77152 h 101600"/>
                  <a:gd name="connsiteX142" fmla="*/ 561657 w 889000"/>
                  <a:gd name="connsiteY142" fmla="*/ 40323 h 101600"/>
                  <a:gd name="connsiteX143" fmla="*/ 555625 w 889000"/>
                  <a:gd name="connsiteY143" fmla="*/ 25400 h 101600"/>
                  <a:gd name="connsiteX144" fmla="*/ 538480 w 889000"/>
                  <a:gd name="connsiteY144" fmla="*/ 20638 h 101600"/>
                  <a:gd name="connsiteX145" fmla="*/ 527685 w 889000"/>
                  <a:gd name="connsiteY145" fmla="*/ 21908 h 101600"/>
                  <a:gd name="connsiteX146" fmla="*/ 449580 w 889000"/>
                  <a:gd name="connsiteY146" fmla="*/ 0 h 101600"/>
                  <a:gd name="connsiteX147" fmla="*/ 449580 w 889000"/>
                  <a:gd name="connsiteY147" fmla="*/ 77152 h 101600"/>
                  <a:gd name="connsiteX148" fmla="*/ 464820 w 889000"/>
                  <a:gd name="connsiteY148" fmla="*/ 77152 h 101600"/>
                  <a:gd name="connsiteX149" fmla="*/ 464820 w 889000"/>
                  <a:gd name="connsiteY149" fmla="*/ 51118 h 101600"/>
                  <a:gd name="connsiteX150" fmla="*/ 467360 w 889000"/>
                  <a:gd name="connsiteY150" fmla="*/ 37465 h 101600"/>
                  <a:gd name="connsiteX151" fmla="*/ 476885 w 889000"/>
                  <a:gd name="connsiteY151" fmla="*/ 32702 h 101600"/>
                  <a:gd name="connsiteX152" fmla="*/ 485775 w 889000"/>
                  <a:gd name="connsiteY152" fmla="*/ 44768 h 101600"/>
                  <a:gd name="connsiteX153" fmla="*/ 485775 w 889000"/>
                  <a:gd name="connsiteY153" fmla="*/ 77152 h 101600"/>
                  <a:gd name="connsiteX154" fmla="*/ 501015 w 889000"/>
                  <a:gd name="connsiteY154" fmla="*/ 77152 h 101600"/>
                  <a:gd name="connsiteX155" fmla="*/ 501015 w 889000"/>
                  <a:gd name="connsiteY155" fmla="*/ 40958 h 101600"/>
                  <a:gd name="connsiteX156" fmla="*/ 495617 w 889000"/>
                  <a:gd name="connsiteY156" fmla="*/ 25400 h 101600"/>
                  <a:gd name="connsiteX157" fmla="*/ 481330 w 889000"/>
                  <a:gd name="connsiteY157" fmla="*/ 20638 h 101600"/>
                  <a:gd name="connsiteX158" fmla="*/ 472122 w 889000"/>
                  <a:gd name="connsiteY158" fmla="*/ 22543 h 101600"/>
                  <a:gd name="connsiteX159" fmla="*/ 465455 w 889000"/>
                  <a:gd name="connsiteY159" fmla="*/ 28893 h 101600"/>
                  <a:gd name="connsiteX160" fmla="*/ 464502 w 889000"/>
                  <a:gd name="connsiteY160" fmla="*/ 28893 h 101600"/>
                  <a:gd name="connsiteX161" fmla="*/ 464820 w 889000"/>
                  <a:gd name="connsiteY161" fmla="*/ 23813 h 101600"/>
                  <a:gd name="connsiteX162" fmla="*/ 465138 w 889000"/>
                  <a:gd name="connsiteY162" fmla="*/ 15875 h 101600"/>
                  <a:gd name="connsiteX163" fmla="*/ 465138 w 889000"/>
                  <a:gd name="connsiteY163" fmla="*/ 0 h 101600"/>
                  <a:gd name="connsiteX164" fmla="*/ 449580 w 889000"/>
                  <a:gd name="connsiteY164" fmla="*/ 0 h 101600"/>
                  <a:gd name="connsiteX165" fmla="*/ 429577 w 889000"/>
                  <a:gd name="connsiteY165" fmla="*/ 77152 h 101600"/>
                  <a:gd name="connsiteX166" fmla="*/ 436880 w 889000"/>
                  <a:gd name="connsiteY166" fmla="*/ 73977 h 101600"/>
                  <a:gd name="connsiteX167" fmla="*/ 436880 w 889000"/>
                  <a:gd name="connsiteY167" fmla="*/ 60960 h 101600"/>
                  <a:gd name="connsiteX168" fmla="*/ 429895 w 889000"/>
                  <a:gd name="connsiteY168" fmla="*/ 64452 h 101600"/>
                  <a:gd name="connsiteX169" fmla="*/ 421322 w 889000"/>
                  <a:gd name="connsiteY169" fmla="*/ 65723 h 101600"/>
                  <a:gd name="connsiteX170" fmla="*/ 412750 w 889000"/>
                  <a:gd name="connsiteY170" fmla="*/ 61913 h 101600"/>
                  <a:gd name="connsiteX171" fmla="*/ 409575 w 889000"/>
                  <a:gd name="connsiteY171" fmla="*/ 49530 h 101600"/>
                  <a:gd name="connsiteX172" fmla="*/ 421322 w 889000"/>
                  <a:gd name="connsiteY172" fmla="*/ 32702 h 101600"/>
                  <a:gd name="connsiteX173" fmla="*/ 427355 w 889000"/>
                  <a:gd name="connsiteY173" fmla="*/ 33655 h 101600"/>
                  <a:gd name="connsiteX174" fmla="*/ 434022 w 889000"/>
                  <a:gd name="connsiteY174" fmla="*/ 35877 h 101600"/>
                  <a:gd name="connsiteX175" fmla="*/ 438467 w 889000"/>
                  <a:gd name="connsiteY175" fmla="*/ 24130 h 101600"/>
                  <a:gd name="connsiteX176" fmla="*/ 431165 w 889000"/>
                  <a:gd name="connsiteY176" fmla="*/ 21590 h 101600"/>
                  <a:gd name="connsiteX177" fmla="*/ 421322 w 889000"/>
                  <a:gd name="connsiteY177" fmla="*/ 20320 h 101600"/>
                  <a:gd name="connsiteX178" fmla="*/ 407035 w 889000"/>
                  <a:gd name="connsiteY178" fmla="*/ 23495 h 101600"/>
                  <a:gd name="connsiteX179" fmla="*/ 397510 w 889000"/>
                  <a:gd name="connsiteY179" fmla="*/ 33020 h 101600"/>
                  <a:gd name="connsiteX180" fmla="*/ 394017 w 889000"/>
                  <a:gd name="connsiteY180" fmla="*/ 49530 h 101600"/>
                  <a:gd name="connsiteX181" fmla="*/ 400685 w 889000"/>
                  <a:gd name="connsiteY181" fmla="*/ 71120 h 101600"/>
                  <a:gd name="connsiteX182" fmla="*/ 419735 w 889000"/>
                  <a:gd name="connsiteY182" fmla="*/ 77788 h 101600"/>
                  <a:gd name="connsiteX183" fmla="*/ 429577 w 889000"/>
                  <a:gd name="connsiteY183" fmla="*/ 77152 h 101600"/>
                  <a:gd name="connsiteX184" fmla="*/ 338138 w 889000"/>
                  <a:gd name="connsiteY184" fmla="*/ 36830 h 101600"/>
                  <a:gd name="connsiteX185" fmla="*/ 340995 w 889000"/>
                  <a:gd name="connsiteY185" fmla="*/ 49530 h 101600"/>
                  <a:gd name="connsiteX186" fmla="*/ 340995 w 889000"/>
                  <a:gd name="connsiteY186" fmla="*/ 51435 h 101600"/>
                  <a:gd name="connsiteX187" fmla="*/ 338138 w 889000"/>
                  <a:gd name="connsiteY187" fmla="*/ 62865 h 101600"/>
                  <a:gd name="connsiteX188" fmla="*/ 329565 w 889000"/>
                  <a:gd name="connsiteY188" fmla="*/ 66040 h 101600"/>
                  <a:gd name="connsiteX189" fmla="*/ 318770 w 889000"/>
                  <a:gd name="connsiteY189" fmla="*/ 49530 h 101600"/>
                  <a:gd name="connsiteX190" fmla="*/ 329565 w 889000"/>
                  <a:gd name="connsiteY190" fmla="*/ 32702 h 101600"/>
                  <a:gd name="connsiteX191" fmla="*/ 338138 w 889000"/>
                  <a:gd name="connsiteY191" fmla="*/ 36830 h 101600"/>
                  <a:gd name="connsiteX192" fmla="*/ 308927 w 889000"/>
                  <a:gd name="connsiteY192" fmla="*/ 28258 h 101600"/>
                  <a:gd name="connsiteX193" fmla="*/ 303213 w 889000"/>
                  <a:gd name="connsiteY193" fmla="*/ 49530 h 101600"/>
                  <a:gd name="connsiteX194" fmla="*/ 308610 w 889000"/>
                  <a:gd name="connsiteY194" fmla="*/ 70485 h 101600"/>
                  <a:gd name="connsiteX195" fmla="*/ 323850 w 889000"/>
                  <a:gd name="connsiteY195" fmla="*/ 78105 h 101600"/>
                  <a:gd name="connsiteX196" fmla="*/ 332740 w 889000"/>
                  <a:gd name="connsiteY196" fmla="*/ 76200 h 101600"/>
                  <a:gd name="connsiteX197" fmla="*/ 339407 w 889000"/>
                  <a:gd name="connsiteY197" fmla="*/ 69850 h 101600"/>
                  <a:gd name="connsiteX198" fmla="*/ 339725 w 889000"/>
                  <a:gd name="connsiteY198" fmla="*/ 69850 h 101600"/>
                  <a:gd name="connsiteX199" fmla="*/ 339407 w 889000"/>
                  <a:gd name="connsiteY199" fmla="*/ 73025 h 101600"/>
                  <a:gd name="connsiteX200" fmla="*/ 339407 w 889000"/>
                  <a:gd name="connsiteY200" fmla="*/ 76518 h 101600"/>
                  <a:gd name="connsiteX201" fmla="*/ 339407 w 889000"/>
                  <a:gd name="connsiteY201" fmla="*/ 77788 h 101600"/>
                  <a:gd name="connsiteX202" fmla="*/ 327660 w 889000"/>
                  <a:gd name="connsiteY202" fmla="*/ 90488 h 101600"/>
                  <a:gd name="connsiteX203" fmla="*/ 306070 w 889000"/>
                  <a:gd name="connsiteY203" fmla="*/ 86360 h 101600"/>
                  <a:gd name="connsiteX204" fmla="*/ 306070 w 889000"/>
                  <a:gd name="connsiteY204" fmla="*/ 98425 h 101600"/>
                  <a:gd name="connsiteX205" fmla="*/ 315913 w 889000"/>
                  <a:gd name="connsiteY205" fmla="*/ 100965 h 101600"/>
                  <a:gd name="connsiteX206" fmla="*/ 326707 w 889000"/>
                  <a:gd name="connsiteY206" fmla="*/ 101600 h 101600"/>
                  <a:gd name="connsiteX207" fmla="*/ 347345 w 889000"/>
                  <a:gd name="connsiteY207" fmla="*/ 95250 h 101600"/>
                  <a:gd name="connsiteX208" fmla="*/ 354330 w 889000"/>
                  <a:gd name="connsiteY208" fmla="*/ 77152 h 101600"/>
                  <a:gd name="connsiteX209" fmla="*/ 354330 w 889000"/>
                  <a:gd name="connsiteY209" fmla="*/ 21590 h 101600"/>
                  <a:gd name="connsiteX210" fmla="*/ 341630 w 889000"/>
                  <a:gd name="connsiteY210" fmla="*/ 21590 h 101600"/>
                  <a:gd name="connsiteX211" fmla="*/ 340360 w 889000"/>
                  <a:gd name="connsiteY211" fmla="*/ 28575 h 101600"/>
                  <a:gd name="connsiteX212" fmla="*/ 340042 w 889000"/>
                  <a:gd name="connsiteY212" fmla="*/ 28575 h 101600"/>
                  <a:gd name="connsiteX213" fmla="*/ 323850 w 889000"/>
                  <a:gd name="connsiteY213" fmla="*/ 20320 h 101600"/>
                  <a:gd name="connsiteX214" fmla="*/ 308927 w 889000"/>
                  <a:gd name="connsiteY214" fmla="*/ 28258 h 101600"/>
                  <a:gd name="connsiteX215" fmla="*/ 261620 w 889000"/>
                  <a:gd name="connsiteY215" fmla="*/ 22543 h 101600"/>
                  <a:gd name="connsiteX216" fmla="*/ 254317 w 889000"/>
                  <a:gd name="connsiteY216" fmla="*/ 28893 h 101600"/>
                  <a:gd name="connsiteX217" fmla="*/ 253365 w 889000"/>
                  <a:gd name="connsiteY217" fmla="*/ 28893 h 101600"/>
                  <a:gd name="connsiteX218" fmla="*/ 251460 w 889000"/>
                  <a:gd name="connsiteY218" fmla="*/ 21908 h 101600"/>
                  <a:gd name="connsiteX219" fmla="*/ 240030 w 889000"/>
                  <a:gd name="connsiteY219" fmla="*/ 21908 h 101600"/>
                  <a:gd name="connsiteX220" fmla="*/ 240030 w 889000"/>
                  <a:gd name="connsiteY220" fmla="*/ 77470 h 101600"/>
                  <a:gd name="connsiteX221" fmla="*/ 255270 w 889000"/>
                  <a:gd name="connsiteY221" fmla="*/ 77470 h 101600"/>
                  <a:gd name="connsiteX222" fmla="*/ 255270 w 889000"/>
                  <a:gd name="connsiteY222" fmla="*/ 51435 h 101600"/>
                  <a:gd name="connsiteX223" fmla="*/ 257810 w 889000"/>
                  <a:gd name="connsiteY223" fmla="*/ 37783 h 101600"/>
                  <a:gd name="connsiteX224" fmla="*/ 267335 w 889000"/>
                  <a:gd name="connsiteY224" fmla="*/ 33020 h 101600"/>
                  <a:gd name="connsiteX225" fmla="*/ 274002 w 889000"/>
                  <a:gd name="connsiteY225" fmla="*/ 35877 h 101600"/>
                  <a:gd name="connsiteX226" fmla="*/ 276225 w 889000"/>
                  <a:gd name="connsiteY226" fmla="*/ 44768 h 101600"/>
                  <a:gd name="connsiteX227" fmla="*/ 276225 w 889000"/>
                  <a:gd name="connsiteY227" fmla="*/ 77152 h 101600"/>
                  <a:gd name="connsiteX228" fmla="*/ 291465 w 889000"/>
                  <a:gd name="connsiteY228" fmla="*/ 77152 h 101600"/>
                  <a:gd name="connsiteX229" fmla="*/ 291465 w 889000"/>
                  <a:gd name="connsiteY229" fmla="*/ 40958 h 101600"/>
                  <a:gd name="connsiteX230" fmla="*/ 286067 w 889000"/>
                  <a:gd name="connsiteY230" fmla="*/ 25400 h 101600"/>
                  <a:gd name="connsiteX231" fmla="*/ 271780 w 889000"/>
                  <a:gd name="connsiteY231" fmla="*/ 20638 h 101600"/>
                  <a:gd name="connsiteX232" fmla="*/ 261620 w 889000"/>
                  <a:gd name="connsiteY232" fmla="*/ 22543 h 101600"/>
                  <a:gd name="connsiteX233" fmla="*/ 208915 w 889000"/>
                  <a:gd name="connsiteY233" fmla="*/ 77152 h 101600"/>
                  <a:gd name="connsiteX234" fmla="*/ 224155 w 889000"/>
                  <a:gd name="connsiteY234" fmla="*/ 77152 h 101600"/>
                  <a:gd name="connsiteX235" fmla="*/ 224155 w 889000"/>
                  <a:gd name="connsiteY235" fmla="*/ 21590 h 101600"/>
                  <a:gd name="connsiteX236" fmla="*/ 208915 w 889000"/>
                  <a:gd name="connsiteY236" fmla="*/ 21590 h 101600"/>
                  <a:gd name="connsiteX237" fmla="*/ 208915 w 889000"/>
                  <a:gd name="connsiteY237" fmla="*/ 77152 h 101600"/>
                  <a:gd name="connsiteX238" fmla="*/ 210820 w 889000"/>
                  <a:gd name="connsiteY238" fmla="*/ 1588 h 101600"/>
                  <a:gd name="connsiteX239" fmla="*/ 208280 w 889000"/>
                  <a:gd name="connsiteY239" fmla="*/ 7302 h 101600"/>
                  <a:gd name="connsiteX240" fmla="*/ 210820 w 889000"/>
                  <a:gd name="connsiteY240" fmla="*/ 13018 h 101600"/>
                  <a:gd name="connsiteX241" fmla="*/ 216535 w 889000"/>
                  <a:gd name="connsiteY241" fmla="*/ 14605 h 101600"/>
                  <a:gd name="connsiteX242" fmla="*/ 222250 w 889000"/>
                  <a:gd name="connsiteY242" fmla="*/ 13018 h 101600"/>
                  <a:gd name="connsiteX243" fmla="*/ 224790 w 889000"/>
                  <a:gd name="connsiteY243" fmla="*/ 7302 h 101600"/>
                  <a:gd name="connsiteX244" fmla="*/ 222250 w 889000"/>
                  <a:gd name="connsiteY244" fmla="*/ 1588 h 101600"/>
                  <a:gd name="connsiteX245" fmla="*/ 216535 w 889000"/>
                  <a:gd name="connsiteY245" fmla="*/ 0 h 101600"/>
                  <a:gd name="connsiteX246" fmla="*/ 210820 w 889000"/>
                  <a:gd name="connsiteY246" fmla="*/ 1588 h 101600"/>
                  <a:gd name="connsiteX247" fmla="*/ 179705 w 889000"/>
                  <a:gd name="connsiteY247" fmla="*/ 77152 h 101600"/>
                  <a:gd name="connsiteX248" fmla="*/ 200977 w 889000"/>
                  <a:gd name="connsiteY248" fmla="*/ 21590 h 101600"/>
                  <a:gd name="connsiteX249" fmla="*/ 185102 w 889000"/>
                  <a:gd name="connsiteY249" fmla="*/ 21590 h 101600"/>
                  <a:gd name="connsiteX250" fmla="*/ 174307 w 889000"/>
                  <a:gd name="connsiteY250" fmla="*/ 53340 h 101600"/>
                  <a:gd name="connsiteX251" fmla="*/ 172085 w 889000"/>
                  <a:gd name="connsiteY251" fmla="*/ 64770 h 101600"/>
                  <a:gd name="connsiteX252" fmla="*/ 171767 w 889000"/>
                  <a:gd name="connsiteY252" fmla="*/ 64770 h 101600"/>
                  <a:gd name="connsiteX253" fmla="*/ 171132 w 889000"/>
                  <a:gd name="connsiteY253" fmla="*/ 59373 h 101600"/>
                  <a:gd name="connsiteX254" fmla="*/ 169863 w 889000"/>
                  <a:gd name="connsiteY254" fmla="*/ 53340 h 101600"/>
                  <a:gd name="connsiteX255" fmla="*/ 159067 w 889000"/>
                  <a:gd name="connsiteY255" fmla="*/ 21590 h 101600"/>
                  <a:gd name="connsiteX256" fmla="*/ 143192 w 889000"/>
                  <a:gd name="connsiteY256" fmla="*/ 21590 h 101600"/>
                  <a:gd name="connsiteX257" fmla="*/ 164465 w 889000"/>
                  <a:gd name="connsiteY257" fmla="*/ 77152 h 101600"/>
                  <a:gd name="connsiteX258" fmla="*/ 179705 w 889000"/>
                  <a:gd name="connsiteY258" fmla="*/ 77152 h 101600"/>
                  <a:gd name="connsiteX259" fmla="*/ 120015 w 889000"/>
                  <a:gd name="connsiteY259" fmla="*/ 77152 h 101600"/>
                  <a:gd name="connsiteX260" fmla="*/ 135255 w 889000"/>
                  <a:gd name="connsiteY260" fmla="*/ 77152 h 101600"/>
                  <a:gd name="connsiteX261" fmla="*/ 135255 w 889000"/>
                  <a:gd name="connsiteY261" fmla="*/ 21590 h 101600"/>
                  <a:gd name="connsiteX262" fmla="*/ 120015 w 889000"/>
                  <a:gd name="connsiteY262" fmla="*/ 21590 h 101600"/>
                  <a:gd name="connsiteX263" fmla="*/ 120015 w 889000"/>
                  <a:gd name="connsiteY263" fmla="*/ 77152 h 101600"/>
                  <a:gd name="connsiteX264" fmla="*/ 121920 w 889000"/>
                  <a:gd name="connsiteY264" fmla="*/ 1588 h 101600"/>
                  <a:gd name="connsiteX265" fmla="*/ 119380 w 889000"/>
                  <a:gd name="connsiteY265" fmla="*/ 7302 h 101600"/>
                  <a:gd name="connsiteX266" fmla="*/ 121920 w 889000"/>
                  <a:gd name="connsiteY266" fmla="*/ 13018 h 101600"/>
                  <a:gd name="connsiteX267" fmla="*/ 127635 w 889000"/>
                  <a:gd name="connsiteY267" fmla="*/ 14605 h 101600"/>
                  <a:gd name="connsiteX268" fmla="*/ 133350 w 889000"/>
                  <a:gd name="connsiteY268" fmla="*/ 13018 h 101600"/>
                  <a:gd name="connsiteX269" fmla="*/ 135890 w 889000"/>
                  <a:gd name="connsiteY269" fmla="*/ 7302 h 101600"/>
                  <a:gd name="connsiteX270" fmla="*/ 133350 w 889000"/>
                  <a:gd name="connsiteY270" fmla="*/ 1588 h 101600"/>
                  <a:gd name="connsiteX271" fmla="*/ 127635 w 889000"/>
                  <a:gd name="connsiteY271" fmla="*/ 0 h 101600"/>
                  <a:gd name="connsiteX272" fmla="*/ 121920 w 889000"/>
                  <a:gd name="connsiteY272" fmla="*/ 1588 h 101600"/>
                  <a:gd name="connsiteX273" fmla="*/ 95250 w 889000"/>
                  <a:gd name="connsiteY273" fmla="*/ 23813 h 101600"/>
                  <a:gd name="connsiteX274" fmla="*/ 88582 w 889000"/>
                  <a:gd name="connsiteY274" fmla="*/ 31115 h 101600"/>
                  <a:gd name="connsiteX275" fmla="*/ 87947 w 889000"/>
                  <a:gd name="connsiteY275" fmla="*/ 31115 h 101600"/>
                  <a:gd name="connsiteX276" fmla="*/ 85725 w 889000"/>
                  <a:gd name="connsiteY276" fmla="*/ 21908 h 101600"/>
                  <a:gd name="connsiteX277" fmla="*/ 74295 w 889000"/>
                  <a:gd name="connsiteY277" fmla="*/ 21908 h 101600"/>
                  <a:gd name="connsiteX278" fmla="*/ 74295 w 889000"/>
                  <a:gd name="connsiteY278" fmla="*/ 77470 h 101600"/>
                  <a:gd name="connsiteX279" fmla="*/ 89535 w 889000"/>
                  <a:gd name="connsiteY279" fmla="*/ 77470 h 101600"/>
                  <a:gd name="connsiteX280" fmla="*/ 89535 w 889000"/>
                  <a:gd name="connsiteY280" fmla="*/ 49213 h 101600"/>
                  <a:gd name="connsiteX281" fmla="*/ 91757 w 889000"/>
                  <a:gd name="connsiteY281" fmla="*/ 40958 h 101600"/>
                  <a:gd name="connsiteX282" fmla="*/ 97472 w 889000"/>
                  <a:gd name="connsiteY282" fmla="*/ 36513 h 101600"/>
                  <a:gd name="connsiteX283" fmla="*/ 104775 w 889000"/>
                  <a:gd name="connsiteY283" fmla="*/ 35243 h 101600"/>
                  <a:gd name="connsiteX284" fmla="*/ 106997 w 889000"/>
                  <a:gd name="connsiteY284" fmla="*/ 35243 h 101600"/>
                  <a:gd name="connsiteX285" fmla="*/ 109220 w 889000"/>
                  <a:gd name="connsiteY285" fmla="*/ 35560 h 101600"/>
                  <a:gd name="connsiteX286" fmla="*/ 110490 w 889000"/>
                  <a:gd name="connsiteY286" fmla="*/ 21273 h 101600"/>
                  <a:gd name="connsiteX287" fmla="*/ 107950 w 889000"/>
                  <a:gd name="connsiteY287" fmla="*/ 20955 h 101600"/>
                  <a:gd name="connsiteX288" fmla="*/ 105410 w 889000"/>
                  <a:gd name="connsiteY288" fmla="*/ 20955 h 101600"/>
                  <a:gd name="connsiteX289" fmla="*/ 95250 w 889000"/>
                  <a:gd name="connsiteY289" fmla="*/ 23813 h 101600"/>
                  <a:gd name="connsiteX290" fmla="*/ 21907 w 889000"/>
                  <a:gd name="connsiteY290" fmla="*/ 64452 h 101600"/>
                  <a:gd name="connsiteX291" fmla="*/ 15240 w 889000"/>
                  <a:gd name="connsiteY291" fmla="*/ 64452 h 101600"/>
                  <a:gd name="connsiteX292" fmla="*/ 15240 w 889000"/>
                  <a:gd name="connsiteY292" fmla="*/ 17145 h 101600"/>
                  <a:gd name="connsiteX293" fmla="*/ 23495 w 889000"/>
                  <a:gd name="connsiteY293" fmla="*/ 17145 h 101600"/>
                  <a:gd name="connsiteX294" fmla="*/ 38735 w 889000"/>
                  <a:gd name="connsiteY294" fmla="*/ 22860 h 101600"/>
                  <a:gd name="connsiteX295" fmla="*/ 44132 w 889000"/>
                  <a:gd name="connsiteY295" fmla="*/ 40640 h 101600"/>
                  <a:gd name="connsiteX296" fmla="*/ 21907 w 889000"/>
                  <a:gd name="connsiteY296" fmla="*/ 64452 h 101600"/>
                  <a:gd name="connsiteX297" fmla="*/ 55563 w 889000"/>
                  <a:gd name="connsiteY297" fmla="*/ 20638 h 101600"/>
                  <a:gd name="connsiteX298" fmla="*/ 42545 w 889000"/>
                  <a:gd name="connsiteY298" fmla="*/ 8573 h 101600"/>
                  <a:gd name="connsiteX299" fmla="*/ 22860 w 889000"/>
                  <a:gd name="connsiteY299" fmla="*/ 4445 h 101600"/>
                  <a:gd name="connsiteX300" fmla="*/ 0 w 889000"/>
                  <a:gd name="connsiteY300" fmla="*/ 4445 h 101600"/>
                  <a:gd name="connsiteX301" fmla="*/ 0 w 889000"/>
                  <a:gd name="connsiteY301" fmla="*/ 76835 h 101600"/>
                  <a:gd name="connsiteX302" fmla="*/ 20638 w 889000"/>
                  <a:gd name="connsiteY302" fmla="*/ 76835 h 101600"/>
                  <a:gd name="connsiteX303" fmla="*/ 49847 w 889000"/>
                  <a:gd name="connsiteY303" fmla="*/ 67627 h 101600"/>
                  <a:gd name="connsiteX304" fmla="*/ 60325 w 889000"/>
                  <a:gd name="connsiteY304" fmla="*/ 40005 h 101600"/>
                  <a:gd name="connsiteX305" fmla="*/ 55563 w 889000"/>
                  <a:gd name="connsiteY305" fmla="*/ 20638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Lst>
                <a:rect l="l" t="t" r="r" b="b"/>
                <a:pathLst>
                  <a:path w="889000" h="101600">
                    <a:moveTo>
                      <a:pt x="854075" y="36830"/>
                    </a:moveTo>
                    <a:cubicBezTo>
                      <a:pt x="855980" y="33973"/>
                      <a:pt x="858838" y="32702"/>
                      <a:pt x="862647" y="32702"/>
                    </a:cubicBezTo>
                    <a:cubicBezTo>
                      <a:pt x="866775" y="32702"/>
                      <a:pt x="869632" y="33973"/>
                      <a:pt x="871538" y="36830"/>
                    </a:cubicBezTo>
                    <a:cubicBezTo>
                      <a:pt x="873442" y="39688"/>
                      <a:pt x="874077" y="43815"/>
                      <a:pt x="874077" y="49213"/>
                    </a:cubicBezTo>
                    <a:cubicBezTo>
                      <a:pt x="874077" y="54610"/>
                      <a:pt x="873125" y="58738"/>
                      <a:pt x="871538" y="61595"/>
                    </a:cubicBezTo>
                    <a:cubicBezTo>
                      <a:pt x="869632" y="64452"/>
                      <a:pt x="866775" y="65723"/>
                      <a:pt x="862965" y="65723"/>
                    </a:cubicBezTo>
                    <a:cubicBezTo>
                      <a:pt x="858838" y="65723"/>
                      <a:pt x="855980" y="64452"/>
                      <a:pt x="854075" y="61595"/>
                    </a:cubicBezTo>
                    <a:cubicBezTo>
                      <a:pt x="852170" y="58738"/>
                      <a:pt x="851535" y="54610"/>
                      <a:pt x="851535" y="49213"/>
                    </a:cubicBezTo>
                    <a:cubicBezTo>
                      <a:pt x="851535" y="43815"/>
                      <a:pt x="852170" y="39688"/>
                      <a:pt x="854075" y="36830"/>
                    </a:cubicBezTo>
                    <a:moveTo>
                      <a:pt x="886142" y="33655"/>
                    </a:moveTo>
                    <a:cubicBezTo>
                      <a:pt x="883920" y="29527"/>
                      <a:pt x="880745" y="26035"/>
                      <a:pt x="876617" y="23813"/>
                    </a:cubicBezTo>
                    <a:cubicBezTo>
                      <a:pt x="872490" y="21590"/>
                      <a:pt x="868045" y="20320"/>
                      <a:pt x="862647" y="20320"/>
                    </a:cubicBezTo>
                    <a:cubicBezTo>
                      <a:pt x="854392" y="20320"/>
                      <a:pt x="847725" y="22860"/>
                      <a:pt x="842963" y="27623"/>
                    </a:cubicBezTo>
                    <a:cubicBezTo>
                      <a:pt x="838200" y="32702"/>
                      <a:pt x="835660" y="39688"/>
                      <a:pt x="835660" y="48895"/>
                    </a:cubicBezTo>
                    <a:cubicBezTo>
                      <a:pt x="835660" y="54927"/>
                      <a:pt x="836930" y="60325"/>
                      <a:pt x="839152" y="64452"/>
                    </a:cubicBezTo>
                    <a:cubicBezTo>
                      <a:pt x="841375" y="68898"/>
                      <a:pt x="844550" y="72073"/>
                      <a:pt x="848677" y="74295"/>
                    </a:cubicBezTo>
                    <a:cubicBezTo>
                      <a:pt x="852805" y="76518"/>
                      <a:pt x="857250" y="77788"/>
                      <a:pt x="862330" y="77788"/>
                    </a:cubicBezTo>
                    <a:cubicBezTo>
                      <a:pt x="870585" y="77788"/>
                      <a:pt x="877252" y="75248"/>
                      <a:pt x="882015" y="70168"/>
                    </a:cubicBezTo>
                    <a:cubicBezTo>
                      <a:pt x="886777" y="65088"/>
                      <a:pt x="889317" y="58102"/>
                      <a:pt x="889317" y="48895"/>
                    </a:cubicBezTo>
                    <a:cubicBezTo>
                      <a:pt x="889635" y="43180"/>
                      <a:pt x="888682" y="38100"/>
                      <a:pt x="886142" y="33655"/>
                    </a:cubicBezTo>
                    <a:moveTo>
                      <a:pt x="813752" y="64452"/>
                    </a:moveTo>
                    <a:cubicBezTo>
                      <a:pt x="812482" y="63500"/>
                      <a:pt x="811847" y="61913"/>
                      <a:pt x="811847" y="59690"/>
                    </a:cubicBezTo>
                    <a:lnTo>
                      <a:pt x="811847" y="33020"/>
                    </a:lnTo>
                    <a:lnTo>
                      <a:pt x="827405" y="33020"/>
                    </a:lnTo>
                    <a:lnTo>
                      <a:pt x="827405" y="21590"/>
                    </a:lnTo>
                    <a:lnTo>
                      <a:pt x="811847" y="21590"/>
                    </a:lnTo>
                    <a:lnTo>
                      <a:pt x="811847" y="9843"/>
                    </a:lnTo>
                    <a:lnTo>
                      <a:pt x="802322" y="9843"/>
                    </a:lnTo>
                    <a:lnTo>
                      <a:pt x="797877" y="21590"/>
                    </a:lnTo>
                    <a:lnTo>
                      <a:pt x="789622" y="26670"/>
                    </a:lnTo>
                    <a:lnTo>
                      <a:pt x="789622" y="33020"/>
                    </a:lnTo>
                    <a:lnTo>
                      <a:pt x="796925" y="33020"/>
                    </a:lnTo>
                    <a:lnTo>
                      <a:pt x="796925" y="59690"/>
                    </a:lnTo>
                    <a:cubicBezTo>
                      <a:pt x="796925" y="64452"/>
                      <a:pt x="797560" y="68263"/>
                      <a:pt x="799147" y="70802"/>
                    </a:cubicBezTo>
                    <a:cubicBezTo>
                      <a:pt x="800735" y="73343"/>
                      <a:pt x="802640" y="75248"/>
                      <a:pt x="805497" y="76518"/>
                    </a:cubicBezTo>
                    <a:cubicBezTo>
                      <a:pt x="808038" y="77470"/>
                      <a:pt x="811213" y="78105"/>
                      <a:pt x="814388" y="78105"/>
                    </a:cubicBezTo>
                    <a:cubicBezTo>
                      <a:pt x="817245" y="78105"/>
                      <a:pt x="819785" y="77788"/>
                      <a:pt x="822325" y="77470"/>
                    </a:cubicBezTo>
                    <a:cubicBezTo>
                      <a:pt x="824865" y="77152"/>
                      <a:pt x="826770" y="76518"/>
                      <a:pt x="828357" y="75565"/>
                    </a:cubicBezTo>
                    <a:lnTo>
                      <a:pt x="828357" y="64135"/>
                    </a:lnTo>
                    <a:cubicBezTo>
                      <a:pt x="826770" y="64770"/>
                      <a:pt x="825182" y="65088"/>
                      <a:pt x="823595" y="65405"/>
                    </a:cubicBezTo>
                    <a:cubicBezTo>
                      <a:pt x="822007" y="65723"/>
                      <a:pt x="820420" y="65723"/>
                      <a:pt x="818832" y="65723"/>
                    </a:cubicBezTo>
                    <a:cubicBezTo>
                      <a:pt x="816610" y="66040"/>
                      <a:pt x="815022" y="65405"/>
                      <a:pt x="813752" y="64452"/>
                    </a:cubicBezTo>
                    <a:moveTo>
                      <a:pt x="739457" y="34925"/>
                    </a:moveTo>
                    <a:cubicBezTo>
                      <a:pt x="741045" y="37148"/>
                      <a:pt x="741997" y="40005"/>
                      <a:pt x="741997" y="43180"/>
                    </a:cubicBezTo>
                    <a:lnTo>
                      <a:pt x="720725" y="43180"/>
                    </a:lnTo>
                    <a:cubicBezTo>
                      <a:pt x="721042" y="39052"/>
                      <a:pt x="722313" y="36195"/>
                      <a:pt x="724217" y="34290"/>
                    </a:cubicBezTo>
                    <a:cubicBezTo>
                      <a:pt x="726122" y="32385"/>
                      <a:pt x="728663" y="31433"/>
                      <a:pt x="731520" y="31433"/>
                    </a:cubicBezTo>
                    <a:cubicBezTo>
                      <a:pt x="735330" y="31433"/>
                      <a:pt x="737870" y="32385"/>
                      <a:pt x="739457" y="34925"/>
                    </a:cubicBezTo>
                    <a:moveTo>
                      <a:pt x="717867" y="23813"/>
                    </a:moveTo>
                    <a:cubicBezTo>
                      <a:pt x="714057" y="26035"/>
                      <a:pt x="710882" y="29210"/>
                      <a:pt x="708660" y="33655"/>
                    </a:cubicBezTo>
                    <a:cubicBezTo>
                      <a:pt x="706438" y="38100"/>
                      <a:pt x="705485" y="43498"/>
                      <a:pt x="705485" y="49848"/>
                    </a:cubicBezTo>
                    <a:cubicBezTo>
                      <a:pt x="705485" y="56198"/>
                      <a:pt x="706755" y="61595"/>
                      <a:pt x="709295" y="65723"/>
                    </a:cubicBezTo>
                    <a:cubicBezTo>
                      <a:pt x="711835" y="69850"/>
                      <a:pt x="715010" y="73025"/>
                      <a:pt x="719455" y="74930"/>
                    </a:cubicBezTo>
                    <a:cubicBezTo>
                      <a:pt x="723582" y="77152"/>
                      <a:pt x="728663" y="78105"/>
                      <a:pt x="734060" y="78105"/>
                    </a:cubicBezTo>
                    <a:cubicBezTo>
                      <a:pt x="738188" y="78105"/>
                      <a:pt x="741997" y="77788"/>
                      <a:pt x="744855" y="77152"/>
                    </a:cubicBezTo>
                    <a:cubicBezTo>
                      <a:pt x="747713" y="76518"/>
                      <a:pt x="750570" y="75565"/>
                      <a:pt x="753427" y="74295"/>
                    </a:cubicBezTo>
                    <a:lnTo>
                      <a:pt x="753427" y="62548"/>
                    </a:lnTo>
                    <a:cubicBezTo>
                      <a:pt x="750252" y="64135"/>
                      <a:pt x="747395" y="65088"/>
                      <a:pt x="744220" y="65723"/>
                    </a:cubicBezTo>
                    <a:cubicBezTo>
                      <a:pt x="741363" y="66358"/>
                      <a:pt x="738188" y="66675"/>
                      <a:pt x="734377" y="66675"/>
                    </a:cubicBezTo>
                    <a:cubicBezTo>
                      <a:pt x="730250" y="66675"/>
                      <a:pt x="726757" y="65405"/>
                      <a:pt x="724217" y="62865"/>
                    </a:cubicBezTo>
                    <a:cubicBezTo>
                      <a:pt x="721677" y="60325"/>
                      <a:pt x="720407" y="57150"/>
                      <a:pt x="720407" y="52705"/>
                    </a:cubicBezTo>
                    <a:lnTo>
                      <a:pt x="756285" y="52705"/>
                    </a:lnTo>
                    <a:lnTo>
                      <a:pt x="756285" y="45402"/>
                    </a:lnTo>
                    <a:cubicBezTo>
                      <a:pt x="756285" y="37465"/>
                      <a:pt x="754063" y="31115"/>
                      <a:pt x="749617" y="26670"/>
                    </a:cubicBezTo>
                    <a:cubicBezTo>
                      <a:pt x="745172" y="22225"/>
                      <a:pt x="739140" y="20002"/>
                      <a:pt x="731520" y="20002"/>
                    </a:cubicBezTo>
                    <a:cubicBezTo>
                      <a:pt x="726440" y="20638"/>
                      <a:pt x="721677" y="21590"/>
                      <a:pt x="717867" y="23813"/>
                    </a:cubicBezTo>
                    <a:moveTo>
                      <a:pt x="675957" y="36830"/>
                    </a:moveTo>
                    <a:cubicBezTo>
                      <a:pt x="677863" y="39370"/>
                      <a:pt x="678815" y="43815"/>
                      <a:pt x="678815" y="49530"/>
                    </a:cubicBezTo>
                    <a:lnTo>
                      <a:pt x="678815" y="51435"/>
                    </a:lnTo>
                    <a:cubicBezTo>
                      <a:pt x="678815" y="56833"/>
                      <a:pt x="677863" y="60643"/>
                      <a:pt x="675957" y="62865"/>
                    </a:cubicBezTo>
                    <a:cubicBezTo>
                      <a:pt x="674052" y="65088"/>
                      <a:pt x="671195" y="66040"/>
                      <a:pt x="667385" y="66040"/>
                    </a:cubicBezTo>
                    <a:cubicBezTo>
                      <a:pt x="660082" y="66040"/>
                      <a:pt x="656590" y="60643"/>
                      <a:pt x="656590" y="49530"/>
                    </a:cubicBezTo>
                    <a:cubicBezTo>
                      <a:pt x="656590" y="38418"/>
                      <a:pt x="660082" y="32702"/>
                      <a:pt x="667385" y="32702"/>
                    </a:cubicBezTo>
                    <a:cubicBezTo>
                      <a:pt x="671195" y="33020"/>
                      <a:pt x="674052" y="34290"/>
                      <a:pt x="675957" y="36830"/>
                    </a:cubicBezTo>
                    <a:moveTo>
                      <a:pt x="646747" y="28258"/>
                    </a:moveTo>
                    <a:cubicBezTo>
                      <a:pt x="642938" y="33338"/>
                      <a:pt x="641032" y="40323"/>
                      <a:pt x="641032" y="49530"/>
                    </a:cubicBezTo>
                    <a:cubicBezTo>
                      <a:pt x="641032" y="58420"/>
                      <a:pt x="642938" y="65723"/>
                      <a:pt x="646430" y="70485"/>
                    </a:cubicBezTo>
                    <a:cubicBezTo>
                      <a:pt x="650240" y="75565"/>
                      <a:pt x="655320" y="78105"/>
                      <a:pt x="661670" y="78105"/>
                    </a:cubicBezTo>
                    <a:cubicBezTo>
                      <a:pt x="664845" y="78105"/>
                      <a:pt x="668020" y="77470"/>
                      <a:pt x="670560" y="76200"/>
                    </a:cubicBezTo>
                    <a:cubicBezTo>
                      <a:pt x="673100" y="74930"/>
                      <a:pt x="675322" y="72708"/>
                      <a:pt x="677227" y="69850"/>
                    </a:cubicBezTo>
                    <a:lnTo>
                      <a:pt x="677545" y="69850"/>
                    </a:lnTo>
                    <a:cubicBezTo>
                      <a:pt x="677545" y="70802"/>
                      <a:pt x="677227" y="71755"/>
                      <a:pt x="677227" y="73025"/>
                    </a:cubicBezTo>
                    <a:cubicBezTo>
                      <a:pt x="677227" y="74295"/>
                      <a:pt x="677227" y="75565"/>
                      <a:pt x="677227" y="76518"/>
                    </a:cubicBezTo>
                    <a:lnTo>
                      <a:pt x="677227" y="77788"/>
                    </a:lnTo>
                    <a:cubicBezTo>
                      <a:pt x="677227" y="86043"/>
                      <a:pt x="673417" y="90488"/>
                      <a:pt x="665480" y="90488"/>
                    </a:cubicBezTo>
                    <a:cubicBezTo>
                      <a:pt x="657860" y="90488"/>
                      <a:pt x="650557" y="89218"/>
                      <a:pt x="643890" y="86360"/>
                    </a:cubicBezTo>
                    <a:lnTo>
                      <a:pt x="643890" y="98425"/>
                    </a:lnTo>
                    <a:cubicBezTo>
                      <a:pt x="647065" y="99695"/>
                      <a:pt x="650240" y="100648"/>
                      <a:pt x="653732" y="100965"/>
                    </a:cubicBezTo>
                    <a:cubicBezTo>
                      <a:pt x="657225" y="101283"/>
                      <a:pt x="660717" y="101600"/>
                      <a:pt x="664527" y="101600"/>
                    </a:cubicBezTo>
                    <a:cubicBezTo>
                      <a:pt x="673735" y="101600"/>
                      <a:pt x="680720" y="99377"/>
                      <a:pt x="685165" y="95250"/>
                    </a:cubicBezTo>
                    <a:cubicBezTo>
                      <a:pt x="689927" y="91123"/>
                      <a:pt x="692150" y="85090"/>
                      <a:pt x="692150" y="77152"/>
                    </a:cubicBezTo>
                    <a:lnTo>
                      <a:pt x="692150" y="21590"/>
                    </a:lnTo>
                    <a:lnTo>
                      <a:pt x="679450" y="21590"/>
                    </a:lnTo>
                    <a:lnTo>
                      <a:pt x="678180" y="28575"/>
                    </a:lnTo>
                    <a:lnTo>
                      <a:pt x="677863" y="28575"/>
                    </a:lnTo>
                    <a:cubicBezTo>
                      <a:pt x="674052" y="23177"/>
                      <a:pt x="668655" y="20320"/>
                      <a:pt x="661670" y="20320"/>
                    </a:cubicBezTo>
                    <a:cubicBezTo>
                      <a:pt x="655638" y="20638"/>
                      <a:pt x="650557" y="23177"/>
                      <a:pt x="646747" y="28258"/>
                    </a:cubicBezTo>
                    <a:moveTo>
                      <a:pt x="599440" y="22543"/>
                    </a:moveTo>
                    <a:cubicBezTo>
                      <a:pt x="596265" y="23813"/>
                      <a:pt x="594042" y="26035"/>
                      <a:pt x="592138" y="28893"/>
                    </a:cubicBezTo>
                    <a:lnTo>
                      <a:pt x="591185" y="28893"/>
                    </a:lnTo>
                    <a:lnTo>
                      <a:pt x="589280" y="21908"/>
                    </a:lnTo>
                    <a:lnTo>
                      <a:pt x="577850" y="21908"/>
                    </a:lnTo>
                    <a:lnTo>
                      <a:pt x="577850" y="77470"/>
                    </a:lnTo>
                    <a:lnTo>
                      <a:pt x="593090" y="77470"/>
                    </a:lnTo>
                    <a:lnTo>
                      <a:pt x="593090" y="51435"/>
                    </a:lnTo>
                    <a:cubicBezTo>
                      <a:pt x="593090" y="45402"/>
                      <a:pt x="594042" y="40958"/>
                      <a:pt x="595630" y="37783"/>
                    </a:cubicBezTo>
                    <a:cubicBezTo>
                      <a:pt x="597217" y="34608"/>
                      <a:pt x="600392" y="33020"/>
                      <a:pt x="605155" y="33020"/>
                    </a:cubicBezTo>
                    <a:cubicBezTo>
                      <a:pt x="608330" y="33020"/>
                      <a:pt x="610552" y="33973"/>
                      <a:pt x="611822" y="35877"/>
                    </a:cubicBezTo>
                    <a:cubicBezTo>
                      <a:pt x="613092" y="37783"/>
                      <a:pt x="614045" y="40958"/>
                      <a:pt x="614045" y="44768"/>
                    </a:cubicBezTo>
                    <a:lnTo>
                      <a:pt x="614045" y="77152"/>
                    </a:lnTo>
                    <a:lnTo>
                      <a:pt x="629285" y="77152"/>
                    </a:lnTo>
                    <a:lnTo>
                      <a:pt x="629285" y="40958"/>
                    </a:lnTo>
                    <a:cubicBezTo>
                      <a:pt x="629285" y="33973"/>
                      <a:pt x="627380" y="28575"/>
                      <a:pt x="623888" y="25400"/>
                    </a:cubicBezTo>
                    <a:cubicBezTo>
                      <a:pt x="620395" y="22225"/>
                      <a:pt x="615632" y="20638"/>
                      <a:pt x="609600" y="20638"/>
                    </a:cubicBezTo>
                    <a:cubicBezTo>
                      <a:pt x="605790" y="20638"/>
                      <a:pt x="602615" y="21273"/>
                      <a:pt x="599440" y="22543"/>
                    </a:cubicBezTo>
                    <a:moveTo>
                      <a:pt x="547052" y="55880"/>
                    </a:moveTo>
                    <a:cubicBezTo>
                      <a:pt x="547052" y="59373"/>
                      <a:pt x="545782" y="62230"/>
                      <a:pt x="543560" y="64135"/>
                    </a:cubicBezTo>
                    <a:cubicBezTo>
                      <a:pt x="541338" y="66040"/>
                      <a:pt x="538480" y="66993"/>
                      <a:pt x="535305" y="66993"/>
                    </a:cubicBezTo>
                    <a:cubicBezTo>
                      <a:pt x="533082" y="66993"/>
                      <a:pt x="531495" y="66358"/>
                      <a:pt x="529907" y="65405"/>
                    </a:cubicBezTo>
                    <a:cubicBezTo>
                      <a:pt x="528638" y="64452"/>
                      <a:pt x="528002" y="62865"/>
                      <a:pt x="528002" y="60325"/>
                    </a:cubicBezTo>
                    <a:cubicBezTo>
                      <a:pt x="528002" y="57785"/>
                      <a:pt x="528955" y="55563"/>
                      <a:pt x="530860" y="53975"/>
                    </a:cubicBezTo>
                    <a:cubicBezTo>
                      <a:pt x="532765" y="52388"/>
                      <a:pt x="536257" y="51435"/>
                      <a:pt x="541020" y="51435"/>
                    </a:cubicBezTo>
                    <a:lnTo>
                      <a:pt x="547052" y="51118"/>
                    </a:lnTo>
                    <a:lnTo>
                      <a:pt x="547052" y="55880"/>
                    </a:lnTo>
                    <a:close/>
                    <a:moveTo>
                      <a:pt x="527685" y="21908"/>
                    </a:moveTo>
                    <a:cubicBezTo>
                      <a:pt x="523875" y="22860"/>
                      <a:pt x="520700" y="24130"/>
                      <a:pt x="517842" y="25400"/>
                    </a:cubicBezTo>
                    <a:lnTo>
                      <a:pt x="522922" y="35560"/>
                    </a:lnTo>
                    <a:cubicBezTo>
                      <a:pt x="525463" y="34290"/>
                      <a:pt x="528002" y="33338"/>
                      <a:pt x="530542" y="32702"/>
                    </a:cubicBezTo>
                    <a:cubicBezTo>
                      <a:pt x="533082" y="32068"/>
                      <a:pt x="535622" y="31433"/>
                      <a:pt x="538480" y="31433"/>
                    </a:cubicBezTo>
                    <a:cubicBezTo>
                      <a:pt x="541338" y="31433"/>
                      <a:pt x="543242" y="32068"/>
                      <a:pt x="544830" y="33338"/>
                    </a:cubicBezTo>
                    <a:cubicBezTo>
                      <a:pt x="546417" y="34608"/>
                      <a:pt x="547052" y="36830"/>
                      <a:pt x="547052" y="39688"/>
                    </a:cubicBezTo>
                    <a:lnTo>
                      <a:pt x="547052" y="42227"/>
                    </a:lnTo>
                    <a:lnTo>
                      <a:pt x="537527" y="42545"/>
                    </a:lnTo>
                    <a:cubicBezTo>
                      <a:pt x="529272" y="42863"/>
                      <a:pt x="522922" y="44450"/>
                      <a:pt x="518795" y="47308"/>
                    </a:cubicBezTo>
                    <a:cubicBezTo>
                      <a:pt x="514667" y="50165"/>
                      <a:pt x="512445" y="54293"/>
                      <a:pt x="512445" y="60325"/>
                    </a:cubicBezTo>
                    <a:cubicBezTo>
                      <a:pt x="512445" y="66358"/>
                      <a:pt x="514032" y="70802"/>
                      <a:pt x="517207" y="73660"/>
                    </a:cubicBezTo>
                    <a:cubicBezTo>
                      <a:pt x="520382" y="76518"/>
                      <a:pt x="524510" y="77788"/>
                      <a:pt x="529590" y="77788"/>
                    </a:cubicBezTo>
                    <a:cubicBezTo>
                      <a:pt x="534352" y="77788"/>
                      <a:pt x="537845" y="77152"/>
                      <a:pt x="540385" y="75883"/>
                    </a:cubicBezTo>
                    <a:cubicBezTo>
                      <a:pt x="542925" y="74613"/>
                      <a:pt x="545465" y="72390"/>
                      <a:pt x="548005" y="69533"/>
                    </a:cubicBezTo>
                    <a:lnTo>
                      <a:pt x="548322" y="69533"/>
                    </a:lnTo>
                    <a:lnTo>
                      <a:pt x="551180" y="77152"/>
                    </a:lnTo>
                    <a:lnTo>
                      <a:pt x="561657" y="77152"/>
                    </a:lnTo>
                    <a:lnTo>
                      <a:pt x="561657" y="40323"/>
                    </a:lnTo>
                    <a:cubicBezTo>
                      <a:pt x="561657" y="33655"/>
                      <a:pt x="559752" y="28893"/>
                      <a:pt x="555625" y="25400"/>
                    </a:cubicBezTo>
                    <a:cubicBezTo>
                      <a:pt x="551815" y="22225"/>
                      <a:pt x="546100" y="20638"/>
                      <a:pt x="538480" y="20638"/>
                    </a:cubicBezTo>
                    <a:cubicBezTo>
                      <a:pt x="535305" y="20638"/>
                      <a:pt x="531495" y="20955"/>
                      <a:pt x="527685" y="21908"/>
                    </a:cubicBezTo>
                    <a:moveTo>
                      <a:pt x="449580" y="0"/>
                    </a:moveTo>
                    <a:lnTo>
                      <a:pt x="449580" y="77152"/>
                    </a:lnTo>
                    <a:lnTo>
                      <a:pt x="464820" y="77152"/>
                    </a:lnTo>
                    <a:lnTo>
                      <a:pt x="464820" y="51118"/>
                    </a:lnTo>
                    <a:cubicBezTo>
                      <a:pt x="464820" y="45085"/>
                      <a:pt x="465772" y="40640"/>
                      <a:pt x="467360" y="37465"/>
                    </a:cubicBezTo>
                    <a:cubicBezTo>
                      <a:pt x="468947" y="34290"/>
                      <a:pt x="472122" y="32702"/>
                      <a:pt x="476885" y="32702"/>
                    </a:cubicBezTo>
                    <a:cubicBezTo>
                      <a:pt x="482917" y="32702"/>
                      <a:pt x="485775" y="36830"/>
                      <a:pt x="485775" y="44768"/>
                    </a:cubicBezTo>
                    <a:lnTo>
                      <a:pt x="485775" y="77152"/>
                    </a:lnTo>
                    <a:lnTo>
                      <a:pt x="501015" y="77152"/>
                    </a:lnTo>
                    <a:lnTo>
                      <a:pt x="501015" y="40958"/>
                    </a:lnTo>
                    <a:cubicBezTo>
                      <a:pt x="501015" y="33973"/>
                      <a:pt x="499110" y="28575"/>
                      <a:pt x="495617" y="25400"/>
                    </a:cubicBezTo>
                    <a:cubicBezTo>
                      <a:pt x="491807" y="22225"/>
                      <a:pt x="487045" y="20638"/>
                      <a:pt x="481330" y="20638"/>
                    </a:cubicBezTo>
                    <a:cubicBezTo>
                      <a:pt x="477838" y="20638"/>
                      <a:pt x="474980" y="21273"/>
                      <a:pt x="472122" y="22543"/>
                    </a:cubicBezTo>
                    <a:cubicBezTo>
                      <a:pt x="469265" y="23813"/>
                      <a:pt x="467042" y="26035"/>
                      <a:pt x="465455" y="28893"/>
                    </a:cubicBezTo>
                    <a:lnTo>
                      <a:pt x="464502" y="28893"/>
                    </a:lnTo>
                    <a:cubicBezTo>
                      <a:pt x="464502" y="27940"/>
                      <a:pt x="464820" y="26035"/>
                      <a:pt x="464820" y="23813"/>
                    </a:cubicBezTo>
                    <a:cubicBezTo>
                      <a:pt x="465138" y="21273"/>
                      <a:pt x="465138" y="18733"/>
                      <a:pt x="465138" y="15875"/>
                    </a:cubicBezTo>
                    <a:lnTo>
                      <a:pt x="465138" y="0"/>
                    </a:lnTo>
                    <a:lnTo>
                      <a:pt x="449580" y="0"/>
                    </a:lnTo>
                    <a:close/>
                    <a:moveTo>
                      <a:pt x="429577" y="77152"/>
                    </a:moveTo>
                    <a:cubicBezTo>
                      <a:pt x="432117" y="76518"/>
                      <a:pt x="434657" y="75565"/>
                      <a:pt x="436880" y="73977"/>
                    </a:cubicBezTo>
                    <a:lnTo>
                      <a:pt x="436880" y="60960"/>
                    </a:lnTo>
                    <a:cubicBezTo>
                      <a:pt x="434657" y="62548"/>
                      <a:pt x="432117" y="63500"/>
                      <a:pt x="429895" y="64452"/>
                    </a:cubicBezTo>
                    <a:cubicBezTo>
                      <a:pt x="427355" y="65405"/>
                      <a:pt x="424497" y="65723"/>
                      <a:pt x="421322" y="65723"/>
                    </a:cubicBezTo>
                    <a:cubicBezTo>
                      <a:pt x="417513" y="65723"/>
                      <a:pt x="414655" y="64452"/>
                      <a:pt x="412750" y="61913"/>
                    </a:cubicBezTo>
                    <a:cubicBezTo>
                      <a:pt x="410527" y="59373"/>
                      <a:pt x="409575" y="55245"/>
                      <a:pt x="409575" y="49530"/>
                    </a:cubicBezTo>
                    <a:cubicBezTo>
                      <a:pt x="409575" y="38418"/>
                      <a:pt x="413385" y="32702"/>
                      <a:pt x="421322" y="32702"/>
                    </a:cubicBezTo>
                    <a:cubicBezTo>
                      <a:pt x="423227" y="32702"/>
                      <a:pt x="425450" y="33020"/>
                      <a:pt x="427355" y="33655"/>
                    </a:cubicBezTo>
                    <a:cubicBezTo>
                      <a:pt x="429260" y="34290"/>
                      <a:pt x="431482" y="34925"/>
                      <a:pt x="434022" y="35877"/>
                    </a:cubicBezTo>
                    <a:lnTo>
                      <a:pt x="438467" y="24130"/>
                    </a:lnTo>
                    <a:cubicBezTo>
                      <a:pt x="436245" y="23177"/>
                      <a:pt x="434022" y="22225"/>
                      <a:pt x="431165" y="21590"/>
                    </a:cubicBezTo>
                    <a:cubicBezTo>
                      <a:pt x="428307" y="20955"/>
                      <a:pt x="425132" y="20320"/>
                      <a:pt x="421322" y="20320"/>
                    </a:cubicBezTo>
                    <a:cubicBezTo>
                      <a:pt x="415925" y="20320"/>
                      <a:pt x="411163" y="21273"/>
                      <a:pt x="407035" y="23495"/>
                    </a:cubicBezTo>
                    <a:cubicBezTo>
                      <a:pt x="402907" y="25400"/>
                      <a:pt x="399732" y="28575"/>
                      <a:pt x="397510" y="33020"/>
                    </a:cubicBezTo>
                    <a:cubicBezTo>
                      <a:pt x="395288" y="37148"/>
                      <a:pt x="394017" y="42863"/>
                      <a:pt x="394017" y="49530"/>
                    </a:cubicBezTo>
                    <a:cubicBezTo>
                      <a:pt x="394017" y="59373"/>
                      <a:pt x="396240" y="66675"/>
                      <a:pt x="400685" y="71120"/>
                    </a:cubicBezTo>
                    <a:cubicBezTo>
                      <a:pt x="405130" y="75565"/>
                      <a:pt x="411480" y="77788"/>
                      <a:pt x="419735" y="77788"/>
                    </a:cubicBezTo>
                    <a:cubicBezTo>
                      <a:pt x="423863" y="78105"/>
                      <a:pt x="427038" y="77788"/>
                      <a:pt x="429577" y="77152"/>
                    </a:cubicBezTo>
                    <a:moveTo>
                      <a:pt x="338138" y="36830"/>
                    </a:moveTo>
                    <a:cubicBezTo>
                      <a:pt x="340042" y="39370"/>
                      <a:pt x="340995" y="43815"/>
                      <a:pt x="340995" y="49530"/>
                    </a:cubicBezTo>
                    <a:lnTo>
                      <a:pt x="340995" y="51435"/>
                    </a:lnTo>
                    <a:cubicBezTo>
                      <a:pt x="340995" y="56833"/>
                      <a:pt x="340042" y="60643"/>
                      <a:pt x="338138" y="62865"/>
                    </a:cubicBezTo>
                    <a:cubicBezTo>
                      <a:pt x="336232" y="65088"/>
                      <a:pt x="333375" y="66040"/>
                      <a:pt x="329565" y="66040"/>
                    </a:cubicBezTo>
                    <a:cubicBezTo>
                      <a:pt x="322263" y="66040"/>
                      <a:pt x="318770" y="60643"/>
                      <a:pt x="318770" y="49530"/>
                    </a:cubicBezTo>
                    <a:cubicBezTo>
                      <a:pt x="318770" y="38418"/>
                      <a:pt x="322263" y="32702"/>
                      <a:pt x="329565" y="32702"/>
                    </a:cubicBezTo>
                    <a:cubicBezTo>
                      <a:pt x="333375" y="33020"/>
                      <a:pt x="336550" y="34290"/>
                      <a:pt x="338138" y="36830"/>
                    </a:cubicBezTo>
                    <a:moveTo>
                      <a:pt x="308927" y="28258"/>
                    </a:moveTo>
                    <a:cubicBezTo>
                      <a:pt x="305117" y="33338"/>
                      <a:pt x="303213" y="40323"/>
                      <a:pt x="303213" y="49530"/>
                    </a:cubicBezTo>
                    <a:cubicBezTo>
                      <a:pt x="303213" y="58420"/>
                      <a:pt x="305117" y="65723"/>
                      <a:pt x="308610" y="70485"/>
                    </a:cubicBezTo>
                    <a:cubicBezTo>
                      <a:pt x="312420" y="75565"/>
                      <a:pt x="317500" y="78105"/>
                      <a:pt x="323850" y="78105"/>
                    </a:cubicBezTo>
                    <a:cubicBezTo>
                      <a:pt x="327025" y="78105"/>
                      <a:pt x="330200" y="77470"/>
                      <a:pt x="332740" y="76200"/>
                    </a:cubicBezTo>
                    <a:cubicBezTo>
                      <a:pt x="335280" y="74930"/>
                      <a:pt x="337502" y="72708"/>
                      <a:pt x="339407" y="69850"/>
                    </a:cubicBezTo>
                    <a:lnTo>
                      <a:pt x="339725" y="69850"/>
                    </a:lnTo>
                    <a:cubicBezTo>
                      <a:pt x="339725" y="70802"/>
                      <a:pt x="339407" y="71755"/>
                      <a:pt x="339407" y="73025"/>
                    </a:cubicBezTo>
                    <a:cubicBezTo>
                      <a:pt x="339407" y="74295"/>
                      <a:pt x="339407" y="75565"/>
                      <a:pt x="339407" y="76518"/>
                    </a:cubicBezTo>
                    <a:lnTo>
                      <a:pt x="339407" y="77788"/>
                    </a:lnTo>
                    <a:cubicBezTo>
                      <a:pt x="339407" y="86043"/>
                      <a:pt x="335597" y="90488"/>
                      <a:pt x="327660" y="90488"/>
                    </a:cubicBezTo>
                    <a:cubicBezTo>
                      <a:pt x="320040" y="90488"/>
                      <a:pt x="312738" y="89218"/>
                      <a:pt x="306070" y="86360"/>
                    </a:cubicBezTo>
                    <a:lnTo>
                      <a:pt x="306070" y="98425"/>
                    </a:lnTo>
                    <a:cubicBezTo>
                      <a:pt x="309245" y="99695"/>
                      <a:pt x="312420" y="100648"/>
                      <a:pt x="315913" y="100965"/>
                    </a:cubicBezTo>
                    <a:cubicBezTo>
                      <a:pt x="319405" y="101283"/>
                      <a:pt x="322897" y="101600"/>
                      <a:pt x="326707" y="101600"/>
                    </a:cubicBezTo>
                    <a:cubicBezTo>
                      <a:pt x="335915" y="101600"/>
                      <a:pt x="342900" y="99377"/>
                      <a:pt x="347345" y="95250"/>
                    </a:cubicBezTo>
                    <a:cubicBezTo>
                      <a:pt x="352107" y="91123"/>
                      <a:pt x="354330" y="85090"/>
                      <a:pt x="354330" y="77152"/>
                    </a:cubicBezTo>
                    <a:lnTo>
                      <a:pt x="354330" y="21590"/>
                    </a:lnTo>
                    <a:lnTo>
                      <a:pt x="341630" y="21590"/>
                    </a:lnTo>
                    <a:lnTo>
                      <a:pt x="340360" y="28575"/>
                    </a:lnTo>
                    <a:lnTo>
                      <a:pt x="340042" y="28575"/>
                    </a:lnTo>
                    <a:cubicBezTo>
                      <a:pt x="336232" y="23177"/>
                      <a:pt x="330835" y="20320"/>
                      <a:pt x="323850" y="20320"/>
                    </a:cubicBezTo>
                    <a:cubicBezTo>
                      <a:pt x="317817" y="20638"/>
                      <a:pt x="312738" y="23177"/>
                      <a:pt x="308927" y="28258"/>
                    </a:cubicBezTo>
                    <a:moveTo>
                      <a:pt x="261620" y="22543"/>
                    </a:moveTo>
                    <a:cubicBezTo>
                      <a:pt x="258445" y="23813"/>
                      <a:pt x="256222" y="26035"/>
                      <a:pt x="254317" y="28893"/>
                    </a:cubicBezTo>
                    <a:lnTo>
                      <a:pt x="253365" y="28893"/>
                    </a:lnTo>
                    <a:lnTo>
                      <a:pt x="251460" y="21908"/>
                    </a:lnTo>
                    <a:lnTo>
                      <a:pt x="240030" y="21908"/>
                    </a:lnTo>
                    <a:lnTo>
                      <a:pt x="240030" y="77470"/>
                    </a:lnTo>
                    <a:lnTo>
                      <a:pt x="255270" y="77470"/>
                    </a:lnTo>
                    <a:lnTo>
                      <a:pt x="255270" y="51435"/>
                    </a:lnTo>
                    <a:cubicBezTo>
                      <a:pt x="255270" y="45402"/>
                      <a:pt x="256222" y="40958"/>
                      <a:pt x="257810" y="37783"/>
                    </a:cubicBezTo>
                    <a:cubicBezTo>
                      <a:pt x="259397" y="34608"/>
                      <a:pt x="262572" y="33020"/>
                      <a:pt x="267335" y="33020"/>
                    </a:cubicBezTo>
                    <a:cubicBezTo>
                      <a:pt x="270510" y="33020"/>
                      <a:pt x="272732" y="33973"/>
                      <a:pt x="274002" y="35877"/>
                    </a:cubicBezTo>
                    <a:cubicBezTo>
                      <a:pt x="275272" y="37783"/>
                      <a:pt x="276225" y="40958"/>
                      <a:pt x="276225" y="44768"/>
                    </a:cubicBezTo>
                    <a:lnTo>
                      <a:pt x="276225" y="77152"/>
                    </a:lnTo>
                    <a:lnTo>
                      <a:pt x="291465" y="77152"/>
                    </a:lnTo>
                    <a:lnTo>
                      <a:pt x="291465" y="40958"/>
                    </a:lnTo>
                    <a:cubicBezTo>
                      <a:pt x="291465" y="33973"/>
                      <a:pt x="289560" y="28575"/>
                      <a:pt x="286067" y="25400"/>
                    </a:cubicBezTo>
                    <a:cubicBezTo>
                      <a:pt x="282575" y="22225"/>
                      <a:pt x="277813" y="20638"/>
                      <a:pt x="271780" y="20638"/>
                    </a:cubicBezTo>
                    <a:cubicBezTo>
                      <a:pt x="267970" y="20638"/>
                      <a:pt x="264795" y="21273"/>
                      <a:pt x="261620" y="22543"/>
                    </a:cubicBezTo>
                    <a:moveTo>
                      <a:pt x="208915" y="77152"/>
                    </a:moveTo>
                    <a:lnTo>
                      <a:pt x="224155" y="77152"/>
                    </a:lnTo>
                    <a:lnTo>
                      <a:pt x="224155" y="21590"/>
                    </a:lnTo>
                    <a:lnTo>
                      <a:pt x="208915" y="21590"/>
                    </a:lnTo>
                    <a:lnTo>
                      <a:pt x="208915" y="77152"/>
                    </a:lnTo>
                    <a:close/>
                    <a:moveTo>
                      <a:pt x="210820" y="1588"/>
                    </a:moveTo>
                    <a:cubicBezTo>
                      <a:pt x="209232" y="2540"/>
                      <a:pt x="208280" y="4445"/>
                      <a:pt x="208280" y="7302"/>
                    </a:cubicBezTo>
                    <a:cubicBezTo>
                      <a:pt x="208280" y="10160"/>
                      <a:pt x="208915" y="12065"/>
                      <a:pt x="210820" y="13018"/>
                    </a:cubicBezTo>
                    <a:cubicBezTo>
                      <a:pt x="212407" y="13970"/>
                      <a:pt x="214313" y="14605"/>
                      <a:pt x="216535" y="14605"/>
                    </a:cubicBezTo>
                    <a:cubicBezTo>
                      <a:pt x="218757" y="14605"/>
                      <a:pt x="220663" y="13970"/>
                      <a:pt x="222250" y="13018"/>
                    </a:cubicBezTo>
                    <a:cubicBezTo>
                      <a:pt x="223838" y="12065"/>
                      <a:pt x="224790" y="10160"/>
                      <a:pt x="224790" y="7302"/>
                    </a:cubicBezTo>
                    <a:cubicBezTo>
                      <a:pt x="224790" y="4445"/>
                      <a:pt x="223838" y="2540"/>
                      <a:pt x="222250" y="1588"/>
                    </a:cubicBezTo>
                    <a:cubicBezTo>
                      <a:pt x="220663" y="635"/>
                      <a:pt x="218757" y="0"/>
                      <a:pt x="216535" y="0"/>
                    </a:cubicBezTo>
                    <a:cubicBezTo>
                      <a:pt x="214313" y="0"/>
                      <a:pt x="212407" y="318"/>
                      <a:pt x="210820" y="1588"/>
                    </a:cubicBezTo>
                    <a:moveTo>
                      <a:pt x="179705" y="77152"/>
                    </a:moveTo>
                    <a:lnTo>
                      <a:pt x="200977" y="21590"/>
                    </a:lnTo>
                    <a:lnTo>
                      <a:pt x="185102" y="21590"/>
                    </a:lnTo>
                    <a:lnTo>
                      <a:pt x="174307" y="53340"/>
                    </a:lnTo>
                    <a:cubicBezTo>
                      <a:pt x="173038" y="57150"/>
                      <a:pt x="172402" y="60960"/>
                      <a:pt x="172085" y="64770"/>
                    </a:cubicBezTo>
                    <a:lnTo>
                      <a:pt x="171767" y="64770"/>
                    </a:lnTo>
                    <a:cubicBezTo>
                      <a:pt x="171767" y="63183"/>
                      <a:pt x="171450" y="61277"/>
                      <a:pt x="171132" y="59373"/>
                    </a:cubicBezTo>
                    <a:cubicBezTo>
                      <a:pt x="170815" y="57468"/>
                      <a:pt x="170180" y="55245"/>
                      <a:pt x="169863" y="53340"/>
                    </a:cubicBezTo>
                    <a:lnTo>
                      <a:pt x="159067" y="21590"/>
                    </a:lnTo>
                    <a:lnTo>
                      <a:pt x="143192" y="21590"/>
                    </a:lnTo>
                    <a:lnTo>
                      <a:pt x="164465" y="77152"/>
                    </a:lnTo>
                    <a:lnTo>
                      <a:pt x="179705" y="77152"/>
                    </a:lnTo>
                    <a:close/>
                    <a:moveTo>
                      <a:pt x="120015" y="77152"/>
                    </a:moveTo>
                    <a:lnTo>
                      <a:pt x="135255" y="77152"/>
                    </a:lnTo>
                    <a:lnTo>
                      <a:pt x="135255" y="21590"/>
                    </a:lnTo>
                    <a:lnTo>
                      <a:pt x="120015" y="21590"/>
                    </a:lnTo>
                    <a:lnTo>
                      <a:pt x="120015" y="77152"/>
                    </a:lnTo>
                    <a:close/>
                    <a:moveTo>
                      <a:pt x="121920" y="1588"/>
                    </a:moveTo>
                    <a:cubicBezTo>
                      <a:pt x="120332" y="2540"/>
                      <a:pt x="119380" y="4445"/>
                      <a:pt x="119380" y="7302"/>
                    </a:cubicBezTo>
                    <a:cubicBezTo>
                      <a:pt x="119380" y="10160"/>
                      <a:pt x="120332" y="12065"/>
                      <a:pt x="121920" y="13018"/>
                    </a:cubicBezTo>
                    <a:cubicBezTo>
                      <a:pt x="123507" y="13970"/>
                      <a:pt x="125413" y="14605"/>
                      <a:pt x="127635" y="14605"/>
                    </a:cubicBezTo>
                    <a:cubicBezTo>
                      <a:pt x="129857" y="14605"/>
                      <a:pt x="131763" y="13970"/>
                      <a:pt x="133350" y="13018"/>
                    </a:cubicBezTo>
                    <a:cubicBezTo>
                      <a:pt x="134938" y="12065"/>
                      <a:pt x="135890" y="10160"/>
                      <a:pt x="135890" y="7302"/>
                    </a:cubicBezTo>
                    <a:cubicBezTo>
                      <a:pt x="135890" y="4445"/>
                      <a:pt x="134938" y="2540"/>
                      <a:pt x="133350" y="1588"/>
                    </a:cubicBezTo>
                    <a:cubicBezTo>
                      <a:pt x="131763" y="635"/>
                      <a:pt x="129857" y="0"/>
                      <a:pt x="127635" y="0"/>
                    </a:cubicBezTo>
                    <a:cubicBezTo>
                      <a:pt x="125413" y="0"/>
                      <a:pt x="123507" y="318"/>
                      <a:pt x="121920" y="1588"/>
                    </a:cubicBezTo>
                    <a:moveTo>
                      <a:pt x="95250" y="23813"/>
                    </a:moveTo>
                    <a:cubicBezTo>
                      <a:pt x="92392" y="25718"/>
                      <a:pt x="90170" y="28258"/>
                      <a:pt x="88582" y="31115"/>
                    </a:cubicBezTo>
                    <a:lnTo>
                      <a:pt x="87947" y="31115"/>
                    </a:lnTo>
                    <a:lnTo>
                      <a:pt x="85725" y="21908"/>
                    </a:lnTo>
                    <a:lnTo>
                      <a:pt x="74295" y="21908"/>
                    </a:lnTo>
                    <a:lnTo>
                      <a:pt x="74295" y="77470"/>
                    </a:lnTo>
                    <a:lnTo>
                      <a:pt x="89535" y="77470"/>
                    </a:lnTo>
                    <a:lnTo>
                      <a:pt x="89535" y="49213"/>
                    </a:lnTo>
                    <a:cubicBezTo>
                      <a:pt x="89535" y="45720"/>
                      <a:pt x="90170" y="42863"/>
                      <a:pt x="91757" y="40958"/>
                    </a:cubicBezTo>
                    <a:cubicBezTo>
                      <a:pt x="93345" y="39052"/>
                      <a:pt x="95250" y="37465"/>
                      <a:pt x="97472" y="36513"/>
                    </a:cubicBezTo>
                    <a:cubicBezTo>
                      <a:pt x="99695" y="35560"/>
                      <a:pt x="102235" y="35243"/>
                      <a:pt x="104775" y="35243"/>
                    </a:cubicBezTo>
                    <a:cubicBezTo>
                      <a:pt x="105410" y="35243"/>
                      <a:pt x="106363" y="35243"/>
                      <a:pt x="106997" y="35243"/>
                    </a:cubicBezTo>
                    <a:cubicBezTo>
                      <a:pt x="107632" y="35243"/>
                      <a:pt x="108585" y="35560"/>
                      <a:pt x="109220" y="35560"/>
                    </a:cubicBezTo>
                    <a:lnTo>
                      <a:pt x="110490" y="21273"/>
                    </a:lnTo>
                    <a:cubicBezTo>
                      <a:pt x="109855" y="21273"/>
                      <a:pt x="109220" y="20955"/>
                      <a:pt x="107950" y="20955"/>
                    </a:cubicBezTo>
                    <a:cubicBezTo>
                      <a:pt x="106997" y="20955"/>
                      <a:pt x="106045" y="20955"/>
                      <a:pt x="105410" y="20955"/>
                    </a:cubicBezTo>
                    <a:cubicBezTo>
                      <a:pt x="101282" y="20638"/>
                      <a:pt x="97790" y="21590"/>
                      <a:pt x="95250" y="23813"/>
                    </a:cubicBezTo>
                    <a:moveTo>
                      <a:pt x="21907" y="64452"/>
                    </a:moveTo>
                    <a:lnTo>
                      <a:pt x="15240" y="64452"/>
                    </a:lnTo>
                    <a:lnTo>
                      <a:pt x="15240" y="17145"/>
                    </a:lnTo>
                    <a:lnTo>
                      <a:pt x="23495" y="17145"/>
                    </a:lnTo>
                    <a:cubicBezTo>
                      <a:pt x="30163" y="17145"/>
                      <a:pt x="35242" y="19050"/>
                      <a:pt x="38735" y="22860"/>
                    </a:cubicBezTo>
                    <a:cubicBezTo>
                      <a:pt x="42227" y="26670"/>
                      <a:pt x="44132" y="32702"/>
                      <a:pt x="44132" y="40640"/>
                    </a:cubicBezTo>
                    <a:cubicBezTo>
                      <a:pt x="44132" y="56515"/>
                      <a:pt x="36830" y="64452"/>
                      <a:pt x="21907" y="64452"/>
                    </a:cubicBezTo>
                    <a:moveTo>
                      <a:pt x="55563" y="20638"/>
                    </a:moveTo>
                    <a:cubicBezTo>
                      <a:pt x="52388" y="15240"/>
                      <a:pt x="48260" y="11430"/>
                      <a:pt x="42545" y="8573"/>
                    </a:cubicBezTo>
                    <a:cubicBezTo>
                      <a:pt x="36830" y="5715"/>
                      <a:pt x="30480" y="4445"/>
                      <a:pt x="22860" y="4445"/>
                    </a:cubicBezTo>
                    <a:lnTo>
                      <a:pt x="0" y="4445"/>
                    </a:lnTo>
                    <a:lnTo>
                      <a:pt x="0" y="76835"/>
                    </a:lnTo>
                    <a:lnTo>
                      <a:pt x="20638" y="76835"/>
                    </a:lnTo>
                    <a:cubicBezTo>
                      <a:pt x="33020" y="76835"/>
                      <a:pt x="42863" y="73660"/>
                      <a:pt x="49847" y="67627"/>
                    </a:cubicBezTo>
                    <a:cubicBezTo>
                      <a:pt x="56832" y="61277"/>
                      <a:pt x="60325" y="52070"/>
                      <a:pt x="60325" y="40005"/>
                    </a:cubicBezTo>
                    <a:cubicBezTo>
                      <a:pt x="60007" y="32385"/>
                      <a:pt x="58738" y="26035"/>
                      <a:pt x="55563" y="20638"/>
                    </a:cubicBezTo>
                  </a:path>
                </a:pathLst>
              </a:custGeom>
              <a:solidFill>
                <a:srgbClr val="001965"/>
              </a:solidFill>
              <a:ln w="3175" cap="flat">
                <a:noFill/>
                <a:prstDash val="solid"/>
                <a:miter/>
              </a:ln>
            </p:spPr>
            <p:txBody>
              <a:bodyPr rtlCol="0" anchor="ctr"/>
              <a:lstStyle/>
              <a:p>
                <a:endParaRPr lang="en-GB">
                  <a:solidFill>
                    <a:srgbClr val="000000"/>
                  </a:solidFill>
                  <a:latin typeface="Verdana"/>
                </a:endParaRPr>
              </a:p>
            </p:txBody>
          </p:sp>
          <p:sp>
            <p:nvSpPr>
              <p:cNvPr id="31" name="Freeform: Shape 30">
                <a:extLst>
                  <a:ext uri="{FF2B5EF4-FFF2-40B4-BE49-F238E27FC236}">
                    <a16:creationId xmlns:a16="http://schemas.microsoft.com/office/drawing/2014/main" id="{F2CE3B15-83C3-46C9-AA0F-6BBD0FB8CC9F}"/>
                  </a:ext>
                </a:extLst>
              </p:cNvPr>
              <p:cNvSpPr/>
              <p:nvPr/>
            </p:nvSpPr>
            <p:spPr>
              <a:xfrm>
                <a:off x="4063047" y="3050540"/>
                <a:ext cx="1028700" cy="250825"/>
              </a:xfrm>
              <a:custGeom>
                <a:avLst/>
                <a:gdLst>
                  <a:gd name="connsiteX0" fmla="*/ 1021398 w 1028700"/>
                  <a:gd name="connsiteY0" fmla="*/ 21908 h 250825"/>
                  <a:gd name="connsiteX1" fmla="*/ 1014095 w 1028700"/>
                  <a:gd name="connsiteY1" fmla="*/ 22225 h 250825"/>
                  <a:gd name="connsiteX2" fmla="*/ 1004888 w 1028700"/>
                  <a:gd name="connsiteY2" fmla="*/ 25400 h 250825"/>
                  <a:gd name="connsiteX3" fmla="*/ 996315 w 1028700"/>
                  <a:gd name="connsiteY3" fmla="*/ 28575 h 250825"/>
                  <a:gd name="connsiteX4" fmla="*/ 990918 w 1028700"/>
                  <a:gd name="connsiteY4" fmla="*/ 29210 h 250825"/>
                  <a:gd name="connsiteX5" fmla="*/ 987425 w 1028700"/>
                  <a:gd name="connsiteY5" fmla="*/ 27305 h 250825"/>
                  <a:gd name="connsiteX6" fmla="*/ 986155 w 1028700"/>
                  <a:gd name="connsiteY6" fmla="*/ 21908 h 250825"/>
                  <a:gd name="connsiteX7" fmla="*/ 990918 w 1028700"/>
                  <a:gd name="connsiteY7" fmla="*/ 14923 h 250825"/>
                  <a:gd name="connsiteX8" fmla="*/ 997268 w 1028700"/>
                  <a:gd name="connsiteY8" fmla="*/ 10477 h 250825"/>
                  <a:gd name="connsiteX9" fmla="*/ 1004253 w 1028700"/>
                  <a:gd name="connsiteY9" fmla="*/ 7302 h 250825"/>
                  <a:gd name="connsiteX10" fmla="*/ 1001713 w 1028700"/>
                  <a:gd name="connsiteY10" fmla="*/ 0 h 250825"/>
                  <a:gd name="connsiteX11" fmla="*/ 994093 w 1028700"/>
                  <a:gd name="connsiteY11" fmla="*/ 3493 h 250825"/>
                  <a:gd name="connsiteX12" fmla="*/ 986473 w 1028700"/>
                  <a:gd name="connsiteY12" fmla="*/ 9208 h 250825"/>
                  <a:gd name="connsiteX13" fmla="*/ 978218 w 1028700"/>
                  <a:gd name="connsiteY13" fmla="*/ 21908 h 250825"/>
                  <a:gd name="connsiteX14" fmla="*/ 981393 w 1028700"/>
                  <a:gd name="connsiteY14" fmla="*/ 33655 h 250825"/>
                  <a:gd name="connsiteX15" fmla="*/ 987743 w 1028700"/>
                  <a:gd name="connsiteY15" fmla="*/ 37783 h 250825"/>
                  <a:gd name="connsiteX16" fmla="*/ 995363 w 1028700"/>
                  <a:gd name="connsiteY16" fmla="*/ 37465 h 250825"/>
                  <a:gd name="connsiteX17" fmla="*/ 1004888 w 1028700"/>
                  <a:gd name="connsiteY17" fmla="*/ 34290 h 250825"/>
                  <a:gd name="connsiteX18" fmla="*/ 1013460 w 1028700"/>
                  <a:gd name="connsiteY18" fmla="*/ 31433 h 250825"/>
                  <a:gd name="connsiteX19" fmla="*/ 1018540 w 1028700"/>
                  <a:gd name="connsiteY19" fmla="*/ 31115 h 250825"/>
                  <a:gd name="connsiteX20" fmla="*/ 1021715 w 1028700"/>
                  <a:gd name="connsiteY20" fmla="*/ 33020 h 250825"/>
                  <a:gd name="connsiteX21" fmla="*/ 1023620 w 1028700"/>
                  <a:gd name="connsiteY21" fmla="*/ 39370 h 250825"/>
                  <a:gd name="connsiteX22" fmla="*/ 1017905 w 1028700"/>
                  <a:gd name="connsiteY22" fmla="*/ 47625 h 250825"/>
                  <a:gd name="connsiteX23" fmla="*/ 1009968 w 1028700"/>
                  <a:gd name="connsiteY23" fmla="*/ 53023 h 250825"/>
                  <a:gd name="connsiteX24" fmla="*/ 1002030 w 1028700"/>
                  <a:gd name="connsiteY24" fmla="*/ 56198 h 250825"/>
                  <a:gd name="connsiteX25" fmla="*/ 1007428 w 1028700"/>
                  <a:gd name="connsiteY25" fmla="*/ 62230 h 250825"/>
                  <a:gd name="connsiteX26" fmla="*/ 1014413 w 1028700"/>
                  <a:gd name="connsiteY26" fmla="*/ 59055 h 250825"/>
                  <a:gd name="connsiteX27" fmla="*/ 1022350 w 1028700"/>
                  <a:gd name="connsiteY27" fmla="*/ 53023 h 250825"/>
                  <a:gd name="connsiteX28" fmla="*/ 1031240 w 1028700"/>
                  <a:gd name="connsiteY28" fmla="*/ 39370 h 250825"/>
                  <a:gd name="connsiteX29" fmla="*/ 1027430 w 1028700"/>
                  <a:gd name="connsiteY29" fmla="*/ 26670 h 250825"/>
                  <a:gd name="connsiteX30" fmla="*/ 1021398 w 1028700"/>
                  <a:gd name="connsiteY30" fmla="*/ 21908 h 250825"/>
                  <a:gd name="connsiteX31" fmla="*/ 980758 w 1028700"/>
                  <a:gd name="connsiteY31" fmla="*/ 58738 h 250825"/>
                  <a:gd name="connsiteX32" fmla="*/ 973455 w 1028700"/>
                  <a:gd name="connsiteY32" fmla="*/ 58420 h 250825"/>
                  <a:gd name="connsiteX33" fmla="*/ 963930 w 1028700"/>
                  <a:gd name="connsiteY33" fmla="*/ 60960 h 250825"/>
                  <a:gd name="connsiteX34" fmla="*/ 955358 w 1028700"/>
                  <a:gd name="connsiteY34" fmla="*/ 63500 h 250825"/>
                  <a:gd name="connsiteX35" fmla="*/ 949960 w 1028700"/>
                  <a:gd name="connsiteY35" fmla="*/ 63818 h 250825"/>
                  <a:gd name="connsiteX36" fmla="*/ 946468 w 1028700"/>
                  <a:gd name="connsiteY36" fmla="*/ 61595 h 250825"/>
                  <a:gd name="connsiteX37" fmla="*/ 945833 w 1028700"/>
                  <a:gd name="connsiteY37" fmla="*/ 55880 h 250825"/>
                  <a:gd name="connsiteX38" fmla="*/ 951230 w 1028700"/>
                  <a:gd name="connsiteY38" fmla="*/ 49213 h 250825"/>
                  <a:gd name="connsiteX39" fmla="*/ 957898 w 1028700"/>
                  <a:gd name="connsiteY39" fmla="*/ 45085 h 250825"/>
                  <a:gd name="connsiteX40" fmla="*/ 965200 w 1028700"/>
                  <a:gd name="connsiteY40" fmla="*/ 42545 h 250825"/>
                  <a:gd name="connsiteX41" fmla="*/ 962978 w 1028700"/>
                  <a:gd name="connsiteY41" fmla="*/ 35243 h 250825"/>
                  <a:gd name="connsiteX42" fmla="*/ 955040 w 1028700"/>
                  <a:gd name="connsiteY42" fmla="*/ 38100 h 250825"/>
                  <a:gd name="connsiteX43" fmla="*/ 947103 w 1028700"/>
                  <a:gd name="connsiteY43" fmla="*/ 43180 h 250825"/>
                  <a:gd name="connsiteX44" fmla="*/ 937895 w 1028700"/>
                  <a:gd name="connsiteY44" fmla="*/ 55245 h 250825"/>
                  <a:gd name="connsiteX45" fmla="*/ 940118 w 1028700"/>
                  <a:gd name="connsiteY45" fmla="*/ 66993 h 250825"/>
                  <a:gd name="connsiteX46" fmla="*/ 946150 w 1028700"/>
                  <a:gd name="connsiteY46" fmla="*/ 71438 h 250825"/>
                  <a:gd name="connsiteX47" fmla="*/ 953770 w 1028700"/>
                  <a:gd name="connsiteY47" fmla="*/ 71755 h 250825"/>
                  <a:gd name="connsiteX48" fmla="*/ 963295 w 1028700"/>
                  <a:gd name="connsiteY48" fmla="*/ 69215 h 250825"/>
                  <a:gd name="connsiteX49" fmla="*/ 972185 w 1028700"/>
                  <a:gd name="connsiteY49" fmla="*/ 66993 h 250825"/>
                  <a:gd name="connsiteX50" fmla="*/ 977265 w 1028700"/>
                  <a:gd name="connsiteY50" fmla="*/ 66993 h 250825"/>
                  <a:gd name="connsiteX51" fmla="*/ 980440 w 1028700"/>
                  <a:gd name="connsiteY51" fmla="*/ 69215 h 250825"/>
                  <a:gd name="connsiteX52" fmla="*/ 981710 w 1028700"/>
                  <a:gd name="connsiteY52" fmla="*/ 75565 h 250825"/>
                  <a:gd name="connsiteX53" fmla="*/ 975360 w 1028700"/>
                  <a:gd name="connsiteY53" fmla="*/ 83502 h 250825"/>
                  <a:gd name="connsiteX54" fmla="*/ 967105 w 1028700"/>
                  <a:gd name="connsiteY54" fmla="*/ 88265 h 250825"/>
                  <a:gd name="connsiteX55" fmla="*/ 959168 w 1028700"/>
                  <a:gd name="connsiteY55" fmla="*/ 90805 h 250825"/>
                  <a:gd name="connsiteX56" fmla="*/ 964248 w 1028700"/>
                  <a:gd name="connsiteY56" fmla="*/ 97155 h 250825"/>
                  <a:gd name="connsiteX57" fmla="*/ 971550 w 1028700"/>
                  <a:gd name="connsiteY57" fmla="*/ 94615 h 250825"/>
                  <a:gd name="connsiteX58" fmla="*/ 979805 w 1028700"/>
                  <a:gd name="connsiteY58" fmla="*/ 89218 h 250825"/>
                  <a:gd name="connsiteX59" fmla="*/ 989648 w 1028700"/>
                  <a:gd name="connsiteY59" fmla="*/ 76200 h 250825"/>
                  <a:gd name="connsiteX60" fmla="*/ 986790 w 1028700"/>
                  <a:gd name="connsiteY60" fmla="*/ 63183 h 250825"/>
                  <a:gd name="connsiteX61" fmla="*/ 980758 w 1028700"/>
                  <a:gd name="connsiteY61" fmla="*/ 58738 h 250825"/>
                  <a:gd name="connsiteX62" fmla="*/ 914718 w 1028700"/>
                  <a:gd name="connsiteY62" fmla="*/ 82233 h 250825"/>
                  <a:gd name="connsiteX63" fmla="*/ 923608 w 1028700"/>
                  <a:gd name="connsiteY63" fmla="*/ 89852 h 250825"/>
                  <a:gd name="connsiteX64" fmla="*/ 900430 w 1028700"/>
                  <a:gd name="connsiteY64" fmla="*/ 105093 h 250825"/>
                  <a:gd name="connsiteX65" fmla="*/ 897890 w 1028700"/>
                  <a:gd name="connsiteY65" fmla="*/ 93027 h 250825"/>
                  <a:gd name="connsiteX66" fmla="*/ 903923 w 1028700"/>
                  <a:gd name="connsiteY66" fmla="*/ 84138 h 250825"/>
                  <a:gd name="connsiteX67" fmla="*/ 914718 w 1028700"/>
                  <a:gd name="connsiteY67" fmla="*/ 82233 h 250825"/>
                  <a:gd name="connsiteX68" fmla="*/ 891223 w 1028700"/>
                  <a:gd name="connsiteY68" fmla="*/ 87948 h 250825"/>
                  <a:gd name="connsiteX69" fmla="*/ 889635 w 1028700"/>
                  <a:gd name="connsiteY69" fmla="*/ 100965 h 250825"/>
                  <a:gd name="connsiteX70" fmla="*/ 895668 w 1028700"/>
                  <a:gd name="connsiteY70" fmla="*/ 115570 h 250825"/>
                  <a:gd name="connsiteX71" fmla="*/ 906780 w 1028700"/>
                  <a:gd name="connsiteY71" fmla="*/ 126683 h 250825"/>
                  <a:gd name="connsiteX72" fmla="*/ 919480 w 1028700"/>
                  <a:gd name="connsiteY72" fmla="*/ 129540 h 250825"/>
                  <a:gd name="connsiteX73" fmla="*/ 932815 w 1028700"/>
                  <a:gd name="connsiteY73" fmla="*/ 124777 h 250825"/>
                  <a:gd name="connsiteX74" fmla="*/ 940435 w 1028700"/>
                  <a:gd name="connsiteY74" fmla="*/ 118745 h 250825"/>
                  <a:gd name="connsiteX75" fmla="*/ 945833 w 1028700"/>
                  <a:gd name="connsiteY75" fmla="*/ 112077 h 250825"/>
                  <a:gd name="connsiteX76" fmla="*/ 941388 w 1028700"/>
                  <a:gd name="connsiteY76" fmla="*/ 105410 h 250825"/>
                  <a:gd name="connsiteX77" fmla="*/ 935990 w 1028700"/>
                  <a:gd name="connsiteY77" fmla="*/ 112395 h 250825"/>
                  <a:gd name="connsiteX78" fmla="*/ 929005 w 1028700"/>
                  <a:gd name="connsiteY78" fmla="*/ 118110 h 250825"/>
                  <a:gd name="connsiteX79" fmla="*/ 915670 w 1028700"/>
                  <a:gd name="connsiteY79" fmla="*/ 120968 h 250825"/>
                  <a:gd name="connsiteX80" fmla="*/ 903923 w 1028700"/>
                  <a:gd name="connsiteY80" fmla="*/ 111760 h 250825"/>
                  <a:gd name="connsiteX81" fmla="*/ 935038 w 1028700"/>
                  <a:gd name="connsiteY81" fmla="*/ 91123 h 250825"/>
                  <a:gd name="connsiteX82" fmla="*/ 932180 w 1028700"/>
                  <a:gd name="connsiteY82" fmla="*/ 86677 h 250825"/>
                  <a:gd name="connsiteX83" fmla="*/ 922655 w 1028700"/>
                  <a:gd name="connsiteY83" fmla="*/ 77470 h 250825"/>
                  <a:gd name="connsiteX84" fmla="*/ 911543 w 1028700"/>
                  <a:gd name="connsiteY84" fmla="*/ 74613 h 250825"/>
                  <a:gd name="connsiteX85" fmla="*/ 899795 w 1028700"/>
                  <a:gd name="connsiteY85" fmla="*/ 78740 h 250825"/>
                  <a:gd name="connsiteX86" fmla="*/ 891223 w 1028700"/>
                  <a:gd name="connsiteY86" fmla="*/ 87948 h 250825"/>
                  <a:gd name="connsiteX87" fmla="*/ 840105 w 1028700"/>
                  <a:gd name="connsiteY87" fmla="*/ 116523 h 250825"/>
                  <a:gd name="connsiteX88" fmla="*/ 836930 w 1028700"/>
                  <a:gd name="connsiteY88" fmla="*/ 125730 h 250825"/>
                  <a:gd name="connsiteX89" fmla="*/ 836613 w 1028700"/>
                  <a:gd name="connsiteY89" fmla="*/ 126048 h 250825"/>
                  <a:gd name="connsiteX90" fmla="*/ 831850 w 1028700"/>
                  <a:gd name="connsiteY90" fmla="*/ 120333 h 250825"/>
                  <a:gd name="connsiteX91" fmla="*/ 825500 w 1028700"/>
                  <a:gd name="connsiteY91" fmla="*/ 123825 h 250825"/>
                  <a:gd name="connsiteX92" fmla="*/ 852170 w 1028700"/>
                  <a:gd name="connsiteY92" fmla="*/ 171450 h 250825"/>
                  <a:gd name="connsiteX93" fmla="*/ 860108 w 1028700"/>
                  <a:gd name="connsiteY93" fmla="*/ 167005 h 250825"/>
                  <a:gd name="connsiteX94" fmla="*/ 846455 w 1028700"/>
                  <a:gd name="connsiteY94" fmla="*/ 142240 h 250825"/>
                  <a:gd name="connsiteX95" fmla="*/ 842328 w 1028700"/>
                  <a:gd name="connsiteY95" fmla="*/ 127635 h 250825"/>
                  <a:gd name="connsiteX96" fmla="*/ 850900 w 1028700"/>
                  <a:gd name="connsiteY96" fmla="*/ 117158 h 250825"/>
                  <a:gd name="connsiteX97" fmla="*/ 868045 w 1028700"/>
                  <a:gd name="connsiteY97" fmla="*/ 122555 h 250825"/>
                  <a:gd name="connsiteX98" fmla="*/ 885190 w 1028700"/>
                  <a:gd name="connsiteY98" fmla="*/ 153035 h 250825"/>
                  <a:gd name="connsiteX99" fmla="*/ 892810 w 1028700"/>
                  <a:gd name="connsiteY99" fmla="*/ 148590 h 250825"/>
                  <a:gd name="connsiteX100" fmla="*/ 875348 w 1028700"/>
                  <a:gd name="connsiteY100" fmla="*/ 117793 h 250825"/>
                  <a:gd name="connsiteX101" fmla="*/ 863600 w 1028700"/>
                  <a:gd name="connsiteY101" fmla="*/ 106998 h 250825"/>
                  <a:gd name="connsiteX102" fmla="*/ 848360 w 1028700"/>
                  <a:gd name="connsiteY102" fmla="*/ 110173 h 250825"/>
                  <a:gd name="connsiteX103" fmla="*/ 840105 w 1028700"/>
                  <a:gd name="connsiteY103" fmla="*/ 116523 h 250825"/>
                  <a:gd name="connsiteX104" fmla="*/ 797878 w 1028700"/>
                  <a:gd name="connsiteY104" fmla="*/ 136208 h 250825"/>
                  <a:gd name="connsiteX105" fmla="*/ 821055 w 1028700"/>
                  <a:gd name="connsiteY105" fmla="*/ 185420 h 250825"/>
                  <a:gd name="connsiteX106" fmla="*/ 829310 w 1028700"/>
                  <a:gd name="connsiteY106" fmla="*/ 181610 h 250825"/>
                  <a:gd name="connsiteX107" fmla="*/ 806133 w 1028700"/>
                  <a:gd name="connsiteY107" fmla="*/ 132398 h 250825"/>
                  <a:gd name="connsiteX108" fmla="*/ 797878 w 1028700"/>
                  <a:gd name="connsiteY108" fmla="*/ 136208 h 250825"/>
                  <a:gd name="connsiteX109" fmla="*/ 790575 w 1028700"/>
                  <a:gd name="connsiteY109" fmla="*/ 118745 h 250825"/>
                  <a:gd name="connsiteX110" fmla="*/ 790893 w 1028700"/>
                  <a:gd name="connsiteY110" fmla="*/ 123190 h 250825"/>
                  <a:gd name="connsiteX111" fmla="*/ 794068 w 1028700"/>
                  <a:gd name="connsiteY111" fmla="*/ 126365 h 250825"/>
                  <a:gd name="connsiteX112" fmla="*/ 798195 w 1028700"/>
                  <a:gd name="connsiteY112" fmla="*/ 126048 h 250825"/>
                  <a:gd name="connsiteX113" fmla="*/ 800735 w 1028700"/>
                  <a:gd name="connsiteY113" fmla="*/ 123190 h 250825"/>
                  <a:gd name="connsiteX114" fmla="*/ 800418 w 1028700"/>
                  <a:gd name="connsiteY114" fmla="*/ 118745 h 250825"/>
                  <a:gd name="connsiteX115" fmla="*/ 797243 w 1028700"/>
                  <a:gd name="connsiteY115" fmla="*/ 115570 h 250825"/>
                  <a:gd name="connsiteX116" fmla="*/ 793433 w 1028700"/>
                  <a:gd name="connsiteY116" fmla="*/ 115888 h 250825"/>
                  <a:gd name="connsiteX117" fmla="*/ 790575 w 1028700"/>
                  <a:gd name="connsiteY117" fmla="*/ 118745 h 250825"/>
                  <a:gd name="connsiteX118" fmla="*/ 791845 w 1028700"/>
                  <a:gd name="connsiteY118" fmla="*/ 174308 h 250825"/>
                  <a:gd name="connsiteX119" fmla="*/ 784860 w 1028700"/>
                  <a:gd name="connsiteY119" fmla="*/ 171768 h 250825"/>
                  <a:gd name="connsiteX120" fmla="*/ 775335 w 1028700"/>
                  <a:gd name="connsiteY120" fmla="*/ 171133 h 250825"/>
                  <a:gd name="connsiteX121" fmla="*/ 766445 w 1028700"/>
                  <a:gd name="connsiteY121" fmla="*/ 170815 h 250825"/>
                  <a:gd name="connsiteX122" fmla="*/ 761365 w 1028700"/>
                  <a:gd name="connsiteY122" fmla="*/ 169545 h 250825"/>
                  <a:gd name="connsiteX123" fmla="*/ 758825 w 1028700"/>
                  <a:gd name="connsiteY123" fmla="*/ 166370 h 250825"/>
                  <a:gd name="connsiteX124" fmla="*/ 759778 w 1028700"/>
                  <a:gd name="connsiteY124" fmla="*/ 160973 h 250825"/>
                  <a:gd name="connsiteX125" fmla="*/ 767080 w 1028700"/>
                  <a:gd name="connsiteY125" fmla="*/ 156210 h 250825"/>
                  <a:gd name="connsiteX126" fmla="*/ 774700 w 1028700"/>
                  <a:gd name="connsiteY126" fmla="*/ 154305 h 250825"/>
                  <a:gd name="connsiteX127" fmla="*/ 782320 w 1028700"/>
                  <a:gd name="connsiteY127" fmla="*/ 153988 h 250825"/>
                  <a:gd name="connsiteX128" fmla="*/ 782638 w 1028700"/>
                  <a:gd name="connsiteY128" fmla="*/ 146368 h 250825"/>
                  <a:gd name="connsiteX129" fmla="*/ 774065 w 1028700"/>
                  <a:gd name="connsiteY129" fmla="*/ 146685 h 250825"/>
                  <a:gd name="connsiteX130" fmla="*/ 765175 w 1028700"/>
                  <a:gd name="connsiteY130" fmla="*/ 148908 h 250825"/>
                  <a:gd name="connsiteX131" fmla="*/ 752793 w 1028700"/>
                  <a:gd name="connsiteY131" fmla="*/ 157798 h 250825"/>
                  <a:gd name="connsiteX132" fmla="*/ 751205 w 1028700"/>
                  <a:gd name="connsiteY132" fmla="*/ 169863 h 250825"/>
                  <a:gd name="connsiteX133" fmla="*/ 755650 w 1028700"/>
                  <a:gd name="connsiteY133" fmla="*/ 175895 h 250825"/>
                  <a:gd name="connsiteX134" fmla="*/ 762635 w 1028700"/>
                  <a:gd name="connsiteY134" fmla="*/ 178435 h 250825"/>
                  <a:gd name="connsiteX135" fmla="*/ 772478 w 1028700"/>
                  <a:gd name="connsiteY135" fmla="*/ 179070 h 250825"/>
                  <a:gd name="connsiteX136" fmla="*/ 781368 w 1028700"/>
                  <a:gd name="connsiteY136" fmla="*/ 179705 h 250825"/>
                  <a:gd name="connsiteX137" fmla="*/ 786130 w 1028700"/>
                  <a:gd name="connsiteY137" fmla="*/ 181293 h 250825"/>
                  <a:gd name="connsiteX138" fmla="*/ 788353 w 1028700"/>
                  <a:gd name="connsiteY138" fmla="*/ 184468 h 250825"/>
                  <a:gd name="connsiteX139" fmla="*/ 787718 w 1028700"/>
                  <a:gd name="connsiteY139" fmla="*/ 191135 h 250825"/>
                  <a:gd name="connsiteX140" fmla="*/ 779145 w 1028700"/>
                  <a:gd name="connsiteY140" fmla="*/ 196533 h 250825"/>
                  <a:gd name="connsiteX141" fmla="*/ 769938 w 1028700"/>
                  <a:gd name="connsiteY141" fmla="*/ 198438 h 250825"/>
                  <a:gd name="connsiteX142" fmla="*/ 761365 w 1028700"/>
                  <a:gd name="connsiteY142" fmla="*/ 198438 h 250825"/>
                  <a:gd name="connsiteX143" fmla="*/ 764223 w 1028700"/>
                  <a:gd name="connsiteY143" fmla="*/ 206057 h 250825"/>
                  <a:gd name="connsiteX144" fmla="*/ 771843 w 1028700"/>
                  <a:gd name="connsiteY144" fmla="*/ 205740 h 250825"/>
                  <a:gd name="connsiteX145" fmla="*/ 781368 w 1028700"/>
                  <a:gd name="connsiteY145" fmla="*/ 203200 h 250825"/>
                  <a:gd name="connsiteX146" fmla="*/ 794703 w 1028700"/>
                  <a:gd name="connsiteY146" fmla="*/ 193675 h 250825"/>
                  <a:gd name="connsiteX147" fmla="*/ 795973 w 1028700"/>
                  <a:gd name="connsiteY147" fmla="*/ 180340 h 250825"/>
                  <a:gd name="connsiteX148" fmla="*/ 791845 w 1028700"/>
                  <a:gd name="connsiteY148" fmla="*/ 174308 h 250825"/>
                  <a:gd name="connsiteX149" fmla="*/ 720725 w 1028700"/>
                  <a:gd name="connsiteY149" fmla="*/ 166052 h 250825"/>
                  <a:gd name="connsiteX150" fmla="*/ 728663 w 1028700"/>
                  <a:gd name="connsiteY150" fmla="*/ 193358 h 250825"/>
                  <a:gd name="connsiteX151" fmla="*/ 729615 w 1028700"/>
                  <a:gd name="connsiteY151" fmla="*/ 208280 h 250825"/>
                  <a:gd name="connsiteX152" fmla="*/ 719138 w 1028700"/>
                  <a:gd name="connsiteY152" fmla="*/ 216852 h 250825"/>
                  <a:gd name="connsiteX153" fmla="*/ 703898 w 1028700"/>
                  <a:gd name="connsiteY153" fmla="*/ 207963 h 250825"/>
                  <a:gd name="connsiteX154" fmla="*/ 694055 w 1028700"/>
                  <a:gd name="connsiteY154" fmla="*/ 174308 h 250825"/>
                  <a:gd name="connsiteX155" fmla="*/ 685483 w 1028700"/>
                  <a:gd name="connsiteY155" fmla="*/ 176848 h 250825"/>
                  <a:gd name="connsiteX156" fmla="*/ 695643 w 1028700"/>
                  <a:gd name="connsiteY156" fmla="*/ 211138 h 250825"/>
                  <a:gd name="connsiteX157" fmla="*/ 704850 w 1028700"/>
                  <a:gd name="connsiteY157" fmla="*/ 224155 h 250825"/>
                  <a:gd name="connsiteX158" fmla="*/ 720408 w 1028700"/>
                  <a:gd name="connsiteY158" fmla="*/ 224473 h 250825"/>
                  <a:gd name="connsiteX159" fmla="*/ 729298 w 1028700"/>
                  <a:gd name="connsiteY159" fmla="*/ 219710 h 250825"/>
                  <a:gd name="connsiteX160" fmla="*/ 734378 w 1028700"/>
                  <a:gd name="connsiteY160" fmla="*/ 211773 h 250825"/>
                  <a:gd name="connsiteX161" fmla="*/ 734695 w 1028700"/>
                  <a:gd name="connsiteY161" fmla="*/ 211773 h 250825"/>
                  <a:gd name="connsiteX162" fmla="*/ 737870 w 1028700"/>
                  <a:gd name="connsiteY162" fmla="*/ 218440 h 250825"/>
                  <a:gd name="connsiteX163" fmla="*/ 744855 w 1028700"/>
                  <a:gd name="connsiteY163" fmla="*/ 216218 h 250825"/>
                  <a:gd name="connsiteX164" fmla="*/ 729298 w 1028700"/>
                  <a:gd name="connsiteY164" fmla="*/ 164148 h 250825"/>
                  <a:gd name="connsiteX165" fmla="*/ 720725 w 1028700"/>
                  <a:gd name="connsiteY165" fmla="*/ 166052 h 250825"/>
                  <a:gd name="connsiteX166" fmla="*/ 662623 w 1028700"/>
                  <a:gd name="connsiteY166" fmla="*/ 209868 h 250825"/>
                  <a:gd name="connsiteX167" fmla="*/ 661988 w 1028700"/>
                  <a:gd name="connsiteY167" fmla="*/ 225743 h 250825"/>
                  <a:gd name="connsiteX168" fmla="*/ 652145 w 1028700"/>
                  <a:gd name="connsiteY168" fmla="*/ 233045 h 250825"/>
                  <a:gd name="connsiteX169" fmla="*/ 639128 w 1028700"/>
                  <a:gd name="connsiteY169" fmla="*/ 230188 h 250825"/>
                  <a:gd name="connsiteX170" fmla="*/ 633095 w 1028700"/>
                  <a:gd name="connsiteY170" fmla="*/ 215582 h 250825"/>
                  <a:gd name="connsiteX171" fmla="*/ 633095 w 1028700"/>
                  <a:gd name="connsiteY171" fmla="*/ 215265 h 250825"/>
                  <a:gd name="connsiteX172" fmla="*/ 633413 w 1028700"/>
                  <a:gd name="connsiteY172" fmla="*/ 199390 h 250825"/>
                  <a:gd name="connsiteX173" fmla="*/ 644208 w 1028700"/>
                  <a:gd name="connsiteY173" fmla="*/ 192088 h 250825"/>
                  <a:gd name="connsiteX174" fmla="*/ 662623 w 1028700"/>
                  <a:gd name="connsiteY174" fmla="*/ 209868 h 250825"/>
                  <a:gd name="connsiteX175" fmla="*/ 614680 w 1028700"/>
                  <a:gd name="connsiteY175" fmla="*/ 168275 h 250825"/>
                  <a:gd name="connsiteX176" fmla="*/ 629285 w 1028700"/>
                  <a:gd name="connsiteY176" fmla="*/ 244157 h 250825"/>
                  <a:gd name="connsiteX177" fmla="*/ 635635 w 1028700"/>
                  <a:gd name="connsiteY177" fmla="*/ 242888 h 250825"/>
                  <a:gd name="connsiteX178" fmla="*/ 636270 w 1028700"/>
                  <a:gd name="connsiteY178" fmla="*/ 235902 h 250825"/>
                  <a:gd name="connsiteX179" fmla="*/ 636905 w 1028700"/>
                  <a:gd name="connsiteY179" fmla="*/ 235902 h 250825"/>
                  <a:gd name="connsiteX180" fmla="*/ 644208 w 1028700"/>
                  <a:gd name="connsiteY180" fmla="*/ 240030 h 250825"/>
                  <a:gd name="connsiteX181" fmla="*/ 655003 w 1028700"/>
                  <a:gd name="connsiteY181" fmla="*/ 240348 h 250825"/>
                  <a:gd name="connsiteX182" fmla="*/ 669608 w 1028700"/>
                  <a:gd name="connsiteY182" fmla="*/ 230188 h 250825"/>
                  <a:gd name="connsiteX183" fmla="*/ 671830 w 1028700"/>
                  <a:gd name="connsiteY183" fmla="*/ 208280 h 250825"/>
                  <a:gd name="connsiteX184" fmla="*/ 661988 w 1028700"/>
                  <a:gd name="connsiteY184" fmla="*/ 188595 h 250825"/>
                  <a:gd name="connsiteX185" fmla="*/ 644525 w 1028700"/>
                  <a:gd name="connsiteY185" fmla="*/ 184785 h 250825"/>
                  <a:gd name="connsiteX186" fmla="*/ 634683 w 1028700"/>
                  <a:gd name="connsiteY186" fmla="*/ 188913 h 250825"/>
                  <a:gd name="connsiteX187" fmla="*/ 629603 w 1028700"/>
                  <a:gd name="connsiteY187" fmla="*/ 195898 h 250825"/>
                  <a:gd name="connsiteX188" fmla="*/ 628968 w 1028700"/>
                  <a:gd name="connsiteY188" fmla="*/ 195898 h 250825"/>
                  <a:gd name="connsiteX189" fmla="*/ 628333 w 1028700"/>
                  <a:gd name="connsiteY189" fmla="*/ 191135 h 250825"/>
                  <a:gd name="connsiteX190" fmla="*/ 627380 w 1028700"/>
                  <a:gd name="connsiteY190" fmla="*/ 184785 h 250825"/>
                  <a:gd name="connsiteX191" fmla="*/ 623888 w 1028700"/>
                  <a:gd name="connsiteY191" fmla="*/ 166370 h 250825"/>
                  <a:gd name="connsiteX192" fmla="*/ 614680 w 1028700"/>
                  <a:gd name="connsiteY192" fmla="*/ 168275 h 250825"/>
                  <a:gd name="connsiteX193" fmla="*/ 560388 w 1028700"/>
                  <a:gd name="connsiteY193" fmla="*/ 207963 h 250825"/>
                  <a:gd name="connsiteX194" fmla="*/ 564198 w 1028700"/>
                  <a:gd name="connsiteY194" fmla="*/ 219075 h 250825"/>
                  <a:gd name="connsiteX195" fmla="*/ 536575 w 1028700"/>
                  <a:gd name="connsiteY195" fmla="*/ 220980 h 250825"/>
                  <a:gd name="connsiteX196" fmla="*/ 540385 w 1028700"/>
                  <a:gd name="connsiteY196" fmla="*/ 209232 h 250825"/>
                  <a:gd name="connsiteX197" fmla="*/ 550228 w 1028700"/>
                  <a:gd name="connsiteY197" fmla="*/ 204470 h 250825"/>
                  <a:gd name="connsiteX198" fmla="*/ 560388 w 1028700"/>
                  <a:gd name="connsiteY198" fmla="*/ 207963 h 250825"/>
                  <a:gd name="connsiteX199" fmla="*/ 537528 w 1028700"/>
                  <a:gd name="connsiteY199" fmla="*/ 200977 h 250825"/>
                  <a:gd name="connsiteX200" fmla="*/ 529590 w 1028700"/>
                  <a:gd name="connsiteY200" fmla="*/ 211455 h 250825"/>
                  <a:gd name="connsiteX201" fmla="*/ 527685 w 1028700"/>
                  <a:gd name="connsiteY201" fmla="*/ 227013 h 250825"/>
                  <a:gd name="connsiteX202" fmla="*/ 531813 w 1028700"/>
                  <a:gd name="connsiteY202" fmla="*/ 242252 h 250825"/>
                  <a:gd name="connsiteX203" fmla="*/ 541655 w 1028700"/>
                  <a:gd name="connsiteY203" fmla="*/ 251143 h 250825"/>
                  <a:gd name="connsiteX204" fmla="*/ 555625 w 1028700"/>
                  <a:gd name="connsiteY204" fmla="*/ 253365 h 250825"/>
                  <a:gd name="connsiteX205" fmla="*/ 565150 w 1028700"/>
                  <a:gd name="connsiteY205" fmla="*/ 251777 h 250825"/>
                  <a:gd name="connsiteX206" fmla="*/ 573088 w 1028700"/>
                  <a:gd name="connsiteY206" fmla="*/ 248602 h 250825"/>
                  <a:gd name="connsiteX207" fmla="*/ 572453 w 1028700"/>
                  <a:gd name="connsiteY207" fmla="*/ 240665 h 250825"/>
                  <a:gd name="connsiteX208" fmla="*/ 564515 w 1028700"/>
                  <a:gd name="connsiteY208" fmla="*/ 243840 h 250825"/>
                  <a:gd name="connsiteX209" fmla="*/ 555308 w 1028700"/>
                  <a:gd name="connsiteY209" fmla="*/ 245427 h 250825"/>
                  <a:gd name="connsiteX210" fmla="*/ 542290 w 1028700"/>
                  <a:gd name="connsiteY210" fmla="*/ 241300 h 250825"/>
                  <a:gd name="connsiteX211" fmla="*/ 536575 w 1028700"/>
                  <a:gd name="connsiteY211" fmla="*/ 227648 h 250825"/>
                  <a:gd name="connsiteX212" fmla="*/ 573723 w 1028700"/>
                  <a:gd name="connsiteY212" fmla="*/ 225425 h 250825"/>
                  <a:gd name="connsiteX213" fmla="*/ 573405 w 1028700"/>
                  <a:gd name="connsiteY213" fmla="*/ 220027 h 250825"/>
                  <a:gd name="connsiteX214" fmla="*/ 569913 w 1028700"/>
                  <a:gd name="connsiteY214" fmla="*/ 207327 h 250825"/>
                  <a:gd name="connsiteX215" fmla="*/ 561658 w 1028700"/>
                  <a:gd name="connsiteY215" fmla="*/ 199390 h 250825"/>
                  <a:gd name="connsiteX216" fmla="*/ 549593 w 1028700"/>
                  <a:gd name="connsiteY216" fmla="*/ 197168 h 250825"/>
                  <a:gd name="connsiteX217" fmla="*/ 537528 w 1028700"/>
                  <a:gd name="connsiteY217" fmla="*/ 200977 h 250825"/>
                  <a:gd name="connsiteX218" fmla="*/ 508000 w 1028700"/>
                  <a:gd name="connsiteY218" fmla="*/ 176530 h 250825"/>
                  <a:gd name="connsiteX219" fmla="*/ 499110 w 1028700"/>
                  <a:gd name="connsiteY219" fmla="*/ 176530 h 250825"/>
                  <a:gd name="connsiteX220" fmla="*/ 498158 w 1028700"/>
                  <a:gd name="connsiteY220" fmla="*/ 253682 h 250825"/>
                  <a:gd name="connsiteX221" fmla="*/ 507048 w 1028700"/>
                  <a:gd name="connsiteY221" fmla="*/ 253682 h 250825"/>
                  <a:gd name="connsiteX222" fmla="*/ 508000 w 1028700"/>
                  <a:gd name="connsiteY222" fmla="*/ 176530 h 250825"/>
                  <a:gd name="connsiteX223" fmla="*/ 470853 w 1028700"/>
                  <a:gd name="connsiteY223" fmla="*/ 225743 h 250825"/>
                  <a:gd name="connsiteX224" fmla="*/ 466408 w 1028700"/>
                  <a:gd name="connsiteY224" fmla="*/ 240982 h 250825"/>
                  <a:gd name="connsiteX225" fmla="*/ 455295 w 1028700"/>
                  <a:gd name="connsiteY225" fmla="*/ 245745 h 250825"/>
                  <a:gd name="connsiteX226" fmla="*/ 443548 w 1028700"/>
                  <a:gd name="connsiteY226" fmla="*/ 239713 h 250825"/>
                  <a:gd name="connsiteX227" fmla="*/ 441325 w 1028700"/>
                  <a:gd name="connsiteY227" fmla="*/ 224155 h 250825"/>
                  <a:gd name="connsiteX228" fmla="*/ 441325 w 1028700"/>
                  <a:gd name="connsiteY228" fmla="*/ 223838 h 250825"/>
                  <a:gd name="connsiteX229" fmla="*/ 445453 w 1028700"/>
                  <a:gd name="connsiteY229" fmla="*/ 208598 h 250825"/>
                  <a:gd name="connsiteX230" fmla="*/ 457835 w 1028700"/>
                  <a:gd name="connsiteY230" fmla="*/ 204470 h 250825"/>
                  <a:gd name="connsiteX231" fmla="*/ 470853 w 1028700"/>
                  <a:gd name="connsiteY231" fmla="*/ 225743 h 250825"/>
                  <a:gd name="connsiteX232" fmla="*/ 434975 w 1028700"/>
                  <a:gd name="connsiteY232" fmla="*/ 173355 h 250825"/>
                  <a:gd name="connsiteX233" fmla="*/ 430213 w 1028700"/>
                  <a:gd name="connsiteY233" fmla="*/ 250507 h 250825"/>
                  <a:gd name="connsiteX234" fmla="*/ 436563 w 1028700"/>
                  <a:gd name="connsiteY234" fmla="*/ 250825 h 250825"/>
                  <a:gd name="connsiteX235" fmla="*/ 438785 w 1028700"/>
                  <a:gd name="connsiteY235" fmla="*/ 244157 h 250825"/>
                  <a:gd name="connsiteX236" fmla="*/ 439420 w 1028700"/>
                  <a:gd name="connsiteY236" fmla="*/ 244157 h 250825"/>
                  <a:gd name="connsiteX237" fmla="*/ 445453 w 1028700"/>
                  <a:gd name="connsiteY237" fmla="*/ 250190 h 250825"/>
                  <a:gd name="connsiteX238" fmla="*/ 455613 w 1028700"/>
                  <a:gd name="connsiteY238" fmla="*/ 253048 h 250825"/>
                  <a:gd name="connsiteX239" fmla="*/ 472123 w 1028700"/>
                  <a:gd name="connsiteY239" fmla="*/ 247015 h 250825"/>
                  <a:gd name="connsiteX240" fmla="*/ 479743 w 1028700"/>
                  <a:gd name="connsiteY240" fmla="*/ 226377 h 250825"/>
                  <a:gd name="connsiteX241" fmla="*/ 474980 w 1028700"/>
                  <a:gd name="connsiteY241" fmla="*/ 205105 h 250825"/>
                  <a:gd name="connsiteX242" fmla="*/ 459105 w 1028700"/>
                  <a:gd name="connsiteY242" fmla="*/ 197168 h 250825"/>
                  <a:gd name="connsiteX243" fmla="*/ 448628 w 1028700"/>
                  <a:gd name="connsiteY243" fmla="*/ 198755 h 250825"/>
                  <a:gd name="connsiteX244" fmla="*/ 441960 w 1028700"/>
                  <a:gd name="connsiteY244" fmla="*/ 204152 h 250825"/>
                  <a:gd name="connsiteX245" fmla="*/ 441325 w 1028700"/>
                  <a:gd name="connsiteY245" fmla="*/ 204152 h 250825"/>
                  <a:gd name="connsiteX246" fmla="*/ 441960 w 1028700"/>
                  <a:gd name="connsiteY246" fmla="*/ 199390 h 250825"/>
                  <a:gd name="connsiteX247" fmla="*/ 442595 w 1028700"/>
                  <a:gd name="connsiteY247" fmla="*/ 193040 h 250825"/>
                  <a:gd name="connsiteX248" fmla="*/ 443865 w 1028700"/>
                  <a:gd name="connsiteY248" fmla="*/ 174308 h 250825"/>
                  <a:gd name="connsiteX249" fmla="*/ 434975 w 1028700"/>
                  <a:gd name="connsiteY249" fmla="*/ 173355 h 250825"/>
                  <a:gd name="connsiteX250" fmla="*/ 397193 w 1028700"/>
                  <a:gd name="connsiteY250" fmla="*/ 224155 h 250825"/>
                  <a:gd name="connsiteX251" fmla="*/ 390843 w 1028700"/>
                  <a:gd name="connsiteY251" fmla="*/ 234950 h 250825"/>
                  <a:gd name="connsiteX252" fmla="*/ 379095 w 1028700"/>
                  <a:gd name="connsiteY252" fmla="*/ 236855 h 250825"/>
                  <a:gd name="connsiteX253" fmla="*/ 372428 w 1028700"/>
                  <a:gd name="connsiteY253" fmla="*/ 233680 h 250825"/>
                  <a:gd name="connsiteX254" fmla="*/ 370840 w 1028700"/>
                  <a:gd name="connsiteY254" fmla="*/ 226695 h 250825"/>
                  <a:gd name="connsiteX255" fmla="*/ 375920 w 1028700"/>
                  <a:gd name="connsiteY255" fmla="*/ 219393 h 250825"/>
                  <a:gd name="connsiteX256" fmla="*/ 390208 w 1028700"/>
                  <a:gd name="connsiteY256" fmla="*/ 218440 h 250825"/>
                  <a:gd name="connsiteX257" fmla="*/ 398145 w 1028700"/>
                  <a:gd name="connsiteY257" fmla="*/ 219393 h 250825"/>
                  <a:gd name="connsiteX258" fmla="*/ 397193 w 1028700"/>
                  <a:gd name="connsiteY258" fmla="*/ 224155 h 250825"/>
                  <a:gd name="connsiteX259" fmla="*/ 381953 w 1028700"/>
                  <a:gd name="connsiteY259" fmla="*/ 188913 h 250825"/>
                  <a:gd name="connsiteX260" fmla="*/ 373063 w 1028700"/>
                  <a:gd name="connsiteY260" fmla="*/ 190818 h 250825"/>
                  <a:gd name="connsiteX261" fmla="*/ 374650 w 1028700"/>
                  <a:gd name="connsiteY261" fmla="*/ 197802 h 250825"/>
                  <a:gd name="connsiteX262" fmla="*/ 382270 w 1028700"/>
                  <a:gd name="connsiteY262" fmla="*/ 196215 h 250825"/>
                  <a:gd name="connsiteX263" fmla="*/ 390525 w 1028700"/>
                  <a:gd name="connsiteY263" fmla="*/ 196215 h 250825"/>
                  <a:gd name="connsiteX264" fmla="*/ 398463 w 1028700"/>
                  <a:gd name="connsiteY264" fmla="*/ 200343 h 250825"/>
                  <a:gd name="connsiteX265" fmla="*/ 399733 w 1028700"/>
                  <a:gd name="connsiteY265" fmla="*/ 210185 h 250825"/>
                  <a:gd name="connsiteX266" fmla="*/ 399098 w 1028700"/>
                  <a:gd name="connsiteY266" fmla="*/ 213360 h 250825"/>
                  <a:gd name="connsiteX267" fmla="*/ 389890 w 1028700"/>
                  <a:gd name="connsiteY267" fmla="*/ 212090 h 250825"/>
                  <a:gd name="connsiteX268" fmla="*/ 369570 w 1028700"/>
                  <a:gd name="connsiteY268" fmla="*/ 213677 h 250825"/>
                  <a:gd name="connsiteX269" fmla="*/ 361315 w 1028700"/>
                  <a:gd name="connsiteY269" fmla="*/ 225107 h 250825"/>
                  <a:gd name="connsiteX270" fmla="*/ 364173 w 1028700"/>
                  <a:gd name="connsiteY270" fmla="*/ 238125 h 250825"/>
                  <a:gd name="connsiteX271" fmla="*/ 375603 w 1028700"/>
                  <a:gd name="connsiteY271" fmla="*/ 244157 h 250825"/>
                  <a:gd name="connsiteX272" fmla="*/ 386715 w 1028700"/>
                  <a:gd name="connsiteY272" fmla="*/ 243840 h 250825"/>
                  <a:gd name="connsiteX273" fmla="*/ 395288 w 1028700"/>
                  <a:gd name="connsiteY273" fmla="*/ 238443 h 250825"/>
                  <a:gd name="connsiteX274" fmla="*/ 395605 w 1028700"/>
                  <a:gd name="connsiteY274" fmla="*/ 238443 h 250825"/>
                  <a:gd name="connsiteX275" fmla="*/ 395923 w 1028700"/>
                  <a:gd name="connsiteY275" fmla="*/ 246380 h 250825"/>
                  <a:gd name="connsiteX276" fmla="*/ 402273 w 1028700"/>
                  <a:gd name="connsiteY276" fmla="*/ 247332 h 250825"/>
                  <a:gd name="connsiteX277" fmla="*/ 408305 w 1028700"/>
                  <a:gd name="connsiteY277" fmla="*/ 210820 h 250825"/>
                  <a:gd name="connsiteX278" fmla="*/ 405765 w 1028700"/>
                  <a:gd name="connsiteY278" fmla="*/ 196215 h 250825"/>
                  <a:gd name="connsiteX279" fmla="*/ 391795 w 1028700"/>
                  <a:gd name="connsiteY279" fmla="*/ 189548 h 250825"/>
                  <a:gd name="connsiteX280" fmla="*/ 381953 w 1028700"/>
                  <a:gd name="connsiteY280" fmla="*/ 188913 h 250825"/>
                  <a:gd name="connsiteX281" fmla="*/ 320993 w 1028700"/>
                  <a:gd name="connsiteY281" fmla="*/ 175895 h 250825"/>
                  <a:gd name="connsiteX282" fmla="*/ 312420 w 1028700"/>
                  <a:gd name="connsiteY282" fmla="*/ 180023 h 250825"/>
                  <a:gd name="connsiteX283" fmla="*/ 311785 w 1028700"/>
                  <a:gd name="connsiteY283" fmla="*/ 180023 h 250825"/>
                  <a:gd name="connsiteX284" fmla="*/ 312420 w 1028700"/>
                  <a:gd name="connsiteY284" fmla="*/ 172402 h 250825"/>
                  <a:gd name="connsiteX285" fmla="*/ 305435 w 1028700"/>
                  <a:gd name="connsiteY285" fmla="*/ 170498 h 250825"/>
                  <a:gd name="connsiteX286" fmla="*/ 291148 w 1028700"/>
                  <a:gd name="connsiteY286" fmla="*/ 223202 h 250825"/>
                  <a:gd name="connsiteX287" fmla="*/ 299720 w 1028700"/>
                  <a:gd name="connsiteY287" fmla="*/ 225425 h 250825"/>
                  <a:gd name="connsiteX288" fmla="*/ 307023 w 1028700"/>
                  <a:gd name="connsiteY288" fmla="*/ 198120 h 250825"/>
                  <a:gd name="connsiteX289" fmla="*/ 314325 w 1028700"/>
                  <a:gd name="connsiteY289" fmla="*/ 184785 h 250825"/>
                  <a:gd name="connsiteX290" fmla="*/ 327660 w 1028700"/>
                  <a:gd name="connsiteY290" fmla="*/ 183198 h 250825"/>
                  <a:gd name="connsiteX291" fmla="*/ 335915 w 1028700"/>
                  <a:gd name="connsiteY291" fmla="*/ 199073 h 250825"/>
                  <a:gd name="connsiteX292" fmla="*/ 326708 w 1028700"/>
                  <a:gd name="connsiteY292" fmla="*/ 232727 h 250825"/>
                  <a:gd name="connsiteX293" fmla="*/ 335280 w 1028700"/>
                  <a:gd name="connsiteY293" fmla="*/ 234950 h 250825"/>
                  <a:gd name="connsiteX294" fmla="*/ 344488 w 1028700"/>
                  <a:gd name="connsiteY294" fmla="*/ 200660 h 250825"/>
                  <a:gd name="connsiteX295" fmla="*/ 343535 w 1028700"/>
                  <a:gd name="connsiteY295" fmla="*/ 184785 h 250825"/>
                  <a:gd name="connsiteX296" fmla="*/ 330518 w 1028700"/>
                  <a:gd name="connsiteY296" fmla="*/ 176213 h 250825"/>
                  <a:gd name="connsiteX297" fmla="*/ 320993 w 1028700"/>
                  <a:gd name="connsiteY297" fmla="*/ 175895 h 250825"/>
                  <a:gd name="connsiteX298" fmla="*/ 278130 w 1028700"/>
                  <a:gd name="connsiteY298" fmla="*/ 161608 h 250825"/>
                  <a:gd name="connsiteX299" fmla="*/ 261303 w 1028700"/>
                  <a:gd name="connsiteY299" fmla="*/ 213360 h 250825"/>
                  <a:gd name="connsiteX300" fmla="*/ 269875 w 1028700"/>
                  <a:gd name="connsiteY300" fmla="*/ 216218 h 250825"/>
                  <a:gd name="connsiteX301" fmla="*/ 286703 w 1028700"/>
                  <a:gd name="connsiteY301" fmla="*/ 164465 h 250825"/>
                  <a:gd name="connsiteX302" fmla="*/ 278130 w 1028700"/>
                  <a:gd name="connsiteY302" fmla="*/ 161608 h 250825"/>
                  <a:gd name="connsiteX303" fmla="*/ 284798 w 1028700"/>
                  <a:gd name="connsiteY303" fmla="*/ 143827 h 250825"/>
                  <a:gd name="connsiteX304" fmla="*/ 281940 w 1028700"/>
                  <a:gd name="connsiteY304" fmla="*/ 147320 h 250825"/>
                  <a:gd name="connsiteX305" fmla="*/ 281940 w 1028700"/>
                  <a:gd name="connsiteY305" fmla="*/ 151765 h 250825"/>
                  <a:gd name="connsiteX306" fmla="*/ 285115 w 1028700"/>
                  <a:gd name="connsiteY306" fmla="*/ 154305 h 250825"/>
                  <a:gd name="connsiteX307" fmla="*/ 288925 w 1028700"/>
                  <a:gd name="connsiteY307" fmla="*/ 153988 h 250825"/>
                  <a:gd name="connsiteX308" fmla="*/ 291783 w 1028700"/>
                  <a:gd name="connsiteY308" fmla="*/ 150495 h 250825"/>
                  <a:gd name="connsiteX309" fmla="*/ 291465 w 1028700"/>
                  <a:gd name="connsiteY309" fmla="*/ 146050 h 250825"/>
                  <a:gd name="connsiteX310" fmla="*/ 288608 w 1028700"/>
                  <a:gd name="connsiteY310" fmla="*/ 143510 h 250825"/>
                  <a:gd name="connsiteX311" fmla="*/ 284798 w 1028700"/>
                  <a:gd name="connsiteY311" fmla="*/ 143827 h 250825"/>
                  <a:gd name="connsiteX312" fmla="*/ 237808 w 1028700"/>
                  <a:gd name="connsiteY312" fmla="*/ 181927 h 250825"/>
                  <a:gd name="connsiteX313" fmla="*/ 229235 w 1028700"/>
                  <a:gd name="connsiteY313" fmla="*/ 191135 h 250825"/>
                  <a:gd name="connsiteX314" fmla="*/ 217170 w 1028700"/>
                  <a:gd name="connsiteY314" fmla="*/ 190183 h 250825"/>
                  <a:gd name="connsiteX315" fmla="*/ 211455 w 1028700"/>
                  <a:gd name="connsiteY315" fmla="*/ 185420 h 250825"/>
                  <a:gd name="connsiteX316" fmla="*/ 211455 w 1028700"/>
                  <a:gd name="connsiteY316" fmla="*/ 178118 h 250825"/>
                  <a:gd name="connsiteX317" fmla="*/ 218123 w 1028700"/>
                  <a:gd name="connsiteY317" fmla="*/ 172085 h 250825"/>
                  <a:gd name="connsiteX318" fmla="*/ 232410 w 1028700"/>
                  <a:gd name="connsiteY318" fmla="*/ 174308 h 250825"/>
                  <a:gd name="connsiteX319" fmla="*/ 240030 w 1028700"/>
                  <a:gd name="connsiteY319" fmla="*/ 177165 h 250825"/>
                  <a:gd name="connsiteX320" fmla="*/ 237808 w 1028700"/>
                  <a:gd name="connsiteY320" fmla="*/ 181927 h 250825"/>
                  <a:gd name="connsiteX321" fmla="*/ 230823 w 1028700"/>
                  <a:gd name="connsiteY321" fmla="*/ 144145 h 250825"/>
                  <a:gd name="connsiteX322" fmla="*/ 221615 w 1028700"/>
                  <a:gd name="connsiteY322" fmla="*/ 144145 h 250825"/>
                  <a:gd name="connsiteX323" fmla="*/ 221615 w 1028700"/>
                  <a:gd name="connsiteY323" fmla="*/ 151448 h 250825"/>
                  <a:gd name="connsiteX324" fmla="*/ 229235 w 1028700"/>
                  <a:gd name="connsiteY324" fmla="*/ 151448 h 250825"/>
                  <a:gd name="connsiteX325" fmla="*/ 237173 w 1028700"/>
                  <a:gd name="connsiteY325" fmla="*/ 153352 h 250825"/>
                  <a:gd name="connsiteX326" fmla="*/ 243840 w 1028700"/>
                  <a:gd name="connsiteY326" fmla="*/ 159068 h 250825"/>
                  <a:gd name="connsiteX327" fmla="*/ 242888 w 1028700"/>
                  <a:gd name="connsiteY327" fmla="*/ 168910 h 250825"/>
                  <a:gd name="connsiteX328" fmla="*/ 241618 w 1028700"/>
                  <a:gd name="connsiteY328" fmla="*/ 171768 h 250825"/>
                  <a:gd name="connsiteX329" fmla="*/ 233045 w 1028700"/>
                  <a:gd name="connsiteY329" fmla="*/ 168593 h 250825"/>
                  <a:gd name="connsiteX330" fmla="*/ 213043 w 1028700"/>
                  <a:gd name="connsiteY330" fmla="*/ 165735 h 250825"/>
                  <a:gd name="connsiteX331" fmla="*/ 202248 w 1028700"/>
                  <a:gd name="connsiteY331" fmla="*/ 174943 h 250825"/>
                  <a:gd name="connsiteX332" fmla="*/ 202248 w 1028700"/>
                  <a:gd name="connsiteY332" fmla="*/ 187960 h 250825"/>
                  <a:gd name="connsiteX333" fmla="*/ 212090 w 1028700"/>
                  <a:gd name="connsiteY333" fmla="*/ 196215 h 250825"/>
                  <a:gd name="connsiteX334" fmla="*/ 222885 w 1028700"/>
                  <a:gd name="connsiteY334" fmla="*/ 198438 h 250825"/>
                  <a:gd name="connsiteX335" fmla="*/ 232410 w 1028700"/>
                  <a:gd name="connsiteY335" fmla="*/ 195263 h 250825"/>
                  <a:gd name="connsiteX336" fmla="*/ 232728 w 1028700"/>
                  <a:gd name="connsiteY336" fmla="*/ 195263 h 250825"/>
                  <a:gd name="connsiteX337" fmla="*/ 231458 w 1028700"/>
                  <a:gd name="connsiteY337" fmla="*/ 203200 h 250825"/>
                  <a:gd name="connsiteX338" fmla="*/ 237490 w 1028700"/>
                  <a:gd name="connsiteY338" fmla="*/ 205740 h 250825"/>
                  <a:gd name="connsiteX339" fmla="*/ 251460 w 1028700"/>
                  <a:gd name="connsiteY339" fmla="*/ 171450 h 250825"/>
                  <a:gd name="connsiteX340" fmla="*/ 252413 w 1028700"/>
                  <a:gd name="connsiteY340" fmla="*/ 156845 h 250825"/>
                  <a:gd name="connsiteX341" fmla="*/ 240348 w 1028700"/>
                  <a:gd name="connsiteY341" fmla="*/ 147320 h 250825"/>
                  <a:gd name="connsiteX342" fmla="*/ 230823 w 1028700"/>
                  <a:gd name="connsiteY342" fmla="*/ 144145 h 250825"/>
                  <a:gd name="connsiteX343" fmla="*/ 174943 w 1028700"/>
                  <a:gd name="connsiteY343" fmla="*/ 168593 h 250825"/>
                  <a:gd name="connsiteX344" fmla="*/ 176213 w 1028700"/>
                  <a:gd name="connsiteY344" fmla="*/ 160973 h 250825"/>
                  <a:gd name="connsiteX345" fmla="*/ 190183 w 1028700"/>
                  <a:gd name="connsiteY345" fmla="*/ 132715 h 250825"/>
                  <a:gd name="connsiteX346" fmla="*/ 204153 w 1028700"/>
                  <a:gd name="connsiteY346" fmla="*/ 139700 h 250825"/>
                  <a:gd name="connsiteX347" fmla="*/ 207328 w 1028700"/>
                  <a:gd name="connsiteY347" fmla="*/ 133350 h 250825"/>
                  <a:gd name="connsiteX348" fmla="*/ 193358 w 1028700"/>
                  <a:gd name="connsiteY348" fmla="*/ 126365 h 250825"/>
                  <a:gd name="connsiteX349" fmla="*/ 199073 w 1028700"/>
                  <a:gd name="connsiteY349" fmla="*/ 115252 h 250825"/>
                  <a:gd name="connsiteX350" fmla="*/ 194310 w 1028700"/>
                  <a:gd name="connsiteY350" fmla="*/ 113030 h 250825"/>
                  <a:gd name="connsiteX351" fmla="*/ 186055 w 1028700"/>
                  <a:gd name="connsiteY351" fmla="*/ 121920 h 250825"/>
                  <a:gd name="connsiteX352" fmla="*/ 177483 w 1028700"/>
                  <a:gd name="connsiteY352" fmla="*/ 121602 h 250825"/>
                  <a:gd name="connsiteX353" fmla="*/ 175578 w 1028700"/>
                  <a:gd name="connsiteY353" fmla="*/ 125413 h 250825"/>
                  <a:gd name="connsiteX354" fmla="*/ 182563 w 1028700"/>
                  <a:gd name="connsiteY354" fmla="*/ 128905 h 250825"/>
                  <a:gd name="connsiteX355" fmla="*/ 168593 w 1028700"/>
                  <a:gd name="connsiteY355" fmla="*/ 157163 h 250825"/>
                  <a:gd name="connsiteX356" fmla="*/ 166053 w 1028700"/>
                  <a:gd name="connsiteY356" fmla="*/ 167323 h 250825"/>
                  <a:gd name="connsiteX357" fmla="*/ 168910 w 1028700"/>
                  <a:gd name="connsiteY357" fmla="*/ 174625 h 250825"/>
                  <a:gd name="connsiteX358" fmla="*/ 175260 w 1028700"/>
                  <a:gd name="connsiteY358" fmla="*/ 179388 h 250825"/>
                  <a:gd name="connsiteX359" fmla="*/ 180023 w 1028700"/>
                  <a:gd name="connsiteY359" fmla="*/ 181293 h 250825"/>
                  <a:gd name="connsiteX360" fmla="*/ 184150 w 1028700"/>
                  <a:gd name="connsiteY360" fmla="*/ 181927 h 250825"/>
                  <a:gd name="connsiteX361" fmla="*/ 187325 w 1028700"/>
                  <a:gd name="connsiteY361" fmla="*/ 175895 h 250825"/>
                  <a:gd name="connsiteX362" fmla="*/ 183833 w 1028700"/>
                  <a:gd name="connsiteY362" fmla="*/ 174943 h 250825"/>
                  <a:gd name="connsiteX363" fmla="*/ 180023 w 1028700"/>
                  <a:gd name="connsiteY363" fmla="*/ 173355 h 250825"/>
                  <a:gd name="connsiteX364" fmla="*/ 174943 w 1028700"/>
                  <a:gd name="connsiteY364" fmla="*/ 168593 h 250825"/>
                  <a:gd name="connsiteX365" fmla="*/ 151130 w 1028700"/>
                  <a:gd name="connsiteY365" fmla="*/ 141288 h 250825"/>
                  <a:gd name="connsiteX366" fmla="*/ 148908 w 1028700"/>
                  <a:gd name="connsiteY366" fmla="*/ 134302 h 250825"/>
                  <a:gd name="connsiteX367" fmla="*/ 143193 w 1028700"/>
                  <a:gd name="connsiteY367" fmla="*/ 126365 h 250825"/>
                  <a:gd name="connsiteX368" fmla="*/ 137795 w 1028700"/>
                  <a:gd name="connsiteY368" fmla="*/ 119063 h 250825"/>
                  <a:gd name="connsiteX369" fmla="*/ 135573 w 1028700"/>
                  <a:gd name="connsiteY369" fmla="*/ 114300 h 250825"/>
                  <a:gd name="connsiteX370" fmla="*/ 136525 w 1028700"/>
                  <a:gd name="connsiteY370" fmla="*/ 110173 h 250825"/>
                  <a:gd name="connsiteX371" fmla="*/ 141605 w 1028700"/>
                  <a:gd name="connsiteY371" fmla="*/ 107633 h 250825"/>
                  <a:gd name="connsiteX372" fmla="*/ 149860 w 1028700"/>
                  <a:gd name="connsiteY372" fmla="*/ 110490 h 250825"/>
                  <a:gd name="connsiteX373" fmla="*/ 155893 w 1028700"/>
                  <a:gd name="connsiteY373" fmla="*/ 115252 h 250825"/>
                  <a:gd name="connsiteX374" fmla="*/ 160973 w 1028700"/>
                  <a:gd name="connsiteY374" fmla="*/ 120968 h 250825"/>
                  <a:gd name="connsiteX375" fmla="*/ 167323 w 1028700"/>
                  <a:gd name="connsiteY375" fmla="*/ 116523 h 250825"/>
                  <a:gd name="connsiteX376" fmla="*/ 161608 w 1028700"/>
                  <a:gd name="connsiteY376" fmla="*/ 110173 h 250825"/>
                  <a:gd name="connsiteX377" fmla="*/ 153988 w 1028700"/>
                  <a:gd name="connsiteY377" fmla="*/ 104458 h 250825"/>
                  <a:gd name="connsiteX378" fmla="*/ 139383 w 1028700"/>
                  <a:gd name="connsiteY378" fmla="*/ 100330 h 250825"/>
                  <a:gd name="connsiteX379" fmla="*/ 129223 w 1028700"/>
                  <a:gd name="connsiteY379" fmla="*/ 106680 h 250825"/>
                  <a:gd name="connsiteX380" fmla="*/ 127318 w 1028700"/>
                  <a:gd name="connsiteY380" fmla="*/ 113983 h 250825"/>
                  <a:gd name="connsiteX381" fmla="*/ 129858 w 1028700"/>
                  <a:gd name="connsiteY381" fmla="*/ 121285 h 250825"/>
                  <a:gd name="connsiteX382" fmla="*/ 135573 w 1028700"/>
                  <a:gd name="connsiteY382" fmla="*/ 129540 h 250825"/>
                  <a:gd name="connsiteX383" fmla="*/ 140970 w 1028700"/>
                  <a:gd name="connsiteY383" fmla="*/ 136843 h 250825"/>
                  <a:gd name="connsiteX384" fmla="*/ 142875 w 1028700"/>
                  <a:gd name="connsiteY384" fmla="*/ 141605 h 250825"/>
                  <a:gd name="connsiteX385" fmla="*/ 141923 w 1028700"/>
                  <a:gd name="connsiteY385" fmla="*/ 145415 h 250825"/>
                  <a:gd name="connsiteX386" fmla="*/ 136208 w 1028700"/>
                  <a:gd name="connsiteY386" fmla="*/ 148908 h 250825"/>
                  <a:gd name="connsiteX387" fmla="*/ 126683 w 1028700"/>
                  <a:gd name="connsiteY387" fmla="*/ 145733 h 250825"/>
                  <a:gd name="connsiteX388" fmla="*/ 119380 w 1028700"/>
                  <a:gd name="connsiteY388" fmla="*/ 139700 h 250825"/>
                  <a:gd name="connsiteX389" fmla="*/ 113983 w 1028700"/>
                  <a:gd name="connsiteY389" fmla="*/ 133033 h 250825"/>
                  <a:gd name="connsiteX390" fmla="*/ 109855 w 1028700"/>
                  <a:gd name="connsiteY390" fmla="*/ 140018 h 250825"/>
                  <a:gd name="connsiteX391" fmla="*/ 114935 w 1028700"/>
                  <a:gd name="connsiteY391" fmla="*/ 146050 h 250825"/>
                  <a:gd name="connsiteX392" fmla="*/ 122873 w 1028700"/>
                  <a:gd name="connsiteY392" fmla="*/ 151765 h 250825"/>
                  <a:gd name="connsiteX393" fmla="*/ 138430 w 1028700"/>
                  <a:gd name="connsiteY393" fmla="*/ 156210 h 250825"/>
                  <a:gd name="connsiteX394" fmla="*/ 149543 w 1028700"/>
                  <a:gd name="connsiteY394" fmla="*/ 148908 h 250825"/>
                  <a:gd name="connsiteX395" fmla="*/ 151130 w 1028700"/>
                  <a:gd name="connsiteY395" fmla="*/ 141288 h 250825"/>
                  <a:gd name="connsiteX396" fmla="*/ 113348 w 1028700"/>
                  <a:gd name="connsiteY396" fmla="*/ 80327 h 250825"/>
                  <a:gd name="connsiteX397" fmla="*/ 97155 w 1028700"/>
                  <a:gd name="connsiteY397" fmla="*/ 103505 h 250825"/>
                  <a:gd name="connsiteX398" fmla="*/ 86043 w 1028700"/>
                  <a:gd name="connsiteY398" fmla="*/ 113665 h 250825"/>
                  <a:gd name="connsiteX399" fmla="*/ 72708 w 1028700"/>
                  <a:gd name="connsiteY399" fmla="*/ 110808 h 250825"/>
                  <a:gd name="connsiteX400" fmla="*/ 70168 w 1028700"/>
                  <a:gd name="connsiteY400" fmla="*/ 93345 h 250825"/>
                  <a:gd name="connsiteX401" fmla="*/ 90170 w 1028700"/>
                  <a:gd name="connsiteY401" fmla="*/ 64452 h 250825"/>
                  <a:gd name="connsiteX402" fmla="*/ 82868 w 1028700"/>
                  <a:gd name="connsiteY402" fmla="*/ 59373 h 250825"/>
                  <a:gd name="connsiteX403" fmla="*/ 62548 w 1028700"/>
                  <a:gd name="connsiteY403" fmla="*/ 88583 h 250825"/>
                  <a:gd name="connsiteX404" fmla="*/ 58103 w 1028700"/>
                  <a:gd name="connsiteY404" fmla="*/ 103823 h 250825"/>
                  <a:gd name="connsiteX405" fmla="*/ 67628 w 1028700"/>
                  <a:gd name="connsiteY405" fmla="*/ 116205 h 250825"/>
                  <a:gd name="connsiteX406" fmla="*/ 76835 w 1028700"/>
                  <a:gd name="connsiteY406" fmla="*/ 120333 h 250825"/>
                  <a:gd name="connsiteX407" fmla="*/ 86360 w 1028700"/>
                  <a:gd name="connsiteY407" fmla="*/ 119380 h 250825"/>
                  <a:gd name="connsiteX408" fmla="*/ 86678 w 1028700"/>
                  <a:gd name="connsiteY408" fmla="*/ 119698 h 250825"/>
                  <a:gd name="connsiteX409" fmla="*/ 83503 w 1028700"/>
                  <a:gd name="connsiteY409" fmla="*/ 126365 h 250825"/>
                  <a:gd name="connsiteX410" fmla="*/ 89535 w 1028700"/>
                  <a:gd name="connsiteY410" fmla="*/ 130493 h 250825"/>
                  <a:gd name="connsiteX411" fmla="*/ 120650 w 1028700"/>
                  <a:gd name="connsiteY411" fmla="*/ 85725 h 250825"/>
                  <a:gd name="connsiteX412" fmla="*/ 113348 w 1028700"/>
                  <a:gd name="connsiteY412" fmla="*/ 80327 h 250825"/>
                  <a:gd name="connsiteX413" fmla="*/ 50165 w 1028700"/>
                  <a:gd name="connsiteY413" fmla="*/ 66040 h 250825"/>
                  <a:gd name="connsiteX414" fmla="*/ 49213 w 1028700"/>
                  <a:gd name="connsiteY414" fmla="*/ 56833 h 250825"/>
                  <a:gd name="connsiteX415" fmla="*/ 44133 w 1028700"/>
                  <a:gd name="connsiteY415" fmla="*/ 46038 h 250825"/>
                  <a:gd name="connsiteX416" fmla="*/ 39688 w 1028700"/>
                  <a:gd name="connsiteY416" fmla="*/ 36830 h 250825"/>
                  <a:gd name="connsiteX417" fmla="*/ 38735 w 1028700"/>
                  <a:gd name="connsiteY417" fmla="*/ 30163 h 250825"/>
                  <a:gd name="connsiteX418" fmla="*/ 41593 w 1028700"/>
                  <a:gd name="connsiteY418" fmla="*/ 24448 h 250825"/>
                  <a:gd name="connsiteX419" fmla="*/ 49213 w 1028700"/>
                  <a:gd name="connsiteY419" fmla="*/ 20955 h 250825"/>
                  <a:gd name="connsiteX420" fmla="*/ 59055 w 1028700"/>
                  <a:gd name="connsiteY420" fmla="*/ 25400 h 250825"/>
                  <a:gd name="connsiteX421" fmla="*/ 65405 w 1028700"/>
                  <a:gd name="connsiteY421" fmla="*/ 32068 h 250825"/>
                  <a:gd name="connsiteX422" fmla="*/ 69850 w 1028700"/>
                  <a:gd name="connsiteY422" fmla="*/ 39370 h 250825"/>
                  <a:gd name="connsiteX423" fmla="*/ 77153 w 1028700"/>
                  <a:gd name="connsiteY423" fmla="*/ 35243 h 250825"/>
                  <a:gd name="connsiteX424" fmla="*/ 72073 w 1028700"/>
                  <a:gd name="connsiteY424" fmla="*/ 26988 h 250825"/>
                  <a:gd name="connsiteX425" fmla="*/ 64453 w 1028700"/>
                  <a:gd name="connsiteY425" fmla="*/ 19050 h 250825"/>
                  <a:gd name="connsiteX426" fmla="*/ 53658 w 1028700"/>
                  <a:gd name="connsiteY426" fmla="*/ 13018 h 250825"/>
                  <a:gd name="connsiteX427" fmla="*/ 43180 w 1028700"/>
                  <a:gd name="connsiteY427" fmla="*/ 12700 h 250825"/>
                  <a:gd name="connsiteX428" fmla="*/ 34608 w 1028700"/>
                  <a:gd name="connsiteY428" fmla="*/ 18415 h 250825"/>
                  <a:gd name="connsiteX429" fmla="*/ 29528 w 1028700"/>
                  <a:gd name="connsiteY429" fmla="*/ 31750 h 250825"/>
                  <a:gd name="connsiteX430" fmla="*/ 34925 w 1028700"/>
                  <a:gd name="connsiteY430" fmla="*/ 46990 h 250825"/>
                  <a:gd name="connsiteX431" fmla="*/ 40005 w 1028700"/>
                  <a:gd name="connsiteY431" fmla="*/ 57150 h 250825"/>
                  <a:gd name="connsiteX432" fmla="*/ 41275 w 1028700"/>
                  <a:gd name="connsiteY432" fmla="*/ 63818 h 250825"/>
                  <a:gd name="connsiteX433" fmla="*/ 38418 w 1028700"/>
                  <a:gd name="connsiteY433" fmla="*/ 69533 h 250825"/>
                  <a:gd name="connsiteX434" fmla="*/ 29845 w 1028700"/>
                  <a:gd name="connsiteY434" fmla="*/ 73343 h 250825"/>
                  <a:gd name="connsiteX435" fmla="*/ 18415 w 1028700"/>
                  <a:gd name="connsiteY435" fmla="*/ 67945 h 250825"/>
                  <a:gd name="connsiteX436" fmla="*/ 10795 w 1028700"/>
                  <a:gd name="connsiteY436" fmla="*/ 59690 h 250825"/>
                  <a:gd name="connsiteX437" fmla="*/ 5715 w 1028700"/>
                  <a:gd name="connsiteY437" fmla="*/ 51435 h 250825"/>
                  <a:gd name="connsiteX438" fmla="*/ 0 w 1028700"/>
                  <a:gd name="connsiteY438" fmla="*/ 58102 h 250825"/>
                  <a:gd name="connsiteX439" fmla="*/ 5080 w 1028700"/>
                  <a:gd name="connsiteY439" fmla="*/ 65723 h 250825"/>
                  <a:gd name="connsiteX440" fmla="*/ 13018 w 1028700"/>
                  <a:gd name="connsiteY440" fmla="*/ 73660 h 250825"/>
                  <a:gd name="connsiteX441" fmla="*/ 30798 w 1028700"/>
                  <a:gd name="connsiteY441" fmla="*/ 81598 h 250825"/>
                  <a:gd name="connsiteX442" fmla="*/ 45720 w 1028700"/>
                  <a:gd name="connsiteY442" fmla="*/ 74613 h 250825"/>
                  <a:gd name="connsiteX443" fmla="*/ 50165 w 1028700"/>
                  <a:gd name="connsiteY443" fmla="*/ 66040 h 25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Lst>
                <a:rect l="l" t="t" r="r" b="b"/>
                <a:pathLst>
                  <a:path w="1028700" h="250825">
                    <a:moveTo>
                      <a:pt x="1021398" y="21908"/>
                    </a:moveTo>
                    <a:cubicBezTo>
                      <a:pt x="1019175" y="21273"/>
                      <a:pt x="1016635" y="21590"/>
                      <a:pt x="1014095" y="22225"/>
                    </a:cubicBezTo>
                    <a:cubicBezTo>
                      <a:pt x="1011238" y="22860"/>
                      <a:pt x="1008380" y="23813"/>
                      <a:pt x="1004888" y="25400"/>
                    </a:cubicBezTo>
                    <a:cubicBezTo>
                      <a:pt x="1001395" y="26670"/>
                      <a:pt x="998538" y="27940"/>
                      <a:pt x="996315" y="28575"/>
                    </a:cubicBezTo>
                    <a:cubicBezTo>
                      <a:pt x="994093" y="29210"/>
                      <a:pt x="992188" y="29527"/>
                      <a:pt x="990918" y="29210"/>
                    </a:cubicBezTo>
                    <a:cubicBezTo>
                      <a:pt x="989648" y="29210"/>
                      <a:pt x="988378" y="28575"/>
                      <a:pt x="987425" y="27305"/>
                    </a:cubicBezTo>
                    <a:cubicBezTo>
                      <a:pt x="986155" y="25718"/>
                      <a:pt x="985520" y="24130"/>
                      <a:pt x="986155" y="21908"/>
                    </a:cubicBezTo>
                    <a:cubicBezTo>
                      <a:pt x="986790" y="19685"/>
                      <a:pt x="988378" y="17463"/>
                      <a:pt x="990918" y="14923"/>
                    </a:cubicBezTo>
                    <a:cubicBezTo>
                      <a:pt x="992823" y="13018"/>
                      <a:pt x="995045" y="11748"/>
                      <a:pt x="997268" y="10477"/>
                    </a:cubicBezTo>
                    <a:cubicBezTo>
                      <a:pt x="999490" y="9208"/>
                      <a:pt x="1002030" y="8255"/>
                      <a:pt x="1004253" y="7302"/>
                    </a:cubicBezTo>
                    <a:lnTo>
                      <a:pt x="1001713" y="0"/>
                    </a:lnTo>
                    <a:cubicBezTo>
                      <a:pt x="999173" y="952"/>
                      <a:pt x="996633" y="2223"/>
                      <a:pt x="994093" y="3493"/>
                    </a:cubicBezTo>
                    <a:cubicBezTo>
                      <a:pt x="991553" y="5080"/>
                      <a:pt x="989013" y="6668"/>
                      <a:pt x="986473" y="9208"/>
                    </a:cubicBezTo>
                    <a:cubicBezTo>
                      <a:pt x="982028" y="13335"/>
                      <a:pt x="979170" y="17780"/>
                      <a:pt x="978218" y="21908"/>
                    </a:cubicBezTo>
                    <a:cubicBezTo>
                      <a:pt x="977265" y="26352"/>
                      <a:pt x="978218" y="30163"/>
                      <a:pt x="981393" y="33655"/>
                    </a:cubicBezTo>
                    <a:cubicBezTo>
                      <a:pt x="983298" y="35877"/>
                      <a:pt x="985520" y="37148"/>
                      <a:pt x="987743" y="37783"/>
                    </a:cubicBezTo>
                    <a:cubicBezTo>
                      <a:pt x="989965" y="38100"/>
                      <a:pt x="992505" y="38100"/>
                      <a:pt x="995363" y="37465"/>
                    </a:cubicBezTo>
                    <a:cubicBezTo>
                      <a:pt x="998220" y="36830"/>
                      <a:pt x="1001395" y="35560"/>
                      <a:pt x="1004888" y="34290"/>
                    </a:cubicBezTo>
                    <a:cubicBezTo>
                      <a:pt x="1008380" y="32702"/>
                      <a:pt x="1011238" y="31750"/>
                      <a:pt x="1013460" y="31433"/>
                    </a:cubicBezTo>
                    <a:cubicBezTo>
                      <a:pt x="1015683" y="30798"/>
                      <a:pt x="1017270" y="30798"/>
                      <a:pt x="1018540" y="31115"/>
                    </a:cubicBezTo>
                    <a:cubicBezTo>
                      <a:pt x="1019810" y="31433"/>
                      <a:pt x="1021080" y="32068"/>
                      <a:pt x="1021715" y="33020"/>
                    </a:cubicBezTo>
                    <a:cubicBezTo>
                      <a:pt x="1023303" y="34925"/>
                      <a:pt x="1023938" y="36830"/>
                      <a:pt x="1023620" y="39370"/>
                    </a:cubicBezTo>
                    <a:cubicBezTo>
                      <a:pt x="1022985" y="41910"/>
                      <a:pt x="1021080" y="44450"/>
                      <a:pt x="1017905" y="47625"/>
                    </a:cubicBezTo>
                    <a:cubicBezTo>
                      <a:pt x="1015683" y="49848"/>
                      <a:pt x="1012825" y="51435"/>
                      <a:pt x="1009968" y="53023"/>
                    </a:cubicBezTo>
                    <a:cubicBezTo>
                      <a:pt x="1007110" y="54610"/>
                      <a:pt x="1004570" y="55563"/>
                      <a:pt x="1002030" y="56198"/>
                    </a:cubicBezTo>
                    <a:lnTo>
                      <a:pt x="1007428" y="62230"/>
                    </a:lnTo>
                    <a:cubicBezTo>
                      <a:pt x="1009650" y="61595"/>
                      <a:pt x="1012190" y="60643"/>
                      <a:pt x="1014413" y="59055"/>
                    </a:cubicBezTo>
                    <a:cubicBezTo>
                      <a:pt x="1016953" y="57785"/>
                      <a:pt x="1019493" y="55563"/>
                      <a:pt x="1022350" y="53023"/>
                    </a:cubicBezTo>
                    <a:cubicBezTo>
                      <a:pt x="1027113" y="48577"/>
                      <a:pt x="1030288" y="43815"/>
                      <a:pt x="1031240" y="39370"/>
                    </a:cubicBezTo>
                    <a:cubicBezTo>
                      <a:pt x="1032193" y="34608"/>
                      <a:pt x="1030923" y="30480"/>
                      <a:pt x="1027430" y="26670"/>
                    </a:cubicBezTo>
                    <a:cubicBezTo>
                      <a:pt x="1025525" y="23813"/>
                      <a:pt x="1023620" y="22543"/>
                      <a:pt x="1021398" y="21908"/>
                    </a:cubicBezTo>
                    <a:moveTo>
                      <a:pt x="980758" y="58738"/>
                    </a:moveTo>
                    <a:cubicBezTo>
                      <a:pt x="978535" y="58102"/>
                      <a:pt x="975995" y="57785"/>
                      <a:pt x="973455" y="58420"/>
                    </a:cubicBezTo>
                    <a:cubicBezTo>
                      <a:pt x="970598" y="58738"/>
                      <a:pt x="967740" y="59690"/>
                      <a:pt x="963930" y="60960"/>
                    </a:cubicBezTo>
                    <a:cubicBezTo>
                      <a:pt x="960438" y="62230"/>
                      <a:pt x="957580" y="62865"/>
                      <a:pt x="955358" y="63500"/>
                    </a:cubicBezTo>
                    <a:cubicBezTo>
                      <a:pt x="953135" y="64135"/>
                      <a:pt x="951230" y="64135"/>
                      <a:pt x="949960" y="63818"/>
                    </a:cubicBezTo>
                    <a:cubicBezTo>
                      <a:pt x="948690" y="63500"/>
                      <a:pt x="947420" y="62865"/>
                      <a:pt x="946468" y="61595"/>
                    </a:cubicBezTo>
                    <a:cubicBezTo>
                      <a:pt x="945198" y="60008"/>
                      <a:pt x="944880" y="58102"/>
                      <a:pt x="945833" y="55880"/>
                    </a:cubicBezTo>
                    <a:cubicBezTo>
                      <a:pt x="946785" y="53658"/>
                      <a:pt x="948373" y="51435"/>
                      <a:pt x="951230" y="49213"/>
                    </a:cubicBezTo>
                    <a:cubicBezTo>
                      <a:pt x="953135" y="47625"/>
                      <a:pt x="955358" y="46355"/>
                      <a:pt x="957898" y="45085"/>
                    </a:cubicBezTo>
                    <a:cubicBezTo>
                      <a:pt x="960120" y="44133"/>
                      <a:pt x="962660" y="43180"/>
                      <a:pt x="965200" y="42545"/>
                    </a:cubicBezTo>
                    <a:lnTo>
                      <a:pt x="962978" y="35243"/>
                    </a:lnTo>
                    <a:cubicBezTo>
                      <a:pt x="960438" y="35877"/>
                      <a:pt x="957580" y="36830"/>
                      <a:pt x="955040" y="38100"/>
                    </a:cubicBezTo>
                    <a:cubicBezTo>
                      <a:pt x="952500" y="39370"/>
                      <a:pt x="949643" y="40958"/>
                      <a:pt x="947103" y="43180"/>
                    </a:cubicBezTo>
                    <a:cubicBezTo>
                      <a:pt x="942340" y="46990"/>
                      <a:pt x="939165" y="51118"/>
                      <a:pt x="937895" y="55245"/>
                    </a:cubicBezTo>
                    <a:cubicBezTo>
                      <a:pt x="936625" y="59690"/>
                      <a:pt x="937260" y="63500"/>
                      <a:pt x="940118" y="66993"/>
                    </a:cubicBezTo>
                    <a:cubicBezTo>
                      <a:pt x="942023" y="69215"/>
                      <a:pt x="943928" y="70802"/>
                      <a:pt x="946150" y="71438"/>
                    </a:cubicBezTo>
                    <a:cubicBezTo>
                      <a:pt x="948373" y="72073"/>
                      <a:pt x="950913" y="72073"/>
                      <a:pt x="953770" y="71755"/>
                    </a:cubicBezTo>
                    <a:cubicBezTo>
                      <a:pt x="956628" y="71120"/>
                      <a:pt x="959803" y="70485"/>
                      <a:pt x="963295" y="69215"/>
                    </a:cubicBezTo>
                    <a:cubicBezTo>
                      <a:pt x="966788" y="67945"/>
                      <a:pt x="969963" y="67310"/>
                      <a:pt x="972185" y="66993"/>
                    </a:cubicBezTo>
                    <a:cubicBezTo>
                      <a:pt x="974408" y="66675"/>
                      <a:pt x="975995" y="66675"/>
                      <a:pt x="977265" y="66993"/>
                    </a:cubicBezTo>
                    <a:cubicBezTo>
                      <a:pt x="978535" y="67310"/>
                      <a:pt x="979488" y="67945"/>
                      <a:pt x="980440" y="69215"/>
                    </a:cubicBezTo>
                    <a:cubicBezTo>
                      <a:pt x="982028" y="71120"/>
                      <a:pt x="982345" y="73343"/>
                      <a:pt x="981710" y="75565"/>
                    </a:cubicBezTo>
                    <a:cubicBezTo>
                      <a:pt x="981075" y="78105"/>
                      <a:pt x="978853" y="80645"/>
                      <a:pt x="975360" y="83502"/>
                    </a:cubicBezTo>
                    <a:cubicBezTo>
                      <a:pt x="972820" y="85408"/>
                      <a:pt x="970280" y="86995"/>
                      <a:pt x="967105" y="88265"/>
                    </a:cubicBezTo>
                    <a:cubicBezTo>
                      <a:pt x="964248" y="89535"/>
                      <a:pt x="961390" y="90488"/>
                      <a:pt x="959168" y="90805"/>
                    </a:cubicBezTo>
                    <a:lnTo>
                      <a:pt x="964248" y="97155"/>
                    </a:lnTo>
                    <a:cubicBezTo>
                      <a:pt x="966470" y="96838"/>
                      <a:pt x="969010" y="95885"/>
                      <a:pt x="971550" y="94615"/>
                    </a:cubicBezTo>
                    <a:cubicBezTo>
                      <a:pt x="974090" y="93345"/>
                      <a:pt x="976948" y="91440"/>
                      <a:pt x="979805" y="89218"/>
                    </a:cubicBezTo>
                    <a:cubicBezTo>
                      <a:pt x="984885" y="85090"/>
                      <a:pt x="988378" y="80645"/>
                      <a:pt x="989648" y="76200"/>
                    </a:cubicBezTo>
                    <a:cubicBezTo>
                      <a:pt x="990918" y="71755"/>
                      <a:pt x="989965" y="67310"/>
                      <a:pt x="986790" y="63183"/>
                    </a:cubicBezTo>
                    <a:cubicBezTo>
                      <a:pt x="984885" y="60960"/>
                      <a:pt x="982980" y="59373"/>
                      <a:pt x="980758" y="58738"/>
                    </a:cubicBezTo>
                    <a:moveTo>
                      <a:pt x="914718" y="82233"/>
                    </a:moveTo>
                    <a:cubicBezTo>
                      <a:pt x="917893" y="83502"/>
                      <a:pt x="921068" y="86043"/>
                      <a:pt x="923608" y="89852"/>
                    </a:cubicBezTo>
                    <a:lnTo>
                      <a:pt x="900430" y="105093"/>
                    </a:lnTo>
                    <a:cubicBezTo>
                      <a:pt x="898208" y="100648"/>
                      <a:pt x="897255" y="96838"/>
                      <a:pt x="897890" y="93027"/>
                    </a:cubicBezTo>
                    <a:cubicBezTo>
                      <a:pt x="898525" y="89535"/>
                      <a:pt x="900430" y="86360"/>
                      <a:pt x="903923" y="84138"/>
                    </a:cubicBezTo>
                    <a:cubicBezTo>
                      <a:pt x="907733" y="81598"/>
                      <a:pt x="911225" y="80963"/>
                      <a:pt x="914718" y="82233"/>
                    </a:cubicBezTo>
                    <a:moveTo>
                      <a:pt x="891223" y="87948"/>
                    </a:moveTo>
                    <a:cubicBezTo>
                      <a:pt x="889318" y="91758"/>
                      <a:pt x="889000" y="96202"/>
                      <a:pt x="889635" y="100965"/>
                    </a:cubicBezTo>
                    <a:cubicBezTo>
                      <a:pt x="890270" y="105727"/>
                      <a:pt x="892175" y="110490"/>
                      <a:pt x="895668" y="115570"/>
                    </a:cubicBezTo>
                    <a:cubicBezTo>
                      <a:pt x="899160" y="120650"/>
                      <a:pt x="902653" y="124460"/>
                      <a:pt x="906780" y="126683"/>
                    </a:cubicBezTo>
                    <a:cubicBezTo>
                      <a:pt x="910908" y="128905"/>
                      <a:pt x="915035" y="129858"/>
                      <a:pt x="919480" y="129540"/>
                    </a:cubicBezTo>
                    <a:cubicBezTo>
                      <a:pt x="923925" y="129223"/>
                      <a:pt x="928370" y="127635"/>
                      <a:pt x="932815" y="124777"/>
                    </a:cubicBezTo>
                    <a:cubicBezTo>
                      <a:pt x="935990" y="122873"/>
                      <a:pt x="938530" y="120650"/>
                      <a:pt x="940435" y="118745"/>
                    </a:cubicBezTo>
                    <a:cubicBezTo>
                      <a:pt x="942340" y="116840"/>
                      <a:pt x="944245" y="114618"/>
                      <a:pt x="945833" y="112077"/>
                    </a:cubicBezTo>
                    <a:lnTo>
                      <a:pt x="941388" y="105410"/>
                    </a:lnTo>
                    <a:cubicBezTo>
                      <a:pt x="939800" y="107950"/>
                      <a:pt x="937895" y="110173"/>
                      <a:pt x="935990" y="112395"/>
                    </a:cubicBezTo>
                    <a:cubicBezTo>
                      <a:pt x="934085" y="114300"/>
                      <a:pt x="931863" y="116205"/>
                      <a:pt x="929005" y="118110"/>
                    </a:cubicBezTo>
                    <a:cubicBezTo>
                      <a:pt x="924560" y="120968"/>
                      <a:pt x="920115" y="121920"/>
                      <a:pt x="915670" y="120968"/>
                    </a:cubicBezTo>
                    <a:cubicBezTo>
                      <a:pt x="911225" y="120015"/>
                      <a:pt x="907415" y="116840"/>
                      <a:pt x="903923" y="111760"/>
                    </a:cubicBezTo>
                    <a:lnTo>
                      <a:pt x="935038" y="91123"/>
                    </a:lnTo>
                    <a:lnTo>
                      <a:pt x="932180" y="86677"/>
                    </a:lnTo>
                    <a:cubicBezTo>
                      <a:pt x="929323" y="82550"/>
                      <a:pt x="926465" y="79375"/>
                      <a:pt x="922655" y="77470"/>
                    </a:cubicBezTo>
                    <a:cubicBezTo>
                      <a:pt x="919163" y="75248"/>
                      <a:pt x="915353" y="74295"/>
                      <a:pt x="911543" y="74613"/>
                    </a:cubicBezTo>
                    <a:cubicBezTo>
                      <a:pt x="907733" y="74930"/>
                      <a:pt x="903605" y="76200"/>
                      <a:pt x="899795" y="78740"/>
                    </a:cubicBezTo>
                    <a:cubicBezTo>
                      <a:pt x="895985" y="80645"/>
                      <a:pt x="893128" y="83820"/>
                      <a:pt x="891223" y="87948"/>
                    </a:cubicBezTo>
                    <a:moveTo>
                      <a:pt x="840105" y="116523"/>
                    </a:moveTo>
                    <a:cubicBezTo>
                      <a:pt x="838200" y="119380"/>
                      <a:pt x="836930" y="122238"/>
                      <a:pt x="836930" y="125730"/>
                    </a:cubicBezTo>
                    <a:lnTo>
                      <a:pt x="836613" y="126048"/>
                    </a:lnTo>
                    <a:lnTo>
                      <a:pt x="831850" y="120333"/>
                    </a:lnTo>
                    <a:lnTo>
                      <a:pt x="825500" y="123825"/>
                    </a:lnTo>
                    <a:lnTo>
                      <a:pt x="852170" y="171450"/>
                    </a:lnTo>
                    <a:lnTo>
                      <a:pt x="860108" y="167005"/>
                    </a:lnTo>
                    <a:lnTo>
                      <a:pt x="846455" y="142240"/>
                    </a:lnTo>
                    <a:cubicBezTo>
                      <a:pt x="843280" y="136843"/>
                      <a:pt x="842010" y="131763"/>
                      <a:pt x="842328" y="127635"/>
                    </a:cubicBezTo>
                    <a:cubicBezTo>
                      <a:pt x="842645" y="123508"/>
                      <a:pt x="845503" y="120015"/>
                      <a:pt x="850900" y="117158"/>
                    </a:cubicBezTo>
                    <a:cubicBezTo>
                      <a:pt x="857885" y="113348"/>
                      <a:pt x="863600" y="114935"/>
                      <a:pt x="868045" y="122555"/>
                    </a:cubicBezTo>
                    <a:lnTo>
                      <a:pt x="885190" y="153035"/>
                    </a:lnTo>
                    <a:lnTo>
                      <a:pt x="892810" y="148590"/>
                    </a:lnTo>
                    <a:lnTo>
                      <a:pt x="875348" y="117793"/>
                    </a:lnTo>
                    <a:cubicBezTo>
                      <a:pt x="871855" y="111760"/>
                      <a:pt x="868045" y="107950"/>
                      <a:pt x="863600" y="106998"/>
                    </a:cubicBezTo>
                    <a:cubicBezTo>
                      <a:pt x="859155" y="105727"/>
                      <a:pt x="854075" y="106998"/>
                      <a:pt x="848360" y="110173"/>
                    </a:cubicBezTo>
                    <a:cubicBezTo>
                      <a:pt x="844550" y="111760"/>
                      <a:pt x="842010" y="113983"/>
                      <a:pt x="840105" y="116523"/>
                    </a:cubicBezTo>
                    <a:moveTo>
                      <a:pt x="797878" y="136208"/>
                    </a:moveTo>
                    <a:lnTo>
                      <a:pt x="821055" y="185420"/>
                    </a:lnTo>
                    <a:lnTo>
                      <a:pt x="829310" y="181610"/>
                    </a:lnTo>
                    <a:lnTo>
                      <a:pt x="806133" y="132398"/>
                    </a:lnTo>
                    <a:lnTo>
                      <a:pt x="797878" y="136208"/>
                    </a:lnTo>
                    <a:close/>
                    <a:moveTo>
                      <a:pt x="790575" y="118745"/>
                    </a:moveTo>
                    <a:cubicBezTo>
                      <a:pt x="789940" y="120015"/>
                      <a:pt x="790258" y="121602"/>
                      <a:pt x="790893" y="123190"/>
                    </a:cubicBezTo>
                    <a:cubicBezTo>
                      <a:pt x="791845" y="125095"/>
                      <a:pt x="792798" y="126048"/>
                      <a:pt x="794068" y="126365"/>
                    </a:cubicBezTo>
                    <a:cubicBezTo>
                      <a:pt x="795338" y="126683"/>
                      <a:pt x="796608" y="126683"/>
                      <a:pt x="798195" y="126048"/>
                    </a:cubicBezTo>
                    <a:cubicBezTo>
                      <a:pt x="799465" y="125413"/>
                      <a:pt x="800418" y="124460"/>
                      <a:pt x="800735" y="123190"/>
                    </a:cubicBezTo>
                    <a:cubicBezTo>
                      <a:pt x="801370" y="121920"/>
                      <a:pt x="801053" y="120333"/>
                      <a:pt x="800418" y="118745"/>
                    </a:cubicBezTo>
                    <a:cubicBezTo>
                      <a:pt x="799465" y="116840"/>
                      <a:pt x="798513" y="115888"/>
                      <a:pt x="797243" y="115570"/>
                    </a:cubicBezTo>
                    <a:cubicBezTo>
                      <a:pt x="795973" y="115252"/>
                      <a:pt x="794703" y="115252"/>
                      <a:pt x="793433" y="115888"/>
                    </a:cubicBezTo>
                    <a:cubicBezTo>
                      <a:pt x="791845" y="116523"/>
                      <a:pt x="790893" y="117475"/>
                      <a:pt x="790575" y="118745"/>
                    </a:cubicBezTo>
                    <a:moveTo>
                      <a:pt x="791845" y="174308"/>
                    </a:moveTo>
                    <a:cubicBezTo>
                      <a:pt x="789940" y="173038"/>
                      <a:pt x="787718" y="172085"/>
                      <a:pt x="784860" y="171768"/>
                    </a:cubicBezTo>
                    <a:cubicBezTo>
                      <a:pt x="782003" y="171450"/>
                      <a:pt x="778828" y="171133"/>
                      <a:pt x="775335" y="171133"/>
                    </a:cubicBezTo>
                    <a:cubicBezTo>
                      <a:pt x="771525" y="171133"/>
                      <a:pt x="768668" y="171133"/>
                      <a:pt x="766445" y="170815"/>
                    </a:cubicBezTo>
                    <a:cubicBezTo>
                      <a:pt x="764223" y="170498"/>
                      <a:pt x="762318" y="170180"/>
                      <a:pt x="761365" y="169545"/>
                    </a:cubicBezTo>
                    <a:cubicBezTo>
                      <a:pt x="760095" y="168910"/>
                      <a:pt x="759460" y="167958"/>
                      <a:pt x="758825" y="166370"/>
                    </a:cubicBezTo>
                    <a:cubicBezTo>
                      <a:pt x="758190" y="164465"/>
                      <a:pt x="758508" y="162560"/>
                      <a:pt x="759778" y="160973"/>
                    </a:cubicBezTo>
                    <a:cubicBezTo>
                      <a:pt x="761048" y="159068"/>
                      <a:pt x="763588" y="157480"/>
                      <a:pt x="767080" y="156210"/>
                    </a:cubicBezTo>
                    <a:cubicBezTo>
                      <a:pt x="769620" y="155258"/>
                      <a:pt x="772160" y="154623"/>
                      <a:pt x="774700" y="154305"/>
                    </a:cubicBezTo>
                    <a:cubicBezTo>
                      <a:pt x="777240" y="153988"/>
                      <a:pt x="779780" y="153988"/>
                      <a:pt x="782320" y="153988"/>
                    </a:cubicBezTo>
                    <a:lnTo>
                      <a:pt x="782638" y="146368"/>
                    </a:lnTo>
                    <a:cubicBezTo>
                      <a:pt x="779780" y="146368"/>
                      <a:pt x="776923" y="146368"/>
                      <a:pt x="774065" y="146685"/>
                    </a:cubicBezTo>
                    <a:cubicBezTo>
                      <a:pt x="771208" y="147002"/>
                      <a:pt x="768033" y="147955"/>
                      <a:pt x="765175" y="148908"/>
                    </a:cubicBezTo>
                    <a:cubicBezTo>
                      <a:pt x="759460" y="151130"/>
                      <a:pt x="755333" y="153988"/>
                      <a:pt x="752793" y="157798"/>
                    </a:cubicBezTo>
                    <a:cubicBezTo>
                      <a:pt x="750253" y="161608"/>
                      <a:pt x="749618" y="165418"/>
                      <a:pt x="751205" y="169863"/>
                    </a:cubicBezTo>
                    <a:cubicBezTo>
                      <a:pt x="752158" y="172720"/>
                      <a:pt x="753745" y="174625"/>
                      <a:pt x="755650" y="175895"/>
                    </a:cubicBezTo>
                    <a:cubicBezTo>
                      <a:pt x="757555" y="177165"/>
                      <a:pt x="760095" y="178118"/>
                      <a:pt x="762635" y="178435"/>
                    </a:cubicBezTo>
                    <a:cubicBezTo>
                      <a:pt x="765493" y="178752"/>
                      <a:pt x="768668" y="179070"/>
                      <a:pt x="772478" y="179070"/>
                    </a:cubicBezTo>
                    <a:cubicBezTo>
                      <a:pt x="776288" y="179070"/>
                      <a:pt x="779463" y="179070"/>
                      <a:pt x="781368" y="179705"/>
                    </a:cubicBezTo>
                    <a:cubicBezTo>
                      <a:pt x="783590" y="180023"/>
                      <a:pt x="785178" y="180658"/>
                      <a:pt x="786130" y="181293"/>
                    </a:cubicBezTo>
                    <a:cubicBezTo>
                      <a:pt x="787083" y="181927"/>
                      <a:pt x="788035" y="183198"/>
                      <a:pt x="788353" y="184468"/>
                    </a:cubicBezTo>
                    <a:cubicBezTo>
                      <a:pt x="789305" y="186690"/>
                      <a:pt x="788988" y="188913"/>
                      <a:pt x="787718" y="191135"/>
                    </a:cubicBezTo>
                    <a:cubicBezTo>
                      <a:pt x="786448" y="193358"/>
                      <a:pt x="783590" y="194945"/>
                      <a:pt x="779145" y="196533"/>
                    </a:cubicBezTo>
                    <a:cubicBezTo>
                      <a:pt x="776288" y="197802"/>
                      <a:pt x="773113" y="198438"/>
                      <a:pt x="769938" y="198438"/>
                    </a:cubicBezTo>
                    <a:cubicBezTo>
                      <a:pt x="766763" y="198755"/>
                      <a:pt x="763905" y="198755"/>
                      <a:pt x="761365" y="198438"/>
                    </a:cubicBezTo>
                    <a:lnTo>
                      <a:pt x="764223" y="206057"/>
                    </a:lnTo>
                    <a:cubicBezTo>
                      <a:pt x="766445" y="206375"/>
                      <a:pt x="768985" y="206375"/>
                      <a:pt x="771843" y="205740"/>
                    </a:cubicBezTo>
                    <a:cubicBezTo>
                      <a:pt x="774700" y="205423"/>
                      <a:pt x="777875" y="204470"/>
                      <a:pt x="781368" y="203200"/>
                    </a:cubicBezTo>
                    <a:cubicBezTo>
                      <a:pt x="787718" y="200977"/>
                      <a:pt x="792163" y="197802"/>
                      <a:pt x="794703" y="193675"/>
                    </a:cubicBezTo>
                    <a:cubicBezTo>
                      <a:pt x="797560" y="189865"/>
                      <a:pt x="797878" y="185420"/>
                      <a:pt x="795973" y="180340"/>
                    </a:cubicBezTo>
                    <a:cubicBezTo>
                      <a:pt x="795338" y="177800"/>
                      <a:pt x="793750" y="175895"/>
                      <a:pt x="791845" y="174308"/>
                    </a:cubicBezTo>
                    <a:moveTo>
                      <a:pt x="720725" y="166052"/>
                    </a:moveTo>
                    <a:lnTo>
                      <a:pt x="728663" y="193358"/>
                    </a:lnTo>
                    <a:cubicBezTo>
                      <a:pt x="730568" y="199390"/>
                      <a:pt x="730885" y="204470"/>
                      <a:pt x="729615" y="208280"/>
                    </a:cubicBezTo>
                    <a:cubicBezTo>
                      <a:pt x="728345" y="212090"/>
                      <a:pt x="724853" y="214948"/>
                      <a:pt x="719138" y="216852"/>
                    </a:cubicBezTo>
                    <a:cubicBezTo>
                      <a:pt x="711518" y="219075"/>
                      <a:pt x="706438" y="216218"/>
                      <a:pt x="703898" y="207963"/>
                    </a:cubicBezTo>
                    <a:lnTo>
                      <a:pt x="694055" y="174308"/>
                    </a:lnTo>
                    <a:lnTo>
                      <a:pt x="685483" y="176848"/>
                    </a:lnTo>
                    <a:lnTo>
                      <a:pt x="695643" y="211138"/>
                    </a:lnTo>
                    <a:cubicBezTo>
                      <a:pt x="697548" y="217805"/>
                      <a:pt x="700723" y="222250"/>
                      <a:pt x="704850" y="224155"/>
                    </a:cubicBezTo>
                    <a:cubicBezTo>
                      <a:pt x="708978" y="226377"/>
                      <a:pt x="714058" y="226377"/>
                      <a:pt x="720408" y="224473"/>
                    </a:cubicBezTo>
                    <a:cubicBezTo>
                      <a:pt x="723900" y="223520"/>
                      <a:pt x="726758" y="221932"/>
                      <a:pt x="729298" y="219710"/>
                    </a:cubicBezTo>
                    <a:cubicBezTo>
                      <a:pt x="731838" y="217488"/>
                      <a:pt x="733743" y="214948"/>
                      <a:pt x="734378" y="211773"/>
                    </a:cubicBezTo>
                    <a:lnTo>
                      <a:pt x="734695" y="211773"/>
                    </a:lnTo>
                    <a:lnTo>
                      <a:pt x="737870" y="218440"/>
                    </a:lnTo>
                    <a:lnTo>
                      <a:pt x="744855" y="216218"/>
                    </a:lnTo>
                    <a:lnTo>
                      <a:pt x="729298" y="164148"/>
                    </a:lnTo>
                    <a:lnTo>
                      <a:pt x="720725" y="166052"/>
                    </a:lnTo>
                    <a:close/>
                    <a:moveTo>
                      <a:pt x="662623" y="209868"/>
                    </a:moveTo>
                    <a:cubicBezTo>
                      <a:pt x="663893" y="216535"/>
                      <a:pt x="663575" y="221932"/>
                      <a:pt x="661988" y="225743"/>
                    </a:cubicBezTo>
                    <a:cubicBezTo>
                      <a:pt x="660400" y="229870"/>
                      <a:pt x="657225" y="232093"/>
                      <a:pt x="652145" y="233045"/>
                    </a:cubicBezTo>
                    <a:cubicBezTo>
                      <a:pt x="646430" y="234315"/>
                      <a:pt x="641985" y="233045"/>
                      <a:pt x="639128" y="230188"/>
                    </a:cubicBezTo>
                    <a:cubicBezTo>
                      <a:pt x="636270" y="227013"/>
                      <a:pt x="634365" y="222250"/>
                      <a:pt x="633095" y="215582"/>
                    </a:cubicBezTo>
                    <a:lnTo>
                      <a:pt x="633095" y="215265"/>
                    </a:lnTo>
                    <a:cubicBezTo>
                      <a:pt x="631825" y="208280"/>
                      <a:pt x="631825" y="203200"/>
                      <a:pt x="633413" y="199390"/>
                    </a:cubicBezTo>
                    <a:cubicBezTo>
                      <a:pt x="635000" y="195580"/>
                      <a:pt x="638493" y="193358"/>
                      <a:pt x="644208" y="192088"/>
                    </a:cubicBezTo>
                    <a:cubicBezTo>
                      <a:pt x="653733" y="190500"/>
                      <a:pt x="659765" y="196215"/>
                      <a:pt x="662623" y="209868"/>
                    </a:cubicBezTo>
                    <a:moveTo>
                      <a:pt x="614680" y="168275"/>
                    </a:moveTo>
                    <a:lnTo>
                      <a:pt x="629285" y="244157"/>
                    </a:lnTo>
                    <a:lnTo>
                      <a:pt x="635635" y="242888"/>
                    </a:lnTo>
                    <a:lnTo>
                      <a:pt x="636270" y="235902"/>
                    </a:lnTo>
                    <a:lnTo>
                      <a:pt x="636905" y="235902"/>
                    </a:lnTo>
                    <a:cubicBezTo>
                      <a:pt x="638810" y="237807"/>
                      <a:pt x="641350" y="239077"/>
                      <a:pt x="644208" y="240030"/>
                    </a:cubicBezTo>
                    <a:cubicBezTo>
                      <a:pt x="647065" y="240982"/>
                      <a:pt x="650875" y="241300"/>
                      <a:pt x="655003" y="240348"/>
                    </a:cubicBezTo>
                    <a:cubicBezTo>
                      <a:pt x="661670" y="239077"/>
                      <a:pt x="666433" y="235585"/>
                      <a:pt x="669608" y="230188"/>
                    </a:cubicBezTo>
                    <a:cubicBezTo>
                      <a:pt x="672783" y="224790"/>
                      <a:pt x="673418" y="217488"/>
                      <a:pt x="671830" y="208280"/>
                    </a:cubicBezTo>
                    <a:cubicBezTo>
                      <a:pt x="669925" y="199073"/>
                      <a:pt x="666750" y="192723"/>
                      <a:pt x="661988" y="188595"/>
                    </a:cubicBezTo>
                    <a:cubicBezTo>
                      <a:pt x="657225" y="184785"/>
                      <a:pt x="651193" y="183515"/>
                      <a:pt x="644525" y="184785"/>
                    </a:cubicBezTo>
                    <a:cubicBezTo>
                      <a:pt x="640398" y="185738"/>
                      <a:pt x="636905" y="187008"/>
                      <a:pt x="634683" y="188913"/>
                    </a:cubicBezTo>
                    <a:cubicBezTo>
                      <a:pt x="632460" y="190818"/>
                      <a:pt x="630555" y="193358"/>
                      <a:pt x="629603" y="195898"/>
                    </a:cubicBezTo>
                    <a:lnTo>
                      <a:pt x="628968" y="195898"/>
                    </a:lnTo>
                    <a:cubicBezTo>
                      <a:pt x="628968" y="194627"/>
                      <a:pt x="628650" y="193040"/>
                      <a:pt x="628333" y="191135"/>
                    </a:cubicBezTo>
                    <a:cubicBezTo>
                      <a:pt x="628015" y="189230"/>
                      <a:pt x="627698" y="187008"/>
                      <a:pt x="627380" y="184785"/>
                    </a:cubicBezTo>
                    <a:lnTo>
                      <a:pt x="623888" y="166370"/>
                    </a:lnTo>
                    <a:lnTo>
                      <a:pt x="614680" y="168275"/>
                    </a:lnTo>
                    <a:close/>
                    <a:moveTo>
                      <a:pt x="560388" y="207963"/>
                    </a:moveTo>
                    <a:cubicBezTo>
                      <a:pt x="562610" y="210820"/>
                      <a:pt x="563880" y="214313"/>
                      <a:pt x="564198" y="219075"/>
                    </a:cubicBezTo>
                    <a:lnTo>
                      <a:pt x="536575" y="220980"/>
                    </a:lnTo>
                    <a:cubicBezTo>
                      <a:pt x="536893" y="216218"/>
                      <a:pt x="537845" y="212090"/>
                      <a:pt x="540385" y="209232"/>
                    </a:cubicBezTo>
                    <a:cubicBezTo>
                      <a:pt x="542608" y="206375"/>
                      <a:pt x="546100" y="204788"/>
                      <a:pt x="550228" y="204470"/>
                    </a:cubicBezTo>
                    <a:cubicBezTo>
                      <a:pt x="554673" y="203835"/>
                      <a:pt x="558165" y="205105"/>
                      <a:pt x="560388" y="207963"/>
                    </a:cubicBezTo>
                    <a:moveTo>
                      <a:pt x="537528" y="200977"/>
                    </a:moveTo>
                    <a:cubicBezTo>
                      <a:pt x="534035" y="203518"/>
                      <a:pt x="531495" y="207010"/>
                      <a:pt x="529590" y="211455"/>
                    </a:cubicBezTo>
                    <a:cubicBezTo>
                      <a:pt x="528003" y="215900"/>
                      <a:pt x="527050" y="220980"/>
                      <a:pt x="527685" y="227013"/>
                    </a:cubicBezTo>
                    <a:cubicBezTo>
                      <a:pt x="528003" y="233045"/>
                      <a:pt x="529590" y="238125"/>
                      <a:pt x="531813" y="242252"/>
                    </a:cubicBezTo>
                    <a:cubicBezTo>
                      <a:pt x="534353" y="246380"/>
                      <a:pt x="537528" y="249238"/>
                      <a:pt x="541655" y="251143"/>
                    </a:cubicBezTo>
                    <a:cubicBezTo>
                      <a:pt x="545783" y="253048"/>
                      <a:pt x="550228" y="253682"/>
                      <a:pt x="555625" y="253365"/>
                    </a:cubicBezTo>
                    <a:cubicBezTo>
                      <a:pt x="559435" y="253048"/>
                      <a:pt x="562610" y="252730"/>
                      <a:pt x="565150" y="251777"/>
                    </a:cubicBezTo>
                    <a:cubicBezTo>
                      <a:pt x="567690" y="251143"/>
                      <a:pt x="570548" y="249873"/>
                      <a:pt x="573088" y="248602"/>
                    </a:cubicBezTo>
                    <a:lnTo>
                      <a:pt x="572453" y="240665"/>
                    </a:lnTo>
                    <a:cubicBezTo>
                      <a:pt x="569595" y="241935"/>
                      <a:pt x="567055" y="243205"/>
                      <a:pt x="564515" y="243840"/>
                    </a:cubicBezTo>
                    <a:cubicBezTo>
                      <a:pt x="561975" y="244793"/>
                      <a:pt x="558800" y="245110"/>
                      <a:pt x="555308" y="245427"/>
                    </a:cubicBezTo>
                    <a:cubicBezTo>
                      <a:pt x="549910" y="245745"/>
                      <a:pt x="545465" y="244475"/>
                      <a:pt x="542290" y="241300"/>
                    </a:cubicBezTo>
                    <a:cubicBezTo>
                      <a:pt x="539115" y="238125"/>
                      <a:pt x="537210" y="233680"/>
                      <a:pt x="536575" y="227648"/>
                    </a:cubicBezTo>
                    <a:lnTo>
                      <a:pt x="573723" y="225425"/>
                    </a:lnTo>
                    <a:lnTo>
                      <a:pt x="573405" y="220027"/>
                    </a:lnTo>
                    <a:cubicBezTo>
                      <a:pt x="573088" y="214948"/>
                      <a:pt x="571818" y="210820"/>
                      <a:pt x="569913" y="207327"/>
                    </a:cubicBezTo>
                    <a:cubicBezTo>
                      <a:pt x="568008" y="203835"/>
                      <a:pt x="565150" y="200977"/>
                      <a:pt x="561658" y="199390"/>
                    </a:cubicBezTo>
                    <a:cubicBezTo>
                      <a:pt x="558165" y="197485"/>
                      <a:pt x="554038" y="196850"/>
                      <a:pt x="549593" y="197168"/>
                    </a:cubicBezTo>
                    <a:cubicBezTo>
                      <a:pt x="545148" y="197168"/>
                      <a:pt x="541020" y="198755"/>
                      <a:pt x="537528" y="200977"/>
                    </a:cubicBezTo>
                    <a:moveTo>
                      <a:pt x="508000" y="176530"/>
                    </a:moveTo>
                    <a:lnTo>
                      <a:pt x="499110" y="176530"/>
                    </a:lnTo>
                    <a:lnTo>
                      <a:pt x="498158" y="253682"/>
                    </a:lnTo>
                    <a:lnTo>
                      <a:pt x="507048" y="253682"/>
                    </a:lnTo>
                    <a:lnTo>
                      <a:pt x="508000" y="176530"/>
                    </a:lnTo>
                    <a:close/>
                    <a:moveTo>
                      <a:pt x="470853" y="225743"/>
                    </a:moveTo>
                    <a:cubicBezTo>
                      <a:pt x="470535" y="232410"/>
                      <a:pt x="468948" y="237490"/>
                      <a:pt x="466408" y="240982"/>
                    </a:cubicBezTo>
                    <a:cubicBezTo>
                      <a:pt x="463868" y="244475"/>
                      <a:pt x="460058" y="246063"/>
                      <a:pt x="455295" y="245745"/>
                    </a:cubicBezTo>
                    <a:cubicBezTo>
                      <a:pt x="449263" y="245427"/>
                      <a:pt x="445453" y="243205"/>
                      <a:pt x="443548" y="239713"/>
                    </a:cubicBezTo>
                    <a:cubicBezTo>
                      <a:pt x="441643" y="235902"/>
                      <a:pt x="440690" y="230823"/>
                      <a:pt x="441325" y="224155"/>
                    </a:cubicBezTo>
                    <a:lnTo>
                      <a:pt x="441325" y="223838"/>
                    </a:lnTo>
                    <a:cubicBezTo>
                      <a:pt x="441643" y="216852"/>
                      <a:pt x="443230" y="211773"/>
                      <a:pt x="445453" y="208598"/>
                    </a:cubicBezTo>
                    <a:cubicBezTo>
                      <a:pt x="447993" y="205423"/>
                      <a:pt x="452120" y="204152"/>
                      <a:pt x="457835" y="204470"/>
                    </a:cubicBezTo>
                    <a:cubicBezTo>
                      <a:pt x="467043" y="204788"/>
                      <a:pt x="471805" y="211773"/>
                      <a:pt x="470853" y="225743"/>
                    </a:cubicBezTo>
                    <a:moveTo>
                      <a:pt x="434975" y="173355"/>
                    </a:moveTo>
                    <a:lnTo>
                      <a:pt x="430213" y="250507"/>
                    </a:lnTo>
                    <a:lnTo>
                      <a:pt x="436563" y="250825"/>
                    </a:lnTo>
                    <a:lnTo>
                      <a:pt x="438785" y="244157"/>
                    </a:lnTo>
                    <a:lnTo>
                      <a:pt x="439420" y="244157"/>
                    </a:lnTo>
                    <a:cubicBezTo>
                      <a:pt x="440690" y="246380"/>
                      <a:pt x="442913" y="248285"/>
                      <a:pt x="445453" y="250190"/>
                    </a:cubicBezTo>
                    <a:cubicBezTo>
                      <a:pt x="447993" y="251777"/>
                      <a:pt x="451485" y="253048"/>
                      <a:pt x="455613" y="253048"/>
                    </a:cubicBezTo>
                    <a:cubicBezTo>
                      <a:pt x="462280" y="253365"/>
                      <a:pt x="467995" y="251460"/>
                      <a:pt x="472123" y="247015"/>
                    </a:cubicBezTo>
                    <a:cubicBezTo>
                      <a:pt x="476568" y="242570"/>
                      <a:pt x="479108" y="235585"/>
                      <a:pt x="479743" y="226377"/>
                    </a:cubicBezTo>
                    <a:cubicBezTo>
                      <a:pt x="480378" y="217170"/>
                      <a:pt x="478790" y="209868"/>
                      <a:pt x="474980" y="205105"/>
                    </a:cubicBezTo>
                    <a:cubicBezTo>
                      <a:pt x="471170" y="200025"/>
                      <a:pt x="465773" y="197485"/>
                      <a:pt x="459105" y="197168"/>
                    </a:cubicBezTo>
                    <a:cubicBezTo>
                      <a:pt x="454978" y="196850"/>
                      <a:pt x="451168" y="197485"/>
                      <a:pt x="448628" y="198755"/>
                    </a:cubicBezTo>
                    <a:cubicBezTo>
                      <a:pt x="445770" y="200025"/>
                      <a:pt x="443548" y="201930"/>
                      <a:pt x="441960" y="204152"/>
                    </a:cubicBezTo>
                    <a:lnTo>
                      <a:pt x="441325" y="204152"/>
                    </a:lnTo>
                    <a:cubicBezTo>
                      <a:pt x="441643" y="202882"/>
                      <a:pt x="441643" y="201295"/>
                      <a:pt x="441960" y="199390"/>
                    </a:cubicBezTo>
                    <a:cubicBezTo>
                      <a:pt x="442278" y="197485"/>
                      <a:pt x="442278" y="195263"/>
                      <a:pt x="442595" y="193040"/>
                    </a:cubicBezTo>
                    <a:lnTo>
                      <a:pt x="443865" y="174308"/>
                    </a:lnTo>
                    <a:lnTo>
                      <a:pt x="434975" y="173355"/>
                    </a:lnTo>
                    <a:close/>
                    <a:moveTo>
                      <a:pt x="397193" y="224155"/>
                    </a:moveTo>
                    <a:cubicBezTo>
                      <a:pt x="396240" y="229235"/>
                      <a:pt x="394018" y="233045"/>
                      <a:pt x="390843" y="234950"/>
                    </a:cubicBezTo>
                    <a:cubicBezTo>
                      <a:pt x="387350" y="236855"/>
                      <a:pt x="383540" y="237490"/>
                      <a:pt x="379095" y="236855"/>
                    </a:cubicBezTo>
                    <a:cubicBezTo>
                      <a:pt x="376238" y="236538"/>
                      <a:pt x="374015" y="235268"/>
                      <a:pt x="372428" y="233680"/>
                    </a:cubicBezTo>
                    <a:cubicBezTo>
                      <a:pt x="370840" y="232093"/>
                      <a:pt x="370205" y="229552"/>
                      <a:pt x="370840" y="226695"/>
                    </a:cubicBezTo>
                    <a:cubicBezTo>
                      <a:pt x="371475" y="223202"/>
                      <a:pt x="373063" y="220980"/>
                      <a:pt x="375920" y="219393"/>
                    </a:cubicBezTo>
                    <a:cubicBezTo>
                      <a:pt x="378778" y="217805"/>
                      <a:pt x="383540" y="217805"/>
                      <a:pt x="390208" y="218440"/>
                    </a:cubicBezTo>
                    <a:lnTo>
                      <a:pt x="398145" y="219393"/>
                    </a:lnTo>
                    <a:lnTo>
                      <a:pt x="397193" y="224155"/>
                    </a:lnTo>
                    <a:close/>
                    <a:moveTo>
                      <a:pt x="381953" y="188913"/>
                    </a:moveTo>
                    <a:cubicBezTo>
                      <a:pt x="378460" y="189230"/>
                      <a:pt x="375603" y="189865"/>
                      <a:pt x="373063" y="190818"/>
                    </a:cubicBezTo>
                    <a:lnTo>
                      <a:pt x="374650" y="197802"/>
                    </a:lnTo>
                    <a:cubicBezTo>
                      <a:pt x="377190" y="197168"/>
                      <a:pt x="379413" y="196533"/>
                      <a:pt x="382270" y="196215"/>
                    </a:cubicBezTo>
                    <a:cubicBezTo>
                      <a:pt x="384810" y="195898"/>
                      <a:pt x="387668" y="195898"/>
                      <a:pt x="390525" y="196215"/>
                    </a:cubicBezTo>
                    <a:cubicBezTo>
                      <a:pt x="394018" y="196850"/>
                      <a:pt x="396558" y="198120"/>
                      <a:pt x="398463" y="200343"/>
                    </a:cubicBezTo>
                    <a:cubicBezTo>
                      <a:pt x="400050" y="202248"/>
                      <a:pt x="400685" y="205740"/>
                      <a:pt x="399733" y="210185"/>
                    </a:cubicBezTo>
                    <a:lnTo>
                      <a:pt x="399098" y="213360"/>
                    </a:lnTo>
                    <a:lnTo>
                      <a:pt x="389890" y="212090"/>
                    </a:lnTo>
                    <a:cubicBezTo>
                      <a:pt x="381000" y="210820"/>
                      <a:pt x="374333" y="211455"/>
                      <a:pt x="369570" y="213677"/>
                    </a:cubicBezTo>
                    <a:cubicBezTo>
                      <a:pt x="364808" y="215900"/>
                      <a:pt x="361950" y="219710"/>
                      <a:pt x="361315" y="225107"/>
                    </a:cubicBezTo>
                    <a:cubicBezTo>
                      <a:pt x="360363" y="230505"/>
                      <a:pt x="361315" y="234950"/>
                      <a:pt x="364173" y="238125"/>
                    </a:cubicBezTo>
                    <a:cubicBezTo>
                      <a:pt x="367030" y="241300"/>
                      <a:pt x="370840" y="243205"/>
                      <a:pt x="375603" y="244157"/>
                    </a:cubicBezTo>
                    <a:cubicBezTo>
                      <a:pt x="380048" y="244793"/>
                      <a:pt x="383858" y="244793"/>
                      <a:pt x="386715" y="243840"/>
                    </a:cubicBezTo>
                    <a:cubicBezTo>
                      <a:pt x="389573" y="242888"/>
                      <a:pt x="392430" y="240982"/>
                      <a:pt x="395288" y="238443"/>
                    </a:cubicBezTo>
                    <a:lnTo>
                      <a:pt x="395605" y="238443"/>
                    </a:lnTo>
                    <a:lnTo>
                      <a:pt x="395923" y="246380"/>
                    </a:lnTo>
                    <a:lnTo>
                      <a:pt x="402273" y="247332"/>
                    </a:lnTo>
                    <a:lnTo>
                      <a:pt x="408305" y="210820"/>
                    </a:lnTo>
                    <a:cubicBezTo>
                      <a:pt x="409258" y="204470"/>
                      <a:pt x="408623" y="199708"/>
                      <a:pt x="405765" y="196215"/>
                    </a:cubicBezTo>
                    <a:cubicBezTo>
                      <a:pt x="403225" y="192723"/>
                      <a:pt x="398463" y="190500"/>
                      <a:pt x="391795" y="189548"/>
                    </a:cubicBezTo>
                    <a:cubicBezTo>
                      <a:pt x="388938" y="188595"/>
                      <a:pt x="385445" y="188595"/>
                      <a:pt x="381953" y="188913"/>
                    </a:cubicBezTo>
                    <a:moveTo>
                      <a:pt x="320993" y="175895"/>
                    </a:moveTo>
                    <a:cubicBezTo>
                      <a:pt x="317500" y="176530"/>
                      <a:pt x="314643" y="177800"/>
                      <a:pt x="312420" y="180023"/>
                    </a:cubicBezTo>
                    <a:lnTo>
                      <a:pt x="311785" y="180023"/>
                    </a:lnTo>
                    <a:lnTo>
                      <a:pt x="312420" y="172402"/>
                    </a:lnTo>
                    <a:lnTo>
                      <a:pt x="305435" y="170498"/>
                    </a:lnTo>
                    <a:lnTo>
                      <a:pt x="291148" y="223202"/>
                    </a:lnTo>
                    <a:lnTo>
                      <a:pt x="299720" y="225425"/>
                    </a:lnTo>
                    <a:lnTo>
                      <a:pt x="307023" y="198120"/>
                    </a:lnTo>
                    <a:cubicBezTo>
                      <a:pt x="308610" y="192088"/>
                      <a:pt x="311150" y="187643"/>
                      <a:pt x="314325" y="184785"/>
                    </a:cubicBezTo>
                    <a:cubicBezTo>
                      <a:pt x="317500" y="182245"/>
                      <a:pt x="321945" y="181610"/>
                      <a:pt x="327660" y="183198"/>
                    </a:cubicBezTo>
                    <a:cubicBezTo>
                      <a:pt x="335598" y="185420"/>
                      <a:pt x="338138" y="190500"/>
                      <a:pt x="335915" y="199073"/>
                    </a:cubicBezTo>
                    <a:lnTo>
                      <a:pt x="326708" y="232727"/>
                    </a:lnTo>
                    <a:lnTo>
                      <a:pt x="335280" y="234950"/>
                    </a:lnTo>
                    <a:lnTo>
                      <a:pt x="344488" y="200660"/>
                    </a:lnTo>
                    <a:cubicBezTo>
                      <a:pt x="346393" y="193993"/>
                      <a:pt x="346075" y="188595"/>
                      <a:pt x="343535" y="184785"/>
                    </a:cubicBezTo>
                    <a:cubicBezTo>
                      <a:pt x="341313" y="180975"/>
                      <a:pt x="336868" y="178118"/>
                      <a:pt x="330518" y="176213"/>
                    </a:cubicBezTo>
                    <a:cubicBezTo>
                      <a:pt x="327660" y="175577"/>
                      <a:pt x="324485" y="175260"/>
                      <a:pt x="320993" y="175895"/>
                    </a:cubicBezTo>
                    <a:moveTo>
                      <a:pt x="278130" y="161608"/>
                    </a:moveTo>
                    <a:lnTo>
                      <a:pt x="261303" y="213360"/>
                    </a:lnTo>
                    <a:lnTo>
                      <a:pt x="269875" y="216218"/>
                    </a:lnTo>
                    <a:lnTo>
                      <a:pt x="286703" y="164465"/>
                    </a:lnTo>
                    <a:lnTo>
                      <a:pt x="278130" y="161608"/>
                    </a:lnTo>
                    <a:close/>
                    <a:moveTo>
                      <a:pt x="284798" y="143827"/>
                    </a:moveTo>
                    <a:cubicBezTo>
                      <a:pt x="283528" y="144463"/>
                      <a:pt x="282575" y="145733"/>
                      <a:pt x="281940" y="147320"/>
                    </a:cubicBezTo>
                    <a:cubicBezTo>
                      <a:pt x="281305" y="148908"/>
                      <a:pt x="281305" y="150813"/>
                      <a:pt x="281940" y="151765"/>
                    </a:cubicBezTo>
                    <a:cubicBezTo>
                      <a:pt x="282575" y="153035"/>
                      <a:pt x="283528" y="153670"/>
                      <a:pt x="285115" y="154305"/>
                    </a:cubicBezTo>
                    <a:cubicBezTo>
                      <a:pt x="286385" y="154623"/>
                      <a:pt x="287655" y="154623"/>
                      <a:pt x="288925" y="153988"/>
                    </a:cubicBezTo>
                    <a:cubicBezTo>
                      <a:pt x="290195" y="153352"/>
                      <a:pt x="291148" y="152083"/>
                      <a:pt x="291783" y="150495"/>
                    </a:cubicBezTo>
                    <a:cubicBezTo>
                      <a:pt x="292418" y="148590"/>
                      <a:pt x="292418" y="147002"/>
                      <a:pt x="291465" y="146050"/>
                    </a:cubicBezTo>
                    <a:cubicBezTo>
                      <a:pt x="290830" y="144780"/>
                      <a:pt x="289878" y="144145"/>
                      <a:pt x="288608" y="143510"/>
                    </a:cubicBezTo>
                    <a:cubicBezTo>
                      <a:pt x="287338" y="143193"/>
                      <a:pt x="286068" y="143193"/>
                      <a:pt x="284798" y="143827"/>
                    </a:cubicBezTo>
                    <a:moveTo>
                      <a:pt x="237808" y="181927"/>
                    </a:moveTo>
                    <a:cubicBezTo>
                      <a:pt x="235903" y="186690"/>
                      <a:pt x="233045" y="189865"/>
                      <a:pt x="229235" y="191135"/>
                    </a:cubicBezTo>
                    <a:cubicBezTo>
                      <a:pt x="225425" y="192405"/>
                      <a:pt x="221298" y="192088"/>
                      <a:pt x="217170" y="190183"/>
                    </a:cubicBezTo>
                    <a:cubicBezTo>
                      <a:pt x="214630" y="189230"/>
                      <a:pt x="212408" y="187643"/>
                      <a:pt x="211455" y="185420"/>
                    </a:cubicBezTo>
                    <a:cubicBezTo>
                      <a:pt x="210185" y="183515"/>
                      <a:pt x="210185" y="180975"/>
                      <a:pt x="211455" y="178118"/>
                    </a:cubicBezTo>
                    <a:cubicBezTo>
                      <a:pt x="212725" y="174943"/>
                      <a:pt x="214948" y="173038"/>
                      <a:pt x="218123" y="172085"/>
                    </a:cubicBezTo>
                    <a:cubicBezTo>
                      <a:pt x="221298" y="171450"/>
                      <a:pt x="226060" y="172085"/>
                      <a:pt x="232410" y="174308"/>
                    </a:cubicBezTo>
                    <a:lnTo>
                      <a:pt x="240030" y="177165"/>
                    </a:lnTo>
                    <a:lnTo>
                      <a:pt x="237808" y="181927"/>
                    </a:lnTo>
                    <a:close/>
                    <a:moveTo>
                      <a:pt x="230823" y="144145"/>
                    </a:moveTo>
                    <a:cubicBezTo>
                      <a:pt x="227330" y="143827"/>
                      <a:pt x="224473" y="143827"/>
                      <a:pt x="221615" y="144145"/>
                    </a:cubicBezTo>
                    <a:lnTo>
                      <a:pt x="221615" y="151448"/>
                    </a:lnTo>
                    <a:cubicBezTo>
                      <a:pt x="224155" y="151130"/>
                      <a:pt x="226695" y="151448"/>
                      <a:pt x="229235" y="151448"/>
                    </a:cubicBezTo>
                    <a:cubicBezTo>
                      <a:pt x="232093" y="151765"/>
                      <a:pt x="234633" y="152400"/>
                      <a:pt x="237173" y="153352"/>
                    </a:cubicBezTo>
                    <a:cubicBezTo>
                      <a:pt x="240348" y="154623"/>
                      <a:pt x="242888" y="156527"/>
                      <a:pt x="243840" y="159068"/>
                    </a:cubicBezTo>
                    <a:cubicBezTo>
                      <a:pt x="245110" y="161290"/>
                      <a:pt x="244793" y="164783"/>
                      <a:pt x="242888" y="168910"/>
                    </a:cubicBezTo>
                    <a:lnTo>
                      <a:pt x="241618" y="171768"/>
                    </a:lnTo>
                    <a:lnTo>
                      <a:pt x="233045" y="168593"/>
                    </a:lnTo>
                    <a:cubicBezTo>
                      <a:pt x="224790" y="165418"/>
                      <a:pt x="218123" y="164465"/>
                      <a:pt x="213043" y="165735"/>
                    </a:cubicBezTo>
                    <a:cubicBezTo>
                      <a:pt x="207963" y="166688"/>
                      <a:pt x="204470" y="169863"/>
                      <a:pt x="202248" y="174943"/>
                    </a:cubicBezTo>
                    <a:cubicBezTo>
                      <a:pt x="200025" y="180023"/>
                      <a:pt x="200025" y="184468"/>
                      <a:pt x="202248" y="187960"/>
                    </a:cubicBezTo>
                    <a:cubicBezTo>
                      <a:pt x="204153" y="191452"/>
                      <a:pt x="207645" y="194310"/>
                      <a:pt x="212090" y="196215"/>
                    </a:cubicBezTo>
                    <a:cubicBezTo>
                      <a:pt x="216218" y="197802"/>
                      <a:pt x="220028" y="198755"/>
                      <a:pt x="222885" y="198438"/>
                    </a:cubicBezTo>
                    <a:cubicBezTo>
                      <a:pt x="225743" y="198120"/>
                      <a:pt x="228918" y="197168"/>
                      <a:pt x="232410" y="195263"/>
                    </a:cubicBezTo>
                    <a:lnTo>
                      <a:pt x="232728" y="195263"/>
                    </a:lnTo>
                    <a:lnTo>
                      <a:pt x="231458" y="203200"/>
                    </a:lnTo>
                    <a:lnTo>
                      <a:pt x="237490" y="205740"/>
                    </a:lnTo>
                    <a:lnTo>
                      <a:pt x="251460" y="171450"/>
                    </a:lnTo>
                    <a:cubicBezTo>
                      <a:pt x="254000" y="165418"/>
                      <a:pt x="254000" y="160655"/>
                      <a:pt x="252413" y="156845"/>
                    </a:cubicBezTo>
                    <a:cubicBezTo>
                      <a:pt x="250508" y="153035"/>
                      <a:pt x="246698" y="149860"/>
                      <a:pt x="240348" y="147320"/>
                    </a:cubicBezTo>
                    <a:cubicBezTo>
                      <a:pt x="237490" y="145415"/>
                      <a:pt x="233998" y="144463"/>
                      <a:pt x="230823" y="144145"/>
                    </a:cubicBezTo>
                    <a:moveTo>
                      <a:pt x="174943" y="168593"/>
                    </a:moveTo>
                    <a:cubicBezTo>
                      <a:pt x="174308" y="166370"/>
                      <a:pt x="174625" y="163830"/>
                      <a:pt x="176213" y="160973"/>
                    </a:cubicBezTo>
                    <a:lnTo>
                      <a:pt x="190183" y="132715"/>
                    </a:lnTo>
                    <a:lnTo>
                      <a:pt x="204153" y="139700"/>
                    </a:lnTo>
                    <a:lnTo>
                      <a:pt x="207328" y="133350"/>
                    </a:lnTo>
                    <a:lnTo>
                      <a:pt x="193358" y="126365"/>
                    </a:lnTo>
                    <a:lnTo>
                      <a:pt x="199073" y="115252"/>
                    </a:lnTo>
                    <a:lnTo>
                      <a:pt x="194310" y="113030"/>
                    </a:lnTo>
                    <a:lnTo>
                      <a:pt x="186055" y="121920"/>
                    </a:lnTo>
                    <a:lnTo>
                      <a:pt x="177483" y="121602"/>
                    </a:lnTo>
                    <a:lnTo>
                      <a:pt x="175578" y="125413"/>
                    </a:lnTo>
                    <a:lnTo>
                      <a:pt x="182563" y="128905"/>
                    </a:lnTo>
                    <a:lnTo>
                      <a:pt x="168593" y="157163"/>
                    </a:lnTo>
                    <a:cubicBezTo>
                      <a:pt x="166688" y="160973"/>
                      <a:pt x="165735" y="164465"/>
                      <a:pt x="166053" y="167323"/>
                    </a:cubicBezTo>
                    <a:cubicBezTo>
                      <a:pt x="166370" y="170180"/>
                      <a:pt x="167323" y="172720"/>
                      <a:pt x="168910" y="174625"/>
                    </a:cubicBezTo>
                    <a:cubicBezTo>
                      <a:pt x="170498" y="176530"/>
                      <a:pt x="172720" y="178118"/>
                      <a:pt x="175260" y="179388"/>
                    </a:cubicBezTo>
                    <a:cubicBezTo>
                      <a:pt x="176848" y="180023"/>
                      <a:pt x="178435" y="180658"/>
                      <a:pt x="180023" y="181293"/>
                    </a:cubicBezTo>
                    <a:cubicBezTo>
                      <a:pt x="181610" y="181927"/>
                      <a:pt x="183198" y="181927"/>
                      <a:pt x="184150" y="181927"/>
                    </a:cubicBezTo>
                    <a:lnTo>
                      <a:pt x="187325" y="175895"/>
                    </a:lnTo>
                    <a:cubicBezTo>
                      <a:pt x="186373" y="175895"/>
                      <a:pt x="185103" y="175577"/>
                      <a:pt x="183833" y="174943"/>
                    </a:cubicBezTo>
                    <a:cubicBezTo>
                      <a:pt x="182563" y="174625"/>
                      <a:pt x="181293" y="173990"/>
                      <a:pt x="180023" y="173355"/>
                    </a:cubicBezTo>
                    <a:cubicBezTo>
                      <a:pt x="177165" y="172085"/>
                      <a:pt x="175578" y="170498"/>
                      <a:pt x="174943" y="168593"/>
                    </a:cubicBezTo>
                    <a:moveTo>
                      <a:pt x="151130" y="141288"/>
                    </a:moveTo>
                    <a:cubicBezTo>
                      <a:pt x="151130" y="139065"/>
                      <a:pt x="150178" y="136525"/>
                      <a:pt x="148908" y="134302"/>
                    </a:cubicBezTo>
                    <a:cubicBezTo>
                      <a:pt x="147638" y="131763"/>
                      <a:pt x="145733" y="129223"/>
                      <a:pt x="143193" y="126365"/>
                    </a:cubicBezTo>
                    <a:cubicBezTo>
                      <a:pt x="140970" y="123508"/>
                      <a:pt x="139065" y="120968"/>
                      <a:pt x="137795" y="119063"/>
                    </a:cubicBezTo>
                    <a:cubicBezTo>
                      <a:pt x="136525" y="117158"/>
                      <a:pt x="135890" y="115570"/>
                      <a:pt x="135573" y="114300"/>
                    </a:cubicBezTo>
                    <a:cubicBezTo>
                      <a:pt x="135255" y="113030"/>
                      <a:pt x="135573" y="111760"/>
                      <a:pt x="136525" y="110173"/>
                    </a:cubicBezTo>
                    <a:cubicBezTo>
                      <a:pt x="137478" y="108585"/>
                      <a:pt x="139065" y="107633"/>
                      <a:pt x="141605" y="107633"/>
                    </a:cubicBezTo>
                    <a:cubicBezTo>
                      <a:pt x="143828" y="107633"/>
                      <a:pt x="146685" y="108585"/>
                      <a:pt x="149860" y="110490"/>
                    </a:cubicBezTo>
                    <a:cubicBezTo>
                      <a:pt x="152083" y="111760"/>
                      <a:pt x="154305" y="113348"/>
                      <a:pt x="155893" y="115252"/>
                    </a:cubicBezTo>
                    <a:cubicBezTo>
                      <a:pt x="157798" y="117158"/>
                      <a:pt x="159385" y="119063"/>
                      <a:pt x="160973" y="120968"/>
                    </a:cubicBezTo>
                    <a:lnTo>
                      <a:pt x="167323" y="116523"/>
                    </a:lnTo>
                    <a:cubicBezTo>
                      <a:pt x="165735" y="114300"/>
                      <a:pt x="163830" y="112077"/>
                      <a:pt x="161608" y="110173"/>
                    </a:cubicBezTo>
                    <a:cubicBezTo>
                      <a:pt x="159385" y="108268"/>
                      <a:pt x="156845" y="106363"/>
                      <a:pt x="153988" y="104458"/>
                    </a:cubicBezTo>
                    <a:cubicBezTo>
                      <a:pt x="148590" y="101283"/>
                      <a:pt x="143828" y="100013"/>
                      <a:pt x="139383" y="100330"/>
                    </a:cubicBezTo>
                    <a:cubicBezTo>
                      <a:pt x="134938" y="100648"/>
                      <a:pt x="131445" y="102552"/>
                      <a:pt x="129223" y="106680"/>
                    </a:cubicBezTo>
                    <a:cubicBezTo>
                      <a:pt x="127635" y="109220"/>
                      <a:pt x="127000" y="111760"/>
                      <a:pt x="127318" y="113983"/>
                    </a:cubicBezTo>
                    <a:cubicBezTo>
                      <a:pt x="127635" y="116205"/>
                      <a:pt x="128270" y="118745"/>
                      <a:pt x="129858" y="121285"/>
                    </a:cubicBezTo>
                    <a:cubicBezTo>
                      <a:pt x="131445" y="123825"/>
                      <a:pt x="133350" y="126365"/>
                      <a:pt x="135573" y="129540"/>
                    </a:cubicBezTo>
                    <a:cubicBezTo>
                      <a:pt x="138113" y="132398"/>
                      <a:pt x="139700" y="134938"/>
                      <a:pt x="140970" y="136843"/>
                    </a:cubicBezTo>
                    <a:cubicBezTo>
                      <a:pt x="141923" y="138748"/>
                      <a:pt x="142558" y="140335"/>
                      <a:pt x="142875" y="141605"/>
                    </a:cubicBezTo>
                    <a:cubicBezTo>
                      <a:pt x="142875" y="142875"/>
                      <a:pt x="142558" y="144145"/>
                      <a:pt x="141923" y="145415"/>
                    </a:cubicBezTo>
                    <a:cubicBezTo>
                      <a:pt x="140653" y="147638"/>
                      <a:pt x="138748" y="148590"/>
                      <a:pt x="136208" y="148908"/>
                    </a:cubicBezTo>
                    <a:cubicBezTo>
                      <a:pt x="133668" y="149225"/>
                      <a:pt x="130493" y="147955"/>
                      <a:pt x="126683" y="145733"/>
                    </a:cubicBezTo>
                    <a:cubicBezTo>
                      <a:pt x="123825" y="144145"/>
                      <a:pt x="121603" y="142240"/>
                      <a:pt x="119380" y="139700"/>
                    </a:cubicBezTo>
                    <a:cubicBezTo>
                      <a:pt x="117158" y="137477"/>
                      <a:pt x="115570" y="135255"/>
                      <a:pt x="113983" y="133033"/>
                    </a:cubicBezTo>
                    <a:lnTo>
                      <a:pt x="109855" y="140018"/>
                    </a:lnTo>
                    <a:cubicBezTo>
                      <a:pt x="111125" y="141923"/>
                      <a:pt x="112713" y="143827"/>
                      <a:pt x="114935" y="146050"/>
                    </a:cubicBezTo>
                    <a:cubicBezTo>
                      <a:pt x="116840" y="147955"/>
                      <a:pt x="119698" y="149860"/>
                      <a:pt x="122873" y="151765"/>
                    </a:cubicBezTo>
                    <a:cubicBezTo>
                      <a:pt x="128588" y="155258"/>
                      <a:pt x="133668" y="156527"/>
                      <a:pt x="138430" y="156210"/>
                    </a:cubicBezTo>
                    <a:cubicBezTo>
                      <a:pt x="143193" y="155893"/>
                      <a:pt x="147003" y="153352"/>
                      <a:pt x="149543" y="148908"/>
                    </a:cubicBezTo>
                    <a:cubicBezTo>
                      <a:pt x="150495" y="146050"/>
                      <a:pt x="151448" y="143510"/>
                      <a:pt x="151130" y="141288"/>
                    </a:cubicBezTo>
                    <a:moveTo>
                      <a:pt x="113348" y="80327"/>
                    </a:moveTo>
                    <a:lnTo>
                      <a:pt x="97155" y="103505"/>
                    </a:lnTo>
                    <a:cubicBezTo>
                      <a:pt x="93663" y="108585"/>
                      <a:pt x="89853" y="112077"/>
                      <a:pt x="86043" y="113665"/>
                    </a:cubicBezTo>
                    <a:cubicBezTo>
                      <a:pt x="82233" y="115252"/>
                      <a:pt x="77788" y="113983"/>
                      <a:pt x="72708" y="110808"/>
                    </a:cubicBezTo>
                    <a:cubicBezTo>
                      <a:pt x="66040" y="106363"/>
                      <a:pt x="65088" y="100330"/>
                      <a:pt x="70168" y="93345"/>
                    </a:cubicBezTo>
                    <a:lnTo>
                      <a:pt x="90170" y="64452"/>
                    </a:lnTo>
                    <a:lnTo>
                      <a:pt x="82868" y="59373"/>
                    </a:lnTo>
                    <a:lnTo>
                      <a:pt x="62548" y="88583"/>
                    </a:lnTo>
                    <a:cubicBezTo>
                      <a:pt x="58738" y="94298"/>
                      <a:pt x="57150" y="99377"/>
                      <a:pt x="58103" y="103823"/>
                    </a:cubicBezTo>
                    <a:cubicBezTo>
                      <a:pt x="59055" y="108268"/>
                      <a:pt x="62230" y="112395"/>
                      <a:pt x="67628" y="116205"/>
                    </a:cubicBezTo>
                    <a:cubicBezTo>
                      <a:pt x="70485" y="118110"/>
                      <a:pt x="73660" y="119698"/>
                      <a:pt x="76835" y="120333"/>
                    </a:cubicBezTo>
                    <a:cubicBezTo>
                      <a:pt x="80010" y="120968"/>
                      <a:pt x="83185" y="120650"/>
                      <a:pt x="86360" y="119380"/>
                    </a:cubicBezTo>
                    <a:lnTo>
                      <a:pt x="86678" y="119698"/>
                    </a:lnTo>
                    <a:lnTo>
                      <a:pt x="83503" y="126365"/>
                    </a:lnTo>
                    <a:lnTo>
                      <a:pt x="89535" y="130493"/>
                    </a:lnTo>
                    <a:lnTo>
                      <a:pt x="120650" y="85725"/>
                    </a:lnTo>
                    <a:lnTo>
                      <a:pt x="113348" y="80327"/>
                    </a:lnTo>
                    <a:close/>
                    <a:moveTo>
                      <a:pt x="50165" y="66040"/>
                    </a:moveTo>
                    <a:cubicBezTo>
                      <a:pt x="50483" y="63183"/>
                      <a:pt x="50165" y="60008"/>
                      <a:pt x="49213" y="56833"/>
                    </a:cubicBezTo>
                    <a:cubicBezTo>
                      <a:pt x="48260" y="53658"/>
                      <a:pt x="46355" y="49848"/>
                      <a:pt x="44133" y="46038"/>
                    </a:cubicBezTo>
                    <a:cubicBezTo>
                      <a:pt x="41910" y="42545"/>
                      <a:pt x="40640" y="39370"/>
                      <a:pt x="39688" y="36830"/>
                    </a:cubicBezTo>
                    <a:cubicBezTo>
                      <a:pt x="38735" y="34290"/>
                      <a:pt x="38418" y="32068"/>
                      <a:pt x="38735" y="30163"/>
                    </a:cubicBezTo>
                    <a:cubicBezTo>
                      <a:pt x="39053" y="28258"/>
                      <a:pt x="40005" y="26352"/>
                      <a:pt x="41593" y="24448"/>
                    </a:cubicBezTo>
                    <a:cubicBezTo>
                      <a:pt x="43498" y="21908"/>
                      <a:pt x="46038" y="20955"/>
                      <a:pt x="49213" y="20955"/>
                    </a:cubicBezTo>
                    <a:cubicBezTo>
                      <a:pt x="52070" y="20955"/>
                      <a:pt x="55563" y="22543"/>
                      <a:pt x="59055" y="25400"/>
                    </a:cubicBezTo>
                    <a:cubicBezTo>
                      <a:pt x="61278" y="27305"/>
                      <a:pt x="63500" y="29527"/>
                      <a:pt x="65405" y="32068"/>
                    </a:cubicBezTo>
                    <a:cubicBezTo>
                      <a:pt x="67310" y="34608"/>
                      <a:pt x="68580" y="37148"/>
                      <a:pt x="69850" y="39370"/>
                    </a:cubicBezTo>
                    <a:lnTo>
                      <a:pt x="77153" y="35243"/>
                    </a:lnTo>
                    <a:cubicBezTo>
                      <a:pt x="75883" y="32385"/>
                      <a:pt x="73978" y="29845"/>
                      <a:pt x="72073" y="26988"/>
                    </a:cubicBezTo>
                    <a:cubicBezTo>
                      <a:pt x="70168" y="24130"/>
                      <a:pt x="67628" y="21590"/>
                      <a:pt x="64453" y="19050"/>
                    </a:cubicBezTo>
                    <a:cubicBezTo>
                      <a:pt x="60960" y="16193"/>
                      <a:pt x="57468" y="13970"/>
                      <a:pt x="53658" y="13018"/>
                    </a:cubicBezTo>
                    <a:cubicBezTo>
                      <a:pt x="50165" y="12065"/>
                      <a:pt x="46673" y="11748"/>
                      <a:pt x="43180" y="12700"/>
                    </a:cubicBezTo>
                    <a:cubicBezTo>
                      <a:pt x="40005" y="13652"/>
                      <a:pt x="37148" y="15558"/>
                      <a:pt x="34608" y="18415"/>
                    </a:cubicBezTo>
                    <a:cubicBezTo>
                      <a:pt x="31115" y="22860"/>
                      <a:pt x="29210" y="26988"/>
                      <a:pt x="29528" y="31750"/>
                    </a:cubicBezTo>
                    <a:cubicBezTo>
                      <a:pt x="29845" y="36195"/>
                      <a:pt x="31750" y="41275"/>
                      <a:pt x="34925" y="46990"/>
                    </a:cubicBezTo>
                    <a:cubicBezTo>
                      <a:pt x="37148" y="51118"/>
                      <a:pt x="38735" y="54293"/>
                      <a:pt x="40005" y="57150"/>
                    </a:cubicBezTo>
                    <a:cubicBezTo>
                      <a:pt x="40958" y="59690"/>
                      <a:pt x="41275" y="62230"/>
                      <a:pt x="41275" y="63818"/>
                    </a:cubicBezTo>
                    <a:cubicBezTo>
                      <a:pt x="40958" y="65723"/>
                      <a:pt x="40005" y="67627"/>
                      <a:pt x="38418" y="69533"/>
                    </a:cubicBezTo>
                    <a:cubicBezTo>
                      <a:pt x="36195" y="72390"/>
                      <a:pt x="33338" y="73660"/>
                      <a:pt x="29845" y="73343"/>
                    </a:cubicBezTo>
                    <a:cubicBezTo>
                      <a:pt x="26353" y="73025"/>
                      <a:pt x="22543" y="71438"/>
                      <a:pt x="18415" y="67945"/>
                    </a:cubicBezTo>
                    <a:cubicBezTo>
                      <a:pt x="15558" y="65405"/>
                      <a:pt x="13018" y="62548"/>
                      <a:pt x="10795" y="59690"/>
                    </a:cubicBezTo>
                    <a:cubicBezTo>
                      <a:pt x="8573" y="56833"/>
                      <a:pt x="6985" y="53975"/>
                      <a:pt x="5715" y="51435"/>
                    </a:cubicBezTo>
                    <a:lnTo>
                      <a:pt x="0" y="58102"/>
                    </a:lnTo>
                    <a:cubicBezTo>
                      <a:pt x="953" y="60325"/>
                      <a:pt x="2858" y="62865"/>
                      <a:pt x="5080" y="65723"/>
                    </a:cubicBezTo>
                    <a:cubicBezTo>
                      <a:pt x="7303" y="68263"/>
                      <a:pt x="10160" y="71120"/>
                      <a:pt x="13018" y="73660"/>
                    </a:cubicBezTo>
                    <a:cubicBezTo>
                      <a:pt x="19050" y="78740"/>
                      <a:pt x="25083" y="81598"/>
                      <a:pt x="30798" y="81598"/>
                    </a:cubicBezTo>
                    <a:cubicBezTo>
                      <a:pt x="36830" y="81915"/>
                      <a:pt x="41593" y="79693"/>
                      <a:pt x="45720" y="74613"/>
                    </a:cubicBezTo>
                    <a:cubicBezTo>
                      <a:pt x="48260" y="71755"/>
                      <a:pt x="49848" y="68898"/>
                      <a:pt x="50165" y="66040"/>
                    </a:cubicBezTo>
                  </a:path>
                </a:pathLst>
              </a:custGeom>
              <a:solidFill>
                <a:srgbClr val="001965"/>
              </a:solidFill>
              <a:ln w="3175" cap="flat">
                <a:noFill/>
                <a:prstDash val="solid"/>
                <a:miter/>
              </a:ln>
            </p:spPr>
            <p:txBody>
              <a:bodyPr rtlCol="0" anchor="ctr"/>
              <a:lstStyle/>
              <a:p>
                <a:endParaRPr lang="en-GB">
                  <a:solidFill>
                    <a:srgbClr val="000000"/>
                  </a:solidFill>
                  <a:latin typeface="Verdana"/>
                </a:endParaRPr>
              </a:p>
            </p:txBody>
          </p:sp>
          <p:sp>
            <p:nvSpPr>
              <p:cNvPr id="32" name="Freeform: Shape 31">
                <a:extLst>
                  <a:ext uri="{FF2B5EF4-FFF2-40B4-BE49-F238E27FC236}">
                    <a16:creationId xmlns:a16="http://schemas.microsoft.com/office/drawing/2014/main" id="{8EDDA6B7-A7FC-490E-8C18-005077AF18C3}"/>
                  </a:ext>
                </a:extLst>
              </p:cNvPr>
              <p:cNvSpPr/>
              <p:nvPr/>
            </p:nvSpPr>
            <p:spPr>
              <a:xfrm>
                <a:off x="4132580" y="1816417"/>
                <a:ext cx="876300" cy="212725"/>
              </a:xfrm>
              <a:custGeom>
                <a:avLst/>
                <a:gdLst>
                  <a:gd name="connsiteX0" fmla="*/ 821055 w 876300"/>
                  <a:gd name="connsiteY0" fmla="*/ 195263 h 212725"/>
                  <a:gd name="connsiteX1" fmla="*/ 814388 w 876300"/>
                  <a:gd name="connsiteY1" fmla="*/ 199390 h 212725"/>
                  <a:gd name="connsiteX2" fmla="*/ 806450 w 876300"/>
                  <a:gd name="connsiteY2" fmla="*/ 202248 h 212725"/>
                  <a:gd name="connsiteX3" fmla="*/ 798830 w 876300"/>
                  <a:gd name="connsiteY3" fmla="*/ 200025 h 212725"/>
                  <a:gd name="connsiteX4" fmla="*/ 796290 w 876300"/>
                  <a:gd name="connsiteY4" fmla="*/ 197803 h 212725"/>
                  <a:gd name="connsiteX5" fmla="*/ 794385 w 876300"/>
                  <a:gd name="connsiteY5" fmla="*/ 195898 h 212725"/>
                  <a:gd name="connsiteX6" fmla="*/ 790258 w 876300"/>
                  <a:gd name="connsiteY6" fmla="*/ 201613 h 212725"/>
                  <a:gd name="connsiteX7" fmla="*/ 792480 w 876300"/>
                  <a:gd name="connsiteY7" fmla="*/ 203835 h 212725"/>
                  <a:gd name="connsiteX8" fmla="*/ 795655 w 876300"/>
                  <a:gd name="connsiteY8" fmla="*/ 206693 h 212725"/>
                  <a:gd name="connsiteX9" fmla="*/ 808355 w 876300"/>
                  <a:gd name="connsiteY9" fmla="*/ 210185 h 212725"/>
                  <a:gd name="connsiteX10" fmla="*/ 821690 w 876300"/>
                  <a:gd name="connsiteY10" fmla="*/ 204470 h 212725"/>
                  <a:gd name="connsiteX11" fmla="*/ 877253 w 876300"/>
                  <a:gd name="connsiteY11" fmla="*/ 168275 h 212725"/>
                  <a:gd name="connsiteX12" fmla="*/ 869315 w 876300"/>
                  <a:gd name="connsiteY12" fmla="*/ 162560 h 212725"/>
                  <a:gd name="connsiteX13" fmla="*/ 842010 w 876300"/>
                  <a:gd name="connsiteY13" fmla="*/ 180975 h 212725"/>
                  <a:gd name="connsiteX14" fmla="*/ 835025 w 876300"/>
                  <a:gd name="connsiteY14" fmla="*/ 186055 h 212725"/>
                  <a:gd name="connsiteX15" fmla="*/ 829628 w 876300"/>
                  <a:gd name="connsiteY15" fmla="*/ 190183 h 212725"/>
                  <a:gd name="connsiteX16" fmla="*/ 829310 w 876300"/>
                  <a:gd name="connsiteY16" fmla="*/ 189865 h 212725"/>
                  <a:gd name="connsiteX17" fmla="*/ 831850 w 876300"/>
                  <a:gd name="connsiteY17" fmla="*/ 183198 h 212725"/>
                  <a:gd name="connsiteX18" fmla="*/ 834390 w 876300"/>
                  <a:gd name="connsiteY18" fmla="*/ 175260 h 212725"/>
                  <a:gd name="connsiteX19" fmla="*/ 843280 w 876300"/>
                  <a:gd name="connsiteY19" fmla="*/ 143193 h 212725"/>
                  <a:gd name="connsiteX20" fmla="*/ 835660 w 876300"/>
                  <a:gd name="connsiteY20" fmla="*/ 137478 h 212725"/>
                  <a:gd name="connsiteX21" fmla="*/ 821055 w 876300"/>
                  <a:gd name="connsiteY21" fmla="*/ 195263 h 212725"/>
                  <a:gd name="connsiteX22" fmla="*/ 799783 w 876300"/>
                  <a:gd name="connsiteY22" fmla="*/ 154623 h 212725"/>
                  <a:gd name="connsiteX23" fmla="*/ 789940 w 876300"/>
                  <a:gd name="connsiteY23" fmla="*/ 162243 h 212725"/>
                  <a:gd name="connsiteX24" fmla="*/ 778192 w 876300"/>
                  <a:gd name="connsiteY24" fmla="*/ 159703 h 212725"/>
                  <a:gd name="connsiteX25" fmla="*/ 773113 w 876300"/>
                  <a:gd name="connsiteY25" fmla="*/ 154305 h 212725"/>
                  <a:gd name="connsiteX26" fmla="*/ 774065 w 876300"/>
                  <a:gd name="connsiteY26" fmla="*/ 147003 h 212725"/>
                  <a:gd name="connsiteX27" fmla="*/ 781367 w 876300"/>
                  <a:gd name="connsiteY27" fmla="*/ 142240 h 212725"/>
                  <a:gd name="connsiteX28" fmla="*/ 795020 w 876300"/>
                  <a:gd name="connsiteY28" fmla="*/ 146685 h 212725"/>
                  <a:gd name="connsiteX29" fmla="*/ 802005 w 876300"/>
                  <a:gd name="connsiteY29" fmla="*/ 150495 h 212725"/>
                  <a:gd name="connsiteX30" fmla="*/ 799783 w 876300"/>
                  <a:gd name="connsiteY30" fmla="*/ 154623 h 212725"/>
                  <a:gd name="connsiteX31" fmla="*/ 798513 w 876300"/>
                  <a:gd name="connsiteY31" fmla="*/ 116205 h 212725"/>
                  <a:gd name="connsiteX32" fmla="*/ 789623 w 876300"/>
                  <a:gd name="connsiteY32" fmla="*/ 114618 h 212725"/>
                  <a:gd name="connsiteX33" fmla="*/ 788670 w 876300"/>
                  <a:gd name="connsiteY33" fmla="*/ 121920 h 212725"/>
                  <a:gd name="connsiteX34" fmla="*/ 796290 w 876300"/>
                  <a:gd name="connsiteY34" fmla="*/ 123190 h 212725"/>
                  <a:gd name="connsiteX35" fmla="*/ 803910 w 876300"/>
                  <a:gd name="connsiteY35" fmla="*/ 126365 h 212725"/>
                  <a:gd name="connsiteX36" fmla="*/ 809625 w 876300"/>
                  <a:gd name="connsiteY36" fmla="*/ 133033 h 212725"/>
                  <a:gd name="connsiteX37" fmla="*/ 807403 w 876300"/>
                  <a:gd name="connsiteY37" fmla="*/ 142558 h 212725"/>
                  <a:gd name="connsiteX38" fmla="*/ 805815 w 876300"/>
                  <a:gd name="connsiteY38" fmla="*/ 145415 h 212725"/>
                  <a:gd name="connsiteX39" fmla="*/ 797560 w 876300"/>
                  <a:gd name="connsiteY39" fmla="*/ 140970 h 212725"/>
                  <a:gd name="connsiteX40" fmla="*/ 778192 w 876300"/>
                  <a:gd name="connsiteY40" fmla="*/ 134938 h 212725"/>
                  <a:gd name="connsiteX41" fmla="*/ 766445 w 876300"/>
                  <a:gd name="connsiteY41" fmla="*/ 142558 h 212725"/>
                  <a:gd name="connsiteX42" fmla="*/ 764540 w 876300"/>
                  <a:gd name="connsiteY42" fmla="*/ 155575 h 212725"/>
                  <a:gd name="connsiteX43" fmla="*/ 773113 w 876300"/>
                  <a:gd name="connsiteY43" fmla="*/ 165100 h 212725"/>
                  <a:gd name="connsiteX44" fmla="*/ 783590 w 876300"/>
                  <a:gd name="connsiteY44" fmla="*/ 168593 h 212725"/>
                  <a:gd name="connsiteX45" fmla="*/ 793433 w 876300"/>
                  <a:gd name="connsiteY45" fmla="*/ 166688 h 212725"/>
                  <a:gd name="connsiteX46" fmla="*/ 793750 w 876300"/>
                  <a:gd name="connsiteY46" fmla="*/ 167005 h 212725"/>
                  <a:gd name="connsiteX47" fmla="*/ 791210 w 876300"/>
                  <a:gd name="connsiteY47" fmla="*/ 174625 h 212725"/>
                  <a:gd name="connsiteX48" fmla="*/ 796925 w 876300"/>
                  <a:gd name="connsiteY48" fmla="*/ 177800 h 212725"/>
                  <a:gd name="connsiteX49" fmla="*/ 815658 w 876300"/>
                  <a:gd name="connsiteY49" fmla="*/ 145733 h 212725"/>
                  <a:gd name="connsiteX50" fmla="*/ 818515 w 876300"/>
                  <a:gd name="connsiteY50" fmla="*/ 131445 h 212725"/>
                  <a:gd name="connsiteX51" fmla="*/ 808038 w 876300"/>
                  <a:gd name="connsiteY51" fmla="*/ 120333 h 212725"/>
                  <a:gd name="connsiteX52" fmla="*/ 798513 w 876300"/>
                  <a:gd name="connsiteY52" fmla="*/ 116205 h 212725"/>
                  <a:gd name="connsiteX53" fmla="*/ 777558 w 876300"/>
                  <a:gd name="connsiteY53" fmla="*/ 82868 h 212725"/>
                  <a:gd name="connsiteX54" fmla="*/ 748665 w 876300"/>
                  <a:gd name="connsiteY54" fmla="*/ 118110 h 212725"/>
                  <a:gd name="connsiteX55" fmla="*/ 742950 w 876300"/>
                  <a:gd name="connsiteY55" fmla="*/ 125413 h 212725"/>
                  <a:gd name="connsiteX56" fmla="*/ 738188 w 876300"/>
                  <a:gd name="connsiteY56" fmla="*/ 132398 h 212725"/>
                  <a:gd name="connsiteX57" fmla="*/ 740092 w 876300"/>
                  <a:gd name="connsiteY57" fmla="*/ 124460 h 212725"/>
                  <a:gd name="connsiteX58" fmla="*/ 741998 w 876300"/>
                  <a:gd name="connsiteY58" fmla="*/ 114935 h 212725"/>
                  <a:gd name="connsiteX59" fmla="*/ 748665 w 876300"/>
                  <a:gd name="connsiteY59" fmla="*/ 69215 h 212725"/>
                  <a:gd name="connsiteX60" fmla="*/ 740092 w 876300"/>
                  <a:gd name="connsiteY60" fmla="*/ 65088 h 212725"/>
                  <a:gd name="connsiteX61" fmla="*/ 709930 w 876300"/>
                  <a:gd name="connsiteY61" fmla="*/ 99378 h 212725"/>
                  <a:gd name="connsiteX62" fmla="*/ 703898 w 876300"/>
                  <a:gd name="connsiteY62" fmla="*/ 106680 h 212725"/>
                  <a:gd name="connsiteX63" fmla="*/ 698817 w 876300"/>
                  <a:gd name="connsiteY63" fmla="*/ 113983 h 212725"/>
                  <a:gd name="connsiteX64" fmla="*/ 701040 w 876300"/>
                  <a:gd name="connsiteY64" fmla="*/ 106045 h 212725"/>
                  <a:gd name="connsiteX65" fmla="*/ 702945 w 876300"/>
                  <a:gd name="connsiteY65" fmla="*/ 96838 h 212725"/>
                  <a:gd name="connsiteX66" fmla="*/ 711517 w 876300"/>
                  <a:gd name="connsiteY66" fmla="*/ 52070 h 212725"/>
                  <a:gd name="connsiteX67" fmla="*/ 702945 w 876300"/>
                  <a:gd name="connsiteY67" fmla="*/ 47943 h 212725"/>
                  <a:gd name="connsiteX68" fmla="*/ 689610 w 876300"/>
                  <a:gd name="connsiteY68" fmla="*/ 121920 h 212725"/>
                  <a:gd name="connsiteX69" fmla="*/ 697865 w 876300"/>
                  <a:gd name="connsiteY69" fmla="*/ 125730 h 212725"/>
                  <a:gd name="connsiteX70" fmla="*/ 730250 w 876300"/>
                  <a:gd name="connsiteY70" fmla="*/ 88583 h 212725"/>
                  <a:gd name="connsiteX71" fmla="*/ 736283 w 876300"/>
                  <a:gd name="connsiteY71" fmla="*/ 81280 h 212725"/>
                  <a:gd name="connsiteX72" fmla="*/ 739775 w 876300"/>
                  <a:gd name="connsiteY72" fmla="*/ 76518 h 212725"/>
                  <a:gd name="connsiteX73" fmla="*/ 739140 w 876300"/>
                  <a:gd name="connsiteY73" fmla="*/ 79693 h 212725"/>
                  <a:gd name="connsiteX74" fmla="*/ 738188 w 876300"/>
                  <a:gd name="connsiteY74" fmla="*/ 85090 h 212725"/>
                  <a:gd name="connsiteX75" fmla="*/ 737235 w 876300"/>
                  <a:gd name="connsiteY75" fmla="*/ 91123 h 212725"/>
                  <a:gd name="connsiteX76" fmla="*/ 729933 w 876300"/>
                  <a:gd name="connsiteY76" fmla="*/ 140335 h 212725"/>
                  <a:gd name="connsiteX77" fmla="*/ 738188 w 876300"/>
                  <a:gd name="connsiteY77" fmla="*/ 144145 h 212725"/>
                  <a:gd name="connsiteX78" fmla="*/ 786448 w 876300"/>
                  <a:gd name="connsiteY78" fmla="*/ 86678 h 212725"/>
                  <a:gd name="connsiteX79" fmla="*/ 777558 w 876300"/>
                  <a:gd name="connsiteY79" fmla="*/ 82868 h 212725"/>
                  <a:gd name="connsiteX80" fmla="*/ 621348 w 876300"/>
                  <a:gd name="connsiteY80" fmla="*/ 19368 h 212725"/>
                  <a:gd name="connsiteX81" fmla="*/ 601028 w 876300"/>
                  <a:gd name="connsiteY81" fmla="*/ 93980 h 212725"/>
                  <a:gd name="connsiteX82" fmla="*/ 609600 w 876300"/>
                  <a:gd name="connsiteY82" fmla="*/ 96203 h 212725"/>
                  <a:gd name="connsiteX83" fmla="*/ 614680 w 876300"/>
                  <a:gd name="connsiteY83" fmla="*/ 76835 h 212725"/>
                  <a:gd name="connsiteX84" fmla="*/ 621983 w 876300"/>
                  <a:gd name="connsiteY84" fmla="*/ 73343 h 212725"/>
                  <a:gd name="connsiteX85" fmla="*/ 633730 w 876300"/>
                  <a:gd name="connsiteY85" fmla="*/ 102870 h 212725"/>
                  <a:gd name="connsiteX86" fmla="*/ 644208 w 876300"/>
                  <a:gd name="connsiteY86" fmla="*/ 105728 h 212725"/>
                  <a:gd name="connsiteX87" fmla="*/ 629603 w 876300"/>
                  <a:gd name="connsiteY87" fmla="*/ 69533 h 212725"/>
                  <a:gd name="connsiteX88" fmla="*/ 656908 w 876300"/>
                  <a:gd name="connsiteY88" fmla="*/ 52705 h 212725"/>
                  <a:gd name="connsiteX89" fmla="*/ 646748 w 876300"/>
                  <a:gd name="connsiteY89" fmla="*/ 49848 h 212725"/>
                  <a:gd name="connsiteX90" fmla="*/ 625158 w 876300"/>
                  <a:gd name="connsiteY90" fmla="*/ 63183 h 212725"/>
                  <a:gd name="connsiteX91" fmla="*/ 622300 w 876300"/>
                  <a:gd name="connsiteY91" fmla="*/ 65088 h 212725"/>
                  <a:gd name="connsiteX92" fmla="*/ 619125 w 876300"/>
                  <a:gd name="connsiteY92" fmla="*/ 67310 h 212725"/>
                  <a:gd name="connsiteX93" fmla="*/ 616903 w 876300"/>
                  <a:gd name="connsiteY93" fmla="*/ 69215 h 212725"/>
                  <a:gd name="connsiteX94" fmla="*/ 616585 w 876300"/>
                  <a:gd name="connsiteY94" fmla="*/ 69215 h 212725"/>
                  <a:gd name="connsiteX95" fmla="*/ 618173 w 876300"/>
                  <a:gd name="connsiteY95" fmla="*/ 64770 h 212725"/>
                  <a:gd name="connsiteX96" fmla="*/ 619442 w 876300"/>
                  <a:gd name="connsiteY96" fmla="*/ 60643 h 212725"/>
                  <a:gd name="connsiteX97" fmla="*/ 629920 w 876300"/>
                  <a:gd name="connsiteY97" fmla="*/ 21590 h 212725"/>
                  <a:gd name="connsiteX98" fmla="*/ 621348 w 876300"/>
                  <a:gd name="connsiteY98" fmla="*/ 19368 h 212725"/>
                  <a:gd name="connsiteX99" fmla="*/ 590867 w 876300"/>
                  <a:gd name="connsiteY99" fmla="*/ 68580 h 212725"/>
                  <a:gd name="connsiteX100" fmla="*/ 586423 w 876300"/>
                  <a:gd name="connsiteY100" fmla="*/ 62548 h 212725"/>
                  <a:gd name="connsiteX101" fmla="*/ 578485 w 876300"/>
                  <a:gd name="connsiteY101" fmla="*/ 57150 h 212725"/>
                  <a:gd name="connsiteX102" fmla="*/ 570865 w 876300"/>
                  <a:gd name="connsiteY102" fmla="*/ 52070 h 212725"/>
                  <a:gd name="connsiteX103" fmla="*/ 567055 w 876300"/>
                  <a:gd name="connsiteY103" fmla="*/ 48260 h 212725"/>
                  <a:gd name="connsiteX104" fmla="*/ 566420 w 876300"/>
                  <a:gd name="connsiteY104" fmla="*/ 44133 h 212725"/>
                  <a:gd name="connsiteX105" fmla="*/ 570230 w 876300"/>
                  <a:gd name="connsiteY105" fmla="*/ 40005 h 212725"/>
                  <a:gd name="connsiteX106" fmla="*/ 578803 w 876300"/>
                  <a:gd name="connsiteY106" fmla="*/ 39688 h 212725"/>
                  <a:gd name="connsiteX107" fmla="*/ 586105 w 876300"/>
                  <a:gd name="connsiteY107" fmla="*/ 42228 h 212725"/>
                  <a:gd name="connsiteX108" fmla="*/ 592773 w 876300"/>
                  <a:gd name="connsiteY108" fmla="*/ 46038 h 212725"/>
                  <a:gd name="connsiteX109" fmla="*/ 597217 w 876300"/>
                  <a:gd name="connsiteY109" fmla="*/ 39688 h 212725"/>
                  <a:gd name="connsiteX110" fmla="*/ 589915 w 876300"/>
                  <a:gd name="connsiteY110" fmla="*/ 35560 h 212725"/>
                  <a:gd name="connsiteX111" fmla="*/ 581025 w 876300"/>
                  <a:gd name="connsiteY111" fmla="*/ 32703 h 212725"/>
                  <a:gd name="connsiteX112" fmla="*/ 565785 w 876300"/>
                  <a:gd name="connsiteY112" fmla="*/ 33655 h 212725"/>
                  <a:gd name="connsiteX113" fmla="*/ 558165 w 876300"/>
                  <a:gd name="connsiteY113" fmla="*/ 43180 h 212725"/>
                  <a:gd name="connsiteX114" fmla="*/ 558800 w 876300"/>
                  <a:gd name="connsiteY114" fmla="*/ 50800 h 212725"/>
                  <a:gd name="connsiteX115" fmla="*/ 563563 w 876300"/>
                  <a:gd name="connsiteY115" fmla="*/ 56833 h 212725"/>
                  <a:gd name="connsiteX116" fmla="*/ 571817 w 876300"/>
                  <a:gd name="connsiteY116" fmla="*/ 62548 h 212725"/>
                  <a:gd name="connsiteX117" fmla="*/ 579120 w 876300"/>
                  <a:gd name="connsiteY117" fmla="*/ 67628 h 212725"/>
                  <a:gd name="connsiteX118" fmla="*/ 582613 w 876300"/>
                  <a:gd name="connsiteY118" fmla="*/ 71438 h 212725"/>
                  <a:gd name="connsiteX119" fmla="*/ 582930 w 876300"/>
                  <a:gd name="connsiteY119" fmla="*/ 75248 h 212725"/>
                  <a:gd name="connsiteX120" fmla="*/ 578803 w 876300"/>
                  <a:gd name="connsiteY120" fmla="*/ 80328 h 212725"/>
                  <a:gd name="connsiteX121" fmla="*/ 568642 w 876300"/>
                  <a:gd name="connsiteY121" fmla="*/ 80645 h 212725"/>
                  <a:gd name="connsiteX122" fmla="*/ 559753 w 876300"/>
                  <a:gd name="connsiteY122" fmla="*/ 77470 h 212725"/>
                  <a:gd name="connsiteX123" fmla="*/ 552450 w 876300"/>
                  <a:gd name="connsiteY123" fmla="*/ 73025 h 212725"/>
                  <a:gd name="connsiteX124" fmla="*/ 550863 w 876300"/>
                  <a:gd name="connsiteY124" fmla="*/ 80963 h 212725"/>
                  <a:gd name="connsiteX125" fmla="*/ 557530 w 876300"/>
                  <a:gd name="connsiteY125" fmla="*/ 84773 h 212725"/>
                  <a:gd name="connsiteX126" fmla="*/ 567055 w 876300"/>
                  <a:gd name="connsiteY126" fmla="*/ 87630 h 212725"/>
                  <a:gd name="connsiteX127" fmla="*/ 583248 w 876300"/>
                  <a:gd name="connsiteY127" fmla="*/ 86678 h 212725"/>
                  <a:gd name="connsiteX128" fmla="*/ 591185 w 876300"/>
                  <a:gd name="connsiteY128" fmla="*/ 75883 h 212725"/>
                  <a:gd name="connsiteX129" fmla="*/ 590867 w 876300"/>
                  <a:gd name="connsiteY129" fmla="*/ 68580 h 212725"/>
                  <a:gd name="connsiteX130" fmla="*/ 535305 w 876300"/>
                  <a:gd name="connsiteY130" fmla="*/ 26353 h 212725"/>
                  <a:gd name="connsiteX131" fmla="*/ 527685 w 876300"/>
                  <a:gd name="connsiteY131" fmla="*/ 80328 h 212725"/>
                  <a:gd name="connsiteX132" fmla="*/ 536575 w 876300"/>
                  <a:gd name="connsiteY132" fmla="*/ 81598 h 212725"/>
                  <a:gd name="connsiteX133" fmla="*/ 544195 w 876300"/>
                  <a:gd name="connsiteY133" fmla="*/ 27623 h 212725"/>
                  <a:gd name="connsiteX134" fmla="*/ 535305 w 876300"/>
                  <a:gd name="connsiteY134" fmla="*/ 26353 h 212725"/>
                  <a:gd name="connsiteX135" fmla="*/ 538798 w 876300"/>
                  <a:gd name="connsiteY135" fmla="*/ 7620 h 212725"/>
                  <a:gd name="connsiteX136" fmla="*/ 536575 w 876300"/>
                  <a:gd name="connsiteY136" fmla="*/ 11748 h 212725"/>
                  <a:gd name="connsiteX137" fmla="*/ 537528 w 876300"/>
                  <a:gd name="connsiteY137" fmla="*/ 16193 h 212725"/>
                  <a:gd name="connsiteX138" fmla="*/ 541020 w 876300"/>
                  <a:gd name="connsiteY138" fmla="*/ 18098 h 212725"/>
                  <a:gd name="connsiteX139" fmla="*/ 544830 w 876300"/>
                  <a:gd name="connsiteY139" fmla="*/ 17145 h 212725"/>
                  <a:gd name="connsiteX140" fmla="*/ 547053 w 876300"/>
                  <a:gd name="connsiteY140" fmla="*/ 13018 h 212725"/>
                  <a:gd name="connsiteX141" fmla="*/ 546100 w 876300"/>
                  <a:gd name="connsiteY141" fmla="*/ 8573 h 212725"/>
                  <a:gd name="connsiteX142" fmla="*/ 542608 w 876300"/>
                  <a:gd name="connsiteY142" fmla="*/ 6668 h 212725"/>
                  <a:gd name="connsiteX143" fmla="*/ 538798 w 876300"/>
                  <a:gd name="connsiteY143" fmla="*/ 7620 h 212725"/>
                  <a:gd name="connsiteX144" fmla="*/ 475933 w 876300"/>
                  <a:gd name="connsiteY144" fmla="*/ 63818 h 212725"/>
                  <a:gd name="connsiteX145" fmla="*/ 473392 w 876300"/>
                  <a:gd name="connsiteY145" fmla="*/ 48578 h 212725"/>
                  <a:gd name="connsiteX146" fmla="*/ 477838 w 876300"/>
                  <a:gd name="connsiteY146" fmla="*/ 33338 h 212725"/>
                  <a:gd name="connsiteX147" fmla="*/ 488950 w 876300"/>
                  <a:gd name="connsiteY147" fmla="*/ 28258 h 212725"/>
                  <a:gd name="connsiteX148" fmla="*/ 501015 w 876300"/>
                  <a:gd name="connsiteY148" fmla="*/ 34608 h 212725"/>
                  <a:gd name="connsiteX149" fmla="*/ 503238 w 876300"/>
                  <a:gd name="connsiteY149" fmla="*/ 50483 h 212725"/>
                  <a:gd name="connsiteX150" fmla="*/ 503238 w 876300"/>
                  <a:gd name="connsiteY150" fmla="*/ 52070 h 212725"/>
                  <a:gd name="connsiteX151" fmla="*/ 498792 w 876300"/>
                  <a:gd name="connsiteY151" fmla="*/ 66040 h 212725"/>
                  <a:gd name="connsiteX152" fmla="*/ 486410 w 876300"/>
                  <a:gd name="connsiteY152" fmla="*/ 69850 h 212725"/>
                  <a:gd name="connsiteX153" fmla="*/ 475933 w 876300"/>
                  <a:gd name="connsiteY153" fmla="*/ 63818 h 212725"/>
                  <a:gd name="connsiteX154" fmla="*/ 495300 w 876300"/>
                  <a:gd name="connsiteY154" fmla="*/ 75565 h 212725"/>
                  <a:gd name="connsiteX155" fmla="*/ 502285 w 876300"/>
                  <a:gd name="connsiteY155" fmla="*/ 70168 h 212725"/>
                  <a:gd name="connsiteX156" fmla="*/ 502603 w 876300"/>
                  <a:gd name="connsiteY156" fmla="*/ 70168 h 212725"/>
                  <a:gd name="connsiteX157" fmla="*/ 503555 w 876300"/>
                  <a:gd name="connsiteY157" fmla="*/ 77470 h 212725"/>
                  <a:gd name="connsiteX158" fmla="*/ 510858 w 876300"/>
                  <a:gd name="connsiteY158" fmla="*/ 77788 h 212725"/>
                  <a:gd name="connsiteX159" fmla="*/ 515620 w 876300"/>
                  <a:gd name="connsiteY159" fmla="*/ 635 h 212725"/>
                  <a:gd name="connsiteX160" fmla="*/ 506730 w 876300"/>
                  <a:gd name="connsiteY160" fmla="*/ 0 h 212725"/>
                  <a:gd name="connsiteX161" fmla="*/ 505460 w 876300"/>
                  <a:gd name="connsiteY161" fmla="*/ 21590 h 212725"/>
                  <a:gd name="connsiteX162" fmla="*/ 505460 w 876300"/>
                  <a:gd name="connsiteY162" fmla="*/ 25718 h 212725"/>
                  <a:gd name="connsiteX163" fmla="*/ 505778 w 876300"/>
                  <a:gd name="connsiteY163" fmla="*/ 29528 h 212725"/>
                  <a:gd name="connsiteX164" fmla="*/ 505142 w 876300"/>
                  <a:gd name="connsiteY164" fmla="*/ 29528 h 212725"/>
                  <a:gd name="connsiteX165" fmla="*/ 499110 w 876300"/>
                  <a:gd name="connsiteY165" fmla="*/ 23495 h 212725"/>
                  <a:gd name="connsiteX166" fmla="*/ 488950 w 876300"/>
                  <a:gd name="connsiteY166" fmla="*/ 20638 h 212725"/>
                  <a:gd name="connsiteX167" fmla="*/ 472123 w 876300"/>
                  <a:gd name="connsiteY167" fmla="*/ 26670 h 212725"/>
                  <a:gd name="connsiteX168" fmla="*/ 464503 w 876300"/>
                  <a:gd name="connsiteY168" fmla="*/ 47308 h 212725"/>
                  <a:gd name="connsiteX169" fmla="*/ 469265 w 876300"/>
                  <a:gd name="connsiteY169" fmla="*/ 68580 h 212725"/>
                  <a:gd name="connsiteX170" fmla="*/ 485140 w 876300"/>
                  <a:gd name="connsiteY170" fmla="*/ 76518 h 212725"/>
                  <a:gd name="connsiteX171" fmla="*/ 495300 w 876300"/>
                  <a:gd name="connsiteY171" fmla="*/ 75565 h 212725"/>
                  <a:gd name="connsiteX172" fmla="*/ 440373 w 876300"/>
                  <a:gd name="connsiteY172" fmla="*/ 22860 h 212725"/>
                  <a:gd name="connsiteX173" fmla="*/ 433705 w 876300"/>
                  <a:gd name="connsiteY173" fmla="*/ 30798 h 212725"/>
                  <a:gd name="connsiteX174" fmla="*/ 433388 w 876300"/>
                  <a:gd name="connsiteY174" fmla="*/ 30798 h 212725"/>
                  <a:gd name="connsiteX175" fmla="*/ 432117 w 876300"/>
                  <a:gd name="connsiteY175" fmla="*/ 20955 h 212725"/>
                  <a:gd name="connsiteX176" fmla="*/ 424815 w 876300"/>
                  <a:gd name="connsiteY176" fmla="*/ 20955 h 212725"/>
                  <a:gd name="connsiteX177" fmla="*/ 425450 w 876300"/>
                  <a:gd name="connsiteY177" fmla="*/ 75565 h 212725"/>
                  <a:gd name="connsiteX178" fmla="*/ 434340 w 876300"/>
                  <a:gd name="connsiteY178" fmla="*/ 75565 h 212725"/>
                  <a:gd name="connsiteX179" fmla="*/ 434023 w 876300"/>
                  <a:gd name="connsiteY179" fmla="*/ 46355 h 212725"/>
                  <a:gd name="connsiteX180" fmla="*/ 435928 w 876300"/>
                  <a:gd name="connsiteY180" fmla="*/ 36830 h 212725"/>
                  <a:gd name="connsiteX181" fmla="*/ 441642 w 876300"/>
                  <a:gd name="connsiteY181" fmla="*/ 30480 h 212725"/>
                  <a:gd name="connsiteX182" fmla="*/ 449580 w 876300"/>
                  <a:gd name="connsiteY182" fmla="*/ 27940 h 212725"/>
                  <a:gd name="connsiteX183" fmla="*/ 452438 w 876300"/>
                  <a:gd name="connsiteY183" fmla="*/ 28258 h 212725"/>
                  <a:gd name="connsiteX184" fmla="*/ 455295 w 876300"/>
                  <a:gd name="connsiteY184" fmla="*/ 28575 h 212725"/>
                  <a:gd name="connsiteX185" fmla="*/ 456248 w 876300"/>
                  <a:gd name="connsiteY185" fmla="*/ 20320 h 212725"/>
                  <a:gd name="connsiteX186" fmla="*/ 453073 w 876300"/>
                  <a:gd name="connsiteY186" fmla="*/ 20003 h 212725"/>
                  <a:gd name="connsiteX187" fmla="*/ 449898 w 876300"/>
                  <a:gd name="connsiteY187" fmla="*/ 20003 h 212725"/>
                  <a:gd name="connsiteX188" fmla="*/ 440373 w 876300"/>
                  <a:gd name="connsiteY188" fmla="*/ 22860 h 212725"/>
                  <a:gd name="connsiteX189" fmla="*/ 370523 w 876300"/>
                  <a:gd name="connsiteY189" fmla="*/ 36195 h 212725"/>
                  <a:gd name="connsiteX190" fmla="*/ 381953 w 876300"/>
                  <a:gd name="connsiteY190" fmla="*/ 29528 h 212725"/>
                  <a:gd name="connsiteX191" fmla="*/ 394653 w 876300"/>
                  <a:gd name="connsiteY191" fmla="*/ 33973 h 212725"/>
                  <a:gd name="connsiteX192" fmla="*/ 399733 w 876300"/>
                  <a:gd name="connsiteY192" fmla="*/ 48578 h 212725"/>
                  <a:gd name="connsiteX193" fmla="*/ 397192 w 876300"/>
                  <a:gd name="connsiteY193" fmla="*/ 64135 h 212725"/>
                  <a:gd name="connsiteX194" fmla="*/ 385763 w 876300"/>
                  <a:gd name="connsiteY194" fmla="*/ 70803 h 212725"/>
                  <a:gd name="connsiteX195" fmla="*/ 373063 w 876300"/>
                  <a:gd name="connsiteY195" fmla="*/ 66358 h 212725"/>
                  <a:gd name="connsiteX196" fmla="*/ 367983 w 876300"/>
                  <a:gd name="connsiteY196" fmla="*/ 51435 h 212725"/>
                  <a:gd name="connsiteX197" fmla="*/ 370523 w 876300"/>
                  <a:gd name="connsiteY197" fmla="*/ 36195 h 212725"/>
                  <a:gd name="connsiteX198" fmla="*/ 404495 w 876300"/>
                  <a:gd name="connsiteY198" fmla="*/ 33020 h 212725"/>
                  <a:gd name="connsiteX199" fmla="*/ 394653 w 876300"/>
                  <a:gd name="connsiteY199" fmla="*/ 24448 h 212725"/>
                  <a:gd name="connsiteX200" fmla="*/ 381317 w 876300"/>
                  <a:gd name="connsiteY200" fmla="*/ 22225 h 212725"/>
                  <a:gd name="connsiteX201" fmla="*/ 363538 w 876300"/>
                  <a:gd name="connsiteY201" fmla="*/ 31115 h 212725"/>
                  <a:gd name="connsiteX202" fmla="*/ 358775 w 876300"/>
                  <a:gd name="connsiteY202" fmla="*/ 52388 h 212725"/>
                  <a:gd name="connsiteX203" fmla="*/ 363220 w 876300"/>
                  <a:gd name="connsiteY203" fmla="*/ 67310 h 212725"/>
                  <a:gd name="connsiteX204" fmla="*/ 373063 w 876300"/>
                  <a:gd name="connsiteY204" fmla="*/ 76200 h 212725"/>
                  <a:gd name="connsiteX205" fmla="*/ 386080 w 876300"/>
                  <a:gd name="connsiteY205" fmla="*/ 78423 h 212725"/>
                  <a:gd name="connsiteX206" fmla="*/ 403860 w 876300"/>
                  <a:gd name="connsiteY206" fmla="*/ 69533 h 212725"/>
                  <a:gd name="connsiteX207" fmla="*/ 408940 w 876300"/>
                  <a:gd name="connsiteY207" fmla="*/ 47943 h 212725"/>
                  <a:gd name="connsiteX208" fmla="*/ 404495 w 876300"/>
                  <a:gd name="connsiteY208" fmla="*/ 33020 h 212725"/>
                  <a:gd name="connsiteX209" fmla="*/ 332105 w 876300"/>
                  <a:gd name="connsiteY209" fmla="*/ 10478 h 212725"/>
                  <a:gd name="connsiteX210" fmla="*/ 323850 w 876300"/>
                  <a:gd name="connsiteY210" fmla="*/ 12065 h 212725"/>
                  <a:gd name="connsiteX211" fmla="*/ 331470 w 876300"/>
                  <a:gd name="connsiteY211" fmla="*/ 52388 h 212725"/>
                  <a:gd name="connsiteX212" fmla="*/ 333058 w 876300"/>
                  <a:gd name="connsiteY212" fmla="*/ 59373 h 212725"/>
                  <a:gd name="connsiteX213" fmla="*/ 334645 w 876300"/>
                  <a:gd name="connsiteY213" fmla="*/ 66358 h 212725"/>
                  <a:gd name="connsiteX214" fmla="*/ 335915 w 876300"/>
                  <a:gd name="connsiteY214" fmla="*/ 71120 h 212725"/>
                  <a:gd name="connsiteX215" fmla="*/ 335598 w 876300"/>
                  <a:gd name="connsiteY215" fmla="*/ 71120 h 212725"/>
                  <a:gd name="connsiteX216" fmla="*/ 286385 w 876300"/>
                  <a:gd name="connsiteY216" fmla="*/ 19368 h 212725"/>
                  <a:gd name="connsiteX217" fmla="*/ 275908 w 876300"/>
                  <a:gd name="connsiteY217" fmla="*/ 21273 h 212725"/>
                  <a:gd name="connsiteX218" fmla="*/ 289560 w 876300"/>
                  <a:gd name="connsiteY218" fmla="*/ 92393 h 212725"/>
                  <a:gd name="connsiteX219" fmla="*/ 297815 w 876300"/>
                  <a:gd name="connsiteY219" fmla="*/ 90805 h 212725"/>
                  <a:gd name="connsiteX220" fmla="*/ 290195 w 876300"/>
                  <a:gd name="connsiteY220" fmla="*/ 51118 h 212725"/>
                  <a:gd name="connsiteX221" fmla="*/ 287973 w 876300"/>
                  <a:gd name="connsiteY221" fmla="*/ 40640 h 212725"/>
                  <a:gd name="connsiteX222" fmla="*/ 285750 w 876300"/>
                  <a:gd name="connsiteY222" fmla="*/ 32068 h 212725"/>
                  <a:gd name="connsiteX223" fmla="*/ 286067 w 876300"/>
                  <a:gd name="connsiteY223" fmla="*/ 32068 h 212725"/>
                  <a:gd name="connsiteX224" fmla="*/ 335598 w 876300"/>
                  <a:gd name="connsiteY224" fmla="*/ 83820 h 212725"/>
                  <a:gd name="connsiteX225" fmla="*/ 346075 w 876300"/>
                  <a:gd name="connsiteY225" fmla="*/ 81915 h 212725"/>
                  <a:gd name="connsiteX226" fmla="*/ 332105 w 876300"/>
                  <a:gd name="connsiteY226" fmla="*/ 10478 h 212725"/>
                  <a:gd name="connsiteX227" fmla="*/ 199708 w 876300"/>
                  <a:gd name="connsiteY227" fmla="*/ 76518 h 212725"/>
                  <a:gd name="connsiteX228" fmla="*/ 209233 w 876300"/>
                  <a:gd name="connsiteY228" fmla="*/ 67310 h 212725"/>
                  <a:gd name="connsiteX229" fmla="*/ 222567 w 876300"/>
                  <a:gd name="connsiteY229" fmla="*/ 68580 h 212725"/>
                  <a:gd name="connsiteX230" fmla="*/ 231140 w 876300"/>
                  <a:gd name="connsiteY230" fmla="*/ 81598 h 212725"/>
                  <a:gd name="connsiteX231" fmla="*/ 232728 w 876300"/>
                  <a:gd name="connsiteY231" fmla="*/ 97155 h 212725"/>
                  <a:gd name="connsiteX232" fmla="*/ 223203 w 876300"/>
                  <a:gd name="connsiteY232" fmla="*/ 106363 h 212725"/>
                  <a:gd name="connsiteX233" fmla="*/ 209867 w 876300"/>
                  <a:gd name="connsiteY233" fmla="*/ 105093 h 212725"/>
                  <a:gd name="connsiteX234" fmla="*/ 201295 w 876300"/>
                  <a:gd name="connsiteY234" fmla="*/ 92075 h 212725"/>
                  <a:gd name="connsiteX235" fmla="*/ 199708 w 876300"/>
                  <a:gd name="connsiteY235" fmla="*/ 76518 h 212725"/>
                  <a:gd name="connsiteX236" fmla="*/ 232092 w 876300"/>
                  <a:gd name="connsiteY236" fmla="*/ 65088 h 212725"/>
                  <a:gd name="connsiteX237" fmla="*/ 220663 w 876300"/>
                  <a:gd name="connsiteY237" fmla="*/ 59055 h 212725"/>
                  <a:gd name="connsiteX238" fmla="*/ 207328 w 876300"/>
                  <a:gd name="connsiteY238" fmla="*/ 60325 h 212725"/>
                  <a:gd name="connsiteX239" fmla="*/ 192405 w 876300"/>
                  <a:gd name="connsiteY239" fmla="*/ 73343 h 212725"/>
                  <a:gd name="connsiteX240" fmla="*/ 193040 w 876300"/>
                  <a:gd name="connsiteY240" fmla="*/ 95250 h 212725"/>
                  <a:gd name="connsiteX241" fmla="*/ 201295 w 876300"/>
                  <a:gd name="connsiteY241" fmla="*/ 108585 h 212725"/>
                  <a:gd name="connsiteX242" fmla="*/ 213042 w 876300"/>
                  <a:gd name="connsiteY242" fmla="*/ 114618 h 212725"/>
                  <a:gd name="connsiteX243" fmla="*/ 226378 w 876300"/>
                  <a:gd name="connsiteY243" fmla="*/ 113348 h 212725"/>
                  <a:gd name="connsiteX244" fmla="*/ 241300 w 876300"/>
                  <a:gd name="connsiteY244" fmla="*/ 100330 h 212725"/>
                  <a:gd name="connsiteX245" fmla="*/ 240665 w 876300"/>
                  <a:gd name="connsiteY245" fmla="*/ 78423 h 212725"/>
                  <a:gd name="connsiteX246" fmla="*/ 232092 w 876300"/>
                  <a:gd name="connsiteY246" fmla="*/ 65088 h 212725"/>
                  <a:gd name="connsiteX247" fmla="*/ 177483 w 876300"/>
                  <a:gd name="connsiteY247" fmla="*/ 131763 h 212725"/>
                  <a:gd name="connsiteX248" fmla="*/ 173355 w 876300"/>
                  <a:gd name="connsiteY248" fmla="*/ 73660 h 212725"/>
                  <a:gd name="connsiteX249" fmla="*/ 164783 w 876300"/>
                  <a:gd name="connsiteY249" fmla="*/ 77788 h 212725"/>
                  <a:gd name="connsiteX250" fmla="*/ 167958 w 876300"/>
                  <a:gd name="connsiteY250" fmla="*/ 111760 h 212725"/>
                  <a:gd name="connsiteX251" fmla="*/ 168592 w 876300"/>
                  <a:gd name="connsiteY251" fmla="*/ 116840 h 212725"/>
                  <a:gd name="connsiteX252" fmla="*/ 169228 w 876300"/>
                  <a:gd name="connsiteY252" fmla="*/ 122238 h 212725"/>
                  <a:gd name="connsiteX253" fmla="*/ 169863 w 876300"/>
                  <a:gd name="connsiteY253" fmla="*/ 126683 h 212725"/>
                  <a:gd name="connsiteX254" fmla="*/ 169545 w 876300"/>
                  <a:gd name="connsiteY254" fmla="*/ 127000 h 212725"/>
                  <a:gd name="connsiteX255" fmla="*/ 167005 w 876300"/>
                  <a:gd name="connsiteY255" fmla="*/ 123508 h 212725"/>
                  <a:gd name="connsiteX256" fmla="*/ 163195 w 876300"/>
                  <a:gd name="connsiteY256" fmla="*/ 119380 h 212725"/>
                  <a:gd name="connsiteX257" fmla="*/ 159385 w 876300"/>
                  <a:gd name="connsiteY257" fmla="*/ 115570 h 212725"/>
                  <a:gd name="connsiteX258" fmla="*/ 135255 w 876300"/>
                  <a:gd name="connsiteY258" fmla="*/ 91440 h 212725"/>
                  <a:gd name="connsiteX259" fmla="*/ 126683 w 876300"/>
                  <a:gd name="connsiteY259" fmla="*/ 95568 h 212725"/>
                  <a:gd name="connsiteX260" fmla="*/ 168275 w 876300"/>
                  <a:gd name="connsiteY260" fmla="*/ 136208 h 212725"/>
                  <a:gd name="connsiteX261" fmla="*/ 177483 w 876300"/>
                  <a:gd name="connsiteY261" fmla="*/ 131763 h 212725"/>
                  <a:gd name="connsiteX262" fmla="*/ 93028 w 876300"/>
                  <a:gd name="connsiteY262" fmla="*/ 127318 h 212725"/>
                  <a:gd name="connsiteX263" fmla="*/ 100965 w 876300"/>
                  <a:gd name="connsiteY263" fmla="*/ 116523 h 212725"/>
                  <a:gd name="connsiteX264" fmla="*/ 114300 w 876300"/>
                  <a:gd name="connsiteY264" fmla="*/ 115253 h 212725"/>
                  <a:gd name="connsiteX265" fmla="*/ 125095 w 876300"/>
                  <a:gd name="connsiteY265" fmla="*/ 126683 h 212725"/>
                  <a:gd name="connsiteX266" fmla="*/ 129223 w 876300"/>
                  <a:gd name="connsiteY266" fmla="*/ 141923 h 212725"/>
                  <a:gd name="connsiteX267" fmla="*/ 121285 w 876300"/>
                  <a:gd name="connsiteY267" fmla="*/ 152718 h 212725"/>
                  <a:gd name="connsiteX268" fmla="*/ 107950 w 876300"/>
                  <a:gd name="connsiteY268" fmla="*/ 153670 h 212725"/>
                  <a:gd name="connsiteX269" fmla="*/ 97155 w 876300"/>
                  <a:gd name="connsiteY269" fmla="*/ 142240 h 212725"/>
                  <a:gd name="connsiteX270" fmla="*/ 93028 w 876300"/>
                  <a:gd name="connsiteY270" fmla="*/ 127318 h 212725"/>
                  <a:gd name="connsiteX271" fmla="*/ 122873 w 876300"/>
                  <a:gd name="connsiteY271" fmla="*/ 110490 h 212725"/>
                  <a:gd name="connsiteX272" fmla="*/ 110490 w 876300"/>
                  <a:gd name="connsiteY272" fmla="*/ 106363 h 212725"/>
                  <a:gd name="connsiteX273" fmla="*/ 97473 w 876300"/>
                  <a:gd name="connsiteY273" fmla="*/ 109855 h 212725"/>
                  <a:gd name="connsiteX274" fmla="*/ 84773 w 876300"/>
                  <a:gd name="connsiteY274" fmla="*/ 125413 h 212725"/>
                  <a:gd name="connsiteX275" fmla="*/ 88900 w 876300"/>
                  <a:gd name="connsiteY275" fmla="*/ 147003 h 212725"/>
                  <a:gd name="connsiteX276" fmla="*/ 99378 w 876300"/>
                  <a:gd name="connsiteY276" fmla="*/ 158750 h 212725"/>
                  <a:gd name="connsiteX277" fmla="*/ 111760 w 876300"/>
                  <a:gd name="connsiteY277" fmla="*/ 162878 h 212725"/>
                  <a:gd name="connsiteX278" fmla="*/ 124460 w 876300"/>
                  <a:gd name="connsiteY278" fmla="*/ 159385 h 212725"/>
                  <a:gd name="connsiteX279" fmla="*/ 137160 w 876300"/>
                  <a:gd name="connsiteY279" fmla="*/ 143828 h 212725"/>
                  <a:gd name="connsiteX280" fmla="*/ 133033 w 876300"/>
                  <a:gd name="connsiteY280" fmla="*/ 122238 h 212725"/>
                  <a:gd name="connsiteX281" fmla="*/ 122873 w 876300"/>
                  <a:gd name="connsiteY281" fmla="*/ 110490 h 212725"/>
                  <a:gd name="connsiteX282" fmla="*/ 46355 w 876300"/>
                  <a:gd name="connsiteY282" fmla="*/ 120015 h 212725"/>
                  <a:gd name="connsiteX283" fmla="*/ 39370 w 876300"/>
                  <a:gd name="connsiteY283" fmla="*/ 125095 h 212725"/>
                  <a:gd name="connsiteX284" fmla="*/ 63500 w 876300"/>
                  <a:gd name="connsiteY284" fmla="*/ 158115 h 212725"/>
                  <a:gd name="connsiteX285" fmla="*/ 67945 w 876300"/>
                  <a:gd name="connsiteY285" fmla="*/ 163830 h 212725"/>
                  <a:gd name="connsiteX286" fmla="*/ 72390 w 876300"/>
                  <a:gd name="connsiteY286" fmla="*/ 169228 h 212725"/>
                  <a:gd name="connsiteX287" fmla="*/ 75565 w 876300"/>
                  <a:gd name="connsiteY287" fmla="*/ 173038 h 212725"/>
                  <a:gd name="connsiteX288" fmla="*/ 75248 w 876300"/>
                  <a:gd name="connsiteY288" fmla="*/ 173355 h 212725"/>
                  <a:gd name="connsiteX289" fmla="*/ 8573 w 876300"/>
                  <a:gd name="connsiteY289" fmla="*/ 147638 h 212725"/>
                  <a:gd name="connsiteX290" fmla="*/ 0 w 876300"/>
                  <a:gd name="connsiteY290" fmla="*/ 153988 h 212725"/>
                  <a:gd name="connsiteX291" fmla="*/ 42863 w 876300"/>
                  <a:gd name="connsiteY291" fmla="*/ 212725 h 212725"/>
                  <a:gd name="connsiteX292" fmla="*/ 49530 w 876300"/>
                  <a:gd name="connsiteY292" fmla="*/ 207645 h 212725"/>
                  <a:gd name="connsiteX293" fmla="*/ 25717 w 876300"/>
                  <a:gd name="connsiteY293" fmla="*/ 174943 h 212725"/>
                  <a:gd name="connsiteX294" fmla="*/ 19050 w 876300"/>
                  <a:gd name="connsiteY294" fmla="*/ 166370 h 212725"/>
                  <a:gd name="connsiteX295" fmla="*/ 13335 w 876300"/>
                  <a:gd name="connsiteY295" fmla="*/ 159385 h 212725"/>
                  <a:gd name="connsiteX296" fmla="*/ 13653 w 876300"/>
                  <a:gd name="connsiteY296" fmla="*/ 159068 h 212725"/>
                  <a:gd name="connsiteX297" fmla="*/ 80645 w 876300"/>
                  <a:gd name="connsiteY297" fmla="*/ 184785 h 212725"/>
                  <a:gd name="connsiteX298" fmla="*/ 89217 w 876300"/>
                  <a:gd name="connsiteY298" fmla="*/ 178435 h 212725"/>
                  <a:gd name="connsiteX299" fmla="*/ 46355 w 876300"/>
                  <a:gd name="connsiteY299" fmla="*/ 120015 h 212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876300" h="212725">
                    <a:moveTo>
                      <a:pt x="821055" y="195263"/>
                    </a:moveTo>
                    <a:lnTo>
                      <a:pt x="814388" y="199390"/>
                    </a:lnTo>
                    <a:cubicBezTo>
                      <a:pt x="811848" y="200978"/>
                      <a:pt x="808990" y="201930"/>
                      <a:pt x="806450" y="202248"/>
                    </a:cubicBezTo>
                    <a:cubicBezTo>
                      <a:pt x="803910" y="202565"/>
                      <a:pt x="801370" y="201930"/>
                      <a:pt x="798830" y="200025"/>
                    </a:cubicBezTo>
                    <a:cubicBezTo>
                      <a:pt x="797878" y="199390"/>
                      <a:pt x="796925" y="198755"/>
                      <a:pt x="796290" y="197803"/>
                    </a:cubicBezTo>
                    <a:cubicBezTo>
                      <a:pt x="795655" y="197168"/>
                      <a:pt x="795020" y="196533"/>
                      <a:pt x="794385" y="195898"/>
                    </a:cubicBezTo>
                    <a:lnTo>
                      <a:pt x="790258" y="201613"/>
                    </a:lnTo>
                    <a:cubicBezTo>
                      <a:pt x="790892" y="202248"/>
                      <a:pt x="791528" y="203200"/>
                      <a:pt x="792480" y="203835"/>
                    </a:cubicBezTo>
                    <a:cubicBezTo>
                      <a:pt x="793433" y="204788"/>
                      <a:pt x="794385" y="205740"/>
                      <a:pt x="795655" y="206693"/>
                    </a:cubicBezTo>
                    <a:cubicBezTo>
                      <a:pt x="799783" y="209868"/>
                      <a:pt x="804228" y="211138"/>
                      <a:pt x="808355" y="210185"/>
                    </a:cubicBezTo>
                    <a:cubicBezTo>
                      <a:pt x="812483" y="209550"/>
                      <a:pt x="816928" y="207645"/>
                      <a:pt x="821690" y="204470"/>
                    </a:cubicBezTo>
                    <a:lnTo>
                      <a:pt x="877253" y="168275"/>
                    </a:lnTo>
                    <a:lnTo>
                      <a:pt x="869315" y="162560"/>
                    </a:lnTo>
                    <a:lnTo>
                      <a:pt x="842010" y="180975"/>
                    </a:lnTo>
                    <a:cubicBezTo>
                      <a:pt x="839470" y="182563"/>
                      <a:pt x="837248" y="184468"/>
                      <a:pt x="835025" y="186055"/>
                    </a:cubicBezTo>
                    <a:cubicBezTo>
                      <a:pt x="832803" y="187643"/>
                      <a:pt x="830898" y="189230"/>
                      <a:pt x="829628" y="190183"/>
                    </a:cubicBezTo>
                    <a:lnTo>
                      <a:pt x="829310" y="189865"/>
                    </a:lnTo>
                    <a:cubicBezTo>
                      <a:pt x="830263" y="187960"/>
                      <a:pt x="831215" y="185420"/>
                      <a:pt x="831850" y="183198"/>
                    </a:cubicBezTo>
                    <a:cubicBezTo>
                      <a:pt x="832485" y="180658"/>
                      <a:pt x="833438" y="178118"/>
                      <a:pt x="834390" y="175260"/>
                    </a:cubicBezTo>
                    <a:lnTo>
                      <a:pt x="843280" y="143193"/>
                    </a:lnTo>
                    <a:lnTo>
                      <a:pt x="835660" y="137478"/>
                    </a:lnTo>
                    <a:lnTo>
                      <a:pt x="821055" y="195263"/>
                    </a:lnTo>
                    <a:close/>
                    <a:moveTo>
                      <a:pt x="799783" y="154623"/>
                    </a:moveTo>
                    <a:cubicBezTo>
                      <a:pt x="797242" y="159068"/>
                      <a:pt x="793750" y="161608"/>
                      <a:pt x="789940" y="162243"/>
                    </a:cubicBezTo>
                    <a:cubicBezTo>
                      <a:pt x="786130" y="162878"/>
                      <a:pt x="782003" y="161925"/>
                      <a:pt x="778192" y="159703"/>
                    </a:cubicBezTo>
                    <a:cubicBezTo>
                      <a:pt x="775653" y="158115"/>
                      <a:pt x="774065" y="156528"/>
                      <a:pt x="773113" y="154305"/>
                    </a:cubicBezTo>
                    <a:cubicBezTo>
                      <a:pt x="772160" y="152083"/>
                      <a:pt x="772478" y="149860"/>
                      <a:pt x="774065" y="147003"/>
                    </a:cubicBezTo>
                    <a:cubicBezTo>
                      <a:pt x="775970" y="144145"/>
                      <a:pt x="778192" y="142240"/>
                      <a:pt x="781367" y="142240"/>
                    </a:cubicBezTo>
                    <a:cubicBezTo>
                      <a:pt x="784542" y="141923"/>
                      <a:pt x="789305" y="143510"/>
                      <a:pt x="795020" y="146685"/>
                    </a:cubicBezTo>
                    <a:lnTo>
                      <a:pt x="802005" y="150495"/>
                    </a:lnTo>
                    <a:lnTo>
                      <a:pt x="799783" y="154623"/>
                    </a:lnTo>
                    <a:close/>
                    <a:moveTo>
                      <a:pt x="798513" y="116205"/>
                    </a:moveTo>
                    <a:cubicBezTo>
                      <a:pt x="795338" y="115253"/>
                      <a:pt x="792163" y="114935"/>
                      <a:pt x="789623" y="114618"/>
                    </a:cubicBezTo>
                    <a:lnTo>
                      <a:pt x="788670" y="121920"/>
                    </a:lnTo>
                    <a:cubicBezTo>
                      <a:pt x="791210" y="122238"/>
                      <a:pt x="793750" y="122555"/>
                      <a:pt x="796290" y="123190"/>
                    </a:cubicBezTo>
                    <a:cubicBezTo>
                      <a:pt x="798830" y="123825"/>
                      <a:pt x="801370" y="124778"/>
                      <a:pt x="803910" y="126365"/>
                    </a:cubicBezTo>
                    <a:cubicBezTo>
                      <a:pt x="807085" y="128270"/>
                      <a:pt x="808990" y="130493"/>
                      <a:pt x="809625" y="133033"/>
                    </a:cubicBezTo>
                    <a:cubicBezTo>
                      <a:pt x="810260" y="135573"/>
                      <a:pt x="809625" y="138748"/>
                      <a:pt x="807403" y="142558"/>
                    </a:cubicBezTo>
                    <a:lnTo>
                      <a:pt x="805815" y="145415"/>
                    </a:lnTo>
                    <a:lnTo>
                      <a:pt x="797560" y="140970"/>
                    </a:lnTo>
                    <a:cubicBezTo>
                      <a:pt x="789623" y="136525"/>
                      <a:pt x="783273" y="134620"/>
                      <a:pt x="778192" y="134938"/>
                    </a:cubicBezTo>
                    <a:cubicBezTo>
                      <a:pt x="773113" y="135255"/>
                      <a:pt x="768985" y="137795"/>
                      <a:pt x="766445" y="142558"/>
                    </a:cubicBezTo>
                    <a:cubicBezTo>
                      <a:pt x="763588" y="147320"/>
                      <a:pt x="762953" y="151765"/>
                      <a:pt x="764540" y="155575"/>
                    </a:cubicBezTo>
                    <a:cubicBezTo>
                      <a:pt x="766128" y="159385"/>
                      <a:pt x="768985" y="162560"/>
                      <a:pt x="773113" y="165100"/>
                    </a:cubicBezTo>
                    <a:cubicBezTo>
                      <a:pt x="776923" y="167323"/>
                      <a:pt x="780415" y="168593"/>
                      <a:pt x="783590" y="168593"/>
                    </a:cubicBezTo>
                    <a:cubicBezTo>
                      <a:pt x="786448" y="168593"/>
                      <a:pt x="789940" y="167958"/>
                      <a:pt x="793433" y="166688"/>
                    </a:cubicBezTo>
                    <a:lnTo>
                      <a:pt x="793750" y="167005"/>
                    </a:lnTo>
                    <a:lnTo>
                      <a:pt x="791210" y="174625"/>
                    </a:lnTo>
                    <a:lnTo>
                      <a:pt x="796925" y="177800"/>
                    </a:lnTo>
                    <a:lnTo>
                      <a:pt x="815658" y="145733"/>
                    </a:lnTo>
                    <a:cubicBezTo>
                      <a:pt x="818833" y="140335"/>
                      <a:pt x="819785" y="135573"/>
                      <a:pt x="818515" y="131445"/>
                    </a:cubicBezTo>
                    <a:cubicBezTo>
                      <a:pt x="817245" y="127318"/>
                      <a:pt x="813753" y="123508"/>
                      <a:pt x="808038" y="120333"/>
                    </a:cubicBezTo>
                    <a:cubicBezTo>
                      <a:pt x="804863" y="118428"/>
                      <a:pt x="801688" y="117158"/>
                      <a:pt x="798513" y="116205"/>
                    </a:cubicBezTo>
                    <a:moveTo>
                      <a:pt x="777558" y="82868"/>
                    </a:moveTo>
                    <a:lnTo>
                      <a:pt x="748665" y="118110"/>
                    </a:lnTo>
                    <a:cubicBezTo>
                      <a:pt x="746442" y="120650"/>
                      <a:pt x="744538" y="123190"/>
                      <a:pt x="742950" y="125413"/>
                    </a:cubicBezTo>
                    <a:cubicBezTo>
                      <a:pt x="741045" y="127953"/>
                      <a:pt x="739458" y="130175"/>
                      <a:pt x="738188" y="132398"/>
                    </a:cubicBezTo>
                    <a:cubicBezTo>
                      <a:pt x="738823" y="130175"/>
                      <a:pt x="739458" y="127635"/>
                      <a:pt x="740092" y="124460"/>
                    </a:cubicBezTo>
                    <a:cubicBezTo>
                      <a:pt x="740728" y="121285"/>
                      <a:pt x="741363" y="118110"/>
                      <a:pt x="741998" y="114935"/>
                    </a:cubicBezTo>
                    <a:lnTo>
                      <a:pt x="748665" y="69215"/>
                    </a:lnTo>
                    <a:lnTo>
                      <a:pt x="740092" y="65088"/>
                    </a:lnTo>
                    <a:lnTo>
                      <a:pt x="709930" y="99378"/>
                    </a:lnTo>
                    <a:cubicBezTo>
                      <a:pt x="708025" y="101600"/>
                      <a:pt x="705803" y="104140"/>
                      <a:pt x="703898" y="106680"/>
                    </a:cubicBezTo>
                    <a:cubicBezTo>
                      <a:pt x="701992" y="109220"/>
                      <a:pt x="700405" y="111760"/>
                      <a:pt x="698817" y="113983"/>
                    </a:cubicBezTo>
                    <a:cubicBezTo>
                      <a:pt x="699453" y="111443"/>
                      <a:pt x="700405" y="108903"/>
                      <a:pt x="701040" y="106045"/>
                    </a:cubicBezTo>
                    <a:cubicBezTo>
                      <a:pt x="701675" y="103188"/>
                      <a:pt x="702310" y="100013"/>
                      <a:pt x="702945" y="96838"/>
                    </a:cubicBezTo>
                    <a:lnTo>
                      <a:pt x="711517" y="52070"/>
                    </a:lnTo>
                    <a:lnTo>
                      <a:pt x="702945" y="47943"/>
                    </a:lnTo>
                    <a:lnTo>
                      <a:pt x="689610" y="121920"/>
                    </a:lnTo>
                    <a:lnTo>
                      <a:pt x="697865" y="125730"/>
                    </a:lnTo>
                    <a:lnTo>
                      <a:pt x="730250" y="88583"/>
                    </a:lnTo>
                    <a:cubicBezTo>
                      <a:pt x="732473" y="86043"/>
                      <a:pt x="734378" y="83820"/>
                      <a:pt x="736283" y="81280"/>
                    </a:cubicBezTo>
                    <a:cubicBezTo>
                      <a:pt x="738188" y="79058"/>
                      <a:pt x="739140" y="77470"/>
                      <a:pt x="739775" y="76518"/>
                    </a:cubicBezTo>
                    <a:cubicBezTo>
                      <a:pt x="739458" y="77153"/>
                      <a:pt x="739458" y="78105"/>
                      <a:pt x="739140" y="79693"/>
                    </a:cubicBezTo>
                    <a:cubicBezTo>
                      <a:pt x="738823" y="81280"/>
                      <a:pt x="738505" y="82868"/>
                      <a:pt x="738188" y="85090"/>
                    </a:cubicBezTo>
                    <a:cubicBezTo>
                      <a:pt x="737870" y="86995"/>
                      <a:pt x="737553" y="89218"/>
                      <a:pt x="737235" y="91123"/>
                    </a:cubicBezTo>
                    <a:lnTo>
                      <a:pt x="729933" y="140335"/>
                    </a:lnTo>
                    <a:lnTo>
                      <a:pt x="738188" y="144145"/>
                    </a:lnTo>
                    <a:lnTo>
                      <a:pt x="786448" y="86678"/>
                    </a:lnTo>
                    <a:lnTo>
                      <a:pt x="777558" y="82868"/>
                    </a:lnTo>
                    <a:close/>
                    <a:moveTo>
                      <a:pt x="621348" y="19368"/>
                    </a:moveTo>
                    <a:lnTo>
                      <a:pt x="601028" y="93980"/>
                    </a:lnTo>
                    <a:lnTo>
                      <a:pt x="609600" y="96203"/>
                    </a:lnTo>
                    <a:lnTo>
                      <a:pt x="614680" y="76835"/>
                    </a:lnTo>
                    <a:lnTo>
                      <a:pt x="621983" y="73343"/>
                    </a:lnTo>
                    <a:lnTo>
                      <a:pt x="633730" y="102870"/>
                    </a:lnTo>
                    <a:lnTo>
                      <a:pt x="644208" y="105728"/>
                    </a:lnTo>
                    <a:lnTo>
                      <a:pt x="629603" y="69533"/>
                    </a:lnTo>
                    <a:lnTo>
                      <a:pt x="656908" y="52705"/>
                    </a:lnTo>
                    <a:lnTo>
                      <a:pt x="646748" y="49848"/>
                    </a:lnTo>
                    <a:lnTo>
                      <a:pt x="625158" y="63183"/>
                    </a:lnTo>
                    <a:cubicBezTo>
                      <a:pt x="624523" y="63818"/>
                      <a:pt x="623570" y="64453"/>
                      <a:pt x="622300" y="65088"/>
                    </a:cubicBezTo>
                    <a:cubicBezTo>
                      <a:pt x="621348" y="66040"/>
                      <a:pt x="620078" y="66675"/>
                      <a:pt x="619125" y="67310"/>
                    </a:cubicBezTo>
                    <a:cubicBezTo>
                      <a:pt x="618173" y="67945"/>
                      <a:pt x="617220" y="68580"/>
                      <a:pt x="616903" y="69215"/>
                    </a:cubicBezTo>
                    <a:lnTo>
                      <a:pt x="616585" y="69215"/>
                    </a:lnTo>
                    <a:cubicBezTo>
                      <a:pt x="616903" y="67945"/>
                      <a:pt x="617538" y="66675"/>
                      <a:pt x="618173" y="64770"/>
                    </a:cubicBezTo>
                    <a:cubicBezTo>
                      <a:pt x="618808" y="62865"/>
                      <a:pt x="619125" y="61595"/>
                      <a:pt x="619442" y="60643"/>
                    </a:cubicBezTo>
                    <a:lnTo>
                      <a:pt x="629920" y="21590"/>
                    </a:lnTo>
                    <a:lnTo>
                      <a:pt x="621348" y="19368"/>
                    </a:lnTo>
                    <a:close/>
                    <a:moveTo>
                      <a:pt x="590867" y="68580"/>
                    </a:moveTo>
                    <a:cubicBezTo>
                      <a:pt x="589915" y="66358"/>
                      <a:pt x="588328" y="64453"/>
                      <a:pt x="586423" y="62548"/>
                    </a:cubicBezTo>
                    <a:cubicBezTo>
                      <a:pt x="584200" y="60643"/>
                      <a:pt x="581660" y="59055"/>
                      <a:pt x="578485" y="57150"/>
                    </a:cubicBezTo>
                    <a:cubicBezTo>
                      <a:pt x="575310" y="55245"/>
                      <a:pt x="572770" y="53658"/>
                      <a:pt x="570865" y="52070"/>
                    </a:cubicBezTo>
                    <a:cubicBezTo>
                      <a:pt x="568960" y="50800"/>
                      <a:pt x="567690" y="49530"/>
                      <a:pt x="567055" y="48260"/>
                    </a:cubicBezTo>
                    <a:cubicBezTo>
                      <a:pt x="566420" y="46990"/>
                      <a:pt x="566103" y="45720"/>
                      <a:pt x="566420" y="44133"/>
                    </a:cubicBezTo>
                    <a:cubicBezTo>
                      <a:pt x="566738" y="42228"/>
                      <a:pt x="568008" y="40640"/>
                      <a:pt x="570230" y="40005"/>
                    </a:cubicBezTo>
                    <a:cubicBezTo>
                      <a:pt x="572453" y="39053"/>
                      <a:pt x="575310" y="39053"/>
                      <a:pt x="578803" y="39688"/>
                    </a:cubicBezTo>
                    <a:cubicBezTo>
                      <a:pt x="581342" y="40323"/>
                      <a:pt x="583883" y="40958"/>
                      <a:pt x="586105" y="42228"/>
                    </a:cubicBezTo>
                    <a:cubicBezTo>
                      <a:pt x="588328" y="43498"/>
                      <a:pt x="590550" y="44768"/>
                      <a:pt x="592773" y="46038"/>
                    </a:cubicBezTo>
                    <a:lnTo>
                      <a:pt x="597217" y="39688"/>
                    </a:lnTo>
                    <a:cubicBezTo>
                      <a:pt x="594995" y="38100"/>
                      <a:pt x="592455" y="36830"/>
                      <a:pt x="589915" y="35560"/>
                    </a:cubicBezTo>
                    <a:cubicBezTo>
                      <a:pt x="587058" y="34290"/>
                      <a:pt x="584200" y="33338"/>
                      <a:pt x="581025" y="32703"/>
                    </a:cubicBezTo>
                    <a:cubicBezTo>
                      <a:pt x="574992" y="31433"/>
                      <a:pt x="569913" y="31750"/>
                      <a:pt x="565785" y="33655"/>
                    </a:cubicBezTo>
                    <a:cubicBezTo>
                      <a:pt x="561658" y="35560"/>
                      <a:pt x="559117" y="38418"/>
                      <a:pt x="558165" y="43180"/>
                    </a:cubicBezTo>
                    <a:cubicBezTo>
                      <a:pt x="557530" y="46038"/>
                      <a:pt x="557848" y="48578"/>
                      <a:pt x="558800" y="50800"/>
                    </a:cubicBezTo>
                    <a:cubicBezTo>
                      <a:pt x="559753" y="53023"/>
                      <a:pt x="561340" y="54928"/>
                      <a:pt x="563563" y="56833"/>
                    </a:cubicBezTo>
                    <a:cubicBezTo>
                      <a:pt x="565785" y="58738"/>
                      <a:pt x="568325" y="60643"/>
                      <a:pt x="571817" y="62548"/>
                    </a:cubicBezTo>
                    <a:cubicBezTo>
                      <a:pt x="574992" y="64453"/>
                      <a:pt x="577533" y="66358"/>
                      <a:pt x="579120" y="67628"/>
                    </a:cubicBezTo>
                    <a:cubicBezTo>
                      <a:pt x="580708" y="69215"/>
                      <a:pt x="581978" y="70485"/>
                      <a:pt x="582613" y="71438"/>
                    </a:cubicBezTo>
                    <a:cubicBezTo>
                      <a:pt x="583248" y="72708"/>
                      <a:pt x="583248" y="73978"/>
                      <a:pt x="582930" y="75248"/>
                    </a:cubicBezTo>
                    <a:cubicBezTo>
                      <a:pt x="582613" y="77788"/>
                      <a:pt x="581025" y="79375"/>
                      <a:pt x="578803" y="80328"/>
                    </a:cubicBezTo>
                    <a:cubicBezTo>
                      <a:pt x="576580" y="81280"/>
                      <a:pt x="573088" y="81598"/>
                      <a:pt x="568642" y="80645"/>
                    </a:cubicBezTo>
                    <a:cubicBezTo>
                      <a:pt x="565467" y="80010"/>
                      <a:pt x="562610" y="79058"/>
                      <a:pt x="559753" y="77470"/>
                    </a:cubicBezTo>
                    <a:cubicBezTo>
                      <a:pt x="556895" y="75883"/>
                      <a:pt x="554355" y="74613"/>
                      <a:pt x="552450" y="73025"/>
                    </a:cubicBezTo>
                    <a:lnTo>
                      <a:pt x="550863" y="80963"/>
                    </a:lnTo>
                    <a:cubicBezTo>
                      <a:pt x="552767" y="82550"/>
                      <a:pt x="554990" y="83820"/>
                      <a:pt x="557530" y="84773"/>
                    </a:cubicBezTo>
                    <a:cubicBezTo>
                      <a:pt x="560070" y="86043"/>
                      <a:pt x="563245" y="86678"/>
                      <a:pt x="567055" y="87630"/>
                    </a:cubicBezTo>
                    <a:cubicBezTo>
                      <a:pt x="573723" y="88900"/>
                      <a:pt x="579120" y="88583"/>
                      <a:pt x="583248" y="86678"/>
                    </a:cubicBezTo>
                    <a:cubicBezTo>
                      <a:pt x="587692" y="84773"/>
                      <a:pt x="590233" y="81280"/>
                      <a:pt x="591185" y="75883"/>
                    </a:cubicBezTo>
                    <a:cubicBezTo>
                      <a:pt x="591820" y="73025"/>
                      <a:pt x="591820" y="70485"/>
                      <a:pt x="590867" y="68580"/>
                    </a:cubicBezTo>
                    <a:moveTo>
                      <a:pt x="535305" y="26353"/>
                    </a:moveTo>
                    <a:lnTo>
                      <a:pt x="527685" y="80328"/>
                    </a:lnTo>
                    <a:lnTo>
                      <a:pt x="536575" y="81598"/>
                    </a:lnTo>
                    <a:lnTo>
                      <a:pt x="544195" y="27623"/>
                    </a:lnTo>
                    <a:lnTo>
                      <a:pt x="535305" y="26353"/>
                    </a:lnTo>
                    <a:close/>
                    <a:moveTo>
                      <a:pt x="538798" y="7620"/>
                    </a:moveTo>
                    <a:cubicBezTo>
                      <a:pt x="537528" y="8255"/>
                      <a:pt x="536892" y="9843"/>
                      <a:pt x="536575" y="11748"/>
                    </a:cubicBezTo>
                    <a:cubicBezTo>
                      <a:pt x="536258" y="13653"/>
                      <a:pt x="536575" y="15240"/>
                      <a:pt x="537528" y="16193"/>
                    </a:cubicBezTo>
                    <a:cubicBezTo>
                      <a:pt x="538480" y="17145"/>
                      <a:pt x="539433" y="17780"/>
                      <a:pt x="541020" y="18098"/>
                    </a:cubicBezTo>
                    <a:cubicBezTo>
                      <a:pt x="542290" y="18415"/>
                      <a:pt x="543560" y="18098"/>
                      <a:pt x="544830" y="17145"/>
                    </a:cubicBezTo>
                    <a:cubicBezTo>
                      <a:pt x="546100" y="16510"/>
                      <a:pt x="546735" y="14923"/>
                      <a:pt x="547053" y="13018"/>
                    </a:cubicBezTo>
                    <a:cubicBezTo>
                      <a:pt x="547370" y="11113"/>
                      <a:pt x="547053" y="9525"/>
                      <a:pt x="546100" y="8573"/>
                    </a:cubicBezTo>
                    <a:cubicBezTo>
                      <a:pt x="545148" y="7620"/>
                      <a:pt x="544195" y="6985"/>
                      <a:pt x="542608" y="6668"/>
                    </a:cubicBezTo>
                    <a:cubicBezTo>
                      <a:pt x="541020" y="6668"/>
                      <a:pt x="539750" y="6985"/>
                      <a:pt x="538798" y="7620"/>
                    </a:cubicBezTo>
                    <a:moveTo>
                      <a:pt x="475933" y="63818"/>
                    </a:moveTo>
                    <a:cubicBezTo>
                      <a:pt x="473710" y="60008"/>
                      <a:pt x="472758" y="54928"/>
                      <a:pt x="473392" y="48578"/>
                    </a:cubicBezTo>
                    <a:cubicBezTo>
                      <a:pt x="473710" y="42228"/>
                      <a:pt x="475298" y="37148"/>
                      <a:pt x="477838" y="33338"/>
                    </a:cubicBezTo>
                    <a:cubicBezTo>
                      <a:pt x="480378" y="29528"/>
                      <a:pt x="484188" y="27940"/>
                      <a:pt x="488950" y="28258"/>
                    </a:cubicBezTo>
                    <a:cubicBezTo>
                      <a:pt x="494983" y="28575"/>
                      <a:pt x="499110" y="30798"/>
                      <a:pt x="501015" y="34608"/>
                    </a:cubicBezTo>
                    <a:cubicBezTo>
                      <a:pt x="502920" y="38418"/>
                      <a:pt x="503873" y="43498"/>
                      <a:pt x="503238" y="50483"/>
                    </a:cubicBezTo>
                    <a:lnTo>
                      <a:pt x="503238" y="52070"/>
                    </a:lnTo>
                    <a:cubicBezTo>
                      <a:pt x="502920" y="58420"/>
                      <a:pt x="501333" y="63183"/>
                      <a:pt x="498792" y="66040"/>
                    </a:cubicBezTo>
                    <a:cubicBezTo>
                      <a:pt x="496253" y="68898"/>
                      <a:pt x="492125" y="70485"/>
                      <a:pt x="486410" y="69850"/>
                    </a:cubicBezTo>
                    <a:cubicBezTo>
                      <a:pt x="481648" y="69533"/>
                      <a:pt x="478155" y="67628"/>
                      <a:pt x="475933" y="63818"/>
                    </a:cubicBezTo>
                    <a:moveTo>
                      <a:pt x="495300" y="75565"/>
                    </a:moveTo>
                    <a:cubicBezTo>
                      <a:pt x="498158" y="73978"/>
                      <a:pt x="500380" y="72390"/>
                      <a:pt x="502285" y="70168"/>
                    </a:cubicBezTo>
                    <a:lnTo>
                      <a:pt x="502603" y="70168"/>
                    </a:lnTo>
                    <a:lnTo>
                      <a:pt x="503555" y="77470"/>
                    </a:lnTo>
                    <a:lnTo>
                      <a:pt x="510858" y="77788"/>
                    </a:lnTo>
                    <a:lnTo>
                      <a:pt x="515620" y="635"/>
                    </a:lnTo>
                    <a:lnTo>
                      <a:pt x="506730" y="0"/>
                    </a:lnTo>
                    <a:lnTo>
                      <a:pt x="505460" y="21590"/>
                    </a:lnTo>
                    <a:cubicBezTo>
                      <a:pt x="505460" y="22543"/>
                      <a:pt x="505460" y="24130"/>
                      <a:pt x="505460" y="25718"/>
                    </a:cubicBezTo>
                    <a:cubicBezTo>
                      <a:pt x="505460" y="27305"/>
                      <a:pt x="505460" y="28893"/>
                      <a:pt x="505778" y="29528"/>
                    </a:cubicBezTo>
                    <a:lnTo>
                      <a:pt x="505142" y="29528"/>
                    </a:lnTo>
                    <a:cubicBezTo>
                      <a:pt x="503555" y="27305"/>
                      <a:pt x="501650" y="25083"/>
                      <a:pt x="499110" y="23495"/>
                    </a:cubicBezTo>
                    <a:cubicBezTo>
                      <a:pt x="496570" y="21908"/>
                      <a:pt x="493078" y="20638"/>
                      <a:pt x="488950" y="20638"/>
                    </a:cubicBezTo>
                    <a:cubicBezTo>
                      <a:pt x="482283" y="20320"/>
                      <a:pt x="476567" y="22225"/>
                      <a:pt x="472123" y="26670"/>
                    </a:cubicBezTo>
                    <a:cubicBezTo>
                      <a:pt x="467678" y="31115"/>
                      <a:pt x="465138" y="38100"/>
                      <a:pt x="464503" y="47308"/>
                    </a:cubicBezTo>
                    <a:cubicBezTo>
                      <a:pt x="463867" y="56515"/>
                      <a:pt x="465455" y="63818"/>
                      <a:pt x="469265" y="68580"/>
                    </a:cubicBezTo>
                    <a:cubicBezTo>
                      <a:pt x="473075" y="73660"/>
                      <a:pt x="478155" y="76200"/>
                      <a:pt x="485140" y="76518"/>
                    </a:cubicBezTo>
                    <a:cubicBezTo>
                      <a:pt x="488950" y="77470"/>
                      <a:pt x="492442" y="76835"/>
                      <a:pt x="495300" y="75565"/>
                    </a:cubicBezTo>
                    <a:moveTo>
                      <a:pt x="440373" y="22860"/>
                    </a:moveTo>
                    <a:cubicBezTo>
                      <a:pt x="437515" y="25083"/>
                      <a:pt x="435292" y="27623"/>
                      <a:pt x="433705" y="30798"/>
                    </a:cubicBezTo>
                    <a:lnTo>
                      <a:pt x="433388" y="30798"/>
                    </a:lnTo>
                    <a:lnTo>
                      <a:pt x="432117" y="20955"/>
                    </a:lnTo>
                    <a:lnTo>
                      <a:pt x="424815" y="20955"/>
                    </a:lnTo>
                    <a:lnTo>
                      <a:pt x="425450" y="75565"/>
                    </a:lnTo>
                    <a:lnTo>
                      <a:pt x="434340" y="75565"/>
                    </a:lnTo>
                    <a:lnTo>
                      <a:pt x="434023" y="46355"/>
                    </a:lnTo>
                    <a:cubicBezTo>
                      <a:pt x="434023" y="42545"/>
                      <a:pt x="434658" y="39370"/>
                      <a:pt x="435928" y="36830"/>
                    </a:cubicBezTo>
                    <a:cubicBezTo>
                      <a:pt x="437198" y="33973"/>
                      <a:pt x="439420" y="31750"/>
                      <a:pt x="441642" y="30480"/>
                    </a:cubicBezTo>
                    <a:cubicBezTo>
                      <a:pt x="444183" y="28893"/>
                      <a:pt x="446723" y="28258"/>
                      <a:pt x="449580" y="27940"/>
                    </a:cubicBezTo>
                    <a:cubicBezTo>
                      <a:pt x="450533" y="27940"/>
                      <a:pt x="451485" y="27940"/>
                      <a:pt x="452438" y="28258"/>
                    </a:cubicBezTo>
                    <a:cubicBezTo>
                      <a:pt x="453390" y="28258"/>
                      <a:pt x="454660" y="28575"/>
                      <a:pt x="455295" y="28575"/>
                    </a:cubicBezTo>
                    <a:lnTo>
                      <a:pt x="456248" y="20320"/>
                    </a:lnTo>
                    <a:cubicBezTo>
                      <a:pt x="455295" y="20003"/>
                      <a:pt x="454342" y="20003"/>
                      <a:pt x="453073" y="20003"/>
                    </a:cubicBezTo>
                    <a:cubicBezTo>
                      <a:pt x="451803" y="20003"/>
                      <a:pt x="450850" y="20003"/>
                      <a:pt x="449898" y="20003"/>
                    </a:cubicBezTo>
                    <a:cubicBezTo>
                      <a:pt x="446405" y="19368"/>
                      <a:pt x="443230" y="20638"/>
                      <a:pt x="440373" y="22860"/>
                    </a:cubicBezTo>
                    <a:moveTo>
                      <a:pt x="370523" y="36195"/>
                    </a:moveTo>
                    <a:cubicBezTo>
                      <a:pt x="372745" y="32385"/>
                      <a:pt x="376555" y="30163"/>
                      <a:pt x="381953" y="29528"/>
                    </a:cubicBezTo>
                    <a:cubicBezTo>
                      <a:pt x="387350" y="28893"/>
                      <a:pt x="391795" y="30480"/>
                      <a:pt x="394653" y="33973"/>
                    </a:cubicBezTo>
                    <a:cubicBezTo>
                      <a:pt x="397510" y="37465"/>
                      <a:pt x="399415" y="42228"/>
                      <a:pt x="399733" y="48578"/>
                    </a:cubicBezTo>
                    <a:cubicBezTo>
                      <a:pt x="400367" y="54928"/>
                      <a:pt x="399415" y="60325"/>
                      <a:pt x="397192" y="64135"/>
                    </a:cubicBezTo>
                    <a:cubicBezTo>
                      <a:pt x="394970" y="68263"/>
                      <a:pt x="391160" y="70485"/>
                      <a:pt x="385763" y="70803"/>
                    </a:cubicBezTo>
                    <a:cubicBezTo>
                      <a:pt x="380365" y="71438"/>
                      <a:pt x="375920" y="69850"/>
                      <a:pt x="373063" y="66358"/>
                    </a:cubicBezTo>
                    <a:cubicBezTo>
                      <a:pt x="370205" y="62865"/>
                      <a:pt x="368617" y="57785"/>
                      <a:pt x="367983" y="51435"/>
                    </a:cubicBezTo>
                    <a:cubicBezTo>
                      <a:pt x="367348" y="45403"/>
                      <a:pt x="368300" y="40323"/>
                      <a:pt x="370523" y="36195"/>
                    </a:cubicBezTo>
                    <a:moveTo>
                      <a:pt x="404495" y="33020"/>
                    </a:moveTo>
                    <a:cubicBezTo>
                      <a:pt x="401955" y="29210"/>
                      <a:pt x="398780" y="26035"/>
                      <a:pt x="394653" y="24448"/>
                    </a:cubicBezTo>
                    <a:cubicBezTo>
                      <a:pt x="390525" y="22543"/>
                      <a:pt x="386398" y="21908"/>
                      <a:pt x="381317" y="22225"/>
                    </a:cubicBezTo>
                    <a:cubicBezTo>
                      <a:pt x="373380" y="22860"/>
                      <a:pt x="367665" y="26035"/>
                      <a:pt x="363538" y="31115"/>
                    </a:cubicBezTo>
                    <a:cubicBezTo>
                      <a:pt x="359410" y="36513"/>
                      <a:pt x="357823" y="43498"/>
                      <a:pt x="358775" y="52388"/>
                    </a:cubicBezTo>
                    <a:cubicBezTo>
                      <a:pt x="359410" y="58420"/>
                      <a:pt x="360998" y="63500"/>
                      <a:pt x="363220" y="67310"/>
                    </a:cubicBezTo>
                    <a:cubicBezTo>
                      <a:pt x="365760" y="71438"/>
                      <a:pt x="368935" y="74295"/>
                      <a:pt x="373063" y="76200"/>
                    </a:cubicBezTo>
                    <a:cubicBezTo>
                      <a:pt x="376873" y="78105"/>
                      <a:pt x="381317" y="78740"/>
                      <a:pt x="386080" y="78423"/>
                    </a:cubicBezTo>
                    <a:cubicBezTo>
                      <a:pt x="393700" y="77788"/>
                      <a:pt x="399733" y="74613"/>
                      <a:pt x="403860" y="69533"/>
                    </a:cubicBezTo>
                    <a:cubicBezTo>
                      <a:pt x="407988" y="64135"/>
                      <a:pt x="409575" y="57150"/>
                      <a:pt x="408940" y="47943"/>
                    </a:cubicBezTo>
                    <a:cubicBezTo>
                      <a:pt x="408305" y="42228"/>
                      <a:pt x="407035" y="37148"/>
                      <a:pt x="404495" y="33020"/>
                    </a:cubicBezTo>
                    <a:moveTo>
                      <a:pt x="332105" y="10478"/>
                    </a:moveTo>
                    <a:lnTo>
                      <a:pt x="323850" y="12065"/>
                    </a:lnTo>
                    <a:lnTo>
                      <a:pt x="331470" y="52388"/>
                    </a:lnTo>
                    <a:cubicBezTo>
                      <a:pt x="331788" y="54610"/>
                      <a:pt x="332423" y="56833"/>
                      <a:pt x="333058" y="59373"/>
                    </a:cubicBezTo>
                    <a:cubicBezTo>
                      <a:pt x="333692" y="61913"/>
                      <a:pt x="334328" y="64135"/>
                      <a:pt x="334645" y="66358"/>
                    </a:cubicBezTo>
                    <a:cubicBezTo>
                      <a:pt x="335280" y="68580"/>
                      <a:pt x="335598" y="70168"/>
                      <a:pt x="335915" y="71120"/>
                    </a:cubicBezTo>
                    <a:lnTo>
                      <a:pt x="335598" y="71120"/>
                    </a:lnTo>
                    <a:lnTo>
                      <a:pt x="286385" y="19368"/>
                    </a:lnTo>
                    <a:lnTo>
                      <a:pt x="275908" y="21273"/>
                    </a:lnTo>
                    <a:lnTo>
                      <a:pt x="289560" y="92393"/>
                    </a:lnTo>
                    <a:lnTo>
                      <a:pt x="297815" y="90805"/>
                    </a:lnTo>
                    <a:lnTo>
                      <a:pt x="290195" y="51118"/>
                    </a:lnTo>
                    <a:cubicBezTo>
                      <a:pt x="289560" y="47308"/>
                      <a:pt x="288608" y="43815"/>
                      <a:pt x="287973" y="40640"/>
                    </a:cubicBezTo>
                    <a:cubicBezTo>
                      <a:pt x="287020" y="37148"/>
                      <a:pt x="286385" y="34290"/>
                      <a:pt x="285750" y="32068"/>
                    </a:cubicBezTo>
                    <a:lnTo>
                      <a:pt x="286067" y="32068"/>
                    </a:lnTo>
                    <a:lnTo>
                      <a:pt x="335598" y="83820"/>
                    </a:lnTo>
                    <a:lnTo>
                      <a:pt x="346075" y="81915"/>
                    </a:lnTo>
                    <a:lnTo>
                      <a:pt x="332105" y="10478"/>
                    </a:lnTo>
                    <a:close/>
                    <a:moveTo>
                      <a:pt x="199708" y="76518"/>
                    </a:moveTo>
                    <a:cubicBezTo>
                      <a:pt x="200978" y="72390"/>
                      <a:pt x="204153" y="69215"/>
                      <a:pt x="209233" y="67310"/>
                    </a:cubicBezTo>
                    <a:cubicBezTo>
                      <a:pt x="214313" y="65405"/>
                      <a:pt x="218758" y="65723"/>
                      <a:pt x="222567" y="68580"/>
                    </a:cubicBezTo>
                    <a:cubicBezTo>
                      <a:pt x="226060" y="71120"/>
                      <a:pt x="229235" y="75565"/>
                      <a:pt x="231140" y="81598"/>
                    </a:cubicBezTo>
                    <a:cubicBezTo>
                      <a:pt x="233363" y="87630"/>
                      <a:pt x="233680" y="93028"/>
                      <a:pt x="232728" y="97155"/>
                    </a:cubicBezTo>
                    <a:cubicBezTo>
                      <a:pt x="231458" y="101600"/>
                      <a:pt x="228283" y="104775"/>
                      <a:pt x="223203" y="106363"/>
                    </a:cubicBezTo>
                    <a:cubicBezTo>
                      <a:pt x="217805" y="108268"/>
                      <a:pt x="213360" y="107633"/>
                      <a:pt x="209867" y="105093"/>
                    </a:cubicBezTo>
                    <a:cubicBezTo>
                      <a:pt x="206375" y="102235"/>
                      <a:pt x="203200" y="98108"/>
                      <a:pt x="201295" y="92075"/>
                    </a:cubicBezTo>
                    <a:cubicBezTo>
                      <a:pt x="199073" y="86043"/>
                      <a:pt x="198755" y="80963"/>
                      <a:pt x="199708" y="76518"/>
                    </a:cubicBezTo>
                    <a:moveTo>
                      <a:pt x="232092" y="65088"/>
                    </a:moveTo>
                    <a:cubicBezTo>
                      <a:pt x="228600" y="61913"/>
                      <a:pt x="224790" y="59690"/>
                      <a:pt x="220663" y="59055"/>
                    </a:cubicBezTo>
                    <a:cubicBezTo>
                      <a:pt x="216217" y="58103"/>
                      <a:pt x="211773" y="58738"/>
                      <a:pt x="207328" y="60325"/>
                    </a:cubicBezTo>
                    <a:cubicBezTo>
                      <a:pt x="200025" y="62865"/>
                      <a:pt x="194945" y="67310"/>
                      <a:pt x="192405" y="73343"/>
                    </a:cubicBezTo>
                    <a:cubicBezTo>
                      <a:pt x="189865" y="79375"/>
                      <a:pt x="189865" y="86678"/>
                      <a:pt x="193040" y="95250"/>
                    </a:cubicBezTo>
                    <a:cubicBezTo>
                      <a:pt x="194945" y="100965"/>
                      <a:pt x="197803" y="105410"/>
                      <a:pt x="201295" y="108585"/>
                    </a:cubicBezTo>
                    <a:cubicBezTo>
                      <a:pt x="204788" y="111760"/>
                      <a:pt x="208598" y="113983"/>
                      <a:pt x="213042" y="114618"/>
                    </a:cubicBezTo>
                    <a:cubicBezTo>
                      <a:pt x="217170" y="115570"/>
                      <a:pt x="221615" y="114935"/>
                      <a:pt x="226378" y="113348"/>
                    </a:cubicBezTo>
                    <a:cubicBezTo>
                      <a:pt x="233680" y="110808"/>
                      <a:pt x="238760" y="106363"/>
                      <a:pt x="241300" y="100330"/>
                    </a:cubicBezTo>
                    <a:cubicBezTo>
                      <a:pt x="243840" y="94298"/>
                      <a:pt x="243840" y="86678"/>
                      <a:pt x="240665" y="78423"/>
                    </a:cubicBezTo>
                    <a:cubicBezTo>
                      <a:pt x="238125" y="72708"/>
                      <a:pt x="235267" y="68263"/>
                      <a:pt x="232092" y="65088"/>
                    </a:cubicBezTo>
                    <a:moveTo>
                      <a:pt x="177483" y="131763"/>
                    </a:moveTo>
                    <a:lnTo>
                      <a:pt x="173355" y="73660"/>
                    </a:lnTo>
                    <a:lnTo>
                      <a:pt x="164783" y="77788"/>
                    </a:lnTo>
                    <a:lnTo>
                      <a:pt x="167958" y="111760"/>
                    </a:lnTo>
                    <a:cubicBezTo>
                      <a:pt x="167958" y="113348"/>
                      <a:pt x="168275" y="114935"/>
                      <a:pt x="168592" y="116840"/>
                    </a:cubicBezTo>
                    <a:cubicBezTo>
                      <a:pt x="168910" y="118745"/>
                      <a:pt x="168910" y="120650"/>
                      <a:pt x="169228" y="122238"/>
                    </a:cubicBezTo>
                    <a:cubicBezTo>
                      <a:pt x="169545" y="124143"/>
                      <a:pt x="169863" y="125413"/>
                      <a:pt x="169863" y="126683"/>
                    </a:cubicBezTo>
                    <a:lnTo>
                      <a:pt x="169545" y="127000"/>
                    </a:lnTo>
                    <a:cubicBezTo>
                      <a:pt x="168910" y="126048"/>
                      <a:pt x="167958" y="125095"/>
                      <a:pt x="167005" y="123508"/>
                    </a:cubicBezTo>
                    <a:cubicBezTo>
                      <a:pt x="165735" y="122238"/>
                      <a:pt x="164465" y="120968"/>
                      <a:pt x="163195" y="119380"/>
                    </a:cubicBezTo>
                    <a:cubicBezTo>
                      <a:pt x="161925" y="118110"/>
                      <a:pt x="160655" y="116840"/>
                      <a:pt x="159385" y="115570"/>
                    </a:cubicBezTo>
                    <a:lnTo>
                      <a:pt x="135255" y="91440"/>
                    </a:lnTo>
                    <a:lnTo>
                      <a:pt x="126683" y="95568"/>
                    </a:lnTo>
                    <a:lnTo>
                      <a:pt x="168275" y="136208"/>
                    </a:lnTo>
                    <a:lnTo>
                      <a:pt x="177483" y="131763"/>
                    </a:lnTo>
                    <a:close/>
                    <a:moveTo>
                      <a:pt x="93028" y="127318"/>
                    </a:moveTo>
                    <a:cubicBezTo>
                      <a:pt x="93345" y="122873"/>
                      <a:pt x="96203" y="119380"/>
                      <a:pt x="100965" y="116523"/>
                    </a:cubicBezTo>
                    <a:cubicBezTo>
                      <a:pt x="105728" y="113665"/>
                      <a:pt x="110173" y="113348"/>
                      <a:pt x="114300" y="115253"/>
                    </a:cubicBezTo>
                    <a:cubicBezTo>
                      <a:pt x="118428" y="117158"/>
                      <a:pt x="121920" y="120968"/>
                      <a:pt x="125095" y="126683"/>
                    </a:cubicBezTo>
                    <a:cubicBezTo>
                      <a:pt x="128270" y="132398"/>
                      <a:pt x="129540" y="137478"/>
                      <a:pt x="129223" y="141923"/>
                    </a:cubicBezTo>
                    <a:cubicBezTo>
                      <a:pt x="128905" y="146368"/>
                      <a:pt x="126365" y="150178"/>
                      <a:pt x="121285" y="152718"/>
                    </a:cubicBezTo>
                    <a:cubicBezTo>
                      <a:pt x="116523" y="155575"/>
                      <a:pt x="112078" y="155893"/>
                      <a:pt x="107950" y="153670"/>
                    </a:cubicBezTo>
                    <a:cubicBezTo>
                      <a:pt x="103823" y="151765"/>
                      <a:pt x="100330" y="147955"/>
                      <a:pt x="97155" y="142240"/>
                    </a:cubicBezTo>
                    <a:cubicBezTo>
                      <a:pt x="93980" y="136843"/>
                      <a:pt x="92710" y="131763"/>
                      <a:pt x="93028" y="127318"/>
                    </a:cubicBezTo>
                    <a:moveTo>
                      <a:pt x="122873" y="110490"/>
                    </a:moveTo>
                    <a:cubicBezTo>
                      <a:pt x="119063" y="107950"/>
                      <a:pt x="114935" y="106680"/>
                      <a:pt x="110490" y="106363"/>
                    </a:cubicBezTo>
                    <a:cubicBezTo>
                      <a:pt x="106045" y="106363"/>
                      <a:pt x="101917" y="107315"/>
                      <a:pt x="97473" y="109855"/>
                    </a:cubicBezTo>
                    <a:cubicBezTo>
                      <a:pt x="90488" y="113665"/>
                      <a:pt x="86360" y="118745"/>
                      <a:pt x="84773" y="125413"/>
                    </a:cubicBezTo>
                    <a:cubicBezTo>
                      <a:pt x="83185" y="131763"/>
                      <a:pt x="84773" y="139065"/>
                      <a:pt x="88900" y="147003"/>
                    </a:cubicBezTo>
                    <a:cubicBezTo>
                      <a:pt x="91758" y="152400"/>
                      <a:pt x="95250" y="156210"/>
                      <a:pt x="99378" y="158750"/>
                    </a:cubicBezTo>
                    <a:cubicBezTo>
                      <a:pt x="103188" y="161290"/>
                      <a:pt x="107633" y="162878"/>
                      <a:pt x="111760" y="162878"/>
                    </a:cubicBezTo>
                    <a:cubicBezTo>
                      <a:pt x="116205" y="162878"/>
                      <a:pt x="120333" y="161925"/>
                      <a:pt x="124460" y="159385"/>
                    </a:cubicBezTo>
                    <a:cubicBezTo>
                      <a:pt x="131128" y="155575"/>
                      <a:pt x="135573" y="150495"/>
                      <a:pt x="137160" y="143828"/>
                    </a:cubicBezTo>
                    <a:cubicBezTo>
                      <a:pt x="138748" y="137160"/>
                      <a:pt x="137478" y="130175"/>
                      <a:pt x="133033" y="122238"/>
                    </a:cubicBezTo>
                    <a:cubicBezTo>
                      <a:pt x="130175" y="117158"/>
                      <a:pt x="126683" y="113030"/>
                      <a:pt x="122873" y="110490"/>
                    </a:cubicBezTo>
                    <a:moveTo>
                      <a:pt x="46355" y="120015"/>
                    </a:moveTo>
                    <a:lnTo>
                      <a:pt x="39370" y="125095"/>
                    </a:lnTo>
                    <a:lnTo>
                      <a:pt x="63500" y="158115"/>
                    </a:lnTo>
                    <a:cubicBezTo>
                      <a:pt x="64770" y="160020"/>
                      <a:pt x="66358" y="161925"/>
                      <a:pt x="67945" y="163830"/>
                    </a:cubicBezTo>
                    <a:cubicBezTo>
                      <a:pt x="69533" y="165735"/>
                      <a:pt x="71120" y="167640"/>
                      <a:pt x="72390" y="169228"/>
                    </a:cubicBezTo>
                    <a:cubicBezTo>
                      <a:pt x="73660" y="170815"/>
                      <a:pt x="74930" y="172085"/>
                      <a:pt x="75565" y="173038"/>
                    </a:cubicBezTo>
                    <a:lnTo>
                      <a:pt x="75248" y="173355"/>
                    </a:lnTo>
                    <a:lnTo>
                      <a:pt x="8573" y="147638"/>
                    </a:lnTo>
                    <a:lnTo>
                      <a:pt x="0" y="153988"/>
                    </a:lnTo>
                    <a:lnTo>
                      <a:pt x="42863" y="212725"/>
                    </a:lnTo>
                    <a:lnTo>
                      <a:pt x="49530" y="207645"/>
                    </a:lnTo>
                    <a:lnTo>
                      <a:pt x="25717" y="174943"/>
                    </a:lnTo>
                    <a:cubicBezTo>
                      <a:pt x="23495" y="172085"/>
                      <a:pt x="21273" y="168910"/>
                      <a:pt x="19050" y="166370"/>
                    </a:cubicBezTo>
                    <a:cubicBezTo>
                      <a:pt x="16828" y="163513"/>
                      <a:pt x="14923" y="161290"/>
                      <a:pt x="13335" y="159385"/>
                    </a:cubicBezTo>
                    <a:lnTo>
                      <a:pt x="13653" y="159068"/>
                    </a:lnTo>
                    <a:lnTo>
                      <a:pt x="80645" y="184785"/>
                    </a:lnTo>
                    <a:lnTo>
                      <a:pt x="89217" y="178435"/>
                    </a:lnTo>
                    <a:lnTo>
                      <a:pt x="46355" y="120015"/>
                    </a:lnTo>
                    <a:close/>
                  </a:path>
                </a:pathLst>
              </a:custGeom>
              <a:solidFill>
                <a:srgbClr val="001965"/>
              </a:solidFill>
              <a:ln w="3175" cap="flat">
                <a:noFill/>
                <a:prstDash val="solid"/>
                <a:miter/>
              </a:ln>
            </p:spPr>
            <p:txBody>
              <a:bodyPr rtlCol="0" anchor="ctr"/>
              <a:lstStyle/>
              <a:p>
                <a:endParaRPr lang="en-GB">
                  <a:solidFill>
                    <a:srgbClr val="000000"/>
                  </a:solidFill>
                  <a:latin typeface="Verdana"/>
                </a:endParaRPr>
              </a:p>
            </p:txBody>
          </p:sp>
        </p:grpSp>
      </p:grpSp>
      <p:sp>
        <p:nvSpPr>
          <p:cNvPr id="3" name="Slide Number Placeholder 2">
            <a:extLst>
              <a:ext uri="{FF2B5EF4-FFF2-40B4-BE49-F238E27FC236}">
                <a16:creationId xmlns:a16="http://schemas.microsoft.com/office/drawing/2014/main" id="{AB04317D-E8AC-4B19-99DB-3C22A04B2141}"/>
              </a:ext>
            </a:extLst>
          </p:cNvPr>
          <p:cNvSpPr>
            <a:spLocks noGrp="1"/>
          </p:cNvSpPr>
          <p:nvPr>
            <p:ph type="sldNum" sz="quarter" idx="12"/>
          </p:nvPr>
        </p:nvSpPr>
        <p:spPr/>
        <p:txBody>
          <a:bodyPr/>
          <a:lstStyle/>
          <a:p>
            <a:fld id="{23AA811B-2EBD-4900-905E-5BE206449611}" type="slidenum">
              <a:rPr lang="en-GB" smtClean="0"/>
              <a:t>15</a:t>
            </a:fld>
            <a:endParaRPr lang="en-GB"/>
          </a:p>
        </p:txBody>
      </p:sp>
    </p:spTree>
    <p:custDataLst>
      <p:tags r:id="rId1"/>
    </p:custDataLst>
    <p:extLst>
      <p:ext uri="{BB962C8B-B14F-4D97-AF65-F5344CB8AC3E}">
        <p14:creationId xmlns:p14="http://schemas.microsoft.com/office/powerpoint/2010/main" val="40722518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4886231E-0852-7448-AC9F-7BA566596B4F}"/>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a:stretch/>
        </p:blipFill>
        <p:spPr>
          <a:xfrm>
            <a:off x="1" y="2217"/>
            <a:ext cx="12193198" cy="6857165"/>
          </a:xfrm>
        </p:spPr>
      </p:pic>
      <p:sp>
        <p:nvSpPr>
          <p:cNvPr id="3" name="Title 2">
            <a:extLst>
              <a:ext uri="{FF2B5EF4-FFF2-40B4-BE49-F238E27FC236}">
                <a16:creationId xmlns:a16="http://schemas.microsoft.com/office/drawing/2014/main" id="{8117F3F4-415C-7F4F-B94E-7610491E4537}"/>
              </a:ext>
            </a:extLst>
          </p:cNvPr>
          <p:cNvSpPr>
            <a:spLocks noGrp="1"/>
          </p:cNvSpPr>
          <p:nvPr>
            <p:ph type="title"/>
          </p:nvPr>
        </p:nvSpPr>
        <p:spPr>
          <a:xfrm>
            <a:off x="486000" y="4228083"/>
            <a:ext cx="9391547" cy="2144393"/>
          </a:xfrm>
        </p:spPr>
        <p:txBody>
          <a:bodyPr anchor="b" anchorCtr="0"/>
          <a:lstStyle/>
          <a:p>
            <a:pPr>
              <a:lnSpc>
                <a:spcPct val="80000"/>
              </a:lnSpc>
            </a:pPr>
            <a:r>
              <a:rPr lang="en-GB" sz="14800" dirty="0"/>
              <a:t>Our </a:t>
            </a:r>
            <a:br>
              <a:rPr lang="en-GB" sz="14800" dirty="0"/>
            </a:br>
            <a:r>
              <a:rPr lang="en-GB" sz="14800" dirty="0"/>
              <a:t>purpose</a:t>
            </a:r>
          </a:p>
        </p:txBody>
      </p:sp>
      <p:sp>
        <p:nvSpPr>
          <p:cNvPr id="4" name="Text Placeholder 3">
            <a:extLst>
              <a:ext uri="{FF2B5EF4-FFF2-40B4-BE49-F238E27FC236}">
                <a16:creationId xmlns:a16="http://schemas.microsoft.com/office/drawing/2014/main" id="{6B3CD084-2272-FC49-81ED-0999124EF4AE}"/>
              </a:ext>
            </a:extLst>
          </p:cNvPr>
          <p:cNvSpPr>
            <a:spLocks noGrp="1"/>
          </p:cNvSpPr>
          <p:nvPr>
            <p:ph type="body" sz="quarter" idx="19"/>
          </p:nvPr>
        </p:nvSpPr>
        <p:spPr>
          <a:xfrm>
            <a:off x="4305599" y="2994712"/>
            <a:ext cx="2467434" cy="1126199"/>
          </a:xfrm>
        </p:spPr>
        <p:txBody>
          <a:bodyPr/>
          <a:lstStyle/>
          <a:p>
            <a:pPr>
              <a:lnSpc>
                <a:spcPct val="130000"/>
              </a:lnSpc>
            </a:pPr>
            <a:r>
              <a:rPr lang="en-GB" dirty="0">
                <a:ea typeface="Apis For Office Medium" panose="020B0504010101010104" pitchFamily="34" charset="0"/>
                <a:cs typeface="Apis For Office Medium" panose="020B0504010101010104" pitchFamily="34" charset="0"/>
              </a:rPr>
              <a:t>Our heritage enables us to defeat diabetes and other serious chronic diseases</a:t>
            </a:r>
          </a:p>
          <a:p>
            <a:pPr>
              <a:lnSpc>
                <a:spcPct val="130000"/>
              </a:lnSpc>
            </a:pPr>
            <a:endParaRPr lang="en-GB">
              <a:ea typeface="Apis For Office Medium" panose="020B0504010101010104" pitchFamily="34" charset="0"/>
              <a:cs typeface="Apis For Office Medium" panose="020B0504010101010104" pitchFamily="34" charset="0"/>
            </a:endParaRPr>
          </a:p>
          <a:p>
            <a:pPr>
              <a:lnSpc>
                <a:spcPct val="130000"/>
              </a:lnSpc>
            </a:pPr>
            <a:endParaRPr lang="en-DK" dirty="0"/>
          </a:p>
        </p:txBody>
      </p:sp>
      <p:sp>
        <p:nvSpPr>
          <p:cNvPr id="5" name="Footer Placeholder 4">
            <a:extLst>
              <a:ext uri="{FF2B5EF4-FFF2-40B4-BE49-F238E27FC236}">
                <a16:creationId xmlns:a16="http://schemas.microsoft.com/office/drawing/2014/main" id="{FC15BFFA-A2A5-4043-A86E-FDCE76C90347}"/>
              </a:ext>
            </a:extLst>
          </p:cNvPr>
          <p:cNvSpPr>
            <a:spLocks noGrp="1"/>
          </p:cNvSpPr>
          <p:nvPr>
            <p:ph type="ftr" sz="quarter" idx="16"/>
          </p:nvPr>
        </p:nvSpPr>
        <p:spPr>
          <a:xfrm>
            <a:off x="648000" y="298238"/>
            <a:ext cx="1919288" cy="486855"/>
          </a:xfrm>
        </p:spPr>
        <p:txBody>
          <a:bodyPr/>
          <a:lstStyle/>
          <a:p>
            <a:pPr>
              <a:lnSpc>
                <a:spcPct val="120000"/>
              </a:lnSpc>
            </a:pPr>
            <a:r>
              <a:rPr lang="en-GB" altLang="da-DK" sz="800" b="1"/>
              <a:t>Novo Nordisk company presentation</a:t>
            </a:r>
            <a:endParaRPr lang="en-GB" sz="700" dirty="0"/>
          </a:p>
        </p:txBody>
      </p:sp>
      <p:sp>
        <p:nvSpPr>
          <p:cNvPr id="6" name="Slide Number Placeholder 5">
            <a:extLst>
              <a:ext uri="{FF2B5EF4-FFF2-40B4-BE49-F238E27FC236}">
                <a16:creationId xmlns:a16="http://schemas.microsoft.com/office/drawing/2014/main" id="{A414C5D3-D9AC-FF4A-A855-67C902A3BA84}"/>
              </a:ext>
            </a:extLst>
          </p:cNvPr>
          <p:cNvSpPr>
            <a:spLocks noGrp="1"/>
          </p:cNvSpPr>
          <p:nvPr>
            <p:ph type="sldNum" sz="quarter" idx="17"/>
          </p:nvPr>
        </p:nvSpPr>
        <p:spPr/>
        <p:txBody>
          <a:bodyPr/>
          <a:lstStyle/>
          <a:p>
            <a:fld id="{23AA811B-2EBD-4900-905E-5BE206449611}" type="slidenum">
              <a:rPr lang="en-GB" smtClean="0"/>
              <a:pPr/>
              <a:t>16</a:t>
            </a:fld>
            <a:endParaRPr lang="en-GB"/>
          </a:p>
        </p:txBody>
      </p:sp>
      <p:sp>
        <p:nvSpPr>
          <p:cNvPr id="7" name="Rectangle 11">
            <a:extLst>
              <a:ext uri="{FF2B5EF4-FFF2-40B4-BE49-F238E27FC236}">
                <a16:creationId xmlns:a16="http://schemas.microsoft.com/office/drawing/2014/main" id="{835599E0-E9A3-47F2-B378-564A59CD30DE}"/>
              </a:ext>
            </a:extLst>
          </p:cNvPr>
          <p:cNvSpPr>
            <a:spLocks noChangeArrowheads="1"/>
          </p:cNvSpPr>
          <p:nvPr/>
        </p:nvSpPr>
        <p:spPr bwMode="auto">
          <a:xfrm>
            <a:off x="9652000" y="5775966"/>
            <a:ext cx="1874250" cy="432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lIns="0" tIns="0" rIns="0" bIns="0">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lvl="0" algn="r" eaLnBrk="1" hangingPunct="1">
              <a:lnSpc>
                <a:spcPct val="120000"/>
              </a:lnSpc>
              <a:spcBef>
                <a:spcPct val="0"/>
              </a:spcBef>
              <a:buClrTx/>
              <a:buNone/>
              <a:defRPr/>
            </a:pPr>
            <a:r>
              <a:rPr lang="en-GB" altLang="da-DK" sz="800" b="1" noProof="1">
                <a:solidFill>
                  <a:schemeClr val="bg1"/>
                </a:solidFill>
                <a:latin typeface="+mn-lt"/>
              </a:rPr>
              <a:t>Otávio Domingos da Costa</a:t>
            </a:r>
          </a:p>
          <a:p>
            <a:pPr lvl="0" algn="r" eaLnBrk="1" hangingPunct="1">
              <a:lnSpc>
                <a:spcPct val="120000"/>
              </a:lnSpc>
              <a:spcBef>
                <a:spcPct val="0"/>
              </a:spcBef>
              <a:buClrTx/>
              <a:buNone/>
              <a:defRPr/>
            </a:pPr>
            <a:r>
              <a:rPr lang="en-GB" altLang="da-DK" sz="800" noProof="1">
                <a:solidFill>
                  <a:schemeClr val="bg1"/>
                </a:solidFill>
                <a:latin typeface="+mn-lt"/>
              </a:rPr>
              <a:t>Otávio has type 2 diabetes and obesity</a:t>
            </a:r>
          </a:p>
          <a:p>
            <a:pPr lvl="0" algn="r" eaLnBrk="1" hangingPunct="1">
              <a:lnSpc>
                <a:spcPct val="120000"/>
              </a:lnSpc>
              <a:spcBef>
                <a:spcPct val="0"/>
              </a:spcBef>
              <a:buClrTx/>
              <a:buNone/>
              <a:defRPr/>
            </a:pPr>
            <a:r>
              <a:rPr lang="en-GB" altLang="da-DK" sz="800" noProof="1">
                <a:solidFill>
                  <a:schemeClr val="bg1"/>
                </a:solidFill>
                <a:latin typeface="+mn-lt"/>
              </a:rPr>
              <a:t>Brazil</a:t>
            </a:r>
          </a:p>
        </p:txBody>
      </p:sp>
    </p:spTree>
    <p:custDataLst>
      <p:tags r:id="rId1"/>
    </p:custDataLst>
    <p:extLst>
      <p:ext uri="{BB962C8B-B14F-4D97-AF65-F5344CB8AC3E}">
        <p14:creationId xmlns:p14="http://schemas.microsoft.com/office/powerpoint/2010/main" val="3859896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5000" fill="hold" nodeType="withEffect">
                                  <p:stCondLst>
                                    <p:cond delay="0"/>
                                  </p:stCondLst>
                                  <p:childTnLst>
                                    <p:animScale>
                                      <p:cBhvr>
                                        <p:cTn id="6" dur="20000" fill="hold"/>
                                        <p:tgtEl>
                                          <p:spTgt spid="8"/>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photo, man, looking, screen&#10;&#10;Description automatically generated">
            <a:extLst>
              <a:ext uri="{FF2B5EF4-FFF2-40B4-BE49-F238E27FC236}">
                <a16:creationId xmlns:a16="http://schemas.microsoft.com/office/drawing/2014/main" id="{A49A2AAB-8BB7-472B-95F0-343F2B0735B9}"/>
              </a:ext>
            </a:extLst>
          </p:cNvPr>
          <p:cNvPicPr>
            <a:picLocks noChangeAspect="1"/>
          </p:cNvPicPr>
          <p:nvPr/>
        </p:nvPicPr>
        <p:blipFill rotWithShape="1">
          <a:blip r:embed="rId4">
            <a:extLst>
              <a:ext uri="{28A0092B-C50C-407E-A947-70E740481C1C}">
                <a14:useLocalDpi xmlns:a14="http://schemas.microsoft.com/office/drawing/2010/main" val="0"/>
              </a:ext>
            </a:extLst>
          </a:blip>
          <a:srcRect l="20919"/>
          <a:stretch/>
        </p:blipFill>
        <p:spPr>
          <a:xfrm>
            <a:off x="0" y="0"/>
            <a:ext cx="6797296" cy="5010922"/>
          </a:xfrm>
          <a:prstGeom prst="rect">
            <a:avLst/>
          </a:prstGeom>
        </p:spPr>
      </p:pic>
      <p:sp>
        <p:nvSpPr>
          <p:cNvPr id="4" name="Text Placeholder 3">
            <a:extLst>
              <a:ext uri="{FF2B5EF4-FFF2-40B4-BE49-F238E27FC236}">
                <a16:creationId xmlns:a16="http://schemas.microsoft.com/office/drawing/2014/main" id="{150DD42F-0258-0E45-A0D6-DA260DBBCC95}"/>
              </a:ext>
            </a:extLst>
          </p:cNvPr>
          <p:cNvSpPr>
            <a:spLocks noGrp="1"/>
          </p:cNvSpPr>
          <p:nvPr>
            <p:ph type="body" sz="quarter" idx="13"/>
          </p:nvPr>
        </p:nvSpPr>
        <p:spPr/>
        <p:txBody>
          <a:bodyPr/>
          <a:lstStyle/>
          <a:p>
            <a:endParaRPr lang="en-GB" dirty="0"/>
          </a:p>
        </p:txBody>
      </p:sp>
      <p:sp>
        <p:nvSpPr>
          <p:cNvPr id="9" name="Pladsholder til sidefod 8">
            <a:extLst>
              <a:ext uri="{FF2B5EF4-FFF2-40B4-BE49-F238E27FC236}">
                <a16:creationId xmlns:a16="http://schemas.microsoft.com/office/drawing/2014/main" id="{17F63DE8-36F5-E042-BE62-28D7DA09D107}"/>
              </a:ext>
            </a:extLst>
          </p:cNvPr>
          <p:cNvSpPr>
            <a:spLocks noGrp="1"/>
          </p:cNvSpPr>
          <p:nvPr>
            <p:ph type="ftr" sz="quarter" idx="11"/>
          </p:nvPr>
        </p:nvSpPr>
        <p:spPr/>
        <p:txBody>
          <a:bodyPr/>
          <a:lstStyle/>
          <a:p>
            <a:r>
              <a:rPr lang="en-GB"/>
              <a:t>Novo Nordisk company presentation</a:t>
            </a:r>
          </a:p>
        </p:txBody>
      </p:sp>
      <p:sp>
        <p:nvSpPr>
          <p:cNvPr id="10" name="Pladsholder til slidenummer 9">
            <a:extLst>
              <a:ext uri="{FF2B5EF4-FFF2-40B4-BE49-F238E27FC236}">
                <a16:creationId xmlns:a16="http://schemas.microsoft.com/office/drawing/2014/main" id="{6F64D37A-2E16-BC4B-8309-15AE55DE5A80}"/>
              </a:ext>
            </a:extLst>
          </p:cNvPr>
          <p:cNvSpPr>
            <a:spLocks noGrp="1"/>
          </p:cNvSpPr>
          <p:nvPr>
            <p:ph type="sldNum" sz="quarter" idx="12"/>
          </p:nvPr>
        </p:nvSpPr>
        <p:spPr/>
        <p:txBody>
          <a:bodyPr/>
          <a:lstStyle/>
          <a:p>
            <a:fld id="{23AA811B-2EBD-4900-905E-5BE206449611}" type="slidenum">
              <a:rPr lang="en-GB" smtClean="0"/>
              <a:t>17</a:t>
            </a:fld>
            <a:endParaRPr lang="en-GB"/>
          </a:p>
        </p:txBody>
      </p:sp>
      <p:sp>
        <p:nvSpPr>
          <p:cNvPr id="38" name="Title 44">
            <a:extLst>
              <a:ext uri="{FF2B5EF4-FFF2-40B4-BE49-F238E27FC236}">
                <a16:creationId xmlns:a16="http://schemas.microsoft.com/office/drawing/2014/main" id="{F6641A70-C7D5-F643-AC76-1BBF66B609DC}"/>
              </a:ext>
            </a:extLst>
          </p:cNvPr>
          <p:cNvSpPr txBox="1">
            <a:spLocks/>
          </p:cNvSpPr>
          <p:nvPr/>
        </p:nvSpPr>
        <p:spPr>
          <a:xfrm>
            <a:off x="7120604" y="759901"/>
            <a:ext cx="4038346" cy="3083921"/>
          </a:xfrm>
          <a:prstGeom prst="rect">
            <a:avLst/>
          </a:prstGeom>
        </p:spPr>
        <p:txBody>
          <a:bodyPr wrap="square" anchor="b" anchorCtr="0">
            <a:spAutoFit/>
          </a:bodyPr>
          <a:lst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a:lstStyle>
          <a:p>
            <a:pPr>
              <a:lnSpc>
                <a:spcPct val="90000"/>
              </a:lnSpc>
            </a:pPr>
            <a:r>
              <a:rPr lang="en-GB" altLang="da-DK" sz="7200" dirty="0">
                <a:latin typeface="Apis For Office" panose="020B0504010101010104" pitchFamily="34" charset="0"/>
                <a:ea typeface="Apis For Office" panose="020B0504010101010104" pitchFamily="34" charset="0"/>
                <a:cs typeface="Apis For Office" panose="020B0504010101010104" pitchFamily="34" charset="0"/>
              </a:rPr>
              <a:t>Driven </a:t>
            </a:r>
          </a:p>
          <a:p>
            <a:pPr>
              <a:lnSpc>
                <a:spcPct val="90000"/>
              </a:lnSpc>
            </a:pPr>
            <a:r>
              <a:rPr lang="en-GB" altLang="da-DK" sz="7200" dirty="0">
                <a:latin typeface="Apis For Office" panose="020B0504010101010104" pitchFamily="34" charset="0"/>
                <a:ea typeface="Apis For Office" panose="020B0504010101010104" pitchFamily="34" charset="0"/>
                <a:cs typeface="Apis For Office" panose="020B0504010101010104" pitchFamily="34" charset="0"/>
              </a:rPr>
              <a:t>by </a:t>
            </a:r>
            <a:r>
              <a:rPr lang="en-GB" sz="7200" dirty="0">
                <a:latin typeface="Apis For Office" panose="020B0504010101010104" pitchFamily="34" charset="0"/>
                <a:ea typeface="Apis For Office" panose="020B0504010101010104" pitchFamily="34" charset="0"/>
                <a:cs typeface="Apis For Office" panose="020B0504010101010104" pitchFamily="34" charset="0"/>
              </a:rPr>
              <a:t>our purpose</a:t>
            </a:r>
          </a:p>
        </p:txBody>
      </p:sp>
      <p:sp>
        <p:nvSpPr>
          <p:cNvPr id="20" name="Pladsholder til slidenummer 9">
            <a:extLst>
              <a:ext uri="{FF2B5EF4-FFF2-40B4-BE49-F238E27FC236}">
                <a16:creationId xmlns:a16="http://schemas.microsoft.com/office/drawing/2014/main" id="{52F32AB0-CFA8-E24E-84BD-E3D43AC2DA5D}"/>
              </a:ext>
            </a:extLst>
          </p:cNvPr>
          <p:cNvSpPr txBox="1">
            <a:spLocks/>
          </p:cNvSpPr>
          <p:nvPr/>
        </p:nvSpPr>
        <p:spPr>
          <a:xfrm>
            <a:off x="324000" y="324000"/>
            <a:ext cx="324000" cy="125850"/>
          </a:xfrm>
          <a:prstGeom prst="rect">
            <a:avLst/>
          </a:prstGeom>
        </p:spPr>
        <p:txBody>
          <a:bodyPr vert="horz" lIns="0" tIns="0" rIns="0" bIns="0" rtlCol="0" anchor="t"/>
          <a:lstStyle>
            <a:defPPr>
              <a:defRPr lang="en-US"/>
            </a:defPPr>
            <a:lvl1pPr marL="0" algn="l" defTabSz="914400" rtl="0" eaLnBrk="1" latinLnBrk="0" hangingPunct="1">
              <a:defRPr sz="6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mtClean="0"/>
              <a:pPr/>
              <a:t>17</a:t>
            </a:fld>
            <a:endParaRPr lang="en-GB"/>
          </a:p>
        </p:txBody>
      </p:sp>
      <p:grpSp>
        <p:nvGrpSpPr>
          <p:cNvPr id="22" name="Group 6">
            <a:extLst>
              <a:ext uri="{FF2B5EF4-FFF2-40B4-BE49-F238E27FC236}">
                <a16:creationId xmlns:a16="http://schemas.microsoft.com/office/drawing/2014/main" id="{EA739130-8824-FB41-8D13-4B9B573F2737}"/>
              </a:ext>
            </a:extLst>
          </p:cNvPr>
          <p:cNvGrpSpPr>
            <a:grpSpLocks noChangeAspect="1"/>
          </p:cNvGrpSpPr>
          <p:nvPr/>
        </p:nvGrpSpPr>
        <p:grpSpPr>
          <a:xfrm>
            <a:off x="3611340" y="3778827"/>
            <a:ext cx="2146222" cy="2167128"/>
            <a:chOff x="3652838" y="1654176"/>
            <a:chExt cx="1838325" cy="1852613"/>
          </a:xfrm>
        </p:grpSpPr>
        <p:sp>
          <p:nvSpPr>
            <p:cNvPr id="23" name="Oval 42">
              <a:extLst>
                <a:ext uri="{FF2B5EF4-FFF2-40B4-BE49-F238E27FC236}">
                  <a16:creationId xmlns:a16="http://schemas.microsoft.com/office/drawing/2014/main" id="{1095166E-D338-204D-962F-CE2C88807705}"/>
                </a:ext>
              </a:extLst>
            </p:cNvPr>
            <p:cNvSpPr>
              <a:spLocks noChangeArrowheads="1"/>
            </p:cNvSpPr>
            <p:nvPr/>
          </p:nvSpPr>
          <p:spPr bwMode="auto">
            <a:xfrm>
              <a:off x="3652838" y="1654176"/>
              <a:ext cx="1838325" cy="1852613"/>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4" name="Oval 43">
              <a:extLst>
                <a:ext uri="{FF2B5EF4-FFF2-40B4-BE49-F238E27FC236}">
                  <a16:creationId xmlns:a16="http://schemas.microsoft.com/office/drawing/2014/main" id="{FC190AE7-C26C-1E48-BEEC-46A09FD9918D}"/>
                </a:ext>
              </a:extLst>
            </p:cNvPr>
            <p:cNvSpPr>
              <a:spLocks noChangeArrowheads="1"/>
            </p:cNvSpPr>
            <p:nvPr/>
          </p:nvSpPr>
          <p:spPr bwMode="auto">
            <a:xfrm>
              <a:off x="3706813" y="1709738"/>
              <a:ext cx="1728788" cy="1741488"/>
            </a:xfrm>
            <a:prstGeom prst="ellipse">
              <a:avLst/>
            </a:prstGeom>
            <a:solidFill>
              <a:srgbClr val="E2F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5" name="Oval 44">
              <a:extLst>
                <a:ext uri="{FF2B5EF4-FFF2-40B4-BE49-F238E27FC236}">
                  <a16:creationId xmlns:a16="http://schemas.microsoft.com/office/drawing/2014/main" id="{9CB6441E-7DCA-0F40-B0FD-A54344DB2FC4}"/>
                </a:ext>
              </a:extLst>
            </p:cNvPr>
            <p:cNvSpPr>
              <a:spLocks noChangeArrowheads="1"/>
            </p:cNvSpPr>
            <p:nvPr/>
          </p:nvSpPr>
          <p:spPr bwMode="auto">
            <a:xfrm>
              <a:off x="3976688" y="1981201"/>
              <a:ext cx="1189038" cy="11969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6" name="Freeform 45">
              <a:extLst>
                <a:ext uri="{FF2B5EF4-FFF2-40B4-BE49-F238E27FC236}">
                  <a16:creationId xmlns:a16="http://schemas.microsoft.com/office/drawing/2014/main" id="{785431C4-7692-754D-85D8-83CD80467DAA}"/>
                </a:ext>
              </a:extLst>
            </p:cNvPr>
            <p:cNvSpPr>
              <a:spLocks noEditPoints="1"/>
            </p:cNvSpPr>
            <p:nvPr/>
          </p:nvSpPr>
          <p:spPr bwMode="auto">
            <a:xfrm>
              <a:off x="4146550" y="2770188"/>
              <a:ext cx="850900" cy="82550"/>
            </a:xfrm>
            <a:custGeom>
              <a:avLst/>
              <a:gdLst>
                <a:gd name="T0" fmla="*/ 1252 w 1295"/>
                <a:gd name="T1" fmla="*/ 56 h 124"/>
                <a:gd name="T2" fmla="*/ 1263 w 1295"/>
                <a:gd name="T3" fmla="*/ 33 h 124"/>
                <a:gd name="T4" fmla="*/ 1265 w 1295"/>
                <a:gd name="T5" fmla="*/ 91 h 124"/>
                <a:gd name="T6" fmla="*/ 1229 w 1295"/>
                <a:gd name="T7" fmla="*/ 99 h 124"/>
                <a:gd name="T8" fmla="*/ 1292 w 1295"/>
                <a:gd name="T9" fmla="*/ 83 h 124"/>
                <a:gd name="T10" fmla="*/ 1188 w 1295"/>
                <a:gd name="T11" fmla="*/ 55 h 124"/>
                <a:gd name="T12" fmla="*/ 1179 w 1295"/>
                <a:gd name="T13" fmla="*/ 124 h 124"/>
                <a:gd name="T14" fmla="*/ 1164 w 1295"/>
                <a:gd name="T15" fmla="*/ 100 h 124"/>
                <a:gd name="T16" fmla="*/ 1154 w 1295"/>
                <a:gd name="T17" fmla="*/ 38 h 124"/>
                <a:gd name="T18" fmla="*/ 1078 w 1295"/>
                <a:gd name="T19" fmla="*/ 56 h 124"/>
                <a:gd name="T20" fmla="*/ 1089 w 1295"/>
                <a:gd name="T21" fmla="*/ 33 h 124"/>
                <a:gd name="T22" fmla="*/ 1091 w 1295"/>
                <a:gd name="T23" fmla="*/ 91 h 124"/>
                <a:gd name="T24" fmla="*/ 1055 w 1295"/>
                <a:gd name="T25" fmla="*/ 99 h 124"/>
                <a:gd name="T26" fmla="*/ 1118 w 1295"/>
                <a:gd name="T27" fmla="*/ 83 h 124"/>
                <a:gd name="T28" fmla="*/ 987 w 1295"/>
                <a:gd name="T29" fmla="*/ 86 h 124"/>
                <a:gd name="T30" fmla="*/ 974 w 1295"/>
                <a:gd name="T31" fmla="*/ 57 h 124"/>
                <a:gd name="T32" fmla="*/ 997 w 1295"/>
                <a:gd name="T33" fmla="*/ 68 h 124"/>
                <a:gd name="T34" fmla="*/ 1014 w 1295"/>
                <a:gd name="T35" fmla="*/ 110 h 124"/>
                <a:gd name="T36" fmla="*/ 999 w 1295"/>
                <a:gd name="T37" fmla="*/ 33 h 124"/>
                <a:gd name="T38" fmla="*/ 905 w 1295"/>
                <a:gd name="T39" fmla="*/ 50 h 124"/>
                <a:gd name="T40" fmla="*/ 885 w 1295"/>
                <a:gd name="T41" fmla="*/ 119 h 124"/>
                <a:gd name="T42" fmla="*/ 909 w 1295"/>
                <a:gd name="T43" fmla="*/ 106 h 124"/>
                <a:gd name="T44" fmla="*/ 905 w 1295"/>
                <a:gd name="T45" fmla="*/ 33 h 124"/>
                <a:gd name="T46" fmla="*/ 809 w 1295"/>
                <a:gd name="T47" fmla="*/ 60 h 124"/>
                <a:gd name="T48" fmla="*/ 834 w 1295"/>
                <a:gd name="T49" fmla="*/ 35 h 124"/>
                <a:gd name="T50" fmla="*/ 808 w 1295"/>
                <a:gd name="T51" fmla="*/ 85 h 124"/>
                <a:gd name="T52" fmla="*/ 799 w 1295"/>
                <a:gd name="T53" fmla="*/ 104 h 124"/>
                <a:gd name="T54" fmla="*/ 850 w 1295"/>
                <a:gd name="T55" fmla="*/ 96 h 124"/>
                <a:gd name="T56" fmla="*/ 740 w 1295"/>
                <a:gd name="T57" fmla="*/ 122 h 124"/>
                <a:gd name="T58" fmla="*/ 765 w 1295"/>
                <a:gd name="T59" fmla="*/ 12 h 124"/>
                <a:gd name="T60" fmla="*/ 663 w 1295"/>
                <a:gd name="T61" fmla="*/ 59 h 124"/>
                <a:gd name="T62" fmla="*/ 675 w 1295"/>
                <a:gd name="T63" fmla="*/ 105 h 124"/>
                <a:gd name="T64" fmla="*/ 715 w 1295"/>
                <a:gd name="T65" fmla="*/ 122 h 124"/>
                <a:gd name="T66" fmla="*/ 693 w 1295"/>
                <a:gd name="T67" fmla="*/ 46 h 124"/>
                <a:gd name="T68" fmla="*/ 667 w 1295"/>
                <a:gd name="T69" fmla="*/ 124 h 124"/>
                <a:gd name="T70" fmla="*/ 553 w 1295"/>
                <a:gd name="T71" fmla="*/ 104 h 124"/>
                <a:gd name="T72" fmla="*/ 580 w 1295"/>
                <a:gd name="T73" fmla="*/ 39 h 124"/>
                <a:gd name="T74" fmla="*/ 521 w 1295"/>
                <a:gd name="T75" fmla="*/ 113 h 124"/>
                <a:gd name="T76" fmla="*/ 467 w 1295"/>
                <a:gd name="T77" fmla="*/ 35 h 124"/>
                <a:gd name="T78" fmla="*/ 488 w 1295"/>
                <a:gd name="T79" fmla="*/ 21 h 124"/>
                <a:gd name="T80" fmla="*/ 384 w 1295"/>
                <a:gd name="T81" fmla="*/ 46 h 124"/>
                <a:gd name="T82" fmla="*/ 385 w 1295"/>
                <a:gd name="T83" fmla="*/ 81 h 124"/>
                <a:gd name="T84" fmla="*/ 442 w 1295"/>
                <a:gd name="T85" fmla="*/ 122 h 124"/>
                <a:gd name="T86" fmla="*/ 299 w 1295"/>
                <a:gd name="T87" fmla="*/ 52 h 124"/>
                <a:gd name="T88" fmla="*/ 281 w 1295"/>
                <a:gd name="T89" fmla="*/ 78 h 124"/>
                <a:gd name="T90" fmla="*/ 257 w 1295"/>
                <a:gd name="T91" fmla="*/ 78 h 124"/>
                <a:gd name="T92" fmla="*/ 336 w 1295"/>
                <a:gd name="T93" fmla="*/ 54 h 124"/>
                <a:gd name="T94" fmla="*/ 193 w 1295"/>
                <a:gd name="T95" fmla="*/ 122 h 124"/>
                <a:gd name="T96" fmla="*/ 245 w 1295"/>
                <a:gd name="T97" fmla="*/ 56 h 124"/>
                <a:gd name="T98" fmla="*/ 88 w 1295"/>
                <a:gd name="T99" fmla="*/ 0 h 124"/>
                <a:gd name="T100" fmla="*/ 145 w 1295"/>
                <a:gd name="T101" fmla="*/ 71 h 124"/>
                <a:gd name="T102" fmla="*/ 123 w 1295"/>
                <a:gd name="T103" fmla="*/ 36 h 124"/>
                <a:gd name="T104" fmla="*/ 88 w 1295"/>
                <a:gd name="T105" fmla="*/ 0 h 124"/>
                <a:gd name="T106" fmla="*/ 29 w 1295"/>
                <a:gd name="T107" fmla="*/ 98 h 124"/>
                <a:gd name="T108" fmla="*/ 59 w 1295"/>
                <a:gd name="T109" fmla="*/ 35 h 124"/>
                <a:gd name="T110" fmla="*/ 41 w 1295"/>
                <a:gd name="T11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95" h="124">
                  <a:moveTo>
                    <a:pt x="1292" y="83"/>
                  </a:moveTo>
                  <a:cubicBezTo>
                    <a:pt x="1290" y="80"/>
                    <a:pt x="1287" y="77"/>
                    <a:pt x="1284" y="75"/>
                  </a:cubicBezTo>
                  <a:cubicBezTo>
                    <a:pt x="1280" y="73"/>
                    <a:pt x="1276" y="71"/>
                    <a:pt x="1271" y="69"/>
                  </a:cubicBezTo>
                  <a:cubicBezTo>
                    <a:pt x="1266" y="67"/>
                    <a:pt x="1262" y="65"/>
                    <a:pt x="1259" y="64"/>
                  </a:cubicBezTo>
                  <a:cubicBezTo>
                    <a:pt x="1256" y="63"/>
                    <a:pt x="1255" y="61"/>
                    <a:pt x="1254" y="60"/>
                  </a:cubicBezTo>
                  <a:cubicBezTo>
                    <a:pt x="1253" y="59"/>
                    <a:pt x="1252" y="58"/>
                    <a:pt x="1252" y="56"/>
                  </a:cubicBezTo>
                  <a:cubicBezTo>
                    <a:pt x="1252" y="53"/>
                    <a:pt x="1256" y="51"/>
                    <a:pt x="1263" y="51"/>
                  </a:cubicBezTo>
                  <a:cubicBezTo>
                    <a:pt x="1267" y="51"/>
                    <a:pt x="1271" y="51"/>
                    <a:pt x="1275" y="53"/>
                  </a:cubicBezTo>
                  <a:cubicBezTo>
                    <a:pt x="1279" y="54"/>
                    <a:pt x="1283" y="55"/>
                    <a:pt x="1287" y="57"/>
                  </a:cubicBezTo>
                  <a:cubicBezTo>
                    <a:pt x="1294" y="40"/>
                    <a:pt x="1294" y="40"/>
                    <a:pt x="1294" y="40"/>
                  </a:cubicBezTo>
                  <a:cubicBezTo>
                    <a:pt x="1289" y="38"/>
                    <a:pt x="1284" y="36"/>
                    <a:pt x="1279" y="35"/>
                  </a:cubicBezTo>
                  <a:cubicBezTo>
                    <a:pt x="1274" y="34"/>
                    <a:pt x="1269" y="33"/>
                    <a:pt x="1263" y="33"/>
                  </a:cubicBezTo>
                  <a:cubicBezTo>
                    <a:pt x="1253" y="33"/>
                    <a:pt x="1244" y="35"/>
                    <a:pt x="1238" y="39"/>
                  </a:cubicBezTo>
                  <a:cubicBezTo>
                    <a:pt x="1232" y="43"/>
                    <a:pt x="1229" y="49"/>
                    <a:pt x="1229" y="57"/>
                  </a:cubicBezTo>
                  <a:cubicBezTo>
                    <a:pt x="1229" y="62"/>
                    <a:pt x="1230" y="66"/>
                    <a:pt x="1231" y="70"/>
                  </a:cubicBezTo>
                  <a:cubicBezTo>
                    <a:pt x="1233" y="73"/>
                    <a:pt x="1236" y="76"/>
                    <a:pt x="1239" y="78"/>
                  </a:cubicBezTo>
                  <a:cubicBezTo>
                    <a:pt x="1243" y="80"/>
                    <a:pt x="1247" y="83"/>
                    <a:pt x="1253" y="85"/>
                  </a:cubicBezTo>
                  <a:cubicBezTo>
                    <a:pt x="1258" y="87"/>
                    <a:pt x="1262" y="89"/>
                    <a:pt x="1265" y="91"/>
                  </a:cubicBezTo>
                  <a:cubicBezTo>
                    <a:pt x="1268" y="92"/>
                    <a:pt x="1269" y="94"/>
                    <a:pt x="1270" y="95"/>
                  </a:cubicBezTo>
                  <a:cubicBezTo>
                    <a:pt x="1271" y="96"/>
                    <a:pt x="1271" y="97"/>
                    <a:pt x="1271" y="99"/>
                  </a:cubicBezTo>
                  <a:cubicBezTo>
                    <a:pt x="1271" y="101"/>
                    <a:pt x="1270" y="103"/>
                    <a:pt x="1268" y="104"/>
                  </a:cubicBezTo>
                  <a:cubicBezTo>
                    <a:pt x="1266" y="106"/>
                    <a:pt x="1263" y="106"/>
                    <a:pt x="1259" y="106"/>
                  </a:cubicBezTo>
                  <a:cubicBezTo>
                    <a:pt x="1254" y="106"/>
                    <a:pt x="1250" y="106"/>
                    <a:pt x="1244" y="104"/>
                  </a:cubicBezTo>
                  <a:cubicBezTo>
                    <a:pt x="1239" y="103"/>
                    <a:pt x="1234" y="101"/>
                    <a:pt x="1229" y="99"/>
                  </a:cubicBezTo>
                  <a:cubicBezTo>
                    <a:pt x="1229" y="119"/>
                    <a:pt x="1229" y="119"/>
                    <a:pt x="1229" y="119"/>
                  </a:cubicBezTo>
                  <a:cubicBezTo>
                    <a:pt x="1233" y="120"/>
                    <a:pt x="1238" y="122"/>
                    <a:pt x="1242" y="122"/>
                  </a:cubicBezTo>
                  <a:cubicBezTo>
                    <a:pt x="1246" y="123"/>
                    <a:pt x="1252" y="124"/>
                    <a:pt x="1258" y="124"/>
                  </a:cubicBezTo>
                  <a:cubicBezTo>
                    <a:pt x="1270" y="124"/>
                    <a:pt x="1279" y="121"/>
                    <a:pt x="1286" y="117"/>
                  </a:cubicBezTo>
                  <a:cubicBezTo>
                    <a:pt x="1292" y="112"/>
                    <a:pt x="1295" y="105"/>
                    <a:pt x="1295" y="96"/>
                  </a:cubicBezTo>
                  <a:cubicBezTo>
                    <a:pt x="1295" y="91"/>
                    <a:pt x="1294" y="87"/>
                    <a:pt x="1292" y="83"/>
                  </a:cubicBezTo>
                  <a:moveTo>
                    <a:pt x="1188" y="55"/>
                  </a:moveTo>
                  <a:cubicBezTo>
                    <a:pt x="1191" y="59"/>
                    <a:pt x="1192" y="63"/>
                    <a:pt x="1192" y="68"/>
                  </a:cubicBezTo>
                  <a:cubicBezTo>
                    <a:pt x="1159" y="68"/>
                    <a:pt x="1159" y="68"/>
                    <a:pt x="1159" y="68"/>
                  </a:cubicBezTo>
                  <a:cubicBezTo>
                    <a:pt x="1159" y="62"/>
                    <a:pt x="1161" y="58"/>
                    <a:pt x="1164" y="55"/>
                  </a:cubicBezTo>
                  <a:cubicBezTo>
                    <a:pt x="1167" y="52"/>
                    <a:pt x="1171" y="50"/>
                    <a:pt x="1176" y="50"/>
                  </a:cubicBezTo>
                  <a:cubicBezTo>
                    <a:pt x="1181" y="50"/>
                    <a:pt x="1185" y="52"/>
                    <a:pt x="1188" y="55"/>
                  </a:cubicBezTo>
                  <a:moveTo>
                    <a:pt x="1154" y="38"/>
                  </a:moveTo>
                  <a:cubicBezTo>
                    <a:pt x="1148" y="42"/>
                    <a:pt x="1143" y="47"/>
                    <a:pt x="1139" y="54"/>
                  </a:cubicBezTo>
                  <a:cubicBezTo>
                    <a:pt x="1136" y="60"/>
                    <a:pt x="1134" y="69"/>
                    <a:pt x="1134" y="79"/>
                  </a:cubicBezTo>
                  <a:cubicBezTo>
                    <a:pt x="1134" y="89"/>
                    <a:pt x="1136" y="97"/>
                    <a:pt x="1140" y="104"/>
                  </a:cubicBezTo>
                  <a:cubicBezTo>
                    <a:pt x="1144" y="111"/>
                    <a:pt x="1149" y="116"/>
                    <a:pt x="1156" y="119"/>
                  </a:cubicBezTo>
                  <a:cubicBezTo>
                    <a:pt x="1163" y="122"/>
                    <a:pt x="1170" y="124"/>
                    <a:pt x="1179" y="124"/>
                  </a:cubicBezTo>
                  <a:cubicBezTo>
                    <a:pt x="1186" y="124"/>
                    <a:pt x="1191" y="123"/>
                    <a:pt x="1196" y="122"/>
                  </a:cubicBezTo>
                  <a:cubicBezTo>
                    <a:pt x="1201" y="121"/>
                    <a:pt x="1205" y="120"/>
                    <a:pt x="1210" y="117"/>
                  </a:cubicBezTo>
                  <a:cubicBezTo>
                    <a:pt x="1210" y="99"/>
                    <a:pt x="1210" y="99"/>
                    <a:pt x="1210" y="99"/>
                  </a:cubicBezTo>
                  <a:cubicBezTo>
                    <a:pt x="1205" y="101"/>
                    <a:pt x="1200" y="103"/>
                    <a:pt x="1195" y="104"/>
                  </a:cubicBezTo>
                  <a:cubicBezTo>
                    <a:pt x="1191" y="105"/>
                    <a:pt x="1186" y="106"/>
                    <a:pt x="1180" y="106"/>
                  </a:cubicBezTo>
                  <a:cubicBezTo>
                    <a:pt x="1173" y="106"/>
                    <a:pt x="1168" y="104"/>
                    <a:pt x="1164" y="100"/>
                  </a:cubicBezTo>
                  <a:cubicBezTo>
                    <a:pt x="1161" y="96"/>
                    <a:pt x="1159" y="91"/>
                    <a:pt x="1158" y="84"/>
                  </a:cubicBezTo>
                  <a:cubicBezTo>
                    <a:pt x="1215" y="84"/>
                    <a:pt x="1215" y="84"/>
                    <a:pt x="1215" y="84"/>
                  </a:cubicBezTo>
                  <a:cubicBezTo>
                    <a:pt x="1215" y="73"/>
                    <a:pt x="1215" y="73"/>
                    <a:pt x="1215" y="73"/>
                  </a:cubicBezTo>
                  <a:cubicBezTo>
                    <a:pt x="1215" y="60"/>
                    <a:pt x="1211" y="50"/>
                    <a:pt x="1204" y="43"/>
                  </a:cubicBezTo>
                  <a:cubicBezTo>
                    <a:pt x="1197" y="37"/>
                    <a:pt x="1188" y="33"/>
                    <a:pt x="1175" y="33"/>
                  </a:cubicBezTo>
                  <a:cubicBezTo>
                    <a:pt x="1167" y="33"/>
                    <a:pt x="1160" y="35"/>
                    <a:pt x="1154" y="38"/>
                  </a:cubicBezTo>
                  <a:moveTo>
                    <a:pt x="1118" y="83"/>
                  </a:moveTo>
                  <a:cubicBezTo>
                    <a:pt x="1116" y="80"/>
                    <a:pt x="1113" y="77"/>
                    <a:pt x="1110" y="75"/>
                  </a:cubicBezTo>
                  <a:cubicBezTo>
                    <a:pt x="1106" y="73"/>
                    <a:pt x="1102" y="71"/>
                    <a:pt x="1097" y="69"/>
                  </a:cubicBezTo>
                  <a:cubicBezTo>
                    <a:pt x="1091" y="67"/>
                    <a:pt x="1088" y="65"/>
                    <a:pt x="1085" y="64"/>
                  </a:cubicBezTo>
                  <a:cubicBezTo>
                    <a:pt x="1082" y="63"/>
                    <a:pt x="1081" y="61"/>
                    <a:pt x="1080" y="60"/>
                  </a:cubicBezTo>
                  <a:cubicBezTo>
                    <a:pt x="1079" y="59"/>
                    <a:pt x="1078" y="58"/>
                    <a:pt x="1078" y="56"/>
                  </a:cubicBezTo>
                  <a:cubicBezTo>
                    <a:pt x="1078" y="53"/>
                    <a:pt x="1082" y="51"/>
                    <a:pt x="1089" y="51"/>
                  </a:cubicBezTo>
                  <a:cubicBezTo>
                    <a:pt x="1093" y="51"/>
                    <a:pt x="1097" y="51"/>
                    <a:pt x="1101" y="53"/>
                  </a:cubicBezTo>
                  <a:cubicBezTo>
                    <a:pt x="1104" y="54"/>
                    <a:pt x="1108" y="55"/>
                    <a:pt x="1113" y="57"/>
                  </a:cubicBezTo>
                  <a:cubicBezTo>
                    <a:pt x="1120" y="40"/>
                    <a:pt x="1120" y="40"/>
                    <a:pt x="1120" y="40"/>
                  </a:cubicBezTo>
                  <a:cubicBezTo>
                    <a:pt x="1115" y="38"/>
                    <a:pt x="1110" y="36"/>
                    <a:pt x="1105" y="35"/>
                  </a:cubicBezTo>
                  <a:cubicBezTo>
                    <a:pt x="1100" y="34"/>
                    <a:pt x="1095" y="33"/>
                    <a:pt x="1089" y="33"/>
                  </a:cubicBezTo>
                  <a:cubicBezTo>
                    <a:pt x="1079" y="33"/>
                    <a:pt x="1070" y="35"/>
                    <a:pt x="1064" y="39"/>
                  </a:cubicBezTo>
                  <a:cubicBezTo>
                    <a:pt x="1058" y="43"/>
                    <a:pt x="1055" y="49"/>
                    <a:pt x="1055" y="57"/>
                  </a:cubicBezTo>
                  <a:cubicBezTo>
                    <a:pt x="1055" y="62"/>
                    <a:pt x="1056" y="66"/>
                    <a:pt x="1057" y="70"/>
                  </a:cubicBezTo>
                  <a:cubicBezTo>
                    <a:pt x="1059" y="73"/>
                    <a:pt x="1062" y="76"/>
                    <a:pt x="1065" y="78"/>
                  </a:cubicBezTo>
                  <a:cubicBezTo>
                    <a:pt x="1068" y="80"/>
                    <a:pt x="1073" y="83"/>
                    <a:pt x="1079" y="85"/>
                  </a:cubicBezTo>
                  <a:cubicBezTo>
                    <a:pt x="1084" y="87"/>
                    <a:pt x="1088" y="89"/>
                    <a:pt x="1091" y="91"/>
                  </a:cubicBezTo>
                  <a:cubicBezTo>
                    <a:pt x="1094" y="92"/>
                    <a:pt x="1095" y="94"/>
                    <a:pt x="1096" y="95"/>
                  </a:cubicBezTo>
                  <a:cubicBezTo>
                    <a:pt x="1097" y="96"/>
                    <a:pt x="1097" y="97"/>
                    <a:pt x="1097" y="99"/>
                  </a:cubicBezTo>
                  <a:cubicBezTo>
                    <a:pt x="1097" y="101"/>
                    <a:pt x="1096" y="103"/>
                    <a:pt x="1094" y="104"/>
                  </a:cubicBezTo>
                  <a:cubicBezTo>
                    <a:pt x="1092" y="106"/>
                    <a:pt x="1089" y="106"/>
                    <a:pt x="1084" y="106"/>
                  </a:cubicBezTo>
                  <a:cubicBezTo>
                    <a:pt x="1080" y="106"/>
                    <a:pt x="1075" y="106"/>
                    <a:pt x="1070" y="104"/>
                  </a:cubicBezTo>
                  <a:cubicBezTo>
                    <a:pt x="1065" y="103"/>
                    <a:pt x="1060" y="101"/>
                    <a:pt x="1055" y="99"/>
                  </a:cubicBezTo>
                  <a:cubicBezTo>
                    <a:pt x="1055" y="119"/>
                    <a:pt x="1055" y="119"/>
                    <a:pt x="1055" y="119"/>
                  </a:cubicBezTo>
                  <a:cubicBezTo>
                    <a:pt x="1059" y="120"/>
                    <a:pt x="1064" y="122"/>
                    <a:pt x="1068" y="122"/>
                  </a:cubicBezTo>
                  <a:cubicBezTo>
                    <a:pt x="1072" y="123"/>
                    <a:pt x="1078" y="124"/>
                    <a:pt x="1084" y="124"/>
                  </a:cubicBezTo>
                  <a:cubicBezTo>
                    <a:pt x="1096" y="124"/>
                    <a:pt x="1105" y="121"/>
                    <a:pt x="1112" y="117"/>
                  </a:cubicBezTo>
                  <a:cubicBezTo>
                    <a:pt x="1118" y="112"/>
                    <a:pt x="1121" y="105"/>
                    <a:pt x="1121" y="96"/>
                  </a:cubicBezTo>
                  <a:cubicBezTo>
                    <a:pt x="1121" y="91"/>
                    <a:pt x="1120" y="87"/>
                    <a:pt x="1118" y="83"/>
                  </a:cubicBezTo>
                  <a:moveTo>
                    <a:pt x="1012" y="89"/>
                  </a:moveTo>
                  <a:cubicBezTo>
                    <a:pt x="1012" y="94"/>
                    <a:pt x="1010" y="99"/>
                    <a:pt x="1007" y="102"/>
                  </a:cubicBezTo>
                  <a:cubicBezTo>
                    <a:pt x="1003" y="105"/>
                    <a:pt x="999" y="106"/>
                    <a:pt x="994" y="106"/>
                  </a:cubicBezTo>
                  <a:cubicBezTo>
                    <a:pt x="990" y="106"/>
                    <a:pt x="987" y="105"/>
                    <a:pt x="985" y="104"/>
                  </a:cubicBezTo>
                  <a:cubicBezTo>
                    <a:pt x="983" y="102"/>
                    <a:pt x="982" y="100"/>
                    <a:pt x="982" y="96"/>
                  </a:cubicBezTo>
                  <a:cubicBezTo>
                    <a:pt x="982" y="92"/>
                    <a:pt x="984" y="89"/>
                    <a:pt x="987" y="86"/>
                  </a:cubicBezTo>
                  <a:cubicBezTo>
                    <a:pt x="990" y="83"/>
                    <a:pt x="995" y="82"/>
                    <a:pt x="1003" y="82"/>
                  </a:cubicBezTo>
                  <a:cubicBezTo>
                    <a:pt x="1012" y="82"/>
                    <a:pt x="1012" y="82"/>
                    <a:pt x="1012" y="82"/>
                  </a:cubicBezTo>
                  <a:lnTo>
                    <a:pt x="1012" y="89"/>
                  </a:lnTo>
                  <a:close/>
                  <a:moveTo>
                    <a:pt x="981" y="35"/>
                  </a:moveTo>
                  <a:cubicBezTo>
                    <a:pt x="975" y="37"/>
                    <a:pt x="970" y="38"/>
                    <a:pt x="966" y="41"/>
                  </a:cubicBezTo>
                  <a:cubicBezTo>
                    <a:pt x="974" y="57"/>
                    <a:pt x="974" y="57"/>
                    <a:pt x="974" y="57"/>
                  </a:cubicBezTo>
                  <a:cubicBezTo>
                    <a:pt x="978" y="55"/>
                    <a:pt x="982" y="54"/>
                    <a:pt x="986" y="52"/>
                  </a:cubicBezTo>
                  <a:cubicBezTo>
                    <a:pt x="990" y="51"/>
                    <a:pt x="994" y="51"/>
                    <a:pt x="998" y="51"/>
                  </a:cubicBezTo>
                  <a:cubicBezTo>
                    <a:pt x="1002" y="51"/>
                    <a:pt x="1006" y="52"/>
                    <a:pt x="1008" y="54"/>
                  </a:cubicBezTo>
                  <a:cubicBezTo>
                    <a:pt x="1011" y="56"/>
                    <a:pt x="1012" y="59"/>
                    <a:pt x="1012" y="64"/>
                  </a:cubicBezTo>
                  <a:cubicBezTo>
                    <a:pt x="1012" y="68"/>
                    <a:pt x="1012" y="68"/>
                    <a:pt x="1012" y="68"/>
                  </a:cubicBezTo>
                  <a:cubicBezTo>
                    <a:pt x="997" y="68"/>
                    <a:pt x="997" y="68"/>
                    <a:pt x="997" y="68"/>
                  </a:cubicBezTo>
                  <a:cubicBezTo>
                    <a:pt x="984" y="69"/>
                    <a:pt x="974" y="71"/>
                    <a:pt x="967" y="75"/>
                  </a:cubicBezTo>
                  <a:cubicBezTo>
                    <a:pt x="961" y="80"/>
                    <a:pt x="958" y="87"/>
                    <a:pt x="958" y="96"/>
                  </a:cubicBezTo>
                  <a:cubicBezTo>
                    <a:pt x="958" y="105"/>
                    <a:pt x="960" y="112"/>
                    <a:pt x="965" y="117"/>
                  </a:cubicBezTo>
                  <a:cubicBezTo>
                    <a:pt x="970" y="121"/>
                    <a:pt x="977" y="124"/>
                    <a:pt x="985" y="124"/>
                  </a:cubicBezTo>
                  <a:cubicBezTo>
                    <a:pt x="992" y="124"/>
                    <a:pt x="998" y="123"/>
                    <a:pt x="1002" y="120"/>
                  </a:cubicBezTo>
                  <a:cubicBezTo>
                    <a:pt x="1006" y="118"/>
                    <a:pt x="1010" y="115"/>
                    <a:pt x="1014" y="110"/>
                  </a:cubicBezTo>
                  <a:cubicBezTo>
                    <a:pt x="1014" y="110"/>
                    <a:pt x="1014" y="110"/>
                    <a:pt x="1014" y="110"/>
                  </a:cubicBezTo>
                  <a:cubicBezTo>
                    <a:pt x="1019" y="122"/>
                    <a:pt x="1019" y="122"/>
                    <a:pt x="1019" y="122"/>
                  </a:cubicBezTo>
                  <a:cubicBezTo>
                    <a:pt x="1035" y="122"/>
                    <a:pt x="1035" y="122"/>
                    <a:pt x="1035" y="122"/>
                  </a:cubicBezTo>
                  <a:cubicBezTo>
                    <a:pt x="1035" y="64"/>
                    <a:pt x="1035" y="64"/>
                    <a:pt x="1035" y="64"/>
                  </a:cubicBezTo>
                  <a:cubicBezTo>
                    <a:pt x="1035" y="53"/>
                    <a:pt x="1032" y="46"/>
                    <a:pt x="1026" y="41"/>
                  </a:cubicBezTo>
                  <a:cubicBezTo>
                    <a:pt x="1020" y="35"/>
                    <a:pt x="1011" y="33"/>
                    <a:pt x="999" y="33"/>
                  </a:cubicBezTo>
                  <a:cubicBezTo>
                    <a:pt x="993" y="33"/>
                    <a:pt x="987" y="34"/>
                    <a:pt x="981" y="35"/>
                  </a:cubicBezTo>
                  <a:moveTo>
                    <a:pt x="917" y="55"/>
                  </a:moveTo>
                  <a:cubicBezTo>
                    <a:pt x="920" y="59"/>
                    <a:pt x="921" y="63"/>
                    <a:pt x="922" y="68"/>
                  </a:cubicBezTo>
                  <a:cubicBezTo>
                    <a:pt x="888" y="68"/>
                    <a:pt x="888" y="68"/>
                    <a:pt x="888" y="68"/>
                  </a:cubicBezTo>
                  <a:cubicBezTo>
                    <a:pt x="889" y="62"/>
                    <a:pt x="890" y="58"/>
                    <a:pt x="893" y="55"/>
                  </a:cubicBezTo>
                  <a:cubicBezTo>
                    <a:pt x="896" y="52"/>
                    <a:pt x="900" y="50"/>
                    <a:pt x="905" y="50"/>
                  </a:cubicBezTo>
                  <a:cubicBezTo>
                    <a:pt x="910" y="50"/>
                    <a:pt x="915" y="52"/>
                    <a:pt x="917" y="55"/>
                  </a:cubicBezTo>
                  <a:moveTo>
                    <a:pt x="883" y="38"/>
                  </a:moveTo>
                  <a:cubicBezTo>
                    <a:pt x="877" y="42"/>
                    <a:pt x="872" y="47"/>
                    <a:pt x="869" y="54"/>
                  </a:cubicBezTo>
                  <a:cubicBezTo>
                    <a:pt x="865" y="60"/>
                    <a:pt x="863" y="69"/>
                    <a:pt x="863" y="79"/>
                  </a:cubicBezTo>
                  <a:cubicBezTo>
                    <a:pt x="863" y="89"/>
                    <a:pt x="865" y="97"/>
                    <a:pt x="869" y="104"/>
                  </a:cubicBezTo>
                  <a:cubicBezTo>
                    <a:pt x="873" y="111"/>
                    <a:pt x="878" y="116"/>
                    <a:pt x="885" y="119"/>
                  </a:cubicBezTo>
                  <a:cubicBezTo>
                    <a:pt x="892" y="122"/>
                    <a:pt x="900" y="124"/>
                    <a:pt x="908" y="124"/>
                  </a:cubicBezTo>
                  <a:cubicBezTo>
                    <a:pt x="915" y="124"/>
                    <a:pt x="921" y="123"/>
                    <a:pt x="925" y="122"/>
                  </a:cubicBezTo>
                  <a:cubicBezTo>
                    <a:pt x="930" y="121"/>
                    <a:pt x="935" y="120"/>
                    <a:pt x="939" y="117"/>
                  </a:cubicBezTo>
                  <a:cubicBezTo>
                    <a:pt x="939" y="99"/>
                    <a:pt x="939" y="99"/>
                    <a:pt x="939" y="99"/>
                  </a:cubicBezTo>
                  <a:cubicBezTo>
                    <a:pt x="934" y="101"/>
                    <a:pt x="929" y="103"/>
                    <a:pt x="925" y="104"/>
                  </a:cubicBezTo>
                  <a:cubicBezTo>
                    <a:pt x="920" y="105"/>
                    <a:pt x="915" y="106"/>
                    <a:pt x="909" y="106"/>
                  </a:cubicBezTo>
                  <a:cubicBezTo>
                    <a:pt x="903" y="106"/>
                    <a:pt x="897" y="104"/>
                    <a:pt x="894" y="100"/>
                  </a:cubicBezTo>
                  <a:cubicBezTo>
                    <a:pt x="890" y="96"/>
                    <a:pt x="888" y="91"/>
                    <a:pt x="888" y="84"/>
                  </a:cubicBezTo>
                  <a:cubicBezTo>
                    <a:pt x="944" y="84"/>
                    <a:pt x="944" y="84"/>
                    <a:pt x="944" y="84"/>
                  </a:cubicBezTo>
                  <a:cubicBezTo>
                    <a:pt x="944" y="73"/>
                    <a:pt x="944" y="73"/>
                    <a:pt x="944" y="73"/>
                  </a:cubicBezTo>
                  <a:cubicBezTo>
                    <a:pt x="944" y="60"/>
                    <a:pt x="940" y="50"/>
                    <a:pt x="933" y="43"/>
                  </a:cubicBezTo>
                  <a:cubicBezTo>
                    <a:pt x="926" y="37"/>
                    <a:pt x="917" y="33"/>
                    <a:pt x="905" y="33"/>
                  </a:cubicBezTo>
                  <a:cubicBezTo>
                    <a:pt x="897" y="33"/>
                    <a:pt x="889" y="35"/>
                    <a:pt x="883" y="38"/>
                  </a:cubicBezTo>
                  <a:moveTo>
                    <a:pt x="847" y="83"/>
                  </a:moveTo>
                  <a:cubicBezTo>
                    <a:pt x="845" y="80"/>
                    <a:pt x="842" y="77"/>
                    <a:pt x="839" y="75"/>
                  </a:cubicBezTo>
                  <a:cubicBezTo>
                    <a:pt x="835" y="73"/>
                    <a:pt x="831" y="71"/>
                    <a:pt x="826" y="69"/>
                  </a:cubicBezTo>
                  <a:cubicBezTo>
                    <a:pt x="821" y="67"/>
                    <a:pt x="817" y="65"/>
                    <a:pt x="814" y="64"/>
                  </a:cubicBezTo>
                  <a:cubicBezTo>
                    <a:pt x="812" y="63"/>
                    <a:pt x="810" y="61"/>
                    <a:pt x="809" y="60"/>
                  </a:cubicBezTo>
                  <a:cubicBezTo>
                    <a:pt x="808" y="59"/>
                    <a:pt x="808" y="58"/>
                    <a:pt x="808" y="56"/>
                  </a:cubicBezTo>
                  <a:cubicBezTo>
                    <a:pt x="808" y="53"/>
                    <a:pt x="811" y="51"/>
                    <a:pt x="818" y="51"/>
                  </a:cubicBezTo>
                  <a:cubicBezTo>
                    <a:pt x="822" y="51"/>
                    <a:pt x="826" y="51"/>
                    <a:pt x="830" y="53"/>
                  </a:cubicBezTo>
                  <a:cubicBezTo>
                    <a:pt x="834" y="54"/>
                    <a:pt x="838" y="55"/>
                    <a:pt x="842" y="57"/>
                  </a:cubicBezTo>
                  <a:cubicBezTo>
                    <a:pt x="849" y="40"/>
                    <a:pt x="849" y="40"/>
                    <a:pt x="849" y="40"/>
                  </a:cubicBezTo>
                  <a:cubicBezTo>
                    <a:pt x="844" y="38"/>
                    <a:pt x="839" y="36"/>
                    <a:pt x="834" y="35"/>
                  </a:cubicBezTo>
                  <a:cubicBezTo>
                    <a:pt x="829" y="34"/>
                    <a:pt x="824" y="33"/>
                    <a:pt x="819" y="33"/>
                  </a:cubicBezTo>
                  <a:cubicBezTo>
                    <a:pt x="808" y="33"/>
                    <a:pt x="800" y="35"/>
                    <a:pt x="793" y="39"/>
                  </a:cubicBezTo>
                  <a:cubicBezTo>
                    <a:pt x="787" y="43"/>
                    <a:pt x="784" y="49"/>
                    <a:pt x="784" y="57"/>
                  </a:cubicBezTo>
                  <a:cubicBezTo>
                    <a:pt x="784" y="62"/>
                    <a:pt x="785" y="66"/>
                    <a:pt x="787" y="70"/>
                  </a:cubicBezTo>
                  <a:cubicBezTo>
                    <a:pt x="788" y="73"/>
                    <a:pt x="791" y="76"/>
                    <a:pt x="794" y="78"/>
                  </a:cubicBezTo>
                  <a:cubicBezTo>
                    <a:pt x="798" y="80"/>
                    <a:pt x="802" y="83"/>
                    <a:pt x="808" y="85"/>
                  </a:cubicBezTo>
                  <a:cubicBezTo>
                    <a:pt x="813" y="87"/>
                    <a:pt x="818" y="89"/>
                    <a:pt x="820" y="91"/>
                  </a:cubicBezTo>
                  <a:cubicBezTo>
                    <a:pt x="823" y="92"/>
                    <a:pt x="825" y="94"/>
                    <a:pt x="825" y="95"/>
                  </a:cubicBezTo>
                  <a:cubicBezTo>
                    <a:pt x="826" y="96"/>
                    <a:pt x="827" y="97"/>
                    <a:pt x="827" y="99"/>
                  </a:cubicBezTo>
                  <a:cubicBezTo>
                    <a:pt x="827" y="101"/>
                    <a:pt x="826" y="103"/>
                    <a:pt x="824" y="104"/>
                  </a:cubicBezTo>
                  <a:cubicBezTo>
                    <a:pt x="822" y="106"/>
                    <a:pt x="818" y="106"/>
                    <a:pt x="814" y="106"/>
                  </a:cubicBezTo>
                  <a:cubicBezTo>
                    <a:pt x="810" y="106"/>
                    <a:pt x="805" y="106"/>
                    <a:pt x="799" y="104"/>
                  </a:cubicBezTo>
                  <a:cubicBezTo>
                    <a:pt x="794" y="103"/>
                    <a:pt x="789" y="101"/>
                    <a:pt x="784" y="99"/>
                  </a:cubicBezTo>
                  <a:cubicBezTo>
                    <a:pt x="784" y="119"/>
                    <a:pt x="784" y="119"/>
                    <a:pt x="784" y="119"/>
                  </a:cubicBezTo>
                  <a:cubicBezTo>
                    <a:pt x="788" y="120"/>
                    <a:pt x="793" y="122"/>
                    <a:pt x="797" y="122"/>
                  </a:cubicBezTo>
                  <a:cubicBezTo>
                    <a:pt x="802" y="123"/>
                    <a:pt x="807" y="124"/>
                    <a:pt x="813" y="124"/>
                  </a:cubicBezTo>
                  <a:cubicBezTo>
                    <a:pt x="825" y="124"/>
                    <a:pt x="835" y="121"/>
                    <a:pt x="841" y="117"/>
                  </a:cubicBezTo>
                  <a:cubicBezTo>
                    <a:pt x="847" y="112"/>
                    <a:pt x="850" y="105"/>
                    <a:pt x="850" y="96"/>
                  </a:cubicBezTo>
                  <a:cubicBezTo>
                    <a:pt x="850" y="91"/>
                    <a:pt x="849" y="87"/>
                    <a:pt x="847" y="83"/>
                  </a:cubicBezTo>
                  <a:moveTo>
                    <a:pt x="740" y="122"/>
                  </a:moveTo>
                  <a:cubicBezTo>
                    <a:pt x="764" y="122"/>
                    <a:pt x="764" y="122"/>
                    <a:pt x="764" y="122"/>
                  </a:cubicBezTo>
                  <a:cubicBezTo>
                    <a:pt x="764" y="35"/>
                    <a:pt x="764" y="35"/>
                    <a:pt x="764" y="35"/>
                  </a:cubicBezTo>
                  <a:cubicBezTo>
                    <a:pt x="740" y="35"/>
                    <a:pt x="740" y="35"/>
                    <a:pt x="740" y="35"/>
                  </a:cubicBezTo>
                  <a:lnTo>
                    <a:pt x="740" y="122"/>
                  </a:lnTo>
                  <a:close/>
                  <a:moveTo>
                    <a:pt x="743" y="3"/>
                  </a:moveTo>
                  <a:cubicBezTo>
                    <a:pt x="741" y="5"/>
                    <a:pt x="739" y="8"/>
                    <a:pt x="739" y="12"/>
                  </a:cubicBezTo>
                  <a:cubicBezTo>
                    <a:pt x="739" y="16"/>
                    <a:pt x="741" y="20"/>
                    <a:pt x="743" y="21"/>
                  </a:cubicBezTo>
                  <a:cubicBezTo>
                    <a:pt x="746" y="23"/>
                    <a:pt x="749" y="24"/>
                    <a:pt x="752" y="24"/>
                  </a:cubicBezTo>
                  <a:cubicBezTo>
                    <a:pt x="756" y="24"/>
                    <a:pt x="759" y="23"/>
                    <a:pt x="762" y="21"/>
                  </a:cubicBezTo>
                  <a:cubicBezTo>
                    <a:pt x="764" y="20"/>
                    <a:pt x="765" y="16"/>
                    <a:pt x="765" y="12"/>
                  </a:cubicBezTo>
                  <a:cubicBezTo>
                    <a:pt x="765" y="8"/>
                    <a:pt x="764" y="5"/>
                    <a:pt x="762" y="3"/>
                  </a:cubicBezTo>
                  <a:cubicBezTo>
                    <a:pt x="759" y="1"/>
                    <a:pt x="756" y="0"/>
                    <a:pt x="752" y="0"/>
                  </a:cubicBezTo>
                  <a:cubicBezTo>
                    <a:pt x="749" y="0"/>
                    <a:pt x="746" y="1"/>
                    <a:pt x="743" y="3"/>
                  </a:cubicBezTo>
                  <a:moveTo>
                    <a:pt x="663" y="98"/>
                  </a:moveTo>
                  <a:cubicBezTo>
                    <a:pt x="660" y="94"/>
                    <a:pt x="658" y="87"/>
                    <a:pt x="658" y="79"/>
                  </a:cubicBezTo>
                  <a:cubicBezTo>
                    <a:pt x="658" y="70"/>
                    <a:pt x="660" y="64"/>
                    <a:pt x="663" y="59"/>
                  </a:cubicBezTo>
                  <a:cubicBezTo>
                    <a:pt x="666" y="55"/>
                    <a:pt x="670" y="52"/>
                    <a:pt x="675" y="52"/>
                  </a:cubicBezTo>
                  <a:cubicBezTo>
                    <a:pt x="682" y="52"/>
                    <a:pt x="687" y="55"/>
                    <a:pt x="689" y="59"/>
                  </a:cubicBezTo>
                  <a:cubicBezTo>
                    <a:pt x="692" y="64"/>
                    <a:pt x="693" y="70"/>
                    <a:pt x="693" y="79"/>
                  </a:cubicBezTo>
                  <a:cubicBezTo>
                    <a:pt x="693" y="81"/>
                    <a:pt x="693" y="81"/>
                    <a:pt x="693" y="81"/>
                  </a:cubicBezTo>
                  <a:cubicBezTo>
                    <a:pt x="693" y="89"/>
                    <a:pt x="692" y="95"/>
                    <a:pt x="689" y="99"/>
                  </a:cubicBezTo>
                  <a:cubicBezTo>
                    <a:pt x="686" y="103"/>
                    <a:pt x="682" y="105"/>
                    <a:pt x="675" y="105"/>
                  </a:cubicBezTo>
                  <a:cubicBezTo>
                    <a:pt x="670" y="105"/>
                    <a:pt x="666" y="102"/>
                    <a:pt x="663" y="98"/>
                  </a:cubicBezTo>
                  <a:moveTo>
                    <a:pt x="682" y="120"/>
                  </a:moveTo>
                  <a:cubicBezTo>
                    <a:pt x="686" y="117"/>
                    <a:pt x="689" y="114"/>
                    <a:pt x="692" y="111"/>
                  </a:cubicBezTo>
                  <a:cubicBezTo>
                    <a:pt x="693" y="111"/>
                    <a:pt x="693" y="111"/>
                    <a:pt x="693" y="111"/>
                  </a:cubicBezTo>
                  <a:cubicBezTo>
                    <a:pt x="697" y="122"/>
                    <a:pt x="697" y="122"/>
                    <a:pt x="697" y="122"/>
                  </a:cubicBezTo>
                  <a:cubicBezTo>
                    <a:pt x="715" y="122"/>
                    <a:pt x="715" y="122"/>
                    <a:pt x="715" y="122"/>
                  </a:cubicBezTo>
                  <a:cubicBezTo>
                    <a:pt x="715" y="0"/>
                    <a:pt x="715" y="0"/>
                    <a:pt x="715" y="0"/>
                  </a:cubicBezTo>
                  <a:cubicBezTo>
                    <a:pt x="692" y="0"/>
                    <a:pt x="692" y="0"/>
                    <a:pt x="692" y="0"/>
                  </a:cubicBezTo>
                  <a:cubicBezTo>
                    <a:pt x="692" y="28"/>
                    <a:pt x="692" y="28"/>
                    <a:pt x="692" y="28"/>
                  </a:cubicBezTo>
                  <a:cubicBezTo>
                    <a:pt x="692" y="32"/>
                    <a:pt x="692" y="35"/>
                    <a:pt x="692" y="38"/>
                  </a:cubicBezTo>
                  <a:cubicBezTo>
                    <a:pt x="693" y="42"/>
                    <a:pt x="693" y="44"/>
                    <a:pt x="693" y="46"/>
                  </a:cubicBezTo>
                  <a:cubicBezTo>
                    <a:pt x="693" y="46"/>
                    <a:pt x="693" y="46"/>
                    <a:pt x="693" y="46"/>
                  </a:cubicBezTo>
                  <a:cubicBezTo>
                    <a:pt x="690" y="42"/>
                    <a:pt x="687" y="39"/>
                    <a:pt x="683" y="37"/>
                  </a:cubicBezTo>
                  <a:cubicBezTo>
                    <a:pt x="679" y="34"/>
                    <a:pt x="674" y="33"/>
                    <a:pt x="667" y="33"/>
                  </a:cubicBezTo>
                  <a:cubicBezTo>
                    <a:pt x="657" y="33"/>
                    <a:pt x="649" y="37"/>
                    <a:pt x="643" y="45"/>
                  </a:cubicBezTo>
                  <a:cubicBezTo>
                    <a:pt x="637" y="52"/>
                    <a:pt x="634" y="64"/>
                    <a:pt x="634" y="79"/>
                  </a:cubicBezTo>
                  <a:cubicBezTo>
                    <a:pt x="634" y="93"/>
                    <a:pt x="637" y="105"/>
                    <a:pt x="643" y="112"/>
                  </a:cubicBezTo>
                  <a:cubicBezTo>
                    <a:pt x="649" y="120"/>
                    <a:pt x="657" y="124"/>
                    <a:pt x="667" y="124"/>
                  </a:cubicBezTo>
                  <a:cubicBezTo>
                    <a:pt x="673" y="124"/>
                    <a:pt x="678" y="122"/>
                    <a:pt x="682" y="120"/>
                  </a:cubicBezTo>
                  <a:moveTo>
                    <a:pt x="566" y="122"/>
                  </a:moveTo>
                  <a:cubicBezTo>
                    <a:pt x="570" y="121"/>
                    <a:pt x="574" y="119"/>
                    <a:pt x="577" y="117"/>
                  </a:cubicBezTo>
                  <a:cubicBezTo>
                    <a:pt x="577" y="97"/>
                    <a:pt x="577" y="97"/>
                    <a:pt x="577" y="97"/>
                  </a:cubicBezTo>
                  <a:cubicBezTo>
                    <a:pt x="574" y="99"/>
                    <a:pt x="570" y="101"/>
                    <a:pt x="566" y="102"/>
                  </a:cubicBezTo>
                  <a:cubicBezTo>
                    <a:pt x="562" y="104"/>
                    <a:pt x="558" y="104"/>
                    <a:pt x="553" y="104"/>
                  </a:cubicBezTo>
                  <a:cubicBezTo>
                    <a:pt x="547" y="104"/>
                    <a:pt x="542" y="102"/>
                    <a:pt x="539" y="98"/>
                  </a:cubicBezTo>
                  <a:cubicBezTo>
                    <a:pt x="536" y="94"/>
                    <a:pt x="534" y="87"/>
                    <a:pt x="534" y="79"/>
                  </a:cubicBezTo>
                  <a:cubicBezTo>
                    <a:pt x="534" y="61"/>
                    <a:pt x="541" y="52"/>
                    <a:pt x="553" y="52"/>
                  </a:cubicBezTo>
                  <a:cubicBezTo>
                    <a:pt x="556" y="52"/>
                    <a:pt x="559" y="53"/>
                    <a:pt x="563" y="54"/>
                  </a:cubicBezTo>
                  <a:cubicBezTo>
                    <a:pt x="566" y="55"/>
                    <a:pt x="569" y="56"/>
                    <a:pt x="573" y="57"/>
                  </a:cubicBezTo>
                  <a:cubicBezTo>
                    <a:pt x="580" y="39"/>
                    <a:pt x="580" y="39"/>
                    <a:pt x="580" y="39"/>
                  </a:cubicBezTo>
                  <a:cubicBezTo>
                    <a:pt x="577" y="37"/>
                    <a:pt x="573" y="36"/>
                    <a:pt x="569" y="35"/>
                  </a:cubicBezTo>
                  <a:cubicBezTo>
                    <a:pt x="564" y="34"/>
                    <a:pt x="559" y="33"/>
                    <a:pt x="553" y="33"/>
                  </a:cubicBezTo>
                  <a:cubicBezTo>
                    <a:pt x="544" y="33"/>
                    <a:pt x="537" y="35"/>
                    <a:pt x="531" y="38"/>
                  </a:cubicBezTo>
                  <a:cubicBezTo>
                    <a:pt x="524" y="41"/>
                    <a:pt x="519" y="46"/>
                    <a:pt x="515" y="53"/>
                  </a:cubicBezTo>
                  <a:cubicBezTo>
                    <a:pt x="512" y="59"/>
                    <a:pt x="510" y="68"/>
                    <a:pt x="510" y="79"/>
                  </a:cubicBezTo>
                  <a:cubicBezTo>
                    <a:pt x="510" y="94"/>
                    <a:pt x="514" y="106"/>
                    <a:pt x="521" y="113"/>
                  </a:cubicBezTo>
                  <a:cubicBezTo>
                    <a:pt x="528" y="120"/>
                    <a:pt x="538" y="124"/>
                    <a:pt x="551" y="124"/>
                  </a:cubicBezTo>
                  <a:cubicBezTo>
                    <a:pt x="557" y="124"/>
                    <a:pt x="562" y="123"/>
                    <a:pt x="566" y="122"/>
                  </a:cubicBezTo>
                  <a:moveTo>
                    <a:pt x="467" y="122"/>
                  </a:moveTo>
                  <a:cubicBezTo>
                    <a:pt x="490" y="122"/>
                    <a:pt x="490" y="122"/>
                    <a:pt x="490" y="122"/>
                  </a:cubicBezTo>
                  <a:cubicBezTo>
                    <a:pt x="490" y="35"/>
                    <a:pt x="490" y="35"/>
                    <a:pt x="490" y="35"/>
                  </a:cubicBezTo>
                  <a:cubicBezTo>
                    <a:pt x="467" y="35"/>
                    <a:pt x="467" y="35"/>
                    <a:pt x="467" y="35"/>
                  </a:cubicBezTo>
                  <a:lnTo>
                    <a:pt x="467" y="122"/>
                  </a:lnTo>
                  <a:close/>
                  <a:moveTo>
                    <a:pt x="469" y="3"/>
                  </a:moveTo>
                  <a:cubicBezTo>
                    <a:pt x="467" y="5"/>
                    <a:pt x="466" y="8"/>
                    <a:pt x="466" y="12"/>
                  </a:cubicBezTo>
                  <a:cubicBezTo>
                    <a:pt x="466" y="16"/>
                    <a:pt x="467" y="20"/>
                    <a:pt x="469" y="21"/>
                  </a:cubicBezTo>
                  <a:cubicBezTo>
                    <a:pt x="472" y="23"/>
                    <a:pt x="475" y="24"/>
                    <a:pt x="479" y="24"/>
                  </a:cubicBezTo>
                  <a:cubicBezTo>
                    <a:pt x="482" y="24"/>
                    <a:pt x="485" y="23"/>
                    <a:pt x="488" y="21"/>
                  </a:cubicBezTo>
                  <a:cubicBezTo>
                    <a:pt x="490" y="20"/>
                    <a:pt x="491" y="16"/>
                    <a:pt x="491" y="12"/>
                  </a:cubicBezTo>
                  <a:cubicBezTo>
                    <a:pt x="491" y="8"/>
                    <a:pt x="490" y="5"/>
                    <a:pt x="488" y="3"/>
                  </a:cubicBezTo>
                  <a:cubicBezTo>
                    <a:pt x="485" y="1"/>
                    <a:pt x="482" y="0"/>
                    <a:pt x="479" y="0"/>
                  </a:cubicBezTo>
                  <a:cubicBezTo>
                    <a:pt x="475" y="0"/>
                    <a:pt x="472" y="1"/>
                    <a:pt x="469" y="3"/>
                  </a:cubicBezTo>
                  <a:moveTo>
                    <a:pt x="396" y="36"/>
                  </a:moveTo>
                  <a:cubicBezTo>
                    <a:pt x="391" y="38"/>
                    <a:pt x="387" y="41"/>
                    <a:pt x="384" y="46"/>
                  </a:cubicBezTo>
                  <a:cubicBezTo>
                    <a:pt x="383" y="46"/>
                    <a:pt x="383" y="46"/>
                    <a:pt x="383" y="46"/>
                  </a:cubicBezTo>
                  <a:cubicBezTo>
                    <a:pt x="380" y="35"/>
                    <a:pt x="380" y="35"/>
                    <a:pt x="380" y="35"/>
                  </a:cubicBezTo>
                  <a:cubicBezTo>
                    <a:pt x="361" y="35"/>
                    <a:pt x="361" y="35"/>
                    <a:pt x="361" y="35"/>
                  </a:cubicBezTo>
                  <a:cubicBezTo>
                    <a:pt x="361" y="122"/>
                    <a:pt x="361" y="122"/>
                    <a:pt x="361" y="122"/>
                  </a:cubicBezTo>
                  <a:cubicBezTo>
                    <a:pt x="385" y="122"/>
                    <a:pt x="385" y="122"/>
                    <a:pt x="385" y="122"/>
                  </a:cubicBezTo>
                  <a:cubicBezTo>
                    <a:pt x="385" y="81"/>
                    <a:pt x="385" y="81"/>
                    <a:pt x="385" y="81"/>
                  </a:cubicBezTo>
                  <a:cubicBezTo>
                    <a:pt x="385" y="72"/>
                    <a:pt x="387" y="65"/>
                    <a:pt x="389" y="60"/>
                  </a:cubicBezTo>
                  <a:cubicBezTo>
                    <a:pt x="392" y="55"/>
                    <a:pt x="397" y="52"/>
                    <a:pt x="404" y="52"/>
                  </a:cubicBezTo>
                  <a:cubicBezTo>
                    <a:pt x="409" y="52"/>
                    <a:pt x="413" y="54"/>
                    <a:pt x="415" y="57"/>
                  </a:cubicBezTo>
                  <a:cubicBezTo>
                    <a:pt x="417" y="60"/>
                    <a:pt x="418" y="65"/>
                    <a:pt x="418" y="71"/>
                  </a:cubicBezTo>
                  <a:cubicBezTo>
                    <a:pt x="418" y="122"/>
                    <a:pt x="418" y="122"/>
                    <a:pt x="418" y="122"/>
                  </a:cubicBezTo>
                  <a:cubicBezTo>
                    <a:pt x="442" y="122"/>
                    <a:pt x="442" y="122"/>
                    <a:pt x="442" y="122"/>
                  </a:cubicBezTo>
                  <a:cubicBezTo>
                    <a:pt x="442" y="65"/>
                    <a:pt x="442" y="65"/>
                    <a:pt x="442" y="65"/>
                  </a:cubicBezTo>
                  <a:cubicBezTo>
                    <a:pt x="442" y="54"/>
                    <a:pt x="439" y="46"/>
                    <a:pt x="434" y="41"/>
                  </a:cubicBezTo>
                  <a:cubicBezTo>
                    <a:pt x="428" y="36"/>
                    <a:pt x="420" y="33"/>
                    <a:pt x="411" y="33"/>
                  </a:cubicBezTo>
                  <a:cubicBezTo>
                    <a:pt x="406" y="33"/>
                    <a:pt x="400" y="34"/>
                    <a:pt x="396" y="36"/>
                  </a:cubicBezTo>
                  <a:moveTo>
                    <a:pt x="286" y="59"/>
                  </a:moveTo>
                  <a:cubicBezTo>
                    <a:pt x="288" y="54"/>
                    <a:pt x="293" y="52"/>
                    <a:pt x="299" y="52"/>
                  </a:cubicBezTo>
                  <a:cubicBezTo>
                    <a:pt x="306" y="52"/>
                    <a:pt x="310" y="54"/>
                    <a:pt x="313" y="59"/>
                  </a:cubicBezTo>
                  <a:cubicBezTo>
                    <a:pt x="316" y="63"/>
                    <a:pt x="317" y="70"/>
                    <a:pt x="317" y="78"/>
                  </a:cubicBezTo>
                  <a:cubicBezTo>
                    <a:pt x="317" y="87"/>
                    <a:pt x="316" y="93"/>
                    <a:pt x="313" y="98"/>
                  </a:cubicBezTo>
                  <a:cubicBezTo>
                    <a:pt x="310" y="102"/>
                    <a:pt x="306" y="104"/>
                    <a:pt x="299" y="104"/>
                  </a:cubicBezTo>
                  <a:cubicBezTo>
                    <a:pt x="293" y="104"/>
                    <a:pt x="288" y="102"/>
                    <a:pt x="286" y="98"/>
                  </a:cubicBezTo>
                  <a:cubicBezTo>
                    <a:pt x="283" y="93"/>
                    <a:pt x="281" y="87"/>
                    <a:pt x="281" y="78"/>
                  </a:cubicBezTo>
                  <a:cubicBezTo>
                    <a:pt x="281" y="70"/>
                    <a:pt x="283" y="63"/>
                    <a:pt x="286" y="59"/>
                  </a:cubicBezTo>
                  <a:moveTo>
                    <a:pt x="336" y="54"/>
                  </a:moveTo>
                  <a:cubicBezTo>
                    <a:pt x="333" y="47"/>
                    <a:pt x="328" y="42"/>
                    <a:pt x="321" y="38"/>
                  </a:cubicBezTo>
                  <a:cubicBezTo>
                    <a:pt x="315" y="35"/>
                    <a:pt x="308" y="33"/>
                    <a:pt x="300" y="33"/>
                  </a:cubicBezTo>
                  <a:cubicBezTo>
                    <a:pt x="286" y="33"/>
                    <a:pt x="276" y="37"/>
                    <a:pt x="268" y="45"/>
                  </a:cubicBezTo>
                  <a:cubicBezTo>
                    <a:pt x="261" y="53"/>
                    <a:pt x="257" y="64"/>
                    <a:pt x="257" y="78"/>
                  </a:cubicBezTo>
                  <a:cubicBezTo>
                    <a:pt x="257" y="88"/>
                    <a:pt x="259" y="96"/>
                    <a:pt x="263" y="103"/>
                  </a:cubicBezTo>
                  <a:cubicBezTo>
                    <a:pt x="266" y="110"/>
                    <a:pt x="271" y="115"/>
                    <a:pt x="277" y="118"/>
                  </a:cubicBezTo>
                  <a:cubicBezTo>
                    <a:pt x="284" y="122"/>
                    <a:pt x="291" y="124"/>
                    <a:pt x="299" y="124"/>
                  </a:cubicBezTo>
                  <a:cubicBezTo>
                    <a:pt x="312" y="124"/>
                    <a:pt x="323" y="120"/>
                    <a:pt x="330" y="112"/>
                  </a:cubicBezTo>
                  <a:cubicBezTo>
                    <a:pt x="338" y="104"/>
                    <a:pt x="342" y="93"/>
                    <a:pt x="342" y="78"/>
                  </a:cubicBezTo>
                  <a:cubicBezTo>
                    <a:pt x="342" y="69"/>
                    <a:pt x="340" y="60"/>
                    <a:pt x="336" y="54"/>
                  </a:cubicBezTo>
                  <a:moveTo>
                    <a:pt x="226" y="38"/>
                  </a:moveTo>
                  <a:cubicBezTo>
                    <a:pt x="222" y="41"/>
                    <a:pt x="218" y="45"/>
                    <a:pt x="216" y="49"/>
                  </a:cubicBezTo>
                  <a:cubicBezTo>
                    <a:pt x="215" y="49"/>
                    <a:pt x="215" y="49"/>
                    <a:pt x="215" y="49"/>
                  </a:cubicBezTo>
                  <a:cubicBezTo>
                    <a:pt x="211" y="35"/>
                    <a:pt x="211" y="35"/>
                    <a:pt x="211" y="35"/>
                  </a:cubicBezTo>
                  <a:cubicBezTo>
                    <a:pt x="193" y="35"/>
                    <a:pt x="193" y="35"/>
                    <a:pt x="193" y="35"/>
                  </a:cubicBezTo>
                  <a:cubicBezTo>
                    <a:pt x="193" y="122"/>
                    <a:pt x="193" y="122"/>
                    <a:pt x="193" y="122"/>
                  </a:cubicBezTo>
                  <a:cubicBezTo>
                    <a:pt x="217" y="122"/>
                    <a:pt x="217" y="122"/>
                    <a:pt x="217" y="122"/>
                  </a:cubicBezTo>
                  <a:cubicBezTo>
                    <a:pt x="217" y="78"/>
                    <a:pt x="217" y="78"/>
                    <a:pt x="217" y="78"/>
                  </a:cubicBezTo>
                  <a:cubicBezTo>
                    <a:pt x="217" y="72"/>
                    <a:pt x="218" y="68"/>
                    <a:pt x="220" y="64"/>
                  </a:cubicBezTo>
                  <a:cubicBezTo>
                    <a:pt x="223" y="61"/>
                    <a:pt x="226" y="59"/>
                    <a:pt x="229" y="57"/>
                  </a:cubicBezTo>
                  <a:cubicBezTo>
                    <a:pt x="233" y="56"/>
                    <a:pt x="237" y="55"/>
                    <a:pt x="241" y="55"/>
                  </a:cubicBezTo>
                  <a:cubicBezTo>
                    <a:pt x="242" y="55"/>
                    <a:pt x="243" y="55"/>
                    <a:pt x="245" y="56"/>
                  </a:cubicBezTo>
                  <a:cubicBezTo>
                    <a:pt x="246" y="56"/>
                    <a:pt x="247" y="56"/>
                    <a:pt x="248" y="56"/>
                  </a:cubicBezTo>
                  <a:cubicBezTo>
                    <a:pt x="250" y="34"/>
                    <a:pt x="250" y="34"/>
                    <a:pt x="250" y="34"/>
                  </a:cubicBezTo>
                  <a:cubicBezTo>
                    <a:pt x="249" y="34"/>
                    <a:pt x="247" y="33"/>
                    <a:pt x="246" y="33"/>
                  </a:cubicBezTo>
                  <a:cubicBezTo>
                    <a:pt x="244" y="33"/>
                    <a:pt x="243" y="33"/>
                    <a:pt x="242" y="33"/>
                  </a:cubicBezTo>
                  <a:cubicBezTo>
                    <a:pt x="236" y="33"/>
                    <a:pt x="231" y="35"/>
                    <a:pt x="226" y="38"/>
                  </a:cubicBezTo>
                  <a:moveTo>
                    <a:pt x="88" y="0"/>
                  </a:moveTo>
                  <a:cubicBezTo>
                    <a:pt x="88" y="122"/>
                    <a:pt x="88" y="122"/>
                    <a:pt x="88" y="122"/>
                  </a:cubicBezTo>
                  <a:cubicBezTo>
                    <a:pt x="112" y="122"/>
                    <a:pt x="112" y="122"/>
                    <a:pt x="112" y="122"/>
                  </a:cubicBezTo>
                  <a:cubicBezTo>
                    <a:pt x="112" y="81"/>
                    <a:pt x="112" y="81"/>
                    <a:pt x="112" y="81"/>
                  </a:cubicBezTo>
                  <a:cubicBezTo>
                    <a:pt x="112" y="72"/>
                    <a:pt x="113" y="65"/>
                    <a:pt x="116" y="60"/>
                  </a:cubicBezTo>
                  <a:cubicBezTo>
                    <a:pt x="118" y="55"/>
                    <a:pt x="123" y="52"/>
                    <a:pt x="131" y="52"/>
                  </a:cubicBezTo>
                  <a:cubicBezTo>
                    <a:pt x="140" y="52"/>
                    <a:pt x="145" y="58"/>
                    <a:pt x="145" y="71"/>
                  </a:cubicBezTo>
                  <a:cubicBezTo>
                    <a:pt x="145" y="122"/>
                    <a:pt x="145" y="122"/>
                    <a:pt x="145" y="122"/>
                  </a:cubicBezTo>
                  <a:cubicBezTo>
                    <a:pt x="168" y="122"/>
                    <a:pt x="168" y="122"/>
                    <a:pt x="168" y="122"/>
                  </a:cubicBezTo>
                  <a:cubicBezTo>
                    <a:pt x="168" y="65"/>
                    <a:pt x="168" y="65"/>
                    <a:pt x="168" y="65"/>
                  </a:cubicBezTo>
                  <a:cubicBezTo>
                    <a:pt x="168" y="54"/>
                    <a:pt x="166" y="46"/>
                    <a:pt x="160" y="41"/>
                  </a:cubicBezTo>
                  <a:cubicBezTo>
                    <a:pt x="154" y="36"/>
                    <a:pt x="146" y="33"/>
                    <a:pt x="137" y="33"/>
                  </a:cubicBezTo>
                  <a:cubicBezTo>
                    <a:pt x="132" y="33"/>
                    <a:pt x="127" y="34"/>
                    <a:pt x="123" y="36"/>
                  </a:cubicBezTo>
                  <a:cubicBezTo>
                    <a:pt x="118" y="38"/>
                    <a:pt x="115" y="41"/>
                    <a:pt x="112" y="46"/>
                  </a:cubicBezTo>
                  <a:cubicBezTo>
                    <a:pt x="111" y="46"/>
                    <a:pt x="111" y="46"/>
                    <a:pt x="111" y="46"/>
                  </a:cubicBezTo>
                  <a:cubicBezTo>
                    <a:pt x="111" y="44"/>
                    <a:pt x="111" y="42"/>
                    <a:pt x="111" y="38"/>
                  </a:cubicBezTo>
                  <a:cubicBezTo>
                    <a:pt x="112" y="34"/>
                    <a:pt x="112" y="30"/>
                    <a:pt x="112" y="25"/>
                  </a:cubicBezTo>
                  <a:cubicBezTo>
                    <a:pt x="112" y="0"/>
                    <a:pt x="112" y="0"/>
                    <a:pt x="112" y="0"/>
                  </a:cubicBezTo>
                  <a:lnTo>
                    <a:pt x="88" y="0"/>
                  </a:lnTo>
                  <a:close/>
                  <a:moveTo>
                    <a:pt x="56" y="122"/>
                  </a:moveTo>
                  <a:cubicBezTo>
                    <a:pt x="60" y="121"/>
                    <a:pt x="64" y="119"/>
                    <a:pt x="68" y="117"/>
                  </a:cubicBezTo>
                  <a:cubicBezTo>
                    <a:pt x="68" y="97"/>
                    <a:pt x="68" y="97"/>
                    <a:pt x="68" y="97"/>
                  </a:cubicBezTo>
                  <a:cubicBezTo>
                    <a:pt x="64" y="99"/>
                    <a:pt x="60" y="101"/>
                    <a:pt x="56" y="102"/>
                  </a:cubicBezTo>
                  <a:cubicBezTo>
                    <a:pt x="53" y="104"/>
                    <a:pt x="48" y="104"/>
                    <a:pt x="43" y="104"/>
                  </a:cubicBezTo>
                  <a:cubicBezTo>
                    <a:pt x="37" y="104"/>
                    <a:pt x="33" y="102"/>
                    <a:pt x="29" y="98"/>
                  </a:cubicBezTo>
                  <a:cubicBezTo>
                    <a:pt x="26" y="94"/>
                    <a:pt x="25" y="87"/>
                    <a:pt x="25" y="79"/>
                  </a:cubicBezTo>
                  <a:cubicBezTo>
                    <a:pt x="25" y="61"/>
                    <a:pt x="31" y="52"/>
                    <a:pt x="43" y="52"/>
                  </a:cubicBezTo>
                  <a:cubicBezTo>
                    <a:pt x="46" y="52"/>
                    <a:pt x="50" y="53"/>
                    <a:pt x="53" y="54"/>
                  </a:cubicBezTo>
                  <a:cubicBezTo>
                    <a:pt x="56" y="55"/>
                    <a:pt x="60" y="56"/>
                    <a:pt x="63" y="57"/>
                  </a:cubicBezTo>
                  <a:cubicBezTo>
                    <a:pt x="70" y="39"/>
                    <a:pt x="70" y="39"/>
                    <a:pt x="70" y="39"/>
                  </a:cubicBezTo>
                  <a:cubicBezTo>
                    <a:pt x="67" y="37"/>
                    <a:pt x="63" y="36"/>
                    <a:pt x="59" y="35"/>
                  </a:cubicBezTo>
                  <a:cubicBezTo>
                    <a:pt x="54" y="34"/>
                    <a:pt x="49" y="33"/>
                    <a:pt x="43" y="33"/>
                  </a:cubicBezTo>
                  <a:cubicBezTo>
                    <a:pt x="35" y="33"/>
                    <a:pt x="27" y="35"/>
                    <a:pt x="21" y="38"/>
                  </a:cubicBezTo>
                  <a:cubicBezTo>
                    <a:pt x="14" y="41"/>
                    <a:pt x="9" y="46"/>
                    <a:pt x="6" y="53"/>
                  </a:cubicBezTo>
                  <a:cubicBezTo>
                    <a:pt x="2" y="59"/>
                    <a:pt x="0" y="68"/>
                    <a:pt x="0" y="79"/>
                  </a:cubicBezTo>
                  <a:cubicBezTo>
                    <a:pt x="0" y="94"/>
                    <a:pt x="4" y="106"/>
                    <a:pt x="11" y="113"/>
                  </a:cubicBezTo>
                  <a:cubicBezTo>
                    <a:pt x="18" y="120"/>
                    <a:pt x="28" y="124"/>
                    <a:pt x="41" y="124"/>
                  </a:cubicBezTo>
                  <a:cubicBezTo>
                    <a:pt x="47" y="124"/>
                    <a:pt x="52" y="123"/>
                    <a:pt x="56" y="122"/>
                  </a:cubicBezTo>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7" name="Freeform 46">
              <a:extLst>
                <a:ext uri="{FF2B5EF4-FFF2-40B4-BE49-F238E27FC236}">
                  <a16:creationId xmlns:a16="http://schemas.microsoft.com/office/drawing/2014/main" id="{5ABC7FF0-A875-424A-A9F2-DF5637A23E6B}"/>
                </a:ext>
              </a:extLst>
            </p:cNvPr>
            <p:cNvSpPr>
              <a:spLocks noEditPoints="1"/>
            </p:cNvSpPr>
            <p:nvPr/>
          </p:nvSpPr>
          <p:spPr bwMode="auto">
            <a:xfrm>
              <a:off x="4114800" y="2630488"/>
              <a:ext cx="914400" cy="80963"/>
            </a:xfrm>
            <a:custGeom>
              <a:avLst/>
              <a:gdLst>
                <a:gd name="T0" fmla="*/ 1351 w 1393"/>
                <a:gd name="T1" fmla="*/ 56 h 124"/>
                <a:gd name="T2" fmla="*/ 1361 w 1393"/>
                <a:gd name="T3" fmla="*/ 33 h 124"/>
                <a:gd name="T4" fmla="*/ 1363 w 1393"/>
                <a:gd name="T5" fmla="*/ 91 h 124"/>
                <a:gd name="T6" fmla="*/ 1327 w 1393"/>
                <a:gd name="T7" fmla="*/ 99 h 124"/>
                <a:gd name="T8" fmla="*/ 1390 w 1393"/>
                <a:gd name="T9" fmla="*/ 83 h 124"/>
                <a:gd name="T10" fmla="*/ 1250 w 1393"/>
                <a:gd name="T11" fmla="*/ 86 h 124"/>
                <a:gd name="T12" fmla="*/ 1273 w 1393"/>
                <a:gd name="T13" fmla="*/ 121 h 124"/>
                <a:gd name="T14" fmla="*/ 1283 w 1393"/>
                <a:gd name="T15" fmla="*/ 35 h 124"/>
                <a:gd name="T16" fmla="*/ 1165 w 1393"/>
                <a:gd name="T17" fmla="*/ 104 h 124"/>
                <a:gd name="T18" fmla="*/ 1165 w 1393"/>
                <a:gd name="T19" fmla="*/ 33 h 124"/>
                <a:gd name="T20" fmla="*/ 1196 w 1393"/>
                <a:gd name="T21" fmla="*/ 112 h 124"/>
                <a:gd name="T22" fmla="*/ 1079 w 1393"/>
                <a:gd name="T23" fmla="*/ 35 h 124"/>
                <a:gd name="T24" fmla="*/ 1100 w 1393"/>
                <a:gd name="T25" fmla="*/ 21 h 124"/>
                <a:gd name="T26" fmla="*/ 1029 w 1393"/>
                <a:gd name="T27" fmla="*/ 49 h 124"/>
                <a:gd name="T28" fmla="*/ 1030 w 1393"/>
                <a:gd name="T29" fmla="*/ 78 h 124"/>
                <a:gd name="T30" fmla="*/ 1063 w 1393"/>
                <a:gd name="T31" fmla="*/ 34 h 124"/>
                <a:gd name="T32" fmla="*/ 931 w 1393"/>
                <a:gd name="T33" fmla="*/ 68 h 124"/>
                <a:gd name="T34" fmla="*/ 907 w 1393"/>
                <a:gd name="T35" fmla="*/ 79 h 124"/>
                <a:gd name="T36" fmla="*/ 982 w 1393"/>
                <a:gd name="T37" fmla="*/ 99 h 124"/>
                <a:gd name="T38" fmla="*/ 987 w 1393"/>
                <a:gd name="T39" fmla="*/ 73 h 124"/>
                <a:gd name="T40" fmla="*/ 869 w 1393"/>
                <a:gd name="T41" fmla="*/ 69 h 124"/>
                <a:gd name="T42" fmla="*/ 885 w 1393"/>
                <a:gd name="T43" fmla="*/ 57 h 124"/>
                <a:gd name="T44" fmla="*/ 830 w 1393"/>
                <a:gd name="T45" fmla="*/ 70 h 124"/>
                <a:gd name="T46" fmla="*/ 867 w 1393"/>
                <a:gd name="T47" fmla="*/ 104 h 124"/>
                <a:gd name="T48" fmla="*/ 856 w 1393"/>
                <a:gd name="T49" fmla="*/ 124 h 124"/>
                <a:gd name="T50" fmla="*/ 740 w 1393"/>
                <a:gd name="T51" fmla="*/ 49 h 124"/>
                <a:gd name="T52" fmla="*/ 746 w 1393"/>
                <a:gd name="T53" fmla="*/ 64 h 124"/>
                <a:gd name="T54" fmla="*/ 771 w 1393"/>
                <a:gd name="T55" fmla="*/ 33 h 124"/>
                <a:gd name="T56" fmla="*/ 648 w 1393"/>
                <a:gd name="T57" fmla="*/ 55 h 124"/>
                <a:gd name="T58" fmla="*/ 624 w 1393"/>
                <a:gd name="T59" fmla="*/ 104 h 124"/>
                <a:gd name="T60" fmla="*/ 680 w 1393"/>
                <a:gd name="T61" fmla="*/ 104 h 124"/>
                <a:gd name="T62" fmla="*/ 688 w 1393"/>
                <a:gd name="T63" fmla="*/ 43 h 124"/>
                <a:gd name="T64" fmla="*/ 542 w 1393"/>
                <a:gd name="T65" fmla="*/ 81 h 124"/>
                <a:gd name="T66" fmla="*/ 599 w 1393"/>
                <a:gd name="T67" fmla="*/ 65 h 124"/>
                <a:gd name="T68" fmla="*/ 542 w 1393"/>
                <a:gd name="T69" fmla="*/ 38 h 124"/>
                <a:gd name="T70" fmla="*/ 476 w 1393"/>
                <a:gd name="T71" fmla="*/ 53 h 124"/>
                <a:gd name="T72" fmla="*/ 453 w 1393"/>
                <a:gd name="T73" fmla="*/ 35 h 124"/>
                <a:gd name="T74" fmla="*/ 465 w 1393"/>
                <a:gd name="T75" fmla="*/ 121 h 124"/>
                <a:gd name="T76" fmla="*/ 486 w 1393"/>
                <a:gd name="T77" fmla="*/ 105 h 124"/>
                <a:gd name="T78" fmla="*/ 401 w 1393"/>
                <a:gd name="T79" fmla="*/ 98 h 124"/>
                <a:gd name="T80" fmla="*/ 409 w 1393"/>
                <a:gd name="T81" fmla="*/ 38 h 124"/>
                <a:gd name="T82" fmla="*/ 387 w 1393"/>
                <a:gd name="T83" fmla="*/ 124 h 124"/>
                <a:gd name="T84" fmla="*/ 231 w 1393"/>
                <a:gd name="T85" fmla="*/ 59 h 124"/>
                <a:gd name="T86" fmla="*/ 243 w 1393"/>
                <a:gd name="T87" fmla="*/ 105 h 124"/>
                <a:gd name="T88" fmla="*/ 284 w 1393"/>
                <a:gd name="T89" fmla="*/ 122 h 124"/>
                <a:gd name="T90" fmla="*/ 261 w 1393"/>
                <a:gd name="T91" fmla="*/ 46 h 124"/>
                <a:gd name="T92" fmla="*/ 235 w 1393"/>
                <a:gd name="T93" fmla="*/ 124 h 124"/>
                <a:gd name="T94" fmla="*/ 102 w 1393"/>
                <a:gd name="T95" fmla="*/ 35 h 124"/>
                <a:gd name="T96" fmla="*/ 156 w 1393"/>
                <a:gd name="T97" fmla="*/ 57 h 124"/>
                <a:gd name="T98" fmla="*/ 152 w 1393"/>
                <a:gd name="T99" fmla="*/ 33 h 124"/>
                <a:gd name="T100" fmla="*/ 24 w 1393"/>
                <a:gd name="T101" fmla="*/ 96 h 124"/>
                <a:gd name="T102" fmla="*/ 8 w 1393"/>
                <a:gd name="T103" fmla="*/ 41 h 124"/>
                <a:gd name="T104" fmla="*/ 54 w 1393"/>
                <a:gd name="T105" fmla="*/ 68 h 124"/>
                <a:gd name="T106" fmla="*/ 44 w 1393"/>
                <a:gd name="T107" fmla="*/ 120 h 124"/>
                <a:gd name="T108" fmla="*/ 68 w 1393"/>
                <a:gd name="T109" fmla="*/ 4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93" h="124">
                  <a:moveTo>
                    <a:pt x="1390" y="83"/>
                  </a:moveTo>
                  <a:cubicBezTo>
                    <a:pt x="1388" y="80"/>
                    <a:pt x="1385" y="77"/>
                    <a:pt x="1382" y="75"/>
                  </a:cubicBezTo>
                  <a:cubicBezTo>
                    <a:pt x="1378" y="73"/>
                    <a:pt x="1374" y="71"/>
                    <a:pt x="1369" y="69"/>
                  </a:cubicBezTo>
                  <a:cubicBezTo>
                    <a:pt x="1364" y="67"/>
                    <a:pt x="1360" y="65"/>
                    <a:pt x="1357" y="64"/>
                  </a:cubicBezTo>
                  <a:cubicBezTo>
                    <a:pt x="1355" y="63"/>
                    <a:pt x="1353" y="61"/>
                    <a:pt x="1352" y="60"/>
                  </a:cubicBezTo>
                  <a:cubicBezTo>
                    <a:pt x="1351" y="59"/>
                    <a:pt x="1351" y="58"/>
                    <a:pt x="1351" y="56"/>
                  </a:cubicBezTo>
                  <a:cubicBezTo>
                    <a:pt x="1351" y="53"/>
                    <a:pt x="1354" y="51"/>
                    <a:pt x="1361" y="51"/>
                  </a:cubicBezTo>
                  <a:cubicBezTo>
                    <a:pt x="1365" y="51"/>
                    <a:pt x="1369" y="51"/>
                    <a:pt x="1373" y="53"/>
                  </a:cubicBezTo>
                  <a:cubicBezTo>
                    <a:pt x="1377" y="54"/>
                    <a:pt x="1381" y="55"/>
                    <a:pt x="1385" y="57"/>
                  </a:cubicBezTo>
                  <a:cubicBezTo>
                    <a:pt x="1392" y="40"/>
                    <a:pt x="1392" y="40"/>
                    <a:pt x="1392" y="40"/>
                  </a:cubicBezTo>
                  <a:cubicBezTo>
                    <a:pt x="1387" y="38"/>
                    <a:pt x="1382" y="36"/>
                    <a:pt x="1377" y="35"/>
                  </a:cubicBezTo>
                  <a:cubicBezTo>
                    <a:pt x="1372" y="34"/>
                    <a:pt x="1367" y="33"/>
                    <a:pt x="1361" y="33"/>
                  </a:cubicBezTo>
                  <a:cubicBezTo>
                    <a:pt x="1351" y="33"/>
                    <a:pt x="1343" y="35"/>
                    <a:pt x="1336" y="39"/>
                  </a:cubicBezTo>
                  <a:cubicBezTo>
                    <a:pt x="1330" y="43"/>
                    <a:pt x="1327" y="49"/>
                    <a:pt x="1327" y="57"/>
                  </a:cubicBezTo>
                  <a:cubicBezTo>
                    <a:pt x="1327" y="62"/>
                    <a:pt x="1328" y="66"/>
                    <a:pt x="1329" y="70"/>
                  </a:cubicBezTo>
                  <a:cubicBezTo>
                    <a:pt x="1331" y="73"/>
                    <a:pt x="1334" y="76"/>
                    <a:pt x="1337" y="78"/>
                  </a:cubicBezTo>
                  <a:cubicBezTo>
                    <a:pt x="1341" y="80"/>
                    <a:pt x="1345" y="83"/>
                    <a:pt x="1351" y="85"/>
                  </a:cubicBezTo>
                  <a:cubicBezTo>
                    <a:pt x="1356" y="87"/>
                    <a:pt x="1361" y="89"/>
                    <a:pt x="1363" y="91"/>
                  </a:cubicBezTo>
                  <a:cubicBezTo>
                    <a:pt x="1366" y="92"/>
                    <a:pt x="1368" y="94"/>
                    <a:pt x="1368" y="95"/>
                  </a:cubicBezTo>
                  <a:cubicBezTo>
                    <a:pt x="1369" y="96"/>
                    <a:pt x="1370" y="97"/>
                    <a:pt x="1370" y="99"/>
                  </a:cubicBezTo>
                  <a:cubicBezTo>
                    <a:pt x="1370" y="101"/>
                    <a:pt x="1369" y="103"/>
                    <a:pt x="1367" y="104"/>
                  </a:cubicBezTo>
                  <a:cubicBezTo>
                    <a:pt x="1365" y="106"/>
                    <a:pt x="1361" y="106"/>
                    <a:pt x="1357" y="106"/>
                  </a:cubicBezTo>
                  <a:cubicBezTo>
                    <a:pt x="1352" y="106"/>
                    <a:pt x="1348" y="106"/>
                    <a:pt x="1342" y="104"/>
                  </a:cubicBezTo>
                  <a:cubicBezTo>
                    <a:pt x="1337" y="103"/>
                    <a:pt x="1332" y="101"/>
                    <a:pt x="1327" y="99"/>
                  </a:cubicBezTo>
                  <a:cubicBezTo>
                    <a:pt x="1327" y="119"/>
                    <a:pt x="1327" y="119"/>
                    <a:pt x="1327" y="119"/>
                  </a:cubicBezTo>
                  <a:cubicBezTo>
                    <a:pt x="1331" y="120"/>
                    <a:pt x="1336" y="122"/>
                    <a:pt x="1340" y="122"/>
                  </a:cubicBezTo>
                  <a:cubicBezTo>
                    <a:pt x="1345" y="123"/>
                    <a:pt x="1350" y="124"/>
                    <a:pt x="1356" y="124"/>
                  </a:cubicBezTo>
                  <a:cubicBezTo>
                    <a:pt x="1368" y="124"/>
                    <a:pt x="1378" y="121"/>
                    <a:pt x="1384" y="117"/>
                  </a:cubicBezTo>
                  <a:cubicBezTo>
                    <a:pt x="1390" y="112"/>
                    <a:pt x="1393" y="105"/>
                    <a:pt x="1393" y="96"/>
                  </a:cubicBezTo>
                  <a:cubicBezTo>
                    <a:pt x="1393" y="91"/>
                    <a:pt x="1392" y="87"/>
                    <a:pt x="1390" y="83"/>
                  </a:cubicBezTo>
                  <a:moveTo>
                    <a:pt x="1283" y="35"/>
                  </a:moveTo>
                  <a:cubicBezTo>
                    <a:pt x="1283" y="76"/>
                    <a:pt x="1283" y="76"/>
                    <a:pt x="1283" y="76"/>
                  </a:cubicBezTo>
                  <a:cubicBezTo>
                    <a:pt x="1283" y="85"/>
                    <a:pt x="1282" y="92"/>
                    <a:pt x="1279" y="97"/>
                  </a:cubicBezTo>
                  <a:cubicBezTo>
                    <a:pt x="1277" y="102"/>
                    <a:pt x="1272" y="105"/>
                    <a:pt x="1264" y="105"/>
                  </a:cubicBezTo>
                  <a:cubicBezTo>
                    <a:pt x="1260" y="105"/>
                    <a:pt x="1256" y="103"/>
                    <a:pt x="1254" y="100"/>
                  </a:cubicBezTo>
                  <a:cubicBezTo>
                    <a:pt x="1252" y="97"/>
                    <a:pt x="1250" y="92"/>
                    <a:pt x="1250" y="86"/>
                  </a:cubicBezTo>
                  <a:cubicBezTo>
                    <a:pt x="1250" y="35"/>
                    <a:pt x="1250" y="35"/>
                    <a:pt x="1250" y="35"/>
                  </a:cubicBezTo>
                  <a:cubicBezTo>
                    <a:pt x="1227" y="35"/>
                    <a:pt x="1227" y="35"/>
                    <a:pt x="1227" y="35"/>
                  </a:cubicBezTo>
                  <a:cubicBezTo>
                    <a:pt x="1227" y="92"/>
                    <a:pt x="1227" y="92"/>
                    <a:pt x="1227" y="92"/>
                  </a:cubicBezTo>
                  <a:cubicBezTo>
                    <a:pt x="1227" y="103"/>
                    <a:pt x="1229" y="111"/>
                    <a:pt x="1235" y="116"/>
                  </a:cubicBezTo>
                  <a:cubicBezTo>
                    <a:pt x="1241" y="121"/>
                    <a:pt x="1248" y="124"/>
                    <a:pt x="1258" y="124"/>
                  </a:cubicBezTo>
                  <a:cubicBezTo>
                    <a:pt x="1263" y="124"/>
                    <a:pt x="1268" y="123"/>
                    <a:pt x="1273" y="121"/>
                  </a:cubicBezTo>
                  <a:cubicBezTo>
                    <a:pt x="1278" y="119"/>
                    <a:pt x="1282" y="115"/>
                    <a:pt x="1284" y="111"/>
                  </a:cubicBezTo>
                  <a:cubicBezTo>
                    <a:pt x="1286" y="111"/>
                    <a:pt x="1286" y="111"/>
                    <a:pt x="1286" y="111"/>
                  </a:cubicBezTo>
                  <a:cubicBezTo>
                    <a:pt x="1289" y="122"/>
                    <a:pt x="1289" y="122"/>
                    <a:pt x="1289" y="122"/>
                  </a:cubicBezTo>
                  <a:cubicBezTo>
                    <a:pt x="1307" y="122"/>
                    <a:pt x="1307" y="122"/>
                    <a:pt x="1307" y="122"/>
                  </a:cubicBezTo>
                  <a:cubicBezTo>
                    <a:pt x="1307" y="35"/>
                    <a:pt x="1307" y="35"/>
                    <a:pt x="1307" y="35"/>
                  </a:cubicBezTo>
                  <a:lnTo>
                    <a:pt x="1283" y="35"/>
                  </a:lnTo>
                  <a:close/>
                  <a:moveTo>
                    <a:pt x="1151" y="59"/>
                  </a:moveTo>
                  <a:cubicBezTo>
                    <a:pt x="1154" y="54"/>
                    <a:pt x="1159" y="52"/>
                    <a:pt x="1165" y="52"/>
                  </a:cubicBezTo>
                  <a:cubicBezTo>
                    <a:pt x="1171" y="52"/>
                    <a:pt x="1176" y="54"/>
                    <a:pt x="1179" y="59"/>
                  </a:cubicBezTo>
                  <a:cubicBezTo>
                    <a:pt x="1182" y="63"/>
                    <a:pt x="1183" y="70"/>
                    <a:pt x="1183" y="78"/>
                  </a:cubicBezTo>
                  <a:cubicBezTo>
                    <a:pt x="1183" y="87"/>
                    <a:pt x="1182" y="93"/>
                    <a:pt x="1179" y="98"/>
                  </a:cubicBezTo>
                  <a:cubicBezTo>
                    <a:pt x="1176" y="102"/>
                    <a:pt x="1171" y="104"/>
                    <a:pt x="1165" y="104"/>
                  </a:cubicBezTo>
                  <a:cubicBezTo>
                    <a:pt x="1159" y="104"/>
                    <a:pt x="1154" y="102"/>
                    <a:pt x="1151" y="98"/>
                  </a:cubicBezTo>
                  <a:cubicBezTo>
                    <a:pt x="1148" y="93"/>
                    <a:pt x="1147" y="87"/>
                    <a:pt x="1147" y="78"/>
                  </a:cubicBezTo>
                  <a:cubicBezTo>
                    <a:pt x="1147" y="70"/>
                    <a:pt x="1148" y="63"/>
                    <a:pt x="1151" y="59"/>
                  </a:cubicBezTo>
                  <a:moveTo>
                    <a:pt x="1202" y="54"/>
                  </a:moveTo>
                  <a:cubicBezTo>
                    <a:pt x="1198" y="47"/>
                    <a:pt x="1193" y="42"/>
                    <a:pt x="1187" y="38"/>
                  </a:cubicBezTo>
                  <a:cubicBezTo>
                    <a:pt x="1181" y="35"/>
                    <a:pt x="1173" y="33"/>
                    <a:pt x="1165" y="33"/>
                  </a:cubicBezTo>
                  <a:cubicBezTo>
                    <a:pt x="1152" y="33"/>
                    <a:pt x="1142" y="37"/>
                    <a:pt x="1134" y="45"/>
                  </a:cubicBezTo>
                  <a:cubicBezTo>
                    <a:pt x="1127" y="53"/>
                    <a:pt x="1123" y="64"/>
                    <a:pt x="1123" y="78"/>
                  </a:cubicBezTo>
                  <a:cubicBezTo>
                    <a:pt x="1123" y="88"/>
                    <a:pt x="1125" y="96"/>
                    <a:pt x="1128" y="103"/>
                  </a:cubicBezTo>
                  <a:cubicBezTo>
                    <a:pt x="1132" y="110"/>
                    <a:pt x="1137" y="115"/>
                    <a:pt x="1143" y="118"/>
                  </a:cubicBezTo>
                  <a:cubicBezTo>
                    <a:pt x="1149" y="122"/>
                    <a:pt x="1157" y="124"/>
                    <a:pt x="1165" y="124"/>
                  </a:cubicBezTo>
                  <a:cubicBezTo>
                    <a:pt x="1178" y="124"/>
                    <a:pt x="1188" y="120"/>
                    <a:pt x="1196" y="112"/>
                  </a:cubicBezTo>
                  <a:cubicBezTo>
                    <a:pt x="1204" y="104"/>
                    <a:pt x="1207" y="93"/>
                    <a:pt x="1207" y="78"/>
                  </a:cubicBezTo>
                  <a:cubicBezTo>
                    <a:pt x="1207" y="69"/>
                    <a:pt x="1206" y="60"/>
                    <a:pt x="1202" y="54"/>
                  </a:cubicBezTo>
                  <a:moveTo>
                    <a:pt x="1079" y="122"/>
                  </a:moveTo>
                  <a:cubicBezTo>
                    <a:pt x="1103" y="122"/>
                    <a:pt x="1103" y="122"/>
                    <a:pt x="1103" y="122"/>
                  </a:cubicBezTo>
                  <a:cubicBezTo>
                    <a:pt x="1103" y="35"/>
                    <a:pt x="1103" y="35"/>
                    <a:pt x="1103" y="35"/>
                  </a:cubicBezTo>
                  <a:cubicBezTo>
                    <a:pt x="1079" y="35"/>
                    <a:pt x="1079" y="35"/>
                    <a:pt x="1079" y="35"/>
                  </a:cubicBezTo>
                  <a:lnTo>
                    <a:pt x="1079" y="122"/>
                  </a:lnTo>
                  <a:close/>
                  <a:moveTo>
                    <a:pt x="1082" y="3"/>
                  </a:moveTo>
                  <a:cubicBezTo>
                    <a:pt x="1079" y="5"/>
                    <a:pt x="1078" y="8"/>
                    <a:pt x="1078" y="12"/>
                  </a:cubicBezTo>
                  <a:cubicBezTo>
                    <a:pt x="1078" y="16"/>
                    <a:pt x="1079" y="20"/>
                    <a:pt x="1082" y="21"/>
                  </a:cubicBezTo>
                  <a:cubicBezTo>
                    <a:pt x="1085" y="23"/>
                    <a:pt x="1088" y="24"/>
                    <a:pt x="1091" y="24"/>
                  </a:cubicBezTo>
                  <a:cubicBezTo>
                    <a:pt x="1095" y="24"/>
                    <a:pt x="1098" y="23"/>
                    <a:pt x="1100" y="21"/>
                  </a:cubicBezTo>
                  <a:cubicBezTo>
                    <a:pt x="1103" y="20"/>
                    <a:pt x="1104" y="16"/>
                    <a:pt x="1104" y="12"/>
                  </a:cubicBezTo>
                  <a:cubicBezTo>
                    <a:pt x="1104" y="8"/>
                    <a:pt x="1103" y="5"/>
                    <a:pt x="1100" y="3"/>
                  </a:cubicBezTo>
                  <a:cubicBezTo>
                    <a:pt x="1098" y="1"/>
                    <a:pt x="1095" y="0"/>
                    <a:pt x="1091" y="0"/>
                  </a:cubicBezTo>
                  <a:cubicBezTo>
                    <a:pt x="1088" y="0"/>
                    <a:pt x="1085" y="1"/>
                    <a:pt x="1082" y="3"/>
                  </a:cubicBezTo>
                  <a:moveTo>
                    <a:pt x="1040" y="38"/>
                  </a:moveTo>
                  <a:cubicBezTo>
                    <a:pt x="1035" y="41"/>
                    <a:pt x="1032" y="45"/>
                    <a:pt x="1029" y="49"/>
                  </a:cubicBezTo>
                  <a:cubicBezTo>
                    <a:pt x="1028" y="49"/>
                    <a:pt x="1028" y="49"/>
                    <a:pt x="1028" y="49"/>
                  </a:cubicBezTo>
                  <a:cubicBezTo>
                    <a:pt x="1025" y="35"/>
                    <a:pt x="1025" y="35"/>
                    <a:pt x="1025" y="35"/>
                  </a:cubicBezTo>
                  <a:cubicBezTo>
                    <a:pt x="1007" y="35"/>
                    <a:pt x="1007" y="35"/>
                    <a:pt x="1007" y="35"/>
                  </a:cubicBezTo>
                  <a:cubicBezTo>
                    <a:pt x="1007" y="122"/>
                    <a:pt x="1007" y="122"/>
                    <a:pt x="1007" y="122"/>
                  </a:cubicBezTo>
                  <a:cubicBezTo>
                    <a:pt x="1030" y="122"/>
                    <a:pt x="1030" y="122"/>
                    <a:pt x="1030" y="122"/>
                  </a:cubicBezTo>
                  <a:cubicBezTo>
                    <a:pt x="1030" y="78"/>
                    <a:pt x="1030" y="78"/>
                    <a:pt x="1030" y="78"/>
                  </a:cubicBezTo>
                  <a:cubicBezTo>
                    <a:pt x="1030" y="72"/>
                    <a:pt x="1032" y="68"/>
                    <a:pt x="1034" y="64"/>
                  </a:cubicBezTo>
                  <a:cubicBezTo>
                    <a:pt x="1036" y="61"/>
                    <a:pt x="1039" y="59"/>
                    <a:pt x="1043" y="57"/>
                  </a:cubicBezTo>
                  <a:cubicBezTo>
                    <a:pt x="1047" y="56"/>
                    <a:pt x="1051" y="55"/>
                    <a:pt x="1055" y="55"/>
                  </a:cubicBezTo>
                  <a:cubicBezTo>
                    <a:pt x="1056" y="55"/>
                    <a:pt x="1057" y="55"/>
                    <a:pt x="1058" y="56"/>
                  </a:cubicBezTo>
                  <a:cubicBezTo>
                    <a:pt x="1060" y="56"/>
                    <a:pt x="1061" y="56"/>
                    <a:pt x="1062" y="56"/>
                  </a:cubicBezTo>
                  <a:cubicBezTo>
                    <a:pt x="1063" y="34"/>
                    <a:pt x="1063" y="34"/>
                    <a:pt x="1063" y="34"/>
                  </a:cubicBezTo>
                  <a:cubicBezTo>
                    <a:pt x="1062" y="34"/>
                    <a:pt x="1061" y="33"/>
                    <a:pt x="1060" y="33"/>
                  </a:cubicBezTo>
                  <a:cubicBezTo>
                    <a:pt x="1058" y="33"/>
                    <a:pt x="1057" y="33"/>
                    <a:pt x="1055" y="33"/>
                  </a:cubicBezTo>
                  <a:cubicBezTo>
                    <a:pt x="1049" y="33"/>
                    <a:pt x="1044" y="35"/>
                    <a:pt x="1040" y="38"/>
                  </a:cubicBezTo>
                  <a:moveTo>
                    <a:pt x="961" y="55"/>
                  </a:moveTo>
                  <a:cubicBezTo>
                    <a:pt x="963" y="59"/>
                    <a:pt x="965" y="63"/>
                    <a:pt x="965" y="68"/>
                  </a:cubicBezTo>
                  <a:cubicBezTo>
                    <a:pt x="931" y="68"/>
                    <a:pt x="931" y="68"/>
                    <a:pt x="931" y="68"/>
                  </a:cubicBezTo>
                  <a:cubicBezTo>
                    <a:pt x="932" y="62"/>
                    <a:pt x="934" y="58"/>
                    <a:pt x="937" y="55"/>
                  </a:cubicBezTo>
                  <a:cubicBezTo>
                    <a:pt x="940" y="52"/>
                    <a:pt x="943" y="50"/>
                    <a:pt x="948" y="50"/>
                  </a:cubicBezTo>
                  <a:cubicBezTo>
                    <a:pt x="954" y="50"/>
                    <a:pt x="958" y="52"/>
                    <a:pt x="961" y="55"/>
                  </a:cubicBezTo>
                  <a:moveTo>
                    <a:pt x="926" y="38"/>
                  </a:moveTo>
                  <a:cubicBezTo>
                    <a:pt x="920" y="42"/>
                    <a:pt x="915" y="47"/>
                    <a:pt x="912" y="54"/>
                  </a:cubicBezTo>
                  <a:cubicBezTo>
                    <a:pt x="908" y="60"/>
                    <a:pt x="907" y="69"/>
                    <a:pt x="907" y="79"/>
                  </a:cubicBezTo>
                  <a:cubicBezTo>
                    <a:pt x="907" y="89"/>
                    <a:pt x="909" y="97"/>
                    <a:pt x="912" y="104"/>
                  </a:cubicBezTo>
                  <a:cubicBezTo>
                    <a:pt x="916" y="111"/>
                    <a:pt x="922" y="116"/>
                    <a:pt x="928" y="119"/>
                  </a:cubicBezTo>
                  <a:cubicBezTo>
                    <a:pt x="935" y="122"/>
                    <a:pt x="943" y="124"/>
                    <a:pt x="952" y="124"/>
                  </a:cubicBezTo>
                  <a:cubicBezTo>
                    <a:pt x="958" y="124"/>
                    <a:pt x="964" y="123"/>
                    <a:pt x="969" y="122"/>
                  </a:cubicBezTo>
                  <a:cubicBezTo>
                    <a:pt x="973" y="121"/>
                    <a:pt x="978" y="120"/>
                    <a:pt x="982" y="117"/>
                  </a:cubicBezTo>
                  <a:cubicBezTo>
                    <a:pt x="982" y="99"/>
                    <a:pt x="982" y="99"/>
                    <a:pt x="982" y="99"/>
                  </a:cubicBezTo>
                  <a:cubicBezTo>
                    <a:pt x="977" y="101"/>
                    <a:pt x="973" y="103"/>
                    <a:pt x="968" y="104"/>
                  </a:cubicBezTo>
                  <a:cubicBezTo>
                    <a:pt x="963" y="105"/>
                    <a:pt x="958" y="106"/>
                    <a:pt x="953" y="106"/>
                  </a:cubicBezTo>
                  <a:cubicBezTo>
                    <a:pt x="946" y="106"/>
                    <a:pt x="941" y="104"/>
                    <a:pt x="937" y="100"/>
                  </a:cubicBezTo>
                  <a:cubicBezTo>
                    <a:pt x="933" y="96"/>
                    <a:pt x="931" y="91"/>
                    <a:pt x="931" y="84"/>
                  </a:cubicBezTo>
                  <a:cubicBezTo>
                    <a:pt x="987" y="84"/>
                    <a:pt x="987" y="84"/>
                    <a:pt x="987" y="84"/>
                  </a:cubicBezTo>
                  <a:cubicBezTo>
                    <a:pt x="987" y="73"/>
                    <a:pt x="987" y="73"/>
                    <a:pt x="987" y="73"/>
                  </a:cubicBezTo>
                  <a:cubicBezTo>
                    <a:pt x="987" y="60"/>
                    <a:pt x="984" y="50"/>
                    <a:pt x="977" y="43"/>
                  </a:cubicBezTo>
                  <a:cubicBezTo>
                    <a:pt x="970" y="37"/>
                    <a:pt x="960" y="33"/>
                    <a:pt x="948" y="33"/>
                  </a:cubicBezTo>
                  <a:cubicBezTo>
                    <a:pt x="940" y="33"/>
                    <a:pt x="933" y="35"/>
                    <a:pt x="926" y="38"/>
                  </a:cubicBezTo>
                  <a:moveTo>
                    <a:pt x="890" y="83"/>
                  </a:moveTo>
                  <a:cubicBezTo>
                    <a:pt x="889" y="80"/>
                    <a:pt x="886" y="77"/>
                    <a:pt x="882" y="75"/>
                  </a:cubicBezTo>
                  <a:cubicBezTo>
                    <a:pt x="878" y="73"/>
                    <a:pt x="874" y="71"/>
                    <a:pt x="869" y="69"/>
                  </a:cubicBezTo>
                  <a:cubicBezTo>
                    <a:pt x="864" y="67"/>
                    <a:pt x="860" y="65"/>
                    <a:pt x="858" y="64"/>
                  </a:cubicBezTo>
                  <a:cubicBezTo>
                    <a:pt x="855" y="63"/>
                    <a:pt x="853" y="61"/>
                    <a:pt x="852" y="60"/>
                  </a:cubicBezTo>
                  <a:cubicBezTo>
                    <a:pt x="851" y="59"/>
                    <a:pt x="851" y="58"/>
                    <a:pt x="851" y="56"/>
                  </a:cubicBezTo>
                  <a:cubicBezTo>
                    <a:pt x="851" y="53"/>
                    <a:pt x="854" y="51"/>
                    <a:pt x="861" y="51"/>
                  </a:cubicBezTo>
                  <a:cubicBezTo>
                    <a:pt x="865" y="51"/>
                    <a:pt x="869" y="51"/>
                    <a:pt x="873" y="53"/>
                  </a:cubicBezTo>
                  <a:cubicBezTo>
                    <a:pt x="877" y="54"/>
                    <a:pt x="881" y="55"/>
                    <a:pt x="885" y="57"/>
                  </a:cubicBezTo>
                  <a:cubicBezTo>
                    <a:pt x="892" y="40"/>
                    <a:pt x="892" y="40"/>
                    <a:pt x="892" y="40"/>
                  </a:cubicBezTo>
                  <a:cubicBezTo>
                    <a:pt x="887" y="38"/>
                    <a:pt x="882" y="36"/>
                    <a:pt x="877" y="35"/>
                  </a:cubicBezTo>
                  <a:cubicBezTo>
                    <a:pt x="872" y="34"/>
                    <a:pt x="867" y="33"/>
                    <a:pt x="862" y="33"/>
                  </a:cubicBezTo>
                  <a:cubicBezTo>
                    <a:pt x="851" y="33"/>
                    <a:pt x="843" y="35"/>
                    <a:pt x="837" y="39"/>
                  </a:cubicBezTo>
                  <a:cubicBezTo>
                    <a:pt x="830" y="43"/>
                    <a:pt x="827" y="49"/>
                    <a:pt x="827" y="57"/>
                  </a:cubicBezTo>
                  <a:cubicBezTo>
                    <a:pt x="827" y="62"/>
                    <a:pt x="828" y="66"/>
                    <a:pt x="830" y="70"/>
                  </a:cubicBezTo>
                  <a:cubicBezTo>
                    <a:pt x="831" y="73"/>
                    <a:pt x="834" y="76"/>
                    <a:pt x="838" y="78"/>
                  </a:cubicBezTo>
                  <a:cubicBezTo>
                    <a:pt x="841" y="80"/>
                    <a:pt x="845" y="83"/>
                    <a:pt x="851" y="85"/>
                  </a:cubicBezTo>
                  <a:cubicBezTo>
                    <a:pt x="857" y="87"/>
                    <a:pt x="861" y="89"/>
                    <a:pt x="864" y="91"/>
                  </a:cubicBezTo>
                  <a:cubicBezTo>
                    <a:pt x="866" y="92"/>
                    <a:pt x="868" y="94"/>
                    <a:pt x="869" y="95"/>
                  </a:cubicBezTo>
                  <a:cubicBezTo>
                    <a:pt x="870" y="96"/>
                    <a:pt x="870" y="97"/>
                    <a:pt x="870" y="99"/>
                  </a:cubicBezTo>
                  <a:cubicBezTo>
                    <a:pt x="870" y="101"/>
                    <a:pt x="869" y="103"/>
                    <a:pt x="867" y="104"/>
                  </a:cubicBezTo>
                  <a:cubicBezTo>
                    <a:pt x="865" y="106"/>
                    <a:pt x="862" y="106"/>
                    <a:pt x="857" y="106"/>
                  </a:cubicBezTo>
                  <a:cubicBezTo>
                    <a:pt x="853" y="106"/>
                    <a:pt x="848" y="106"/>
                    <a:pt x="843" y="104"/>
                  </a:cubicBezTo>
                  <a:cubicBezTo>
                    <a:pt x="837" y="103"/>
                    <a:pt x="832" y="101"/>
                    <a:pt x="827" y="99"/>
                  </a:cubicBezTo>
                  <a:cubicBezTo>
                    <a:pt x="827" y="119"/>
                    <a:pt x="827" y="119"/>
                    <a:pt x="827" y="119"/>
                  </a:cubicBezTo>
                  <a:cubicBezTo>
                    <a:pt x="832" y="120"/>
                    <a:pt x="836" y="122"/>
                    <a:pt x="840" y="122"/>
                  </a:cubicBezTo>
                  <a:cubicBezTo>
                    <a:pt x="845" y="123"/>
                    <a:pt x="850" y="124"/>
                    <a:pt x="856" y="124"/>
                  </a:cubicBezTo>
                  <a:cubicBezTo>
                    <a:pt x="869" y="124"/>
                    <a:pt x="878" y="121"/>
                    <a:pt x="884" y="117"/>
                  </a:cubicBezTo>
                  <a:cubicBezTo>
                    <a:pt x="890" y="112"/>
                    <a:pt x="893" y="105"/>
                    <a:pt x="893" y="96"/>
                  </a:cubicBezTo>
                  <a:cubicBezTo>
                    <a:pt x="893" y="91"/>
                    <a:pt x="892" y="87"/>
                    <a:pt x="890" y="83"/>
                  </a:cubicBezTo>
                  <a:moveTo>
                    <a:pt x="752" y="38"/>
                  </a:moveTo>
                  <a:cubicBezTo>
                    <a:pt x="747" y="41"/>
                    <a:pt x="744" y="45"/>
                    <a:pt x="741" y="49"/>
                  </a:cubicBezTo>
                  <a:cubicBezTo>
                    <a:pt x="740" y="49"/>
                    <a:pt x="740" y="49"/>
                    <a:pt x="740" y="49"/>
                  </a:cubicBezTo>
                  <a:cubicBezTo>
                    <a:pt x="736" y="35"/>
                    <a:pt x="736" y="35"/>
                    <a:pt x="736" y="35"/>
                  </a:cubicBezTo>
                  <a:cubicBezTo>
                    <a:pt x="718" y="35"/>
                    <a:pt x="718" y="35"/>
                    <a:pt x="718" y="35"/>
                  </a:cubicBezTo>
                  <a:cubicBezTo>
                    <a:pt x="718" y="122"/>
                    <a:pt x="718" y="122"/>
                    <a:pt x="718" y="122"/>
                  </a:cubicBezTo>
                  <a:cubicBezTo>
                    <a:pt x="742" y="122"/>
                    <a:pt x="742" y="122"/>
                    <a:pt x="742" y="122"/>
                  </a:cubicBezTo>
                  <a:cubicBezTo>
                    <a:pt x="742" y="78"/>
                    <a:pt x="742" y="78"/>
                    <a:pt x="742" y="78"/>
                  </a:cubicBezTo>
                  <a:cubicBezTo>
                    <a:pt x="742" y="72"/>
                    <a:pt x="743" y="68"/>
                    <a:pt x="746" y="64"/>
                  </a:cubicBezTo>
                  <a:cubicBezTo>
                    <a:pt x="748" y="61"/>
                    <a:pt x="751" y="59"/>
                    <a:pt x="755" y="57"/>
                  </a:cubicBezTo>
                  <a:cubicBezTo>
                    <a:pt x="758" y="56"/>
                    <a:pt x="762" y="55"/>
                    <a:pt x="766" y="55"/>
                  </a:cubicBezTo>
                  <a:cubicBezTo>
                    <a:pt x="767" y="55"/>
                    <a:pt x="769" y="55"/>
                    <a:pt x="770" y="56"/>
                  </a:cubicBezTo>
                  <a:cubicBezTo>
                    <a:pt x="771" y="56"/>
                    <a:pt x="772" y="56"/>
                    <a:pt x="773" y="56"/>
                  </a:cubicBezTo>
                  <a:cubicBezTo>
                    <a:pt x="775" y="34"/>
                    <a:pt x="775" y="34"/>
                    <a:pt x="775" y="34"/>
                  </a:cubicBezTo>
                  <a:cubicBezTo>
                    <a:pt x="774" y="34"/>
                    <a:pt x="773" y="33"/>
                    <a:pt x="771" y="33"/>
                  </a:cubicBezTo>
                  <a:cubicBezTo>
                    <a:pt x="770" y="33"/>
                    <a:pt x="768" y="33"/>
                    <a:pt x="767" y="33"/>
                  </a:cubicBezTo>
                  <a:cubicBezTo>
                    <a:pt x="761" y="33"/>
                    <a:pt x="756" y="35"/>
                    <a:pt x="752" y="38"/>
                  </a:cubicBezTo>
                  <a:moveTo>
                    <a:pt x="672" y="55"/>
                  </a:moveTo>
                  <a:cubicBezTo>
                    <a:pt x="675" y="59"/>
                    <a:pt x="676" y="63"/>
                    <a:pt x="676" y="68"/>
                  </a:cubicBezTo>
                  <a:cubicBezTo>
                    <a:pt x="643" y="68"/>
                    <a:pt x="643" y="68"/>
                    <a:pt x="643" y="68"/>
                  </a:cubicBezTo>
                  <a:cubicBezTo>
                    <a:pt x="644" y="62"/>
                    <a:pt x="645" y="58"/>
                    <a:pt x="648" y="55"/>
                  </a:cubicBezTo>
                  <a:cubicBezTo>
                    <a:pt x="651" y="52"/>
                    <a:pt x="655" y="50"/>
                    <a:pt x="660" y="50"/>
                  </a:cubicBezTo>
                  <a:cubicBezTo>
                    <a:pt x="665" y="50"/>
                    <a:pt x="670" y="52"/>
                    <a:pt x="672" y="55"/>
                  </a:cubicBezTo>
                  <a:moveTo>
                    <a:pt x="638" y="38"/>
                  </a:moveTo>
                  <a:cubicBezTo>
                    <a:pt x="632" y="42"/>
                    <a:pt x="627" y="47"/>
                    <a:pt x="624" y="54"/>
                  </a:cubicBezTo>
                  <a:cubicBezTo>
                    <a:pt x="620" y="60"/>
                    <a:pt x="618" y="69"/>
                    <a:pt x="618" y="79"/>
                  </a:cubicBezTo>
                  <a:cubicBezTo>
                    <a:pt x="618" y="89"/>
                    <a:pt x="620" y="97"/>
                    <a:pt x="624" y="104"/>
                  </a:cubicBezTo>
                  <a:cubicBezTo>
                    <a:pt x="628" y="111"/>
                    <a:pt x="633" y="116"/>
                    <a:pt x="640" y="119"/>
                  </a:cubicBezTo>
                  <a:cubicBezTo>
                    <a:pt x="647" y="122"/>
                    <a:pt x="654" y="124"/>
                    <a:pt x="663" y="124"/>
                  </a:cubicBezTo>
                  <a:cubicBezTo>
                    <a:pt x="670" y="124"/>
                    <a:pt x="676" y="123"/>
                    <a:pt x="680" y="122"/>
                  </a:cubicBezTo>
                  <a:cubicBezTo>
                    <a:pt x="685" y="121"/>
                    <a:pt x="690" y="120"/>
                    <a:pt x="694" y="117"/>
                  </a:cubicBezTo>
                  <a:cubicBezTo>
                    <a:pt x="694" y="99"/>
                    <a:pt x="694" y="99"/>
                    <a:pt x="694" y="99"/>
                  </a:cubicBezTo>
                  <a:cubicBezTo>
                    <a:pt x="689" y="101"/>
                    <a:pt x="684" y="103"/>
                    <a:pt x="680" y="104"/>
                  </a:cubicBezTo>
                  <a:cubicBezTo>
                    <a:pt x="675" y="105"/>
                    <a:pt x="670" y="106"/>
                    <a:pt x="664" y="106"/>
                  </a:cubicBezTo>
                  <a:cubicBezTo>
                    <a:pt x="658" y="106"/>
                    <a:pt x="652" y="104"/>
                    <a:pt x="649" y="100"/>
                  </a:cubicBezTo>
                  <a:cubicBezTo>
                    <a:pt x="645" y="96"/>
                    <a:pt x="643" y="91"/>
                    <a:pt x="643" y="84"/>
                  </a:cubicBezTo>
                  <a:cubicBezTo>
                    <a:pt x="699" y="84"/>
                    <a:pt x="699" y="84"/>
                    <a:pt x="699" y="84"/>
                  </a:cubicBezTo>
                  <a:cubicBezTo>
                    <a:pt x="699" y="73"/>
                    <a:pt x="699" y="73"/>
                    <a:pt x="699" y="73"/>
                  </a:cubicBezTo>
                  <a:cubicBezTo>
                    <a:pt x="699" y="60"/>
                    <a:pt x="695" y="50"/>
                    <a:pt x="688" y="43"/>
                  </a:cubicBezTo>
                  <a:cubicBezTo>
                    <a:pt x="681" y="37"/>
                    <a:pt x="672" y="33"/>
                    <a:pt x="660" y="33"/>
                  </a:cubicBezTo>
                  <a:cubicBezTo>
                    <a:pt x="651" y="33"/>
                    <a:pt x="644" y="35"/>
                    <a:pt x="638" y="38"/>
                  </a:cubicBezTo>
                  <a:moveTo>
                    <a:pt x="519" y="0"/>
                  </a:moveTo>
                  <a:cubicBezTo>
                    <a:pt x="519" y="122"/>
                    <a:pt x="519" y="122"/>
                    <a:pt x="519" y="122"/>
                  </a:cubicBezTo>
                  <a:cubicBezTo>
                    <a:pt x="542" y="122"/>
                    <a:pt x="542" y="122"/>
                    <a:pt x="542" y="122"/>
                  </a:cubicBezTo>
                  <a:cubicBezTo>
                    <a:pt x="542" y="81"/>
                    <a:pt x="542" y="81"/>
                    <a:pt x="542" y="81"/>
                  </a:cubicBezTo>
                  <a:cubicBezTo>
                    <a:pt x="542" y="72"/>
                    <a:pt x="544" y="65"/>
                    <a:pt x="546" y="60"/>
                  </a:cubicBezTo>
                  <a:cubicBezTo>
                    <a:pt x="549" y="55"/>
                    <a:pt x="554" y="52"/>
                    <a:pt x="561" y="52"/>
                  </a:cubicBezTo>
                  <a:cubicBezTo>
                    <a:pt x="571" y="52"/>
                    <a:pt x="575" y="58"/>
                    <a:pt x="575" y="71"/>
                  </a:cubicBezTo>
                  <a:cubicBezTo>
                    <a:pt x="575" y="122"/>
                    <a:pt x="575" y="122"/>
                    <a:pt x="575" y="122"/>
                  </a:cubicBezTo>
                  <a:cubicBezTo>
                    <a:pt x="599" y="122"/>
                    <a:pt x="599" y="122"/>
                    <a:pt x="599" y="122"/>
                  </a:cubicBezTo>
                  <a:cubicBezTo>
                    <a:pt x="599" y="65"/>
                    <a:pt x="599" y="65"/>
                    <a:pt x="599" y="65"/>
                  </a:cubicBezTo>
                  <a:cubicBezTo>
                    <a:pt x="599" y="54"/>
                    <a:pt x="596" y="46"/>
                    <a:pt x="591" y="41"/>
                  </a:cubicBezTo>
                  <a:cubicBezTo>
                    <a:pt x="585" y="36"/>
                    <a:pt x="577" y="33"/>
                    <a:pt x="568" y="33"/>
                  </a:cubicBezTo>
                  <a:cubicBezTo>
                    <a:pt x="563" y="33"/>
                    <a:pt x="558" y="34"/>
                    <a:pt x="553" y="36"/>
                  </a:cubicBezTo>
                  <a:cubicBezTo>
                    <a:pt x="549" y="38"/>
                    <a:pt x="545" y="41"/>
                    <a:pt x="543" y="46"/>
                  </a:cubicBezTo>
                  <a:cubicBezTo>
                    <a:pt x="541" y="46"/>
                    <a:pt x="541" y="46"/>
                    <a:pt x="541" y="46"/>
                  </a:cubicBezTo>
                  <a:cubicBezTo>
                    <a:pt x="541" y="44"/>
                    <a:pt x="542" y="42"/>
                    <a:pt x="542" y="38"/>
                  </a:cubicBezTo>
                  <a:cubicBezTo>
                    <a:pt x="542" y="34"/>
                    <a:pt x="542" y="30"/>
                    <a:pt x="542" y="25"/>
                  </a:cubicBezTo>
                  <a:cubicBezTo>
                    <a:pt x="542" y="0"/>
                    <a:pt x="542" y="0"/>
                    <a:pt x="542" y="0"/>
                  </a:cubicBezTo>
                  <a:lnTo>
                    <a:pt x="519" y="0"/>
                  </a:lnTo>
                  <a:close/>
                  <a:moveTo>
                    <a:pt x="478" y="102"/>
                  </a:moveTo>
                  <a:cubicBezTo>
                    <a:pt x="476" y="100"/>
                    <a:pt x="476" y="98"/>
                    <a:pt x="476" y="95"/>
                  </a:cubicBezTo>
                  <a:cubicBezTo>
                    <a:pt x="476" y="53"/>
                    <a:pt x="476" y="53"/>
                    <a:pt x="476" y="53"/>
                  </a:cubicBezTo>
                  <a:cubicBezTo>
                    <a:pt x="500" y="53"/>
                    <a:pt x="500" y="53"/>
                    <a:pt x="500" y="53"/>
                  </a:cubicBezTo>
                  <a:cubicBezTo>
                    <a:pt x="500" y="35"/>
                    <a:pt x="500" y="35"/>
                    <a:pt x="500" y="35"/>
                  </a:cubicBezTo>
                  <a:cubicBezTo>
                    <a:pt x="476" y="35"/>
                    <a:pt x="476" y="35"/>
                    <a:pt x="476" y="35"/>
                  </a:cubicBezTo>
                  <a:cubicBezTo>
                    <a:pt x="476" y="16"/>
                    <a:pt x="476" y="16"/>
                    <a:pt x="476" y="16"/>
                  </a:cubicBezTo>
                  <a:cubicBezTo>
                    <a:pt x="460" y="16"/>
                    <a:pt x="460" y="16"/>
                    <a:pt x="460" y="16"/>
                  </a:cubicBezTo>
                  <a:cubicBezTo>
                    <a:pt x="453" y="35"/>
                    <a:pt x="453" y="35"/>
                    <a:pt x="453" y="35"/>
                  </a:cubicBezTo>
                  <a:cubicBezTo>
                    <a:pt x="440" y="43"/>
                    <a:pt x="440" y="43"/>
                    <a:pt x="440" y="43"/>
                  </a:cubicBezTo>
                  <a:cubicBezTo>
                    <a:pt x="440" y="53"/>
                    <a:pt x="440" y="53"/>
                    <a:pt x="440" y="53"/>
                  </a:cubicBezTo>
                  <a:cubicBezTo>
                    <a:pt x="452" y="53"/>
                    <a:pt x="452" y="53"/>
                    <a:pt x="452" y="53"/>
                  </a:cubicBezTo>
                  <a:cubicBezTo>
                    <a:pt x="452" y="95"/>
                    <a:pt x="452" y="95"/>
                    <a:pt x="452" y="95"/>
                  </a:cubicBezTo>
                  <a:cubicBezTo>
                    <a:pt x="452" y="102"/>
                    <a:pt x="453" y="108"/>
                    <a:pt x="455" y="112"/>
                  </a:cubicBezTo>
                  <a:cubicBezTo>
                    <a:pt x="458" y="116"/>
                    <a:pt x="461" y="119"/>
                    <a:pt x="465" y="121"/>
                  </a:cubicBezTo>
                  <a:cubicBezTo>
                    <a:pt x="469" y="123"/>
                    <a:pt x="474" y="124"/>
                    <a:pt x="479" y="124"/>
                  </a:cubicBezTo>
                  <a:cubicBezTo>
                    <a:pt x="484" y="124"/>
                    <a:pt x="488" y="123"/>
                    <a:pt x="491" y="123"/>
                  </a:cubicBezTo>
                  <a:cubicBezTo>
                    <a:pt x="495" y="122"/>
                    <a:pt x="498" y="121"/>
                    <a:pt x="501" y="120"/>
                  </a:cubicBezTo>
                  <a:cubicBezTo>
                    <a:pt x="501" y="102"/>
                    <a:pt x="501" y="102"/>
                    <a:pt x="501" y="102"/>
                  </a:cubicBezTo>
                  <a:cubicBezTo>
                    <a:pt x="499" y="103"/>
                    <a:pt x="496" y="103"/>
                    <a:pt x="494" y="104"/>
                  </a:cubicBezTo>
                  <a:cubicBezTo>
                    <a:pt x="491" y="104"/>
                    <a:pt x="489" y="105"/>
                    <a:pt x="486" y="105"/>
                  </a:cubicBezTo>
                  <a:cubicBezTo>
                    <a:pt x="483" y="105"/>
                    <a:pt x="480" y="104"/>
                    <a:pt x="478" y="102"/>
                  </a:cubicBezTo>
                  <a:moveTo>
                    <a:pt x="373" y="59"/>
                  </a:moveTo>
                  <a:cubicBezTo>
                    <a:pt x="376" y="54"/>
                    <a:pt x="381" y="52"/>
                    <a:pt x="387" y="52"/>
                  </a:cubicBezTo>
                  <a:cubicBezTo>
                    <a:pt x="393" y="52"/>
                    <a:pt x="398" y="54"/>
                    <a:pt x="401" y="59"/>
                  </a:cubicBezTo>
                  <a:cubicBezTo>
                    <a:pt x="404" y="63"/>
                    <a:pt x="405" y="70"/>
                    <a:pt x="405" y="78"/>
                  </a:cubicBezTo>
                  <a:cubicBezTo>
                    <a:pt x="405" y="87"/>
                    <a:pt x="404" y="93"/>
                    <a:pt x="401" y="98"/>
                  </a:cubicBezTo>
                  <a:cubicBezTo>
                    <a:pt x="398" y="102"/>
                    <a:pt x="393" y="104"/>
                    <a:pt x="387" y="104"/>
                  </a:cubicBezTo>
                  <a:cubicBezTo>
                    <a:pt x="381" y="104"/>
                    <a:pt x="376" y="102"/>
                    <a:pt x="373" y="98"/>
                  </a:cubicBezTo>
                  <a:cubicBezTo>
                    <a:pt x="371" y="93"/>
                    <a:pt x="369" y="87"/>
                    <a:pt x="369" y="78"/>
                  </a:cubicBezTo>
                  <a:cubicBezTo>
                    <a:pt x="369" y="70"/>
                    <a:pt x="371" y="63"/>
                    <a:pt x="373" y="59"/>
                  </a:cubicBezTo>
                  <a:moveTo>
                    <a:pt x="424" y="54"/>
                  </a:moveTo>
                  <a:cubicBezTo>
                    <a:pt x="420" y="47"/>
                    <a:pt x="415" y="42"/>
                    <a:pt x="409" y="38"/>
                  </a:cubicBezTo>
                  <a:cubicBezTo>
                    <a:pt x="403" y="35"/>
                    <a:pt x="396" y="33"/>
                    <a:pt x="387" y="33"/>
                  </a:cubicBezTo>
                  <a:cubicBezTo>
                    <a:pt x="374" y="33"/>
                    <a:pt x="364" y="37"/>
                    <a:pt x="356" y="45"/>
                  </a:cubicBezTo>
                  <a:cubicBezTo>
                    <a:pt x="349" y="53"/>
                    <a:pt x="345" y="64"/>
                    <a:pt x="345" y="78"/>
                  </a:cubicBezTo>
                  <a:cubicBezTo>
                    <a:pt x="345" y="88"/>
                    <a:pt x="347" y="96"/>
                    <a:pt x="350" y="103"/>
                  </a:cubicBezTo>
                  <a:cubicBezTo>
                    <a:pt x="354" y="110"/>
                    <a:pt x="359" y="115"/>
                    <a:pt x="365" y="118"/>
                  </a:cubicBezTo>
                  <a:cubicBezTo>
                    <a:pt x="372" y="122"/>
                    <a:pt x="379" y="124"/>
                    <a:pt x="387" y="124"/>
                  </a:cubicBezTo>
                  <a:cubicBezTo>
                    <a:pt x="400" y="124"/>
                    <a:pt x="410" y="120"/>
                    <a:pt x="418" y="112"/>
                  </a:cubicBezTo>
                  <a:cubicBezTo>
                    <a:pt x="426" y="104"/>
                    <a:pt x="429" y="93"/>
                    <a:pt x="429" y="78"/>
                  </a:cubicBezTo>
                  <a:cubicBezTo>
                    <a:pt x="429" y="69"/>
                    <a:pt x="428" y="60"/>
                    <a:pt x="424" y="54"/>
                  </a:cubicBezTo>
                  <a:moveTo>
                    <a:pt x="231" y="98"/>
                  </a:moveTo>
                  <a:cubicBezTo>
                    <a:pt x="228" y="94"/>
                    <a:pt x="226" y="87"/>
                    <a:pt x="226" y="79"/>
                  </a:cubicBezTo>
                  <a:cubicBezTo>
                    <a:pt x="226" y="70"/>
                    <a:pt x="228" y="64"/>
                    <a:pt x="231" y="59"/>
                  </a:cubicBezTo>
                  <a:cubicBezTo>
                    <a:pt x="234" y="55"/>
                    <a:pt x="238" y="52"/>
                    <a:pt x="243" y="52"/>
                  </a:cubicBezTo>
                  <a:cubicBezTo>
                    <a:pt x="250" y="52"/>
                    <a:pt x="255" y="55"/>
                    <a:pt x="257" y="59"/>
                  </a:cubicBezTo>
                  <a:cubicBezTo>
                    <a:pt x="260" y="64"/>
                    <a:pt x="261" y="70"/>
                    <a:pt x="261" y="79"/>
                  </a:cubicBezTo>
                  <a:cubicBezTo>
                    <a:pt x="261" y="81"/>
                    <a:pt x="261" y="81"/>
                    <a:pt x="261" y="81"/>
                  </a:cubicBezTo>
                  <a:cubicBezTo>
                    <a:pt x="261" y="89"/>
                    <a:pt x="260" y="95"/>
                    <a:pt x="257" y="99"/>
                  </a:cubicBezTo>
                  <a:cubicBezTo>
                    <a:pt x="254" y="103"/>
                    <a:pt x="250" y="105"/>
                    <a:pt x="243" y="105"/>
                  </a:cubicBezTo>
                  <a:cubicBezTo>
                    <a:pt x="238" y="105"/>
                    <a:pt x="234" y="102"/>
                    <a:pt x="231" y="98"/>
                  </a:cubicBezTo>
                  <a:moveTo>
                    <a:pt x="250" y="120"/>
                  </a:moveTo>
                  <a:cubicBezTo>
                    <a:pt x="254" y="117"/>
                    <a:pt x="257" y="114"/>
                    <a:pt x="260" y="111"/>
                  </a:cubicBezTo>
                  <a:cubicBezTo>
                    <a:pt x="261" y="111"/>
                    <a:pt x="261" y="111"/>
                    <a:pt x="261" y="111"/>
                  </a:cubicBezTo>
                  <a:cubicBezTo>
                    <a:pt x="265" y="122"/>
                    <a:pt x="265" y="122"/>
                    <a:pt x="265" y="122"/>
                  </a:cubicBezTo>
                  <a:cubicBezTo>
                    <a:pt x="284" y="122"/>
                    <a:pt x="284" y="122"/>
                    <a:pt x="284" y="122"/>
                  </a:cubicBezTo>
                  <a:cubicBezTo>
                    <a:pt x="284" y="0"/>
                    <a:pt x="284" y="0"/>
                    <a:pt x="284" y="0"/>
                  </a:cubicBezTo>
                  <a:cubicBezTo>
                    <a:pt x="260" y="0"/>
                    <a:pt x="260" y="0"/>
                    <a:pt x="260" y="0"/>
                  </a:cubicBezTo>
                  <a:cubicBezTo>
                    <a:pt x="260" y="28"/>
                    <a:pt x="260" y="28"/>
                    <a:pt x="260" y="28"/>
                  </a:cubicBezTo>
                  <a:cubicBezTo>
                    <a:pt x="260" y="32"/>
                    <a:pt x="260" y="35"/>
                    <a:pt x="260" y="38"/>
                  </a:cubicBezTo>
                  <a:cubicBezTo>
                    <a:pt x="261" y="42"/>
                    <a:pt x="261" y="44"/>
                    <a:pt x="261" y="46"/>
                  </a:cubicBezTo>
                  <a:cubicBezTo>
                    <a:pt x="261" y="46"/>
                    <a:pt x="261" y="46"/>
                    <a:pt x="261" y="46"/>
                  </a:cubicBezTo>
                  <a:cubicBezTo>
                    <a:pt x="258" y="42"/>
                    <a:pt x="255" y="39"/>
                    <a:pt x="251" y="37"/>
                  </a:cubicBezTo>
                  <a:cubicBezTo>
                    <a:pt x="247" y="34"/>
                    <a:pt x="242" y="33"/>
                    <a:pt x="236" y="33"/>
                  </a:cubicBezTo>
                  <a:cubicBezTo>
                    <a:pt x="226" y="33"/>
                    <a:pt x="217" y="37"/>
                    <a:pt x="211" y="45"/>
                  </a:cubicBezTo>
                  <a:cubicBezTo>
                    <a:pt x="205" y="52"/>
                    <a:pt x="202" y="64"/>
                    <a:pt x="202" y="79"/>
                  </a:cubicBezTo>
                  <a:cubicBezTo>
                    <a:pt x="202" y="93"/>
                    <a:pt x="205" y="105"/>
                    <a:pt x="211" y="112"/>
                  </a:cubicBezTo>
                  <a:cubicBezTo>
                    <a:pt x="217" y="120"/>
                    <a:pt x="225" y="124"/>
                    <a:pt x="235" y="124"/>
                  </a:cubicBezTo>
                  <a:cubicBezTo>
                    <a:pt x="241" y="124"/>
                    <a:pt x="246" y="122"/>
                    <a:pt x="250" y="120"/>
                  </a:cubicBezTo>
                  <a:moveTo>
                    <a:pt x="136" y="36"/>
                  </a:moveTo>
                  <a:cubicBezTo>
                    <a:pt x="131" y="38"/>
                    <a:pt x="128" y="41"/>
                    <a:pt x="125" y="46"/>
                  </a:cubicBezTo>
                  <a:cubicBezTo>
                    <a:pt x="124" y="46"/>
                    <a:pt x="124" y="46"/>
                    <a:pt x="124" y="46"/>
                  </a:cubicBezTo>
                  <a:cubicBezTo>
                    <a:pt x="120" y="35"/>
                    <a:pt x="120" y="35"/>
                    <a:pt x="120" y="35"/>
                  </a:cubicBezTo>
                  <a:cubicBezTo>
                    <a:pt x="102" y="35"/>
                    <a:pt x="102" y="35"/>
                    <a:pt x="102" y="35"/>
                  </a:cubicBezTo>
                  <a:cubicBezTo>
                    <a:pt x="102" y="122"/>
                    <a:pt x="102" y="122"/>
                    <a:pt x="102" y="122"/>
                  </a:cubicBezTo>
                  <a:cubicBezTo>
                    <a:pt x="126" y="122"/>
                    <a:pt x="126" y="122"/>
                    <a:pt x="126" y="122"/>
                  </a:cubicBezTo>
                  <a:cubicBezTo>
                    <a:pt x="126" y="81"/>
                    <a:pt x="126" y="81"/>
                    <a:pt x="126" y="81"/>
                  </a:cubicBezTo>
                  <a:cubicBezTo>
                    <a:pt x="126" y="72"/>
                    <a:pt x="127" y="65"/>
                    <a:pt x="130" y="60"/>
                  </a:cubicBezTo>
                  <a:cubicBezTo>
                    <a:pt x="133" y="55"/>
                    <a:pt x="138" y="52"/>
                    <a:pt x="145" y="52"/>
                  </a:cubicBezTo>
                  <a:cubicBezTo>
                    <a:pt x="150" y="52"/>
                    <a:pt x="153" y="54"/>
                    <a:pt x="156" y="57"/>
                  </a:cubicBezTo>
                  <a:cubicBezTo>
                    <a:pt x="158" y="60"/>
                    <a:pt x="159" y="65"/>
                    <a:pt x="159" y="71"/>
                  </a:cubicBezTo>
                  <a:cubicBezTo>
                    <a:pt x="159" y="122"/>
                    <a:pt x="159" y="122"/>
                    <a:pt x="159" y="122"/>
                  </a:cubicBezTo>
                  <a:cubicBezTo>
                    <a:pt x="183" y="122"/>
                    <a:pt x="183" y="122"/>
                    <a:pt x="183" y="122"/>
                  </a:cubicBezTo>
                  <a:cubicBezTo>
                    <a:pt x="183" y="65"/>
                    <a:pt x="183" y="65"/>
                    <a:pt x="183" y="65"/>
                  </a:cubicBezTo>
                  <a:cubicBezTo>
                    <a:pt x="183" y="54"/>
                    <a:pt x="180" y="46"/>
                    <a:pt x="174" y="41"/>
                  </a:cubicBezTo>
                  <a:cubicBezTo>
                    <a:pt x="169" y="36"/>
                    <a:pt x="161" y="33"/>
                    <a:pt x="152" y="33"/>
                  </a:cubicBezTo>
                  <a:cubicBezTo>
                    <a:pt x="146" y="33"/>
                    <a:pt x="141" y="34"/>
                    <a:pt x="136" y="36"/>
                  </a:cubicBezTo>
                  <a:moveTo>
                    <a:pt x="54" y="89"/>
                  </a:moveTo>
                  <a:cubicBezTo>
                    <a:pt x="54" y="94"/>
                    <a:pt x="52" y="99"/>
                    <a:pt x="49" y="102"/>
                  </a:cubicBezTo>
                  <a:cubicBezTo>
                    <a:pt x="45" y="105"/>
                    <a:pt x="41" y="106"/>
                    <a:pt x="36" y="106"/>
                  </a:cubicBezTo>
                  <a:cubicBezTo>
                    <a:pt x="32" y="106"/>
                    <a:pt x="30" y="105"/>
                    <a:pt x="27" y="104"/>
                  </a:cubicBezTo>
                  <a:cubicBezTo>
                    <a:pt x="25" y="102"/>
                    <a:pt x="24" y="100"/>
                    <a:pt x="24" y="96"/>
                  </a:cubicBezTo>
                  <a:cubicBezTo>
                    <a:pt x="24" y="92"/>
                    <a:pt x="26" y="89"/>
                    <a:pt x="29" y="86"/>
                  </a:cubicBezTo>
                  <a:cubicBezTo>
                    <a:pt x="32" y="83"/>
                    <a:pt x="37" y="82"/>
                    <a:pt x="45" y="82"/>
                  </a:cubicBezTo>
                  <a:cubicBezTo>
                    <a:pt x="54" y="82"/>
                    <a:pt x="54" y="82"/>
                    <a:pt x="54" y="82"/>
                  </a:cubicBezTo>
                  <a:lnTo>
                    <a:pt x="54" y="89"/>
                  </a:lnTo>
                  <a:close/>
                  <a:moveTo>
                    <a:pt x="23" y="35"/>
                  </a:moveTo>
                  <a:cubicBezTo>
                    <a:pt x="18" y="37"/>
                    <a:pt x="12" y="38"/>
                    <a:pt x="8" y="41"/>
                  </a:cubicBezTo>
                  <a:cubicBezTo>
                    <a:pt x="16" y="57"/>
                    <a:pt x="16" y="57"/>
                    <a:pt x="16" y="57"/>
                  </a:cubicBezTo>
                  <a:cubicBezTo>
                    <a:pt x="20" y="55"/>
                    <a:pt x="24" y="54"/>
                    <a:pt x="28" y="52"/>
                  </a:cubicBezTo>
                  <a:cubicBezTo>
                    <a:pt x="32" y="51"/>
                    <a:pt x="36" y="51"/>
                    <a:pt x="40" y="51"/>
                  </a:cubicBezTo>
                  <a:cubicBezTo>
                    <a:pt x="45" y="51"/>
                    <a:pt x="48" y="52"/>
                    <a:pt x="50" y="54"/>
                  </a:cubicBezTo>
                  <a:cubicBezTo>
                    <a:pt x="53" y="56"/>
                    <a:pt x="54" y="59"/>
                    <a:pt x="54" y="64"/>
                  </a:cubicBezTo>
                  <a:cubicBezTo>
                    <a:pt x="54" y="68"/>
                    <a:pt x="54" y="68"/>
                    <a:pt x="54" y="68"/>
                  </a:cubicBezTo>
                  <a:cubicBezTo>
                    <a:pt x="39" y="68"/>
                    <a:pt x="39" y="68"/>
                    <a:pt x="39" y="68"/>
                  </a:cubicBezTo>
                  <a:cubicBezTo>
                    <a:pt x="26" y="69"/>
                    <a:pt x="16" y="71"/>
                    <a:pt x="9" y="75"/>
                  </a:cubicBezTo>
                  <a:cubicBezTo>
                    <a:pt x="3" y="80"/>
                    <a:pt x="0" y="87"/>
                    <a:pt x="0" y="96"/>
                  </a:cubicBezTo>
                  <a:cubicBezTo>
                    <a:pt x="0" y="105"/>
                    <a:pt x="2" y="112"/>
                    <a:pt x="7" y="117"/>
                  </a:cubicBezTo>
                  <a:cubicBezTo>
                    <a:pt x="12" y="121"/>
                    <a:pt x="19" y="124"/>
                    <a:pt x="27" y="124"/>
                  </a:cubicBezTo>
                  <a:cubicBezTo>
                    <a:pt x="34" y="124"/>
                    <a:pt x="40" y="123"/>
                    <a:pt x="44" y="120"/>
                  </a:cubicBezTo>
                  <a:cubicBezTo>
                    <a:pt x="48" y="118"/>
                    <a:pt x="52" y="115"/>
                    <a:pt x="56" y="110"/>
                  </a:cubicBezTo>
                  <a:cubicBezTo>
                    <a:pt x="56" y="110"/>
                    <a:pt x="56" y="110"/>
                    <a:pt x="56" y="110"/>
                  </a:cubicBezTo>
                  <a:cubicBezTo>
                    <a:pt x="61" y="122"/>
                    <a:pt x="61" y="122"/>
                    <a:pt x="61" y="122"/>
                  </a:cubicBezTo>
                  <a:cubicBezTo>
                    <a:pt x="78" y="122"/>
                    <a:pt x="78" y="122"/>
                    <a:pt x="78" y="122"/>
                  </a:cubicBezTo>
                  <a:cubicBezTo>
                    <a:pt x="78" y="64"/>
                    <a:pt x="78" y="64"/>
                    <a:pt x="78" y="64"/>
                  </a:cubicBezTo>
                  <a:cubicBezTo>
                    <a:pt x="78" y="53"/>
                    <a:pt x="74" y="46"/>
                    <a:pt x="68" y="41"/>
                  </a:cubicBezTo>
                  <a:cubicBezTo>
                    <a:pt x="62" y="35"/>
                    <a:pt x="53" y="33"/>
                    <a:pt x="41" y="33"/>
                  </a:cubicBezTo>
                  <a:cubicBezTo>
                    <a:pt x="35" y="33"/>
                    <a:pt x="29" y="34"/>
                    <a:pt x="23" y="35"/>
                  </a:cubicBezTo>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8" name="Freeform 47">
              <a:extLst>
                <a:ext uri="{FF2B5EF4-FFF2-40B4-BE49-F238E27FC236}">
                  <a16:creationId xmlns:a16="http://schemas.microsoft.com/office/drawing/2014/main" id="{59005D0F-EC54-2C4C-AA8D-6EE31DFCE8CF}"/>
                </a:ext>
              </a:extLst>
            </p:cNvPr>
            <p:cNvSpPr>
              <a:spLocks noEditPoints="1"/>
            </p:cNvSpPr>
            <p:nvPr/>
          </p:nvSpPr>
          <p:spPr bwMode="auto">
            <a:xfrm>
              <a:off x="4167188" y="2489201"/>
              <a:ext cx="809625" cy="82550"/>
            </a:xfrm>
            <a:custGeom>
              <a:avLst/>
              <a:gdLst>
                <a:gd name="T0" fmla="*/ 1190 w 1233"/>
                <a:gd name="T1" fmla="*/ 56 h 124"/>
                <a:gd name="T2" fmla="*/ 1201 w 1233"/>
                <a:gd name="T3" fmla="*/ 33 h 124"/>
                <a:gd name="T4" fmla="*/ 1203 w 1233"/>
                <a:gd name="T5" fmla="*/ 91 h 124"/>
                <a:gd name="T6" fmla="*/ 1167 w 1233"/>
                <a:gd name="T7" fmla="*/ 99 h 124"/>
                <a:gd name="T8" fmla="*/ 1230 w 1233"/>
                <a:gd name="T9" fmla="*/ 83 h 124"/>
                <a:gd name="T10" fmla="*/ 1126 w 1233"/>
                <a:gd name="T11" fmla="*/ 55 h 124"/>
                <a:gd name="T12" fmla="*/ 1117 w 1233"/>
                <a:gd name="T13" fmla="*/ 124 h 124"/>
                <a:gd name="T14" fmla="*/ 1102 w 1233"/>
                <a:gd name="T15" fmla="*/ 100 h 124"/>
                <a:gd name="T16" fmla="*/ 1092 w 1233"/>
                <a:gd name="T17" fmla="*/ 38 h 124"/>
                <a:gd name="T18" fmla="*/ 1034 w 1233"/>
                <a:gd name="T19" fmla="*/ 35 h 124"/>
                <a:gd name="T20" fmla="*/ 1011 w 1233"/>
                <a:gd name="T21" fmla="*/ 53 h 124"/>
                <a:gd name="T22" fmla="*/ 1060 w 1233"/>
                <a:gd name="T23" fmla="*/ 120 h 124"/>
                <a:gd name="T24" fmla="*/ 966 w 1233"/>
                <a:gd name="T25" fmla="*/ 68 h 124"/>
                <a:gd name="T26" fmla="*/ 913 w 1233"/>
                <a:gd name="T27" fmla="*/ 54 h 124"/>
                <a:gd name="T28" fmla="*/ 984 w 1233"/>
                <a:gd name="T29" fmla="*/ 117 h 124"/>
                <a:gd name="T30" fmla="*/ 989 w 1233"/>
                <a:gd name="T31" fmla="*/ 84 h 124"/>
                <a:gd name="T32" fmla="*/ 870 w 1233"/>
                <a:gd name="T33" fmla="*/ 78 h 124"/>
                <a:gd name="T34" fmla="*/ 840 w 1233"/>
                <a:gd name="T35" fmla="*/ 58 h 124"/>
                <a:gd name="T36" fmla="*/ 834 w 1233"/>
                <a:gd name="T37" fmla="*/ 112 h 124"/>
                <a:gd name="T38" fmla="*/ 885 w 1233"/>
                <a:gd name="T39" fmla="*/ 45 h 124"/>
                <a:gd name="T40" fmla="*/ 836 w 1233"/>
                <a:gd name="T41" fmla="*/ 29 h 124"/>
                <a:gd name="T42" fmla="*/ 738 w 1233"/>
                <a:gd name="T43" fmla="*/ 104 h 124"/>
                <a:gd name="T44" fmla="*/ 734 w 1233"/>
                <a:gd name="T45" fmla="*/ 35 h 124"/>
                <a:gd name="T46" fmla="*/ 764 w 1233"/>
                <a:gd name="T47" fmla="*/ 64 h 124"/>
                <a:gd name="T48" fmla="*/ 737 w 1233"/>
                <a:gd name="T49" fmla="*/ 124 h 124"/>
                <a:gd name="T50" fmla="*/ 788 w 1233"/>
                <a:gd name="T51" fmla="*/ 64 h 124"/>
                <a:gd name="T52" fmla="*/ 691 w 1233"/>
                <a:gd name="T53" fmla="*/ 35 h 124"/>
                <a:gd name="T54" fmla="*/ 679 w 1233"/>
                <a:gd name="T55" fmla="*/ 24 h 124"/>
                <a:gd name="T56" fmla="*/ 589 w 1233"/>
                <a:gd name="T57" fmla="*/ 98 h 124"/>
                <a:gd name="T58" fmla="*/ 620 w 1233"/>
                <a:gd name="T59" fmla="*/ 81 h 124"/>
                <a:gd name="T60" fmla="*/ 619 w 1233"/>
                <a:gd name="T61" fmla="*/ 111 h 124"/>
                <a:gd name="T62" fmla="*/ 619 w 1233"/>
                <a:gd name="T63" fmla="*/ 38 h 124"/>
                <a:gd name="T64" fmla="*/ 560 w 1233"/>
                <a:gd name="T65" fmla="*/ 79 h 124"/>
                <a:gd name="T66" fmla="*/ 481 w 1233"/>
                <a:gd name="T67" fmla="*/ 53 h 124"/>
                <a:gd name="T68" fmla="*/ 459 w 1233"/>
                <a:gd name="T69" fmla="*/ 35 h 124"/>
                <a:gd name="T70" fmla="*/ 470 w 1233"/>
                <a:gd name="T71" fmla="*/ 121 h 124"/>
                <a:gd name="T72" fmla="*/ 491 w 1233"/>
                <a:gd name="T73" fmla="*/ 105 h 124"/>
                <a:gd name="T74" fmla="*/ 377 w 1233"/>
                <a:gd name="T75" fmla="*/ 96 h 124"/>
                <a:gd name="T76" fmla="*/ 360 w 1233"/>
                <a:gd name="T77" fmla="*/ 41 h 124"/>
                <a:gd name="T78" fmla="*/ 406 w 1233"/>
                <a:gd name="T79" fmla="*/ 68 h 124"/>
                <a:gd name="T80" fmla="*/ 396 w 1233"/>
                <a:gd name="T81" fmla="*/ 120 h 124"/>
                <a:gd name="T82" fmla="*/ 421 w 1233"/>
                <a:gd name="T83" fmla="*/ 41 h 124"/>
                <a:gd name="T84" fmla="*/ 288 w 1233"/>
                <a:gd name="T85" fmla="*/ 55 h 124"/>
                <a:gd name="T86" fmla="*/ 264 w 1233"/>
                <a:gd name="T87" fmla="*/ 104 h 124"/>
                <a:gd name="T88" fmla="*/ 319 w 1233"/>
                <a:gd name="T89" fmla="*/ 104 h 124"/>
                <a:gd name="T90" fmla="*/ 328 w 1233"/>
                <a:gd name="T91" fmla="*/ 43 h 124"/>
                <a:gd name="T92" fmla="*/ 231 w 1233"/>
                <a:gd name="T93" fmla="*/ 22 h 124"/>
                <a:gd name="T94" fmla="*/ 236 w 1233"/>
                <a:gd name="T95" fmla="*/ 0 h 124"/>
                <a:gd name="T96" fmla="*/ 192 w 1233"/>
                <a:gd name="T97" fmla="*/ 53 h 124"/>
                <a:gd name="T98" fmla="*/ 250 w 1233"/>
                <a:gd name="T99" fmla="*/ 35 h 124"/>
                <a:gd name="T100" fmla="*/ 155 w 1233"/>
                <a:gd name="T101" fmla="*/ 55 h 124"/>
                <a:gd name="T102" fmla="*/ 146 w 1233"/>
                <a:gd name="T103" fmla="*/ 124 h 124"/>
                <a:gd name="T104" fmla="*/ 132 w 1233"/>
                <a:gd name="T105" fmla="*/ 100 h 124"/>
                <a:gd name="T106" fmla="*/ 121 w 1233"/>
                <a:gd name="T107" fmla="*/ 38 h 124"/>
                <a:gd name="T108" fmla="*/ 60 w 1233"/>
                <a:gd name="T109" fmla="*/ 79 h 124"/>
                <a:gd name="T110" fmla="*/ 58 w 1233"/>
                <a:gd name="T111" fmla="*/ 111 h 124"/>
                <a:gd name="T112" fmla="*/ 58 w 1233"/>
                <a:gd name="T113" fmla="*/ 28 h 124"/>
                <a:gd name="T114" fmla="*/ 10 w 1233"/>
                <a:gd name="T115" fmla="*/ 4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3" h="124">
                  <a:moveTo>
                    <a:pt x="1230" y="83"/>
                  </a:moveTo>
                  <a:cubicBezTo>
                    <a:pt x="1228" y="80"/>
                    <a:pt x="1225" y="77"/>
                    <a:pt x="1222" y="75"/>
                  </a:cubicBezTo>
                  <a:cubicBezTo>
                    <a:pt x="1218" y="73"/>
                    <a:pt x="1214" y="71"/>
                    <a:pt x="1209" y="69"/>
                  </a:cubicBezTo>
                  <a:cubicBezTo>
                    <a:pt x="1204" y="67"/>
                    <a:pt x="1200" y="65"/>
                    <a:pt x="1197" y="64"/>
                  </a:cubicBezTo>
                  <a:cubicBezTo>
                    <a:pt x="1194" y="63"/>
                    <a:pt x="1193" y="61"/>
                    <a:pt x="1192" y="60"/>
                  </a:cubicBezTo>
                  <a:cubicBezTo>
                    <a:pt x="1191" y="59"/>
                    <a:pt x="1190" y="58"/>
                    <a:pt x="1190" y="56"/>
                  </a:cubicBezTo>
                  <a:cubicBezTo>
                    <a:pt x="1190" y="53"/>
                    <a:pt x="1194" y="51"/>
                    <a:pt x="1201" y="51"/>
                  </a:cubicBezTo>
                  <a:cubicBezTo>
                    <a:pt x="1205" y="51"/>
                    <a:pt x="1209" y="51"/>
                    <a:pt x="1213" y="53"/>
                  </a:cubicBezTo>
                  <a:cubicBezTo>
                    <a:pt x="1217" y="54"/>
                    <a:pt x="1221" y="55"/>
                    <a:pt x="1225" y="57"/>
                  </a:cubicBezTo>
                  <a:cubicBezTo>
                    <a:pt x="1232" y="40"/>
                    <a:pt x="1232" y="40"/>
                    <a:pt x="1232" y="40"/>
                  </a:cubicBezTo>
                  <a:cubicBezTo>
                    <a:pt x="1227" y="38"/>
                    <a:pt x="1222" y="36"/>
                    <a:pt x="1217" y="35"/>
                  </a:cubicBezTo>
                  <a:cubicBezTo>
                    <a:pt x="1212" y="34"/>
                    <a:pt x="1207" y="33"/>
                    <a:pt x="1201" y="33"/>
                  </a:cubicBezTo>
                  <a:cubicBezTo>
                    <a:pt x="1191" y="33"/>
                    <a:pt x="1183" y="35"/>
                    <a:pt x="1176" y="39"/>
                  </a:cubicBezTo>
                  <a:cubicBezTo>
                    <a:pt x="1170" y="43"/>
                    <a:pt x="1167" y="49"/>
                    <a:pt x="1167" y="57"/>
                  </a:cubicBezTo>
                  <a:cubicBezTo>
                    <a:pt x="1167" y="62"/>
                    <a:pt x="1168" y="66"/>
                    <a:pt x="1169" y="70"/>
                  </a:cubicBezTo>
                  <a:cubicBezTo>
                    <a:pt x="1171" y="73"/>
                    <a:pt x="1174" y="76"/>
                    <a:pt x="1177" y="78"/>
                  </a:cubicBezTo>
                  <a:cubicBezTo>
                    <a:pt x="1181" y="80"/>
                    <a:pt x="1185" y="83"/>
                    <a:pt x="1191" y="85"/>
                  </a:cubicBezTo>
                  <a:cubicBezTo>
                    <a:pt x="1196" y="87"/>
                    <a:pt x="1200" y="89"/>
                    <a:pt x="1203" y="91"/>
                  </a:cubicBezTo>
                  <a:cubicBezTo>
                    <a:pt x="1206" y="92"/>
                    <a:pt x="1208" y="94"/>
                    <a:pt x="1208" y="95"/>
                  </a:cubicBezTo>
                  <a:cubicBezTo>
                    <a:pt x="1209" y="96"/>
                    <a:pt x="1210" y="97"/>
                    <a:pt x="1210" y="99"/>
                  </a:cubicBezTo>
                  <a:cubicBezTo>
                    <a:pt x="1210" y="101"/>
                    <a:pt x="1208" y="103"/>
                    <a:pt x="1206" y="104"/>
                  </a:cubicBezTo>
                  <a:cubicBezTo>
                    <a:pt x="1204" y="106"/>
                    <a:pt x="1201" y="106"/>
                    <a:pt x="1197" y="106"/>
                  </a:cubicBezTo>
                  <a:cubicBezTo>
                    <a:pt x="1192" y="106"/>
                    <a:pt x="1188" y="106"/>
                    <a:pt x="1182" y="104"/>
                  </a:cubicBezTo>
                  <a:cubicBezTo>
                    <a:pt x="1177" y="103"/>
                    <a:pt x="1172" y="101"/>
                    <a:pt x="1167" y="99"/>
                  </a:cubicBezTo>
                  <a:cubicBezTo>
                    <a:pt x="1167" y="119"/>
                    <a:pt x="1167" y="119"/>
                    <a:pt x="1167" y="119"/>
                  </a:cubicBezTo>
                  <a:cubicBezTo>
                    <a:pt x="1171" y="120"/>
                    <a:pt x="1176" y="122"/>
                    <a:pt x="1180" y="122"/>
                  </a:cubicBezTo>
                  <a:cubicBezTo>
                    <a:pt x="1184" y="123"/>
                    <a:pt x="1190" y="124"/>
                    <a:pt x="1196" y="124"/>
                  </a:cubicBezTo>
                  <a:cubicBezTo>
                    <a:pt x="1208" y="124"/>
                    <a:pt x="1217" y="121"/>
                    <a:pt x="1224" y="117"/>
                  </a:cubicBezTo>
                  <a:cubicBezTo>
                    <a:pt x="1230" y="112"/>
                    <a:pt x="1233" y="105"/>
                    <a:pt x="1233" y="96"/>
                  </a:cubicBezTo>
                  <a:cubicBezTo>
                    <a:pt x="1233" y="91"/>
                    <a:pt x="1232" y="87"/>
                    <a:pt x="1230" y="83"/>
                  </a:cubicBezTo>
                  <a:moveTo>
                    <a:pt x="1126" y="55"/>
                  </a:moveTo>
                  <a:cubicBezTo>
                    <a:pt x="1129" y="59"/>
                    <a:pt x="1130" y="63"/>
                    <a:pt x="1130" y="68"/>
                  </a:cubicBezTo>
                  <a:cubicBezTo>
                    <a:pt x="1097" y="68"/>
                    <a:pt x="1097" y="68"/>
                    <a:pt x="1097" y="68"/>
                  </a:cubicBezTo>
                  <a:cubicBezTo>
                    <a:pt x="1097" y="62"/>
                    <a:pt x="1099" y="58"/>
                    <a:pt x="1102" y="55"/>
                  </a:cubicBezTo>
                  <a:cubicBezTo>
                    <a:pt x="1105" y="52"/>
                    <a:pt x="1109" y="50"/>
                    <a:pt x="1114" y="50"/>
                  </a:cubicBezTo>
                  <a:cubicBezTo>
                    <a:pt x="1119" y="50"/>
                    <a:pt x="1123" y="52"/>
                    <a:pt x="1126" y="55"/>
                  </a:cubicBezTo>
                  <a:moveTo>
                    <a:pt x="1092" y="38"/>
                  </a:moveTo>
                  <a:cubicBezTo>
                    <a:pt x="1086" y="42"/>
                    <a:pt x="1081" y="47"/>
                    <a:pt x="1077" y="54"/>
                  </a:cubicBezTo>
                  <a:cubicBezTo>
                    <a:pt x="1074" y="60"/>
                    <a:pt x="1072" y="69"/>
                    <a:pt x="1072" y="79"/>
                  </a:cubicBezTo>
                  <a:cubicBezTo>
                    <a:pt x="1072" y="89"/>
                    <a:pt x="1074" y="97"/>
                    <a:pt x="1078" y="104"/>
                  </a:cubicBezTo>
                  <a:cubicBezTo>
                    <a:pt x="1082" y="111"/>
                    <a:pt x="1087" y="116"/>
                    <a:pt x="1094" y="119"/>
                  </a:cubicBezTo>
                  <a:cubicBezTo>
                    <a:pt x="1101" y="122"/>
                    <a:pt x="1108" y="124"/>
                    <a:pt x="1117" y="124"/>
                  </a:cubicBezTo>
                  <a:cubicBezTo>
                    <a:pt x="1124" y="124"/>
                    <a:pt x="1129" y="123"/>
                    <a:pt x="1134" y="122"/>
                  </a:cubicBezTo>
                  <a:cubicBezTo>
                    <a:pt x="1139" y="121"/>
                    <a:pt x="1143" y="120"/>
                    <a:pt x="1148" y="117"/>
                  </a:cubicBezTo>
                  <a:cubicBezTo>
                    <a:pt x="1148" y="99"/>
                    <a:pt x="1148" y="99"/>
                    <a:pt x="1148" y="99"/>
                  </a:cubicBezTo>
                  <a:cubicBezTo>
                    <a:pt x="1143" y="101"/>
                    <a:pt x="1138" y="103"/>
                    <a:pt x="1133" y="104"/>
                  </a:cubicBezTo>
                  <a:cubicBezTo>
                    <a:pt x="1129" y="105"/>
                    <a:pt x="1124" y="106"/>
                    <a:pt x="1118" y="106"/>
                  </a:cubicBezTo>
                  <a:cubicBezTo>
                    <a:pt x="1111" y="106"/>
                    <a:pt x="1106" y="104"/>
                    <a:pt x="1102" y="100"/>
                  </a:cubicBezTo>
                  <a:cubicBezTo>
                    <a:pt x="1099" y="96"/>
                    <a:pt x="1097" y="91"/>
                    <a:pt x="1096" y="84"/>
                  </a:cubicBezTo>
                  <a:cubicBezTo>
                    <a:pt x="1153" y="84"/>
                    <a:pt x="1153" y="84"/>
                    <a:pt x="1153" y="84"/>
                  </a:cubicBezTo>
                  <a:cubicBezTo>
                    <a:pt x="1153" y="73"/>
                    <a:pt x="1153" y="73"/>
                    <a:pt x="1153" y="73"/>
                  </a:cubicBezTo>
                  <a:cubicBezTo>
                    <a:pt x="1153" y="60"/>
                    <a:pt x="1149" y="50"/>
                    <a:pt x="1142" y="43"/>
                  </a:cubicBezTo>
                  <a:cubicBezTo>
                    <a:pt x="1135" y="37"/>
                    <a:pt x="1126" y="33"/>
                    <a:pt x="1114" y="33"/>
                  </a:cubicBezTo>
                  <a:cubicBezTo>
                    <a:pt x="1105" y="33"/>
                    <a:pt x="1098" y="35"/>
                    <a:pt x="1092" y="38"/>
                  </a:cubicBezTo>
                  <a:moveTo>
                    <a:pt x="1037" y="102"/>
                  </a:moveTo>
                  <a:cubicBezTo>
                    <a:pt x="1035" y="100"/>
                    <a:pt x="1034" y="98"/>
                    <a:pt x="1034" y="95"/>
                  </a:cubicBezTo>
                  <a:cubicBezTo>
                    <a:pt x="1034" y="53"/>
                    <a:pt x="1034" y="53"/>
                    <a:pt x="1034" y="53"/>
                  </a:cubicBezTo>
                  <a:cubicBezTo>
                    <a:pt x="1059" y="53"/>
                    <a:pt x="1059" y="53"/>
                    <a:pt x="1059" y="53"/>
                  </a:cubicBezTo>
                  <a:cubicBezTo>
                    <a:pt x="1059" y="35"/>
                    <a:pt x="1059" y="35"/>
                    <a:pt x="1059" y="35"/>
                  </a:cubicBezTo>
                  <a:cubicBezTo>
                    <a:pt x="1034" y="35"/>
                    <a:pt x="1034" y="35"/>
                    <a:pt x="1034" y="35"/>
                  </a:cubicBezTo>
                  <a:cubicBezTo>
                    <a:pt x="1034" y="16"/>
                    <a:pt x="1034" y="16"/>
                    <a:pt x="1034" y="16"/>
                  </a:cubicBezTo>
                  <a:cubicBezTo>
                    <a:pt x="1019" y="16"/>
                    <a:pt x="1019" y="16"/>
                    <a:pt x="1019" y="16"/>
                  </a:cubicBezTo>
                  <a:cubicBezTo>
                    <a:pt x="1012" y="35"/>
                    <a:pt x="1012" y="35"/>
                    <a:pt x="1012" y="35"/>
                  </a:cubicBezTo>
                  <a:cubicBezTo>
                    <a:pt x="999" y="43"/>
                    <a:pt x="999" y="43"/>
                    <a:pt x="999" y="43"/>
                  </a:cubicBezTo>
                  <a:cubicBezTo>
                    <a:pt x="999" y="53"/>
                    <a:pt x="999" y="53"/>
                    <a:pt x="999" y="53"/>
                  </a:cubicBezTo>
                  <a:cubicBezTo>
                    <a:pt x="1011" y="53"/>
                    <a:pt x="1011" y="53"/>
                    <a:pt x="1011" y="53"/>
                  </a:cubicBezTo>
                  <a:cubicBezTo>
                    <a:pt x="1011" y="95"/>
                    <a:pt x="1011" y="95"/>
                    <a:pt x="1011" y="95"/>
                  </a:cubicBezTo>
                  <a:cubicBezTo>
                    <a:pt x="1011" y="102"/>
                    <a:pt x="1012" y="108"/>
                    <a:pt x="1014" y="112"/>
                  </a:cubicBezTo>
                  <a:cubicBezTo>
                    <a:pt x="1017" y="116"/>
                    <a:pt x="1020" y="119"/>
                    <a:pt x="1024" y="121"/>
                  </a:cubicBezTo>
                  <a:cubicBezTo>
                    <a:pt x="1028" y="123"/>
                    <a:pt x="1033" y="124"/>
                    <a:pt x="1038" y="124"/>
                  </a:cubicBezTo>
                  <a:cubicBezTo>
                    <a:pt x="1042" y="124"/>
                    <a:pt x="1047" y="123"/>
                    <a:pt x="1050" y="123"/>
                  </a:cubicBezTo>
                  <a:cubicBezTo>
                    <a:pt x="1054" y="122"/>
                    <a:pt x="1057" y="121"/>
                    <a:pt x="1060" y="120"/>
                  </a:cubicBezTo>
                  <a:cubicBezTo>
                    <a:pt x="1060" y="102"/>
                    <a:pt x="1060" y="102"/>
                    <a:pt x="1060" y="102"/>
                  </a:cubicBezTo>
                  <a:cubicBezTo>
                    <a:pt x="1057" y="103"/>
                    <a:pt x="1055" y="103"/>
                    <a:pt x="1053" y="104"/>
                  </a:cubicBezTo>
                  <a:cubicBezTo>
                    <a:pt x="1050" y="104"/>
                    <a:pt x="1048" y="105"/>
                    <a:pt x="1045" y="105"/>
                  </a:cubicBezTo>
                  <a:cubicBezTo>
                    <a:pt x="1042" y="105"/>
                    <a:pt x="1039" y="104"/>
                    <a:pt x="1037" y="102"/>
                  </a:cubicBezTo>
                  <a:moveTo>
                    <a:pt x="962" y="55"/>
                  </a:moveTo>
                  <a:cubicBezTo>
                    <a:pt x="965" y="59"/>
                    <a:pt x="966" y="63"/>
                    <a:pt x="966" y="68"/>
                  </a:cubicBezTo>
                  <a:cubicBezTo>
                    <a:pt x="933" y="68"/>
                    <a:pt x="933" y="68"/>
                    <a:pt x="933" y="68"/>
                  </a:cubicBezTo>
                  <a:cubicBezTo>
                    <a:pt x="933" y="62"/>
                    <a:pt x="935" y="58"/>
                    <a:pt x="938" y="55"/>
                  </a:cubicBezTo>
                  <a:cubicBezTo>
                    <a:pt x="941" y="52"/>
                    <a:pt x="945" y="50"/>
                    <a:pt x="950" y="50"/>
                  </a:cubicBezTo>
                  <a:cubicBezTo>
                    <a:pt x="955" y="50"/>
                    <a:pt x="959" y="52"/>
                    <a:pt x="962" y="55"/>
                  </a:cubicBezTo>
                  <a:moveTo>
                    <a:pt x="928" y="38"/>
                  </a:moveTo>
                  <a:cubicBezTo>
                    <a:pt x="922" y="42"/>
                    <a:pt x="917" y="47"/>
                    <a:pt x="913" y="54"/>
                  </a:cubicBezTo>
                  <a:cubicBezTo>
                    <a:pt x="910" y="60"/>
                    <a:pt x="908" y="69"/>
                    <a:pt x="908" y="79"/>
                  </a:cubicBezTo>
                  <a:cubicBezTo>
                    <a:pt x="908" y="89"/>
                    <a:pt x="910" y="97"/>
                    <a:pt x="914" y="104"/>
                  </a:cubicBezTo>
                  <a:cubicBezTo>
                    <a:pt x="918" y="111"/>
                    <a:pt x="923" y="116"/>
                    <a:pt x="930" y="119"/>
                  </a:cubicBezTo>
                  <a:cubicBezTo>
                    <a:pt x="937" y="122"/>
                    <a:pt x="944" y="124"/>
                    <a:pt x="953" y="124"/>
                  </a:cubicBezTo>
                  <a:cubicBezTo>
                    <a:pt x="960" y="124"/>
                    <a:pt x="965" y="123"/>
                    <a:pt x="970" y="122"/>
                  </a:cubicBezTo>
                  <a:cubicBezTo>
                    <a:pt x="975" y="121"/>
                    <a:pt x="979" y="120"/>
                    <a:pt x="984" y="117"/>
                  </a:cubicBezTo>
                  <a:cubicBezTo>
                    <a:pt x="984" y="99"/>
                    <a:pt x="984" y="99"/>
                    <a:pt x="984" y="99"/>
                  </a:cubicBezTo>
                  <a:cubicBezTo>
                    <a:pt x="979" y="101"/>
                    <a:pt x="974" y="103"/>
                    <a:pt x="969" y="104"/>
                  </a:cubicBezTo>
                  <a:cubicBezTo>
                    <a:pt x="965" y="105"/>
                    <a:pt x="960" y="106"/>
                    <a:pt x="954" y="106"/>
                  </a:cubicBezTo>
                  <a:cubicBezTo>
                    <a:pt x="947" y="106"/>
                    <a:pt x="942" y="104"/>
                    <a:pt x="938" y="100"/>
                  </a:cubicBezTo>
                  <a:cubicBezTo>
                    <a:pt x="935" y="96"/>
                    <a:pt x="933" y="91"/>
                    <a:pt x="932" y="84"/>
                  </a:cubicBezTo>
                  <a:cubicBezTo>
                    <a:pt x="989" y="84"/>
                    <a:pt x="989" y="84"/>
                    <a:pt x="989" y="84"/>
                  </a:cubicBezTo>
                  <a:cubicBezTo>
                    <a:pt x="989" y="73"/>
                    <a:pt x="989" y="73"/>
                    <a:pt x="989" y="73"/>
                  </a:cubicBezTo>
                  <a:cubicBezTo>
                    <a:pt x="989" y="60"/>
                    <a:pt x="985" y="50"/>
                    <a:pt x="978" y="43"/>
                  </a:cubicBezTo>
                  <a:cubicBezTo>
                    <a:pt x="971" y="37"/>
                    <a:pt x="962" y="33"/>
                    <a:pt x="950" y="33"/>
                  </a:cubicBezTo>
                  <a:cubicBezTo>
                    <a:pt x="941" y="33"/>
                    <a:pt x="934" y="35"/>
                    <a:pt x="928" y="38"/>
                  </a:cubicBezTo>
                  <a:moveTo>
                    <a:pt x="865" y="59"/>
                  </a:moveTo>
                  <a:cubicBezTo>
                    <a:pt x="868" y="63"/>
                    <a:pt x="870" y="69"/>
                    <a:pt x="870" y="78"/>
                  </a:cubicBezTo>
                  <a:cubicBezTo>
                    <a:pt x="870" y="86"/>
                    <a:pt x="868" y="93"/>
                    <a:pt x="865" y="97"/>
                  </a:cubicBezTo>
                  <a:cubicBezTo>
                    <a:pt x="862" y="102"/>
                    <a:pt x="858" y="104"/>
                    <a:pt x="854" y="104"/>
                  </a:cubicBezTo>
                  <a:cubicBezTo>
                    <a:pt x="847" y="104"/>
                    <a:pt x="842" y="102"/>
                    <a:pt x="840" y="97"/>
                  </a:cubicBezTo>
                  <a:cubicBezTo>
                    <a:pt x="837" y="93"/>
                    <a:pt x="836" y="86"/>
                    <a:pt x="836" y="78"/>
                  </a:cubicBezTo>
                  <a:cubicBezTo>
                    <a:pt x="836" y="75"/>
                    <a:pt x="836" y="75"/>
                    <a:pt x="836" y="75"/>
                  </a:cubicBezTo>
                  <a:cubicBezTo>
                    <a:pt x="836" y="68"/>
                    <a:pt x="838" y="62"/>
                    <a:pt x="840" y="58"/>
                  </a:cubicBezTo>
                  <a:cubicBezTo>
                    <a:pt x="843" y="54"/>
                    <a:pt x="847" y="52"/>
                    <a:pt x="853" y="52"/>
                  </a:cubicBezTo>
                  <a:cubicBezTo>
                    <a:pt x="858" y="52"/>
                    <a:pt x="862" y="54"/>
                    <a:pt x="865" y="59"/>
                  </a:cubicBezTo>
                  <a:moveTo>
                    <a:pt x="812" y="0"/>
                  </a:moveTo>
                  <a:cubicBezTo>
                    <a:pt x="812" y="122"/>
                    <a:pt x="812" y="122"/>
                    <a:pt x="812" y="122"/>
                  </a:cubicBezTo>
                  <a:cubicBezTo>
                    <a:pt x="830" y="122"/>
                    <a:pt x="830" y="122"/>
                    <a:pt x="830" y="122"/>
                  </a:cubicBezTo>
                  <a:cubicBezTo>
                    <a:pt x="834" y="112"/>
                    <a:pt x="834" y="112"/>
                    <a:pt x="834" y="112"/>
                  </a:cubicBezTo>
                  <a:cubicBezTo>
                    <a:pt x="836" y="112"/>
                    <a:pt x="836" y="112"/>
                    <a:pt x="836" y="112"/>
                  </a:cubicBezTo>
                  <a:cubicBezTo>
                    <a:pt x="838" y="115"/>
                    <a:pt x="841" y="118"/>
                    <a:pt x="845" y="120"/>
                  </a:cubicBezTo>
                  <a:cubicBezTo>
                    <a:pt x="849" y="122"/>
                    <a:pt x="854" y="124"/>
                    <a:pt x="860" y="124"/>
                  </a:cubicBezTo>
                  <a:cubicBezTo>
                    <a:pt x="870" y="124"/>
                    <a:pt x="878" y="120"/>
                    <a:pt x="885" y="112"/>
                  </a:cubicBezTo>
                  <a:cubicBezTo>
                    <a:pt x="891" y="104"/>
                    <a:pt x="894" y="93"/>
                    <a:pt x="894" y="78"/>
                  </a:cubicBezTo>
                  <a:cubicBezTo>
                    <a:pt x="894" y="63"/>
                    <a:pt x="891" y="52"/>
                    <a:pt x="885" y="45"/>
                  </a:cubicBezTo>
                  <a:cubicBezTo>
                    <a:pt x="879" y="37"/>
                    <a:pt x="871" y="33"/>
                    <a:pt x="861" y="33"/>
                  </a:cubicBezTo>
                  <a:cubicBezTo>
                    <a:pt x="855" y="33"/>
                    <a:pt x="849" y="34"/>
                    <a:pt x="846" y="37"/>
                  </a:cubicBezTo>
                  <a:cubicBezTo>
                    <a:pt x="842" y="39"/>
                    <a:pt x="838" y="42"/>
                    <a:pt x="836" y="46"/>
                  </a:cubicBezTo>
                  <a:cubicBezTo>
                    <a:pt x="835" y="46"/>
                    <a:pt x="835" y="46"/>
                    <a:pt x="835" y="46"/>
                  </a:cubicBezTo>
                  <a:cubicBezTo>
                    <a:pt x="835" y="44"/>
                    <a:pt x="836" y="42"/>
                    <a:pt x="836" y="39"/>
                  </a:cubicBezTo>
                  <a:cubicBezTo>
                    <a:pt x="836" y="35"/>
                    <a:pt x="836" y="32"/>
                    <a:pt x="836" y="29"/>
                  </a:cubicBezTo>
                  <a:cubicBezTo>
                    <a:pt x="836" y="0"/>
                    <a:pt x="836" y="0"/>
                    <a:pt x="836" y="0"/>
                  </a:cubicBezTo>
                  <a:lnTo>
                    <a:pt x="812" y="0"/>
                  </a:lnTo>
                  <a:close/>
                  <a:moveTo>
                    <a:pt x="764" y="89"/>
                  </a:moveTo>
                  <a:cubicBezTo>
                    <a:pt x="764" y="94"/>
                    <a:pt x="762" y="99"/>
                    <a:pt x="759" y="102"/>
                  </a:cubicBezTo>
                  <a:cubicBezTo>
                    <a:pt x="755" y="105"/>
                    <a:pt x="751" y="106"/>
                    <a:pt x="746" y="106"/>
                  </a:cubicBezTo>
                  <a:cubicBezTo>
                    <a:pt x="742" y="106"/>
                    <a:pt x="740" y="105"/>
                    <a:pt x="738" y="104"/>
                  </a:cubicBezTo>
                  <a:cubicBezTo>
                    <a:pt x="735" y="102"/>
                    <a:pt x="734" y="100"/>
                    <a:pt x="734" y="96"/>
                  </a:cubicBezTo>
                  <a:cubicBezTo>
                    <a:pt x="734" y="92"/>
                    <a:pt x="736" y="89"/>
                    <a:pt x="739" y="86"/>
                  </a:cubicBezTo>
                  <a:cubicBezTo>
                    <a:pt x="742" y="83"/>
                    <a:pt x="747" y="82"/>
                    <a:pt x="755" y="82"/>
                  </a:cubicBezTo>
                  <a:cubicBezTo>
                    <a:pt x="764" y="82"/>
                    <a:pt x="764" y="82"/>
                    <a:pt x="764" y="82"/>
                  </a:cubicBezTo>
                  <a:lnTo>
                    <a:pt x="764" y="89"/>
                  </a:lnTo>
                  <a:close/>
                  <a:moveTo>
                    <a:pt x="734" y="35"/>
                  </a:moveTo>
                  <a:cubicBezTo>
                    <a:pt x="728" y="37"/>
                    <a:pt x="723" y="38"/>
                    <a:pt x="718" y="41"/>
                  </a:cubicBezTo>
                  <a:cubicBezTo>
                    <a:pt x="726" y="57"/>
                    <a:pt x="726" y="57"/>
                    <a:pt x="726" y="57"/>
                  </a:cubicBezTo>
                  <a:cubicBezTo>
                    <a:pt x="730" y="55"/>
                    <a:pt x="734" y="54"/>
                    <a:pt x="738" y="52"/>
                  </a:cubicBezTo>
                  <a:cubicBezTo>
                    <a:pt x="742" y="51"/>
                    <a:pt x="746" y="51"/>
                    <a:pt x="750" y="51"/>
                  </a:cubicBezTo>
                  <a:cubicBezTo>
                    <a:pt x="755" y="51"/>
                    <a:pt x="758" y="52"/>
                    <a:pt x="760" y="54"/>
                  </a:cubicBezTo>
                  <a:cubicBezTo>
                    <a:pt x="763" y="56"/>
                    <a:pt x="764" y="59"/>
                    <a:pt x="764" y="64"/>
                  </a:cubicBezTo>
                  <a:cubicBezTo>
                    <a:pt x="764" y="68"/>
                    <a:pt x="764" y="68"/>
                    <a:pt x="764" y="68"/>
                  </a:cubicBezTo>
                  <a:cubicBezTo>
                    <a:pt x="749" y="68"/>
                    <a:pt x="749" y="68"/>
                    <a:pt x="749" y="68"/>
                  </a:cubicBezTo>
                  <a:cubicBezTo>
                    <a:pt x="736" y="69"/>
                    <a:pt x="726" y="71"/>
                    <a:pt x="720" y="75"/>
                  </a:cubicBezTo>
                  <a:cubicBezTo>
                    <a:pt x="713" y="80"/>
                    <a:pt x="710" y="87"/>
                    <a:pt x="710" y="96"/>
                  </a:cubicBezTo>
                  <a:cubicBezTo>
                    <a:pt x="710" y="105"/>
                    <a:pt x="712" y="112"/>
                    <a:pt x="718" y="117"/>
                  </a:cubicBezTo>
                  <a:cubicBezTo>
                    <a:pt x="723" y="121"/>
                    <a:pt x="729" y="124"/>
                    <a:pt x="737" y="124"/>
                  </a:cubicBezTo>
                  <a:cubicBezTo>
                    <a:pt x="744" y="124"/>
                    <a:pt x="750" y="123"/>
                    <a:pt x="754" y="120"/>
                  </a:cubicBezTo>
                  <a:cubicBezTo>
                    <a:pt x="758" y="118"/>
                    <a:pt x="762" y="115"/>
                    <a:pt x="766" y="110"/>
                  </a:cubicBezTo>
                  <a:cubicBezTo>
                    <a:pt x="766" y="110"/>
                    <a:pt x="766" y="110"/>
                    <a:pt x="766" y="110"/>
                  </a:cubicBezTo>
                  <a:cubicBezTo>
                    <a:pt x="771" y="122"/>
                    <a:pt x="771" y="122"/>
                    <a:pt x="771" y="122"/>
                  </a:cubicBezTo>
                  <a:cubicBezTo>
                    <a:pt x="788" y="122"/>
                    <a:pt x="788" y="122"/>
                    <a:pt x="788" y="122"/>
                  </a:cubicBezTo>
                  <a:cubicBezTo>
                    <a:pt x="788" y="64"/>
                    <a:pt x="788" y="64"/>
                    <a:pt x="788" y="64"/>
                  </a:cubicBezTo>
                  <a:cubicBezTo>
                    <a:pt x="788" y="53"/>
                    <a:pt x="785" y="46"/>
                    <a:pt x="778" y="41"/>
                  </a:cubicBezTo>
                  <a:cubicBezTo>
                    <a:pt x="772" y="35"/>
                    <a:pt x="763" y="33"/>
                    <a:pt x="751" y="33"/>
                  </a:cubicBezTo>
                  <a:cubicBezTo>
                    <a:pt x="745" y="33"/>
                    <a:pt x="739" y="34"/>
                    <a:pt x="734" y="35"/>
                  </a:cubicBezTo>
                  <a:moveTo>
                    <a:pt x="667" y="122"/>
                  </a:moveTo>
                  <a:cubicBezTo>
                    <a:pt x="691" y="122"/>
                    <a:pt x="691" y="122"/>
                    <a:pt x="691" y="122"/>
                  </a:cubicBezTo>
                  <a:cubicBezTo>
                    <a:pt x="691" y="35"/>
                    <a:pt x="691" y="35"/>
                    <a:pt x="691" y="35"/>
                  </a:cubicBezTo>
                  <a:cubicBezTo>
                    <a:pt x="667" y="35"/>
                    <a:pt x="667" y="35"/>
                    <a:pt x="667" y="35"/>
                  </a:cubicBezTo>
                  <a:lnTo>
                    <a:pt x="667" y="122"/>
                  </a:lnTo>
                  <a:close/>
                  <a:moveTo>
                    <a:pt x="670" y="3"/>
                  </a:moveTo>
                  <a:cubicBezTo>
                    <a:pt x="667" y="5"/>
                    <a:pt x="666" y="8"/>
                    <a:pt x="666" y="12"/>
                  </a:cubicBezTo>
                  <a:cubicBezTo>
                    <a:pt x="666" y="16"/>
                    <a:pt x="667" y="20"/>
                    <a:pt x="670" y="21"/>
                  </a:cubicBezTo>
                  <a:cubicBezTo>
                    <a:pt x="672" y="23"/>
                    <a:pt x="675" y="24"/>
                    <a:pt x="679" y="24"/>
                  </a:cubicBezTo>
                  <a:cubicBezTo>
                    <a:pt x="682" y="24"/>
                    <a:pt x="685" y="23"/>
                    <a:pt x="688" y="21"/>
                  </a:cubicBezTo>
                  <a:cubicBezTo>
                    <a:pt x="690" y="20"/>
                    <a:pt x="692" y="16"/>
                    <a:pt x="692" y="12"/>
                  </a:cubicBezTo>
                  <a:cubicBezTo>
                    <a:pt x="692" y="8"/>
                    <a:pt x="690" y="5"/>
                    <a:pt x="688" y="3"/>
                  </a:cubicBezTo>
                  <a:cubicBezTo>
                    <a:pt x="685" y="1"/>
                    <a:pt x="682" y="0"/>
                    <a:pt x="679" y="0"/>
                  </a:cubicBezTo>
                  <a:cubicBezTo>
                    <a:pt x="675" y="0"/>
                    <a:pt x="672" y="1"/>
                    <a:pt x="670" y="3"/>
                  </a:cubicBezTo>
                  <a:moveTo>
                    <a:pt x="589" y="98"/>
                  </a:moveTo>
                  <a:cubicBezTo>
                    <a:pt x="586" y="94"/>
                    <a:pt x="584" y="87"/>
                    <a:pt x="584" y="79"/>
                  </a:cubicBezTo>
                  <a:cubicBezTo>
                    <a:pt x="584" y="70"/>
                    <a:pt x="586" y="64"/>
                    <a:pt x="589" y="59"/>
                  </a:cubicBezTo>
                  <a:cubicBezTo>
                    <a:pt x="592" y="55"/>
                    <a:pt x="596" y="52"/>
                    <a:pt x="601" y="52"/>
                  </a:cubicBezTo>
                  <a:cubicBezTo>
                    <a:pt x="608" y="52"/>
                    <a:pt x="613" y="55"/>
                    <a:pt x="616" y="59"/>
                  </a:cubicBezTo>
                  <a:cubicBezTo>
                    <a:pt x="618" y="64"/>
                    <a:pt x="620" y="70"/>
                    <a:pt x="620" y="79"/>
                  </a:cubicBezTo>
                  <a:cubicBezTo>
                    <a:pt x="620" y="81"/>
                    <a:pt x="620" y="81"/>
                    <a:pt x="620" y="81"/>
                  </a:cubicBezTo>
                  <a:cubicBezTo>
                    <a:pt x="619" y="89"/>
                    <a:pt x="618" y="95"/>
                    <a:pt x="615" y="99"/>
                  </a:cubicBezTo>
                  <a:cubicBezTo>
                    <a:pt x="613" y="103"/>
                    <a:pt x="608" y="105"/>
                    <a:pt x="602" y="105"/>
                  </a:cubicBezTo>
                  <a:cubicBezTo>
                    <a:pt x="596" y="105"/>
                    <a:pt x="592" y="102"/>
                    <a:pt x="589" y="98"/>
                  </a:cubicBezTo>
                  <a:moveTo>
                    <a:pt x="609" y="120"/>
                  </a:moveTo>
                  <a:cubicBezTo>
                    <a:pt x="613" y="117"/>
                    <a:pt x="616" y="114"/>
                    <a:pt x="618" y="111"/>
                  </a:cubicBezTo>
                  <a:cubicBezTo>
                    <a:pt x="619" y="111"/>
                    <a:pt x="619" y="111"/>
                    <a:pt x="619" y="111"/>
                  </a:cubicBezTo>
                  <a:cubicBezTo>
                    <a:pt x="624" y="122"/>
                    <a:pt x="624" y="122"/>
                    <a:pt x="624" y="122"/>
                  </a:cubicBezTo>
                  <a:cubicBezTo>
                    <a:pt x="642" y="122"/>
                    <a:pt x="642" y="122"/>
                    <a:pt x="642" y="122"/>
                  </a:cubicBezTo>
                  <a:cubicBezTo>
                    <a:pt x="642" y="0"/>
                    <a:pt x="642" y="0"/>
                    <a:pt x="642" y="0"/>
                  </a:cubicBezTo>
                  <a:cubicBezTo>
                    <a:pt x="618" y="0"/>
                    <a:pt x="618" y="0"/>
                    <a:pt x="618" y="0"/>
                  </a:cubicBezTo>
                  <a:cubicBezTo>
                    <a:pt x="618" y="28"/>
                    <a:pt x="618" y="28"/>
                    <a:pt x="618" y="28"/>
                  </a:cubicBezTo>
                  <a:cubicBezTo>
                    <a:pt x="618" y="32"/>
                    <a:pt x="618" y="35"/>
                    <a:pt x="619" y="38"/>
                  </a:cubicBezTo>
                  <a:cubicBezTo>
                    <a:pt x="619" y="42"/>
                    <a:pt x="619" y="44"/>
                    <a:pt x="620" y="46"/>
                  </a:cubicBezTo>
                  <a:cubicBezTo>
                    <a:pt x="619" y="46"/>
                    <a:pt x="619" y="46"/>
                    <a:pt x="619" y="46"/>
                  </a:cubicBezTo>
                  <a:cubicBezTo>
                    <a:pt x="617" y="42"/>
                    <a:pt x="613" y="39"/>
                    <a:pt x="609" y="37"/>
                  </a:cubicBezTo>
                  <a:cubicBezTo>
                    <a:pt x="605" y="34"/>
                    <a:pt x="600" y="33"/>
                    <a:pt x="594" y="33"/>
                  </a:cubicBezTo>
                  <a:cubicBezTo>
                    <a:pt x="584" y="33"/>
                    <a:pt x="576" y="37"/>
                    <a:pt x="570" y="45"/>
                  </a:cubicBezTo>
                  <a:cubicBezTo>
                    <a:pt x="563" y="52"/>
                    <a:pt x="560" y="64"/>
                    <a:pt x="560" y="79"/>
                  </a:cubicBezTo>
                  <a:cubicBezTo>
                    <a:pt x="560" y="93"/>
                    <a:pt x="563" y="105"/>
                    <a:pt x="569" y="112"/>
                  </a:cubicBezTo>
                  <a:cubicBezTo>
                    <a:pt x="576" y="120"/>
                    <a:pt x="583" y="124"/>
                    <a:pt x="593" y="124"/>
                  </a:cubicBezTo>
                  <a:cubicBezTo>
                    <a:pt x="599" y="124"/>
                    <a:pt x="605" y="122"/>
                    <a:pt x="609" y="120"/>
                  </a:cubicBezTo>
                  <a:moveTo>
                    <a:pt x="484" y="102"/>
                  </a:moveTo>
                  <a:cubicBezTo>
                    <a:pt x="482" y="100"/>
                    <a:pt x="481" y="98"/>
                    <a:pt x="481" y="95"/>
                  </a:cubicBezTo>
                  <a:cubicBezTo>
                    <a:pt x="481" y="53"/>
                    <a:pt x="481" y="53"/>
                    <a:pt x="481" y="53"/>
                  </a:cubicBezTo>
                  <a:cubicBezTo>
                    <a:pt x="505" y="53"/>
                    <a:pt x="505" y="53"/>
                    <a:pt x="505" y="53"/>
                  </a:cubicBezTo>
                  <a:cubicBezTo>
                    <a:pt x="505" y="35"/>
                    <a:pt x="505" y="35"/>
                    <a:pt x="505" y="35"/>
                  </a:cubicBezTo>
                  <a:cubicBezTo>
                    <a:pt x="481" y="35"/>
                    <a:pt x="481" y="35"/>
                    <a:pt x="481" y="35"/>
                  </a:cubicBezTo>
                  <a:cubicBezTo>
                    <a:pt x="481" y="16"/>
                    <a:pt x="481" y="16"/>
                    <a:pt x="481" y="16"/>
                  </a:cubicBezTo>
                  <a:cubicBezTo>
                    <a:pt x="466" y="16"/>
                    <a:pt x="466" y="16"/>
                    <a:pt x="466" y="16"/>
                  </a:cubicBezTo>
                  <a:cubicBezTo>
                    <a:pt x="459" y="35"/>
                    <a:pt x="459" y="35"/>
                    <a:pt x="459" y="35"/>
                  </a:cubicBezTo>
                  <a:cubicBezTo>
                    <a:pt x="446" y="43"/>
                    <a:pt x="446" y="43"/>
                    <a:pt x="446" y="43"/>
                  </a:cubicBezTo>
                  <a:cubicBezTo>
                    <a:pt x="446" y="53"/>
                    <a:pt x="446" y="53"/>
                    <a:pt x="446" y="53"/>
                  </a:cubicBezTo>
                  <a:cubicBezTo>
                    <a:pt x="457" y="53"/>
                    <a:pt x="457" y="53"/>
                    <a:pt x="457" y="53"/>
                  </a:cubicBezTo>
                  <a:cubicBezTo>
                    <a:pt x="457" y="95"/>
                    <a:pt x="457" y="95"/>
                    <a:pt x="457" y="95"/>
                  </a:cubicBezTo>
                  <a:cubicBezTo>
                    <a:pt x="457" y="102"/>
                    <a:pt x="458" y="108"/>
                    <a:pt x="461" y="112"/>
                  </a:cubicBezTo>
                  <a:cubicBezTo>
                    <a:pt x="463" y="116"/>
                    <a:pt x="466" y="119"/>
                    <a:pt x="470" y="121"/>
                  </a:cubicBezTo>
                  <a:cubicBezTo>
                    <a:pt x="475" y="123"/>
                    <a:pt x="479" y="124"/>
                    <a:pt x="484" y="124"/>
                  </a:cubicBezTo>
                  <a:cubicBezTo>
                    <a:pt x="489" y="124"/>
                    <a:pt x="493" y="123"/>
                    <a:pt x="497" y="123"/>
                  </a:cubicBezTo>
                  <a:cubicBezTo>
                    <a:pt x="501" y="122"/>
                    <a:pt x="504" y="121"/>
                    <a:pt x="506" y="120"/>
                  </a:cubicBezTo>
                  <a:cubicBezTo>
                    <a:pt x="506" y="102"/>
                    <a:pt x="506" y="102"/>
                    <a:pt x="506" y="102"/>
                  </a:cubicBezTo>
                  <a:cubicBezTo>
                    <a:pt x="504" y="103"/>
                    <a:pt x="501" y="103"/>
                    <a:pt x="499" y="104"/>
                  </a:cubicBezTo>
                  <a:cubicBezTo>
                    <a:pt x="497" y="104"/>
                    <a:pt x="494" y="105"/>
                    <a:pt x="491" y="105"/>
                  </a:cubicBezTo>
                  <a:cubicBezTo>
                    <a:pt x="488" y="105"/>
                    <a:pt x="486" y="104"/>
                    <a:pt x="484" y="102"/>
                  </a:cubicBezTo>
                  <a:moveTo>
                    <a:pt x="406" y="89"/>
                  </a:moveTo>
                  <a:cubicBezTo>
                    <a:pt x="406" y="94"/>
                    <a:pt x="405" y="99"/>
                    <a:pt x="401" y="102"/>
                  </a:cubicBezTo>
                  <a:cubicBezTo>
                    <a:pt x="398" y="105"/>
                    <a:pt x="393" y="106"/>
                    <a:pt x="388" y="106"/>
                  </a:cubicBezTo>
                  <a:cubicBezTo>
                    <a:pt x="385" y="106"/>
                    <a:pt x="382" y="105"/>
                    <a:pt x="380" y="104"/>
                  </a:cubicBezTo>
                  <a:cubicBezTo>
                    <a:pt x="378" y="102"/>
                    <a:pt x="377" y="100"/>
                    <a:pt x="377" y="96"/>
                  </a:cubicBezTo>
                  <a:cubicBezTo>
                    <a:pt x="377" y="92"/>
                    <a:pt x="378" y="89"/>
                    <a:pt x="381" y="86"/>
                  </a:cubicBezTo>
                  <a:cubicBezTo>
                    <a:pt x="384" y="83"/>
                    <a:pt x="389" y="82"/>
                    <a:pt x="397" y="82"/>
                  </a:cubicBezTo>
                  <a:cubicBezTo>
                    <a:pt x="406" y="82"/>
                    <a:pt x="406" y="82"/>
                    <a:pt x="406" y="82"/>
                  </a:cubicBezTo>
                  <a:lnTo>
                    <a:pt x="406" y="89"/>
                  </a:lnTo>
                  <a:close/>
                  <a:moveTo>
                    <a:pt x="376" y="35"/>
                  </a:moveTo>
                  <a:cubicBezTo>
                    <a:pt x="370" y="37"/>
                    <a:pt x="365" y="38"/>
                    <a:pt x="360" y="41"/>
                  </a:cubicBezTo>
                  <a:cubicBezTo>
                    <a:pt x="368" y="57"/>
                    <a:pt x="368" y="57"/>
                    <a:pt x="368" y="57"/>
                  </a:cubicBezTo>
                  <a:cubicBezTo>
                    <a:pt x="372" y="55"/>
                    <a:pt x="376" y="54"/>
                    <a:pt x="380" y="52"/>
                  </a:cubicBezTo>
                  <a:cubicBezTo>
                    <a:pt x="384" y="51"/>
                    <a:pt x="388" y="51"/>
                    <a:pt x="393" y="51"/>
                  </a:cubicBezTo>
                  <a:cubicBezTo>
                    <a:pt x="397" y="51"/>
                    <a:pt x="400" y="52"/>
                    <a:pt x="403" y="54"/>
                  </a:cubicBezTo>
                  <a:cubicBezTo>
                    <a:pt x="405" y="56"/>
                    <a:pt x="406" y="59"/>
                    <a:pt x="406" y="64"/>
                  </a:cubicBezTo>
                  <a:cubicBezTo>
                    <a:pt x="406" y="68"/>
                    <a:pt x="406" y="68"/>
                    <a:pt x="406" y="68"/>
                  </a:cubicBezTo>
                  <a:cubicBezTo>
                    <a:pt x="391" y="68"/>
                    <a:pt x="391" y="68"/>
                    <a:pt x="391" y="68"/>
                  </a:cubicBezTo>
                  <a:cubicBezTo>
                    <a:pt x="378" y="69"/>
                    <a:pt x="368" y="71"/>
                    <a:pt x="362" y="75"/>
                  </a:cubicBezTo>
                  <a:cubicBezTo>
                    <a:pt x="355" y="80"/>
                    <a:pt x="352" y="87"/>
                    <a:pt x="352" y="96"/>
                  </a:cubicBezTo>
                  <a:cubicBezTo>
                    <a:pt x="352" y="105"/>
                    <a:pt x="355" y="112"/>
                    <a:pt x="360" y="117"/>
                  </a:cubicBezTo>
                  <a:cubicBezTo>
                    <a:pt x="365" y="121"/>
                    <a:pt x="371" y="124"/>
                    <a:pt x="379" y="124"/>
                  </a:cubicBezTo>
                  <a:cubicBezTo>
                    <a:pt x="386" y="124"/>
                    <a:pt x="392" y="123"/>
                    <a:pt x="396" y="120"/>
                  </a:cubicBezTo>
                  <a:cubicBezTo>
                    <a:pt x="400" y="118"/>
                    <a:pt x="404" y="115"/>
                    <a:pt x="408" y="110"/>
                  </a:cubicBezTo>
                  <a:cubicBezTo>
                    <a:pt x="409" y="110"/>
                    <a:pt x="409" y="110"/>
                    <a:pt x="409" y="110"/>
                  </a:cubicBezTo>
                  <a:cubicBezTo>
                    <a:pt x="413" y="122"/>
                    <a:pt x="413" y="122"/>
                    <a:pt x="413" y="122"/>
                  </a:cubicBezTo>
                  <a:cubicBezTo>
                    <a:pt x="430" y="122"/>
                    <a:pt x="430" y="122"/>
                    <a:pt x="430" y="122"/>
                  </a:cubicBezTo>
                  <a:cubicBezTo>
                    <a:pt x="430" y="64"/>
                    <a:pt x="430" y="64"/>
                    <a:pt x="430" y="64"/>
                  </a:cubicBezTo>
                  <a:cubicBezTo>
                    <a:pt x="430" y="53"/>
                    <a:pt x="427" y="46"/>
                    <a:pt x="421" y="41"/>
                  </a:cubicBezTo>
                  <a:cubicBezTo>
                    <a:pt x="414" y="35"/>
                    <a:pt x="405" y="33"/>
                    <a:pt x="394" y="33"/>
                  </a:cubicBezTo>
                  <a:cubicBezTo>
                    <a:pt x="388" y="33"/>
                    <a:pt x="382" y="34"/>
                    <a:pt x="376" y="35"/>
                  </a:cubicBezTo>
                  <a:moveTo>
                    <a:pt x="312" y="55"/>
                  </a:moveTo>
                  <a:cubicBezTo>
                    <a:pt x="315" y="59"/>
                    <a:pt x="316" y="63"/>
                    <a:pt x="316" y="68"/>
                  </a:cubicBezTo>
                  <a:cubicBezTo>
                    <a:pt x="283" y="68"/>
                    <a:pt x="283" y="68"/>
                    <a:pt x="283" y="68"/>
                  </a:cubicBezTo>
                  <a:cubicBezTo>
                    <a:pt x="283" y="62"/>
                    <a:pt x="285" y="58"/>
                    <a:pt x="288" y="55"/>
                  </a:cubicBezTo>
                  <a:cubicBezTo>
                    <a:pt x="291" y="52"/>
                    <a:pt x="295" y="50"/>
                    <a:pt x="299" y="50"/>
                  </a:cubicBezTo>
                  <a:cubicBezTo>
                    <a:pt x="305" y="50"/>
                    <a:pt x="309" y="52"/>
                    <a:pt x="312" y="55"/>
                  </a:cubicBezTo>
                  <a:moveTo>
                    <a:pt x="278" y="38"/>
                  </a:moveTo>
                  <a:cubicBezTo>
                    <a:pt x="272" y="42"/>
                    <a:pt x="267" y="47"/>
                    <a:pt x="263" y="54"/>
                  </a:cubicBezTo>
                  <a:cubicBezTo>
                    <a:pt x="260" y="60"/>
                    <a:pt x="258" y="69"/>
                    <a:pt x="258" y="79"/>
                  </a:cubicBezTo>
                  <a:cubicBezTo>
                    <a:pt x="258" y="89"/>
                    <a:pt x="260" y="97"/>
                    <a:pt x="264" y="104"/>
                  </a:cubicBezTo>
                  <a:cubicBezTo>
                    <a:pt x="268" y="111"/>
                    <a:pt x="273" y="116"/>
                    <a:pt x="280" y="119"/>
                  </a:cubicBezTo>
                  <a:cubicBezTo>
                    <a:pt x="286" y="122"/>
                    <a:pt x="294" y="124"/>
                    <a:pt x="303" y="124"/>
                  </a:cubicBezTo>
                  <a:cubicBezTo>
                    <a:pt x="310" y="124"/>
                    <a:pt x="315" y="123"/>
                    <a:pt x="320" y="122"/>
                  </a:cubicBezTo>
                  <a:cubicBezTo>
                    <a:pt x="325" y="121"/>
                    <a:pt x="329" y="120"/>
                    <a:pt x="334" y="117"/>
                  </a:cubicBezTo>
                  <a:cubicBezTo>
                    <a:pt x="334" y="99"/>
                    <a:pt x="334" y="99"/>
                    <a:pt x="334" y="99"/>
                  </a:cubicBezTo>
                  <a:cubicBezTo>
                    <a:pt x="329" y="101"/>
                    <a:pt x="324" y="103"/>
                    <a:pt x="319" y="104"/>
                  </a:cubicBezTo>
                  <a:cubicBezTo>
                    <a:pt x="315" y="105"/>
                    <a:pt x="309" y="106"/>
                    <a:pt x="304" y="106"/>
                  </a:cubicBezTo>
                  <a:cubicBezTo>
                    <a:pt x="297" y="106"/>
                    <a:pt x="292" y="104"/>
                    <a:pt x="288" y="100"/>
                  </a:cubicBezTo>
                  <a:cubicBezTo>
                    <a:pt x="284" y="96"/>
                    <a:pt x="282" y="91"/>
                    <a:pt x="282" y="84"/>
                  </a:cubicBezTo>
                  <a:cubicBezTo>
                    <a:pt x="338" y="84"/>
                    <a:pt x="338" y="84"/>
                    <a:pt x="338" y="84"/>
                  </a:cubicBezTo>
                  <a:cubicBezTo>
                    <a:pt x="338" y="73"/>
                    <a:pt x="338" y="73"/>
                    <a:pt x="338" y="73"/>
                  </a:cubicBezTo>
                  <a:cubicBezTo>
                    <a:pt x="338" y="60"/>
                    <a:pt x="335" y="50"/>
                    <a:pt x="328" y="43"/>
                  </a:cubicBezTo>
                  <a:cubicBezTo>
                    <a:pt x="321" y="37"/>
                    <a:pt x="311" y="33"/>
                    <a:pt x="299" y="33"/>
                  </a:cubicBezTo>
                  <a:cubicBezTo>
                    <a:pt x="291" y="33"/>
                    <a:pt x="284" y="35"/>
                    <a:pt x="278" y="38"/>
                  </a:cubicBezTo>
                  <a:moveTo>
                    <a:pt x="250" y="35"/>
                  </a:moveTo>
                  <a:cubicBezTo>
                    <a:pt x="229" y="35"/>
                    <a:pt x="229" y="35"/>
                    <a:pt x="229" y="35"/>
                  </a:cubicBezTo>
                  <a:cubicBezTo>
                    <a:pt x="229" y="29"/>
                    <a:pt x="229" y="29"/>
                    <a:pt x="229" y="29"/>
                  </a:cubicBezTo>
                  <a:cubicBezTo>
                    <a:pt x="229" y="26"/>
                    <a:pt x="230" y="24"/>
                    <a:pt x="231" y="22"/>
                  </a:cubicBezTo>
                  <a:cubicBezTo>
                    <a:pt x="233" y="20"/>
                    <a:pt x="235" y="19"/>
                    <a:pt x="239" y="19"/>
                  </a:cubicBezTo>
                  <a:cubicBezTo>
                    <a:pt x="241" y="19"/>
                    <a:pt x="244" y="19"/>
                    <a:pt x="246" y="19"/>
                  </a:cubicBezTo>
                  <a:cubicBezTo>
                    <a:pt x="248" y="20"/>
                    <a:pt x="250" y="20"/>
                    <a:pt x="252" y="21"/>
                  </a:cubicBezTo>
                  <a:cubicBezTo>
                    <a:pt x="258" y="3"/>
                    <a:pt x="258" y="3"/>
                    <a:pt x="258" y="3"/>
                  </a:cubicBezTo>
                  <a:cubicBezTo>
                    <a:pt x="256" y="2"/>
                    <a:pt x="253" y="2"/>
                    <a:pt x="249" y="1"/>
                  </a:cubicBezTo>
                  <a:cubicBezTo>
                    <a:pt x="245" y="0"/>
                    <a:pt x="241" y="0"/>
                    <a:pt x="236" y="0"/>
                  </a:cubicBezTo>
                  <a:cubicBezTo>
                    <a:pt x="230" y="0"/>
                    <a:pt x="224" y="0"/>
                    <a:pt x="220" y="2"/>
                  </a:cubicBezTo>
                  <a:cubicBezTo>
                    <a:pt x="215" y="4"/>
                    <a:pt x="211" y="7"/>
                    <a:pt x="209" y="11"/>
                  </a:cubicBezTo>
                  <a:cubicBezTo>
                    <a:pt x="206" y="15"/>
                    <a:pt x="205" y="21"/>
                    <a:pt x="205" y="28"/>
                  </a:cubicBezTo>
                  <a:cubicBezTo>
                    <a:pt x="205" y="35"/>
                    <a:pt x="205" y="35"/>
                    <a:pt x="205" y="35"/>
                  </a:cubicBezTo>
                  <a:cubicBezTo>
                    <a:pt x="192" y="41"/>
                    <a:pt x="192" y="41"/>
                    <a:pt x="192" y="41"/>
                  </a:cubicBezTo>
                  <a:cubicBezTo>
                    <a:pt x="192" y="53"/>
                    <a:pt x="192" y="53"/>
                    <a:pt x="192" y="53"/>
                  </a:cubicBezTo>
                  <a:cubicBezTo>
                    <a:pt x="205" y="53"/>
                    <a:pt x="205" y="53"/>
                    <a:pt x="205" y="53"/>
                  </a:cubicBezTo>
                  <a:cubicBezTo>
                    <a:pt x="205" y="122"/>
                    <a:pt x="205" y="122"/>
                    <a:pt x="205" y="122"/>
                  </a:cubicBezTo>
                  <a:cubicBezTo>
                    <a:pt x="229" y="122"/>
                    <a:pt x="229" y="122"/>
                    <a:pt x="229" y="122"/>
                  </a:cubicBezTo>
                  <a:cubicBezTo>
                    <a:pt x="229" y="53"/>
                    <a:pt x="229" y="53"/>
                    <a:pt x="229" y="53"/>
                  </a:cubicBezTo>
                  <a:cubicBezTo>
                    <a:pt x="250" y="53"/>
                    <a:pt x="250" y="53"/>
                    <a:pt x="250" y="53"/>
                  </a:cubicBezTo>
                  <a:lnTo>
                    <a:pt x="250" y="35"/>
                  </a:lnTo>
                  <a:close/>
                  <a:moveTo>
                    <a:pt x="155" y="55"/>
                  </a:moveTo>
                  <a:cubicBezTo>
                    <a:pt x="158" y="59"/>
                    <a:pt x="160" y="63"/>
                    <a:pt x="160" y="68"/>
                  </a:cubicBezTo>
                  <a:cubicBezTo>
                    <a:pt x="126" y="68"/>
                    <a:pt x="126" y="68"/>
                    <a:pt x="126" y="68"/>
                  </a:cubicBezTo>
                  <a:cubicBezTo>
                    <a:pt x="127" y="62"/>
                    <a:pt x="128" y="58"/>
                    <a:pt x="131" y="55"/>
                  </a:cubicBezTo>
                  <a:cubicBezTo>
                    <a:pt x="134" y="52"/>
                    <a:pt x="138" y="50"/>
                    <a:pt x="143" y="50"/>
                  </a:cubicBezTo>
                  <a:cubicBezTo>
                    <a:pt x="149" y="50"/>
                    <a:pt x="153" y="52"/>
                    <a:pt x="155" y="55"/>
                  </a:cubicBezTo>
                  <a:moveTo>
                    <a:pt x="121" y="38"/>
                  </a:moveTo>
                  <a:cubicBezTo>
                    <a:pt x="115" y="42"/>
                    <a:pt x="110" y="47"/>
                    <a:pt x="107" y="54"/>
                  </a:cubicBezTo>
                  <a:cubicBezTo>
                    <a:pt x="103" y="60"/>
                    <a:pt x="102" y="69"/>
                    <a:pt x="102" y="79"/>
                  </a:cubicBezTo>
                  <a:cubicBezTo>
                    <a:pt x="102" y="89"/>
                    <a:pt x="103" y="97"/>
                    <a:pt x="107" y="104"/>
                  </a:cubicBezTo>
                  <a:cubicBezTo>
                    <a:pt x="111" y="111"/>
                    <a:pt x="116" y="116"/>
                    <a:pt x="123" y="119"/>
                  </a:cubicBezTo>
                  <a:cubicBezTo>
                    <a:pt x="130" y="122"/>
                    <a:pt x="138" y="124"/>
                    <a:pt x="146" y="124"/>
                  </a:cubicBezTo>
                  <a:cubicBezTo>
                    <a:pt x="153" y="124"/>
                    <a:pt x="159" y="123"/>
                    <a:pt x="163" y="122"/>
                  </a:cubicBezTo>
                  <a:cubicBezTo>
                    <a:pt x="168" y="121"/>
                    <a:pt x="173" y="120"/>
                    <a:pt x="177" y="117"/>
                  </a:cubicBezTo>
                  <a:cubicBezTo>
                    <a:pt x="177" y="99"/>
                    <a:pt x="177" y="99"/>
                    <a:pt x="177" y="99"/>
                  </a:cubicBezTo>
                  <a:cubicBezTo>
                    <a:pt x="172" y="101"/>
                    <a:pt x="167" y="103"/>
                    <a:pt x="163" y="104"/>
                  </a:cubicBezTo>
                  <a:cubicBezTo>
                    <a:pt x="158" y="105"/>
                    <a:pt x="153" y="106"/>
                    <a:pt x="147" y="106"/>
                  </a:cubicBezTo>
                  <a:cubicBezTo>
                    <a:pt x="141" y="106"/>
                    <a:pt x="135" y="104"/>
                    <a:pt x="132" y="100"/>
                  </a:cubicBezTo>
                  <a:cubicBezTo>
                    <a:pt x="128" y="96"/>
                    <a:pt x="126" y="91"/>
                    <a:pt x="126" y="84"/>
                  </a:cubicBezTo>
                  <a:cubicBezTo>
                    <a:pt x="182" y="84"/>
                    <a:pt x="182" y="84"/>
                    <a:pt x="182" y="84"/>
                  </a:cubicBezTo>
                  <a:cubicBezTo>
                    <a:pt x="182" y="73"/>
                    <a:pt x="182" y="73"/>
                    <a:pt x="182" y="73"/>
                  </a:cubicBezTo>
                  <a:cubicBezTo>
                    <a:pt x="182" y="60"/>
                    <a:pt x="178" y="50"/>
                    <a:pt x="171" y="43"/>
                  </a:cubicBezTo>
                  <a:cubicBezTo>
                    <a:pt x="164" y="37"/>
                    <a:pt x="155" y="33"/>
                    <a:pt x="143" y="33"/>
                  </a:cubicBezTo>
                  <a:cubicBezTo>
                    <a:pt x="135" y="33"/>
                    <a:pt x="127" y="35"/>
                    <a:pt x="121" y="38"/>
                  </a:cubicBezTo>
                  <a:moveTo>
                    <a:pt x="29" y="98"/>
                  </a:moveTo>
                  <a:cubicBezTo>
                    <a:pt x="26" y="94"/>
                    <a:pt x="24" y="87"/>
                    <a:pt x="24" y="79"/>
                  </a:cubicBezTo>
                  <a:cubicBezTo>
                    <a:pt x="24" y="70"/>
                    <a:pt x="26" y="64"/>
                    <a:pt x="29" y="59"/>
                  </a:cubicBezTo>
                  <a:cubicBezTo>
                    <a:pt x="32" y="55"/>
                    <a:pt x="36" y="52"/>
                    <a:pt x="41" y="52"/>
                  </a:cubicBezTo>
                  <a:cubicBezTo>
                    <a:pt x="48" y="52"/>
                    <a:pt x="53" y="55"/>
                    <a:pt x="56" y="59"/>
                  </a:cubicBezTo>
                  <a:cubicBezTo>
                    <a:pt x="58" y="64"/>
                    <a:pt x="60" y="70"/>
                    <a:pt x="60" y="79"/>
                  </a:cubicBezTo>
                  <a:cubicBezTo>
                    <a:pt x="60" y="81"/>
                    <a:pt x="60" y="81"/>
                    <a:pt x="60" y="81"/>
                  </a:cubicBezTo>
                  <a:cubicBezTo>
                    <a:pt x="59" y="89"/>
                    <a:pt x="58" y="95"/>
                    <a:pt x="55" y="99"/>
                  </a:cubicBezTo>
                  <a:cubicBezTo>
                    <a:pt x="53" y="103"/>
                    <a:pt x="48" y="105"/>
                    <a:pt x="42" y="105"/>
                  </a:cubicBezTo>
                  <a:cubicBezTo>
                    <a:pt x="36" y="105"/>
                    <a:pt x="32" y="102"/>
                    <a:pt x="29" y="98"/>
                  </a:cubicBezTo>
                  <a:moveTo>
                    <a:pt x="49" y="120"/>
                  </a:moveTo>
                  <a:cubicBezTo>
                    <a:pt x="53" y="117"/>
                    <a:pt x="56" y="114"/>
                    <a:pt x="58" y="111"/>
                  </a:cubicBezTo>
                  <a:cubicBezTo>
                    <a:pt x="59" y="111"/>
                    <a:pt x="59" y="111"/>
                    <a:pt x="59" y="111"/>
                  </a:cubicBezTo>
                  <a:cubicBezTo>
                    <a:pt x="64" y="122"/>
                    <a:pt x="64" y="122"/>
                    <a:pt x="64" y="122"/>
                  </a:cubicBezTo>
                  <a:cubicBezTo>
                    <a:pt x="82" y="122"/>
                    <a:pt x="82" y="122"/>
                    <a:pt x="82" y="122"/>
                  </a:cubicBezTo>
                  <a:cubicBezTo>
                    <a:pt x="82" y="0"/>
                    <a:pt x="82" y="0"/>
                    <a:pt x="82" y="0"/>
                  </a:cubicBezTo>
                  <a:cubicBezTo>
                    <a:pt x="58" y="0"/>
                    <a:pt x="58" y="0"/>
                    <a:pt x="58" y="0"/>
                  </a:cubicBezTo>
                  <a:cubicBezTo>
                    <a:pt x="58" y="28"/>
                    <a:pt x="58" y="28"/>
                    <a:pt x="58" y="28"/>
                  </a:cubicBezTo>
                  <a:cubicBezTo>
                    <a:pt x="58" y="32"/>
                    <a:pt x="58" y="35"/>
                    <a:pt x="59" y="38"/>
                  </a:cubicBezTo>
                  <a:cubicBezTo>
                    <a:pt x="59" y="42"/>
                    <a:pt x="59" y="44"/>
                    <a:pt x="60" y="46"/>
                  </a:cubicBezTo>
                  <a:cubicBezTo>
                    <a:pt x="59" y="46"/>
                    <a:pt x="59" y="46"/>
                    <a:pt x="59" y="46"/>
                  </a:cubicBezTo>
                  <a:cubicBezTo>
                    <a:pt x="57" y="42"/>
                    <a:pt x="53" y="39"/>
                    <a:pt x="49" y="37"/>
                  </a:cubicBezTo>
                  <a:cubicBezTo>
                    <a:pt x="45" y="34"/>
                    <a:pt x="40" y="33"/>
                    <a:pt x="34" y="33"/>
                  </a:cubicBezTo>
                  <a:cubicBezTo>
                    <a:pt x="24" y="33"/>
                    <a:pt x="16" y="37"/>
                    <a:pt x="10" y="45"/>
                  </a:cubicBezTo>
                  <a:cubicBezTo>
                    <a:pt x="3" y="52"/>
                    <a:pt x="0" y="64"/>
                    <a:pt x="0" y="79"/>
                  </a:cubicBezTo>
                  <a:cubicBezTo>
                    <a:pt x="0" y="93"/>
                    <a:pt x="3" y="105"/>
                    <a:pt x="9" y="112"/>
                  </a:cubicBezTo>
                  <a:cubicBezTo>
                    <a:pt x="16" y="120"/>
                    <a:pt x="24" y="124"/>
                    <a:pt x="33" y="124"/>
                  </a:cubicBezTo>
                  <a:cubicBezTo>
                    <a:pt x="40" y="124"/>
                    <a:pt x="45" y="122"/>
                    <a:pt x="49" y="120"/>
                  </a:cubicBezTo>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29" name="Freeform 48">
              <a:extLst>
                <a:ext uri="{FF2B5EF4-FFF2-40B4-BE49-F238E27FC236}">
                  <a16:creationId xmlns:a16="http://schemas.microsoft.com/office/drawing/2014/main" id="{39E20237-1D80-3048-8663-0170C3FB54D4}"/>
                </a:ext>
              </a:extLst>
            </p:cNvPr>
            <p:cNvSpPr>
              <a:spLocks noEditPoints="1"/>
            </p:cNvSpPr>
            <p:nvPr/>
          </p:nvSpPr>
          <p:spPr bwMode="auto">
            <a:xfrm>
              <a:off x="4113213" y="2349501"/>
              <a:ext cx="920750" cy="106363"/>
            </a:xfrm>
            <a:custGeom>
              <a:avLst/>
              <a:gdLst>
                <a:gd name="T0" fmla="*/ 1373 w 1401"/>
                <a:gd name="T1" fmla="*/ 98 h 160"/>
                <a:gd name="T2" fmla="*/ 1396 w 1401"/>
                <a:gd name="T3" fmla="*/ 54 h 160"/>
                <a:gd name="T4" fmla="*/ 1322 w 1401"/>
                <a:gd name="T5" fmla="*/ 103 h 160"/>
                <a:gd name="T6" fmla="*/ 1396 w 1401"/>
                <a:gd name="T7" fmla="*/ 54 h 160"/>
                <a:gd name="T8" fmla="*/ 1303 w 1401"/>
                <a:gd name="T9" fmla="*/ 35 h 160"/>
                <a:gd name="T10" fmla="*/ 1244 w 1401"/>
                <a:gd name="T11" fmla="*/ 43 h 160"/>
                <a:gd name="T12" fmla="*/ 1268 w 1401"/>
                <a:gd name="T13" fmla="*/ 121 h 160"/>
                <a:gd name="T14" fmla="*/ 1297 w 1401"/>
                <a:gd name="T15" fmla="*/ 104 h 160"/>
                <a:gd name="T16" fmla="*/ 1136 w 1401"/>
                <a:gd name="T17" fmla="*/ 68 h 160"/>
                <a:gd name="T18" fmla="*/ 1116 w 1401"/>
                <a:gd name="T19" fmla="*/ 54 h 160"/>
                <a:gd name="T20" fmla="*/ 1173 w 1401"/>
                <a:gd name="T21" fmla="*/ 122 h 160"/>
                <a:gd name="T22" fmla="*/ 1141 w 1401"/>
                <a:gd name="T23" fmla="*/ 100 h 160"/>
                <a:gd name="T24" fmla="*/ 1152 w 1401"/>
                <a:gd name="T25" fmla="*/ 33 h 160"/>
                <a:gd name="T26" fmla="*/ 1065 w 1401"/>
                <a:gd name="T27" fmla="*/ 100 h 160"/>
                <a:gd name="T28" fmla="*/ 1019 w 1401"/>
                <a:gd name="T29" fmla="*/ 45 h 160"/>
                <a:gd name="T30" fmla="*/ 1067 w 1401"/>
                <a:gd name="T31" fmla="*/ 111 h 160"/>
                <a:gd name="T32" fmla="*/ 1049 w 1401"/>
                <a:gd name="T33" fmla="*/ 143 h 160"/>
                <a:gd name="T34" fmla="*/ 1080 w 1401"/>
                <a:gd name="T35" fmla="*/ 151 h 160"/>
                <a:gd name="T36" fmla="*/ 1069 w 1401"/>
                <a:gd name="T37" fmla="*/ 46 h 160"/>
                <a:gd name="T38" fmla="*/ 931 w 1401"/>
                <a:gd name="T39" fmla="*/ 46 h 160"/>
                <a:gd name="T40" fmla="*/ 934 w 1401"/>
                <a:gd name="T41" fmla="*/ 81 h 160"/>
                <a:gd name="T42" fmla="*/ 967 w 1401"/>
                <a:gd name="T43" fmla="*/ 122 h 160"/>
                <a:gd name="T44" fmla="*/ 944 w 1401"/>
                <a:gd name="T45" fmla="*/ 36 h 160"/>
                <a:gd name="T46" fmla="*/ 832 w 1401"/>
                <a:gd name="T47" fmla="*/ 96 h 160"/>
                <a:gd name="T48" fmla="*/ 831 w 1401"/>
                <a:gd name="T49" fmla="*/ 35 h 160"/>
                <a:gd name="T50" fmla="*/ 858 w 1401"/>
                <a:gd name="T51" fmla="*/ 54 h 160"/>
                <a:gd name="T52" fmla="*/ 807 w 1401"/>
                <a:gd name="T53" fmla="*/ 96 h 160"/>
                <a:gd name="T54" fmla="*/ 864 w 1401"/>
                <a:gd name="T55" fmla="*/ 110 h 160"/>
                <a:gd name="T56" fmla="*/ 849 w 1401"/>
                <a:gd name="T57" fmla="*/ 33 h 160"/>
                <a:gd name="T58" fmla="*/ 732 w 1401"/>
                <a:gd name="T59" fmla="*/ 81 h 160"/>
                <a:gd name="T60" fmla="*/ 789 w 1401"/>
                <a:gd name="T61" fmla="*/ 122 h 160"/>
                <a:gd name="T62" fmla="*/ 732 w 1401"/>
                <a:gd name="T63" fmla="*/ 46 h 160"/>
                <a:gd name="T64" fmla="*/ 708 w 1401"/>
                <a:gd name="T65" fmla="*/ 0 h 160"/>
                <a:gd name="T66" fmla="*/ 663 w 1401"/>
                <a:gd name="T67" fmla="*/ 104 h 160"/>
                <a:gd name="T68" fmla="*/ 684 w 1401"/>
                <a:gd name="T69" fmla="*/ 57 h 160"/>
                <a:gd name="T70" fmla="*/ 626 w 1401"/>
                <a:gd name="T71" fmla="*/ 53 h 160"/>
                <a:gd name="T72" fmla="*/ 533 w 1401"/>
                <a:gd name="T73" fmla="*/ 59 h 160"/>
                <a:gd name="T74" fmla="*/ 502 w 1401"/>
                <a:gd name="T75" fmla="*/ 79 h 160"/>
                <a:gd name="T76" fmla="*/ 486 w 1401"/>
                <a:gd name="T77" fmla="*/ 112 h 160"/>
                <a:gd name="T78" fmla="*/ 536 w 1401"/>
                <a:gd name="T79" fmla="*/ 116 h 160"/>
                <a:gd name="T80" fmla="*/ 483 w 1401"/>
                <a:gd name="T81" fmla="*/ 155 h 160"/>
                <a:gd name="T82" fmla="*/ 559 w 1401"/>
                <a:gd name="T83" fmla="*/ 35 h 160"/>
                <a:gd name="T84" fmla="*/ 487 w 1401"/>
                <a:gd name="T85" fmla="*/ 45 h 160"/>
                <a:gd name="T86" fmla="*/ 378 w 1401"/>
                <a:gd name="T87" fmla="*/ 35 h 160"/>
                <a:gd name="T88" fmla="*/ 421 w 1401"/>
                <a:gd name="T89" fmla="*/ 52 h 160"/>
                <a:gd name="T90" fmla="*/ 459 w 1401"/>
                <a:gd name="T91" fmla="*/ 65 h 160"/>
                <a:gd name="T92" fmla="*/ 353 w 1401"/>
                <a:gd name="T93" fmla="*/ 122 h 160"/>
                <a:gd name="T94" fmla="*/ 328 w 1401"/>
                <a:gd name="T95" fmla="*/ 12 h 160"/>
                <a:gd name="T96" fmla="*/ 350 w 1401"/>
                <a:gd name="T97" fmla="*/ 3 h 160"/>
                <a:gd name="T98" fmla="*/ 292 w 1401"/>
                <a:gd name="T99" fmla="*/ 35 h 160"/>
                <a:gd name="T100" fmla="*/ 267 w 1401"/>
                <a:gd name="T101" fmla="*/ 84 h 160"/>
                <a:gd name="T102" fmla="*/ 189 w 1401"/>
                <a:gd name="T103" fmla="*/ 122 h 160"/>
                <a:gd name="T104" fmla="*/ 192 w 1401"/>
                <a:gd name="T105" fmla="*/ 3 h 160"/>
                <a:gd name="T106" fmla="*/ 214 w 1401"/>
                <a:gd name="T107" fmla="*/ 12 h 160"/>
                <a:gd name="T108" fmla="*/ 139 w 1401"/>
                <a:gd name="T109" fmla="*/ 49 h 160"/>
                <a:gd name="T110" fmla="*/ 140 w 1401"/>
                <a:gd name="T111" fmla="*/ 122 h 160"/>
                <a:gd name="T112" fmla="*/ 168 w 1401"/>
                <a:gd name="T113" fmla="*/ 56 h 160"/>
                <a:gd name="T114" fmla="*/ 150 w 1401"/>
                <a:gd name="T115" fmla="*/ 38 h 160"/>
                <a:gd name="T116" fmla="*/ 61 w 1401"/>
                <a:gd name="T117" fmla="*/ 37 h 160"/>
                <a:gd name="T118" fmla="*/ 36 w 1401"/>
                <a:gd name="T119" fmla="*/ 8 h 160"/>
                <a:gd name="T120" fmla="*/ 95 w 1401"/>
                <a:gd name="T121"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01" h="160">
                  <a:moveTo>
                    <a:pt x="1345" y="59"/>
                  </a:moveTo>
                  <a:cubicBezTo>
                    <a:pt x="1348" y="54"/>
                    <a:pt x="1353" y="52"/>
                    <a:pt x="1359" y="52"/>
                  </a:cubicBezTo>
                  <a:cubicBezTo>
                    <a:pt x="1365" y="52"/>
                    <a:pt x="1370" y="54"/>
                    <a:pt x="1373" y="59"/>
                  </a:cubicBezTo>
                  <a:cubicBezTo>
                    <a:pt x="1376" y="63"/>
                    <a:pt x="1377" y="70"/>
                    <a:pt x="1377" y="78"/>
                  </a:cubicBezTo>
                  <a:cubicBezTo>
                    <a:pt x="1377" y="87"/>
                    <a:pt x="1376" y="93"/>
                    <a:pt x="1373" y="98"/>
                  </a:cubicBezTo>
                  <a:cubicBezTo>
                    <a:pt x="1370" y="102"/>
                    <a:pt x="1365" y="104"/>
                    <a:pt x="1359" y="104"/>
                  </a:cubicBezTo>
                  <a:cubicBezTo>
                    <a:pt x="1353" y="104"/>
                    <a:pt x="1348" y="102"/>
                    <a:pt x="1345" y="98"/>
                  </a:cubicBezTo>
                  <a:cubicBezTo>
                    <a:pt x="1342" y="93"/>
                    <a:pt x="1341" y="87"/>
                    <a:pt x="1341" y="78"/>
                  </a:cubicBezTo>
                  <a:cubicBezTo>
                    <a:pt x="1341" y="70"/>
                    <a:pt x="1342" y="63"/>
                    <a:pt x="1345" y="59"/>
                  </a:cubicBezTo>
                  <a:moveTo>
                    <a:pt x="1396" y="54"/>
                  </a:moveTo>
                  <a:cubicBezTo>
                    <a:pt x="1392" y="47"/>
                    <a:pt x="1387" y="42"/>
                    <a:pt x="1381" y="38"/>
                  </a:cubicBezTo>
                  <a:cubicBezTo>
                    <a:pt x="1375" y="35"/>
                    <a:pt x="1367" y="33"/>
                    <a:pt x="1359" y="33"/>
                  </a:cubicBezTo>
                  <a:cubicBezTo>
                    <a:pt x="1346" y="33"/>
                    <a:pt x="1336" y="37"/>
                    <a:pt x="1328" y="45"/>
                  </a:cubicBezTo>
                  <a:cubicBezTo>
                    <a:pt x="1320" y="53"/>
                    <a:pt x="1317" y="64"/>
                    <a:pt x="1317" y="78"/>
                  </a:cubicBezTo>
                  <a:cubicBezTo>
                    <a:pt x="1317" y="88"/>
                    <a:pt x="1318" y="96"/>
                    <a:pt x="1322" y="103"/>
                  </a:cubicBezTo>
                  <a:cubicBezTo>
                    <a:pt x="1326" y="110"/>
                    <a:pt x="1331" y="115"/>
                    <a:pt x="1337" y="118"/>
                  </a:cubicBezTo>
                  <a:cubicBezTo>
                    <a:pt x="1343" y="122"/>
                    <a:pt x="1351" y="124"/>
                    <a:pt x="1359" y="124"/>
                  </a:cubicBezTo>
                  <a:cubicBezTo>
                    <a:pt x="1372" y="124"/>
                    <a:pt x="1382" y="120"/>
                    <a:pt x="1390" y="112"/>
                  </a:cubicBezTo>
                  <a:cubicBezTo>
                    <a:pt x="1397" y="104"/>
                    <a:pt x="1401" y="93"/>
                    <a:pt x="1401" y="78"/>
                  </a:cubicBezTo>
                  <a:cubicBezTo>
                    <a:pt x="1401" y="69"/>
                    <a:pt x="1399" y="60"/>
                    <a:pt x="1396" y="54"/>
                  </a:cubicBezTo>
                  <a:moveTo>
                    <a:pt x="1282" y="102"/>
                  </a:moveTo>
                  <a:cubicBezTo>
                    <a:pt x="1280" y="100"/>
                    <a:pt x="1279" y="98"/>
                    <a:pt x="1279" y="95"/>
                  </a:cubicBezTo>
                  <a:cubicBezTo>
                    <a:pt x="1279" y="53"/>
                    <a:pt x="1279" y="53"/>
                    <a:pt x="1279" y="53"/>
                  </a:cubicBezTo>
                  <a:cubicBezTo>
                    <a:pt x="1303" y="53"/>
                    <a:pt x="1303" y="53"/>
                    <a:pt x="1303" y="53"/>
                  </a:cubicBezTo>
                  <a:cubicBezTo>
                    <a:pt x="1303" y="35"/>
                    <a:pt x="1303" y="35"/>
                    <a:pt x="1303" y="35"/>
                  </a:cubicBezTo>
                  <a:cubicBezTo>
                    <a:pt x="1279" y="35"/>
                    <a:pt x="1279" y="35"/>
                    <a:pt x="1279" y="35"/>
                  </a:cubicBezTo>
                  <a:cubicBezTo>
                    <a:pt x="1279" y="16"/>
                    <a:pt x="1279" y="16"/>
                    <a:pt x="1279" y="16"/>
                  </a:cubicBezTo>
                  <a:cubicBezTo>
                    <a:pt x="1264" y="16"/>
                    <a:pt x="1264" y="16"/>
                    <a:pt x="1264" y="16"/>
                  </a:cubicBezTo>
                  <a:cubicBezTo>
                    <a:pt x="1257" y="35"/>
                    <a:pt x="1257" y="35"/>
                    <a:pt x="1257" y="35"/>
                  </a:cubicBezTo>
                  <a:cubicBezTo>
                    <a:pt x="1244" y="43"/>
                    <a:pt x="1244" y="43"/>
                    <a:pt x="1244" y="43"/>
                  </a:cubicBezTo>
                  <a:cubicBezTo>
                    <a:pt x="1244" y="53"/>
                    <a:pt x="1244" y="53"/>
                    <a:pt x="1244" y="53"/>
                  </a:cubicBezTo>
                  <a:cubicBezTo>
                    <a:pt x="1255" y="53"/>
                    <a:pt x="1255" y="53"/>
                    <a:pt x="1255" y="53"/>
                  </a:cubicBezTo>
                  <a:cubicBezTo>
                    <a:pt x="1255" y="95"/>
                    <a:pt x="1255" y="95"/>
                    <a:pt x="1255" y="95"/>
                  </a:cubicBezTo>
                  <a:cubicBezTo>
                    <a:pt x="1255" y="102"/>
                    <a:pt x="1256" y="108"/>
                    <a:pt x="1259" y="112"/>
                  </a:cubicBezTo>
                  <a:cubicBezTo>
                    <a:pt x="1261" y="116"/>
                    <a:pt x="1264" y="119"/>
                    <a:pt x="1268" y="121"/>
                  </a:cubicBezTo>
                  <a:cubicBezTo>
                    <a:pt x="1272" y="123"/>
                    <a:pt x="1277" y="124"/>
                    <a:pt x="1282" y="124"/>
                  </a:cubicBezTo>
                  <a:cubicBezTo>
                    <a:pt x="1287" y="124"/>
                    <a:pt x="1291" y="123"/>
                    <a:pt x="1295" y="123"/>
                  </a:cubicBezTo>
                  <a:cubicBezTo>
                    <a:pt x="1299" y="122"/>
                    <a:pt x="1302" y="121"/>
                    <a:pt x="1304" y="120"/>
                  </a:cubicBezTo>
                  <a:cubicBezTo>
                    <a:pt x="1304" y="102"/>
                    <a:pt x="1304" y="102"/>
                    <a:pt x="1304" y="102"/>
                  </a:cubicBezTo>
                  <a:cubicBezTo>
                    <a:pt x="1302" y="103"/>
                    <a:pt x="1299" y="103"/>
                    <a:pt x="1297" y="104"/>
                  </a:cubicBezTo>
                  <a:cubicBezTo>
                    <a:pt x="1294" y="104"/>
                    <a:pt x="1292" y="105"/>
                    <a:pt x="1289" y="105"/>
                  </a:cubicBezTo>
                  <a:cubicBezTo>
                    <a:pt x="1286" y="105"/>
                    <a:pt x="1284" y="104"/>
                    <a:pt x="1282" y="102"/>
                  </a:cubicBezTo>
                  <a:moveTo>
                    <a:pt x="1165" y="55"/>
                  </a:moveTo>
                  <a:cubicBezTo>
                    <a:pt x="1168" y="59"/>
                    <a:pt x="1169" y="63"/>
                    <a:pt x="1169" y="68"/>
                  </a:cubicBezTo>
                  <a:cubicBezTo>
                    <a:pt x="1136" y="68"/>
                    <a:pt x="1136" y="68"/>
                    <a:pt x="1136" y="68"/>
                  </a:cubicBezTo>
                  <a:cubicBezTo>
                    <a:pt x="1136" y="62"/>
                    <a:pt x="1138" y="58"/>
                    <a:pt x="1141" y="55"/>
                  </a:cubicBezTo>
                  <a:cubicBezTo>
                    <a:pt x="1144" y="52"/>
                    <a:pt x="1148" y="50"/>
                    <a:pt x="1152" y="50"/>
                  </a:cubicBezTo>
                  <a:cubicBezTo>
                    <a:pt x="1158" y="50"/>
                    <a:pt x="1162" y="52"/>
                    <a:pt x="1165" y="55"/>
                  </a:cubicBezTo>
                  <a:moveTo>
                    <a:pt x="1131" y="38"/>
                  </a:moveTo>
                  <a:cubicBezTo>
                    <a:pt x="1124" y="42"/>
                    <a:pt x="1120" y="47"/>
                    <a:pt x="1116" y="54"/>
                  </a:cubicBezTo>
                  <a:cubicBezTo>
                    <a:pt x="1113" y="60"/>
                    <a:pt x="1111" y="69"/>
                    <a:pt x="1111" y="79"/>
                  </a:cubicBezTo>
                  <a:cubicBezTo>
                    <a:pt x="1111" y="89"/>
                    <a:pt x="1113" y="97"/>
                    <a:pt x="1117" y="104"/>
                  </a:cubicBezTo>
                  <a:cubicBezTo>
                    <a:pt x="1121" y="111"/>
                    <a:pt x="1126" y="116"/>
                    <a:pt x="1133" y="119"/>
                  </a:cubicBezTo>
                  <a:cubicBezTo>
                    <a:pt x="1139" y="122"/>
                    <a:pt x="1147" y="124"/>
                    <a:pt x="1156" y="124"/>
                  </a:cubicBezTo>
                  <a:cubicBezTo>
                    <a:pt x="1163" y="124"/>
                    <a:pt x="1168" y="123"/>
                    <a:pt x="1173" y="122"/>
                  </a:cubicBezTo>
                  <a:cubicBezTo>
                    <a:pt x="1178" y="121"/>
                    <a:pt x="1182" y="120"/>
                    <a:pt x="1187" y="117"/>
                  </a:cubicBezTo>
                  <a:cubicBezTo>
                    <a:pt x="1187" y="99"/>
                    <a:pt x="1187" y="99"/>
                    <a:pt x="1187" y="99"/>
                  </a:cubicBezTo>
                  <a:cubicBezTo>
                    <a:pt x="1182" y="101"/>
                    <a:pt x="1177" y="103"/>
                    <a:pt x="1172" y="104"/>
                  </a:cubicBezTo>
                  <a:cubicBezTo>
                    <a:pt x="1168" y="105"/>
                    <a:pt x="1162" y="106"/>
                    <a:pt x="1157" y="106"/>
                  </a:cubicBezTo>
                  <a:cubicBezTo>
                    <a:pt x="1150" y="106"/>
                    <a:pt x="1145" y="104"/>
                    <a:pt x="1141" y="100"/>
                  </a:cubicBezTo>
                  <a:cubicBezTo>
                    <a:pt x="1137" y="96"/>
                    <a:pt x="1135" y="91"/>
                    <a:pt x="1135" y="84"/>
                  </a:cubicBezTo>
                  <a:cubicBezTo>
                    <a:pt x="1191" y="84"/>
                    <a:pt x="1191" y="84"/>
                    <a:pt x="1191" y="84"/>
                  </a:cubicBezTo>
                  <a:cubicBezTo>
                    <a:pt x="1191" y="73"/>
                    <a:pt x="1191" y="73"/>
                    <a:pt x="1191" y="73"/>
                  </a:cubicBezTo>
                  <a:cubicBezTo>
                    <a:pt x="1191" y="60"/>
                    <a:pt x="1188" y="50"/>
                    <a:pt x="1181" y="43"/>
                  </a:cubicBezTo>
                  <a:cubicBezTo>
                    <a:pt x="1174" y="37"/>
                    <a:pt x="1164" y="33"/>
                    <a:pt x="1152" y="33"/>
                  </a:cubicBezTo>
                  <a:cubicBezTo>
                    <a:pt x="1144" y="33"/>
                    <a:pt x="1137" y="35"/>
                    <a:pt x="1131" y="38"/>
                  </a:cubicBezTo>
                  <a:moveTo>
                    <a:pt x="1065" y="59"/>
                  </a:moveTo>
                  <a:cubicBezTo>
                    <a:pt x="1068" y="63"/>
                    <a:pt x="1069" y="69"/>
                    <a:pt x="1069" y="79"/>
                  </a:cubicBezTo>
                  <a:cubicBezTo>
                    <a:pt x="1069" y="82"/>
                    <a:pt x="1069" y="82"/>
                    <a:pt x="1069" y="82"/>
                  </a:cubicBezTo>
                  <a:cubicBezTo>
                    <a:pt x="1069" y="90"/>
                    <a:pt x="1068" y="96"/>
                    <a:pt x="1065" y="100"/>
                  </a:cubicBezTo>
                  <a:cubicBezTo>
                    <a:pt x="1062" y="103"/>
                    <a:pt x="1057" y="105"/>
                    <a:pt x="1051" y="105"/>
                  </a:cubicBezTo>
                  <a:cubicBezTo>
                    <a:pt x="1040" y="105"/>
                    <a:pt x="1034" y="96"/>
                    <a:pt x="1034" y="79"/>
                  </a:cubicBezTo>
                  <a:cubicBezTo>
                    <a:pt x="1034" y="61"/>
                    <a:pt x="1040" y="52"/>
                    <a:pt x="1051" y="52"/>
                  </a:cubicBezTo>
                  <a:cubicBezTo>
                    <a:pt x="1057" y="52"/>
                    <a:pt x="1062" y="54"/>
                    <a:pt x="1065" y="59"/>
                  </a:cubicBezTo>
                  <a:moveTo>
                    <a:pt x="1019" y="45"/>
                  </a:moveTo>
                  <a:cubicBezTo>
                    <a:pt x="1013" y="53"/>
                    <a:pt x="1010" y="64"/>
                    <a:pt x="1010" y="79"/>
                  </a:cubicBezTo>
                  <a:cubicBezTo>
                    <a:pt x="1010" y="93"/>
                    <a:pt x="1013" y="104"/>
                    <a:pt x="1018" y="112"/>
                  </a:cubicBezTo>
                  <a:cubicBezTo>
                    <a:pt x="1024" y="120"/>
                    <a:pt x="1032" y="124"/>
                    <a:pt x="1043" y="124"/>
                  </a:cubicBezTo>
                  <a:cubicBezTo>
                    <a:pt x="1048" y="124"/>
                    <a:pt x="1053" y="123"/>
                    <a:pt x="1057" y="121"/>
                  </a:cubicBezTo>
                  <a:cubicBezTo>
                    <a:pt x="1061" y="119"/>
                    <a:pt x="1064" y="115"/>
                    <a:pt x="1067" y="111"/>
                  </a:cubicBezTo>
                  <a:cubicBezTo>
                    <a:pt x="1068" y="111"/>
                    <a:pt x="1068" y="111"/>
                    <a:pt x="1068" y="111"/>
                  </a:cubicBezTo>
                  <a:cubicBezTo>
                    <a:pt x="1068" y="112"/>
                    <a:pt x="1068" y="114"/>
                    <a:pt x="1068" y="116"/>
                  </a:cubicBezTo>
                  <a:cubicBezTo>
                    <a:pt x="1068" y="118"/>
                    <a:pt x="1067" y="120"/>
                    <a:pt x="1067" y="121"/>
                  </a:cubicBezTo>
                  <a:cubicBezTo>
                    <a:pt x="1067" y="123"/>
                    <a:pt x="1067" y="123"/>
                    <a:pt x="1067" y="123"/>
                  </a:cubicBezTo>
                  <a:cubicBezTo>
                    <a:pt x="1067" y="136"/>
                    <a:pt x="1061" y="143"/>
                    <a:pt x="1049" y="143"/>
                  </a:cubicBezTo>
                  <a:cubicBezTo>
                    <a:pt x="1037" y="143"/>
                    <a:pt x="1026" y="141"/>
                    <a:pt x="1015" y="136"/>
                  </a:cubicBezTo>
                  <a:cubicBezTo>
                    <a:pt x="1015" y="155"/>
                    <a:pt x="1015" y="155"/>
                    <a:pt x="1015" y="155"/>
                  </a:cubicBezTo>
                  <a:cubicBezTo>
                    <a:pt x="1020" y="157"/>
                    <a:pt x="1025" y="159"/>
                    <a:pt x="1030" y="159"/>
                  </a:cubicBezTo>
                  <a:cubicBezTo>
                    <a:pt x="1036" y="160"/>
                    <a:pt x="1041" y="160"/>
                    <a:pt x="1048" y="160"/>
                  </a:cubicBezTo>
                  <a:cubicBezTo>
                    <a:pt x="1062" y="160"/>
                    <a:pt x="1073" y="157"/>
                    <a:pt x="1080" y="151"/>
                  </a:cubicBezTo>
                  <a:cubicBezTo>
                    <a:pt x="1088" y="144"/>
                    <a:pt x="1091" y="135"/>
                    <a:pt x="1091" y="122"/>
                  </a:cubicBezTo>
                  <a:cubicBezTo>
                    <a:pt x="1091" y="35"/>
                    <a:pt x="1091" y="35"/>
                    <a:pt x="1091" y="35"/>
                  </a:cubicBezTo>
                  <a:cubicBezTo>
                    <a:pt x="1071" y="35"/>
                    <a:pt x="1071" y="35"/>
                    <a:pt x="1071" y="35"/>
                  </a:cubicBezTo>
                  <a:cubicBezTo>
                    <a:pt x="1069" y="46"/>
                    <a:pt x="1069" y="46"/>
                    <a:pt x="1069" y="46"/>
                  </a:cubicBezTo>
                  <a:cubicBezTo>
                    <a:pt x="1069" y="46"/>
                    <a:pt x="1069" y="46"/>
                    <a:pt x="1069" y="46"/>
                  </a:cubicBezTo>
                  <a:cubicBezTo>
                    <a:pt x="1063" y="37"/>
                    <a:pt x="1054" y="33"/>
                    <a:pt x="1043" y="33"/>
                  </a:cubicBezTo>
                  <a:cubicBezTo>
                    <a:pt x="1033" y="33"/>
                    <a:pt x="1025" y="37"/>
                    <a:pt x="1019" y="45"/>
                  </a:cubicBezTo>
                  <a:moveTo>
                    <a:pt x="944" y="36"/>
                  </a:moveTo>
                  <a:cubicBezTo>
                    <a:pt x="939" y="38"/>
                    <a:pt x="935" y="41"/>
                    <a:pt x="933" y="46"/>
                  </a:cubicBezTo>
                  <a:cubicBezTo>
                    <a:pt x="931" y="46"/>
                    <a:pt x="931" y="46"/>
                    <a:pt x="931" y="46"/>
                  </a:cubicBezTo>
                  <a:cubicBezTo>
                    <a:pt x="928" y="35"/>
                    <a:pt x="928" y="35"/>
                    <a:pt x="928" y="35"/>
                  </a:cubicBezTo>
                  <a:cubicBezTo>
                    <a:pt x="910" y="35"/>
                    <a:pt x="910" y="35"/>
                    <a:pt x="910" y="35"/>
                  </a:cubicBezTo>
                  <a:cubicBezTo>
                    <a:pt x="910" y="122"/>
                    <a:pt x="910" y="122"/>
                    <a:pt x="910" y="122"/>
                  </a:cubicBezTo>
                  <a:cubicBezTo>
                    <a:pt x="934" y="122"/>
                    <a:pt x="934" y="122"/>
                    <a:pt x="934" y="122"/>
                  </a:cubicBezTo>
                  <a:cubicBezTo>
                    <a:pt x="934" y="81"/>
                    <a:pt x="934" y="81"/>
                    <a:pt x="934" y="81"/>
                  </a:cubicBezTo>
                  <a:cubicBezTo>
                    <a:pt x="934" y="72"/>
                    <a:pt x="935" y="65"/>
                    <a:pt x="938" y="60"/>
                  </a:cubicBezTo>
                  <a:cubicBezTo>
                    <a:pt x="940" y="55"/>
                    <a:pt x="945" y="52"/>
                    <a:pt x="953" y="52"/>
                  </a:cubicBezTo>
                  <a:cubicBezTo>
                    <a:pt x="958" y="52"/>
                    <a:pt x="961" y="54"/>
                    <a:pt x="963" y="57"/>
                  </a:cubicBezTo>
                  <a:cubicBezTo>
                    <a:pt x="966" y="60"/>
                    <a:pt x="967" y="65"/>
                    <a:pt x="967" y="71"/>
                  </a:cubicBezTo>
                  <a:cubicBezTo>
                    <a:pt x="967" y="122"/>
                    <a:pt x="967" y="122"/>
                    <a:pt x="967" y="122"/>
                  </a:cubicBezTo>
                  <a:cubicBezTo>
                    <a:pt x="991" y="122"/>
                    <a:pt x="991" y="122"/>
                    <a:pt x="991" y="122"/>
                  </a:cubicBezTo>
                  <a:cubicBezTo>
                    <a:pt x="991" y="65"/>
                    <a:pt x="991" y="65"/>
                    <a:pt x="991" y="65"/>
                  </a:cubicBezTo>
                  <a:cubicBezTo>
                    <a:pt x="991" y="54"/>
                    <a:pt x="988" y="46"/>
                    <a:pt x="982" y="41"/>
                  </a:cubicBezTo>
                  <a:cubicBezTo>
                    <a:pt x="976" y="36"/>
                    <a:pt x="969" y="33"/>
                    <a:pt x="959" y="33"/>
                  </a:cubicBezTo>
                  <a:cubicBezTo>
                    <a:pt x="954" y="33"/>
                    <a:pt x="949" y="34"/>
                    <a:pt x="944" y="36"/>
                  </a:cubicBezTo>
                  <a:moveTo>
                    <a:pt x="862" y="89"/>
                  </a:moveTo>
                  <a:cubicBezTo>
                    <a:pt x="862" y="94"/>
                    <a:pt x="860" y="99"/>
                    <a:pt x="856" y="102"/>
                  </a:cubicBezTo>
                  <a:cubicBezTo>
                    <a:pt x="853" y="105"/>
                    <a:pt x="849" y="106"/>
                    <a:pt x="843" y="106"/>
                  </a:cubicBezTo>
                  <a:cubicBezTo>
                    <a:pt x="840" y="106"/>
                    <a:pt x="837" y="105"/>
                    <a:pt x="835" y="104"/>
                  </a:cubicBezTo>
                  <a:cubicBezTo>
                    <a:pt x="833" y="102"/>
                    <a:pt x="832" y="100"/>
                    <a:pt x="832" y="96"/>
                  </a:cubicBezTo>
                  <a:cubicBezTo>
                    <a:pt x="832" y="92"/>
                    <a:pt x="833" y="89"/>
                    <a:pt x="836" y="86"/>
                  </a:cubicBezTo>
                  <a:cubicBezTo>
                    <a:pt x="839" y="83"/>
                    <a:pt x="845" y="82"/>
                    <a:pt x="852" y="82"/>
                  </a:cubicBezTo>
                  <a:cubicBezTo>
                    <a:pt x="862" y="82"/>
                    <a:pt x="862" y="82"/>
                    <a:pt x="862" y="82"/>
                  </a:cubicBezTo>
                  <a:lnTo>
                    <a:pt x="862" y="89"/>
                  </a:lnTo>
                  <a:close/>
                  <a:moveTo>
                    <a:pt x="831" y="35"/>
                  </a:moveTo>
                  <a:cubicBezTo>
                    <a:pt x="825" y="37"/>
                    <a:pt x="820" y="38"/>
                    <a:pt x="816" y="41"/>
                  </a:cubicBezTo>
                  <a:cubicBezTo>
                    <a:pt x="823" y="57"/>
                    <a:pt x="823" y="57"/>
                    <a:pt x="823" y="57"/>
                  </a:cubicBezTo>
                  <a:cubicBezTo>
                    <a:pt x="828" y="55"/>
                    <a:pt x="832" y="54"/>
                    <a:pt x="836" y="52"/>
                  </a:cubicBezTo>
                  <a:cubicBezTo>
                    <a:pt x="840" y="51"/>
                    <a:pt x="844" y="51"/>
                    <a:pt x="848" y="51"/>
                  </a:cubicBezTo>
                  <a:cubicBezTo>
                    <a:pt x="852" y="51"/>
                    <a:pt x="856" y="52"/>
                    <a:pt x="858" y="54"/>
                  </a:cubicBezTo>
                  <a:cubicBezTo>
                    <a:pt x="861" y="56"/>
                    <a:pt x="862" y="59"/>
                    <a:pt x="862" y="64"/>
                  </a:cubicBezTo>
                  <a:cubicBezTo>
                    <a:pt x="862" y="68"/>
                    <a:pt x="862" y="68"/>
                    <a:pt x="862" y="68"/>
                  </a:cubicBezTo>
                  <a:cubicBezTo>
                    <a:pt x="847" y="68"/>
                    <a:pt x="847" y="68"/>
                    <a:pt x="847" y="68"/>
                  </a:cubicBezTo>
                  <a:cubicBezTo>
                    <a:pt x="834" y="69"/>
                    <a:pt x="824" y="71"/>
                    <a:pt x="817" y="75"/>
                  </a:cubicBezTo>
                  <a:cubicBezTo>
                    <a:pt x="811" y="80"/>
                    <a:pt x="807" y="87"/>
                    <a:pt x="807" y="96"/>
                  </a:cubicBezTo>
                  <a:cubicBezTo>
                    <a:pt x="807" y="105"/>
                    <a:pt x="810" y="112"/>
                    <a:pt x="815" y="117"/>
                  </a:cubicBezTo>
                  <a:cubicBezTo>
                    <a:pt x="820" y="121"/>
                    <a:pt x="827" y="124"/>
                    <a:pt x="835" y="124"/>
                  </a:cubicBezTo>
                  <a:cubicBezTo>
                    <a:pt x="842" y="124"/>
                    <a:pt x="847" y="123"/>
                    <a:pt x="852" y="120"/>
                  </a:cubicBezTo>
                  <a:cubicBezTo>
                    <a:pt x="856" y="118"/>
                    <a:pt x="860" y="115"/>
                    <a:pt x="863" y="110"/>
                  </a:cubicBezTo>
                  <a:cubicBezTo>
                    <a:pt x="864" y="110"/>
                    <a:pt x="864" y="110"/>
                    <a:pt x="864" y="110"/>
                  </a:cubicBezTo>
                  <a:cubicBezTo>
                    <a:pt x="869" y="122"/>
                    <a:pt x="869" y="122"/>
                    <a:pt x="869" y="122"/>
                  </a:cubicBezTo>
                  <a:cubicBezTo>
                    <a:pt x="885" y="122"/>
                    <a:pt x="885" y="122"/>
                    <a:pt x="885" y="122"/>
                  </a:cubicBezTo>
                  <a:cubicBezTo>
                    <a:pt x="885" y="64"/>
                    <a:pt x="885" y="64"/>
                    <a:pt x="885" y="64"/>
                  </a:cubicBezTo>
                  <a:cubicBezTo>
                    <a:pt x="885" y="53"/>
                    <a:pt x="882" y="46"/>
                    <a:pt x="876" y="41"/>
                  </a:cubicBezTo>
                  <a:cubicBezTo>
                    <a:pt x="870" y="35"/>
                    <a:pt x="861" y="33"/>
                    <a:pt x="849" y="33"/>
                  </a:cubicBezTo>
                  <a:cubicBezTo>
                    <a:pt x="843" y="33"/>
                    <a:pt x="837" y="34"/>
                    <a:pt x="831" y="35"/>
                  </a:cubicBezTo>
                  <a:moveTo>
                    <a:pt x="708" y="0"/>
                  </a:moveTo>
                  <a:cubicBezTo>
                    <a:pt x="708" y="122"/>
                    <a:pt x="708" y="122"/>
                    <a:pt x="708" y="122"/>
                  </a:cubicBezTo>
                  <a:cubicBezTo>
                    <a:pt x="732" y="122"/>
                    <a:pt x="732" y="122"/>
                    <a:pt x="732" y="122"/>
                  </a:cubicBezTo>
                  <a:cubicBezTo>
                    <a:pt x="732" y="81"/>
                    <a:pt x="732" y="81"/>
                    <a:pt x="732" y="81"/>
                  </a:cubicBezTo>
                  <a:cubicBezTo>
                    <a:pt x="732" y="72"/>
                    <a:pt x="733" y="65"/>
                    <a:pt x="736" y="60"/>
                  </a:cubicBezTo>
                  <a:cubicBezTo>
                    <a:pt x="739" y="55"/>
                    <a:pt x="744" y="52"/>
                    <a:pt x="751" y="52"/>
                  </a:cubicBezTo>
                  <a:cubicBezTo>
                    <a:pt x="760" y="52"/>
                    <a:pt x="765" y="58"/>
                    <a:pt x="765" y="71"/>
                  </a:cubicBezTo>
                  <a:cubicBezTo>
                    <a:pt x="765" y="122"/>
                    <a:pt x="765" y="122"/>
                    <a:pt x="765" y="122"/>
                  </a:cubicBezTo>
                  <a:cubicBezTo>
                    <a:pt x="789" y="122"/>
                    <a:pt x="789" y="122"/>
                    <a:pt x="789" y="122"/>
                  </a:cubicBezTo>
                  <a:cubicBezTo>
                    <a:pt x="789" y="65"/>
                    <a:pt x="789" y="65"/>
                    <a:pt x="789" y="65"/>
                  </a:cubicBezTo>
                  <a:cubicBezTo>
                    <a:pt x="789" y="54"/>
                    <a:pt x="786" y="46"/>
                    <a:pt x="780" y="41"/>
                  </a:cubicBezTo>
                  <a:cubicBezTo>
                    <a:pt x="774" y="36"/>
                    <a:pt x="767" y="33"/>
                    <a:pt x="757" y="33"/>
                  </a:cubicBezTo>
                  <a:cubicBezTo>
                    <a:pt x="752" y="33"/>
                    <a:pt x="747" y="34"/>
                    <a:pt x="743" y="36"/>
                  </a:cubicBezTo>
                  <a:cubicBezTo>
                    <a:pt x="738" y="38"/>
                    <a:pt x="735" y="41"/>
                    <a:pt x="732" y="46"/>
                  </a:cubicBezTo>
                  <a:cubicBezTo>
                    <a:pt x="731" y="46"/>
                    <a:pt x="731" y="46"/>
                    <a:pt x="731" y="46"/>
                  </a:cubicBezTo>
                  <a:cubicBezTo>
                    <a:pt x="731" y="44"/>
                    <a:pt x="731" y="42"/>
                    <a:pt x="732" y="38"/>
                  </a:cubicBezTo>
                  <a:cubicBezTo>
                    <a:pt x="732" y="34"/>
                    <a:pt x="732" y="30"/>
                    <a:pt x="732" y="25"/>
                  </a:cubicBezTo>
                  <a:cubicBezTo>
                    <a:pt x="732" y="0"/>
                    <a:pt x="732" y="0"/>
                    <a:pt x="732" y="0"/>
                  </a:cubicBezTo>
                  <a:lnTo>
                    <a:pt x="708" y="0"/>
                  </a:lnTo>
                  <a:close/>
                  <a:moveTo>
                    <a:pt x="677" y="122"/>
                  </a:moveTo>
                  <a:cubicBezTo>
                    <a:pt x="681" y="121"/>
                    <a:pt x="684" y="119"/>
                    <a:pt x="688" y="117"/>
                  </a:cubicBezTo>
                  <a:cubicBezTo>
                    <a:pt x="688" y="97"/>
                    <a:pt x="688" y="97"/>
                    <a:pt x="688" y="97"/>
                  </a:cubicBezTo>
                  <a:cubicBezTo>
                    <a:pt x="684" y="99"/>
                    <a:pt x="681" y="101"/>
                    <a:pt x="677" y="102"/>
                  </a:cubicBezTo>
                  <a:cubicBezTo>
                    <a:pt x="673" y="104"/>
                    <a:pt x="668" y="104"/>
                    <a:pt x="663" y="104"/>
                  </a:cubicBezTo>
                  <a:cubicBezTo>
                    <a:pt x="658" y="104"/>
                    <a:pt x="653" y="102"/>
                    <a:pt x="650" y="98"/>
                  </a:cubicBezTo>
                  <a:cubicBezTo>
                    <a:pt x="647" y="94"/>
                    <a:pt x="645" y="87"/>
                    <a:pt x="645" y="79"/>
                  </a:cubicBezTo>
                  <a:cubicBezTo>
                    <a:pt x="645" y="61"/>
                    <a:pt x="651" y="52"/>
                    <a:pt x="663" y="52"/>
                  </a:cubicBezTo>
                  <a:cubicBezTo>
                    <a:pt x="667" y="52"/>
                    <a:pt x="670" y="53"/>
                    <a:pt x="673" y="54"/>
                  </a:cubicBezTo>
                  <a:cubicBezTo>
                    <a:pt x="676" y="55"/>
                    <a:pt x="680" y="56"/>
                    <a:pt x="684" y="57"/>
                  </a:cubicBezTo>
                  <a:cubicBezTo>
                    <a:pt x="691" y="39"/>
                    <a:pt x="691" y="39"/>
                    <a:pt x="691" y="39"/>
                  </a:cubicBezTo>
                  <a:cubicBezTo>
                    <a:pt x="687" y="37"/>
                    <a:pt x="684" y="36"/>
                    <a:pt x="679" y="35"/>
                  </a:cubicBezTo>
                  <a:cubicBezTo>
                    <a:pt x="675" y="34"/>
                    <a:pt x="669" y="33"/>
                    <a:pt x="663" y="33"/>
                  </a:cubicBezTo>
                  <a:cubicBezTo>
                    <a:pt x="655" y="33"/>
                    <a:pt x="648" y="35"/>
                    <a:pt x="641" y="38"/>
                  </a:cubicBezTo>
                  <a:cubicBezTo>
                    <a:pt x="635" y="41"/>
                    <a:pt x="630" y="46"/>
                    <a:pt x="626" y="53"/>
                  </a:cubicBezTo>
                  <a:cubicBezTo>
                    <a:pt x="622" y="59"/>
                    <a:pt x="621" y="68"/>
                    <a:pt x="621" y="79"/>
                  </a:cubicBezTo>
                  <a:cubicBezTo>
                    <a:pt x="621" y="94"/>
                    <a:pt x="624" y="106"/>
                    <a:pt x="631" y="113"/>
                  </a:cubicBezTo>
                  <a:cubicBezTo>
                    <a:pt x="638" y="120"/>
                    <a:pt x="648" y="124"/>
                    <a:pt x="661" y="124"/>
                  </a:cubicBezTo>
                  <a:cubicBezTo>
                    <a:pt x="667" y="124"/>
                    <a:pt x="673" y="123"/>
                    <a:pt x="677" y="122"/>
                  </a:cubicBezTo>
                  <a:moveTo>
                    <a:pt x="533" y="59"/>
                  </a:moveTo>
                  <a:cubicBezTo>
                    <a:pt x="536" y="63"/>
                    <a:pt x="537" y="69"/>
                    <a:pt x="537" y="79"/>
                  </a:cubicBezTo>
                  <a:cubicBezTo>
                    <a:pt x="537" y="82"/>
                    <a:pt x="537" y="82"/>
                    <a:pt x="537" y="82"/>
                  </a:cubicBezTo>
                  <a:cubicBezTo>
                    <a:pt x="537" y="90"/>
                    <a:pt x="536" y="96"/>
                    <a:pt x="533" y="100"/>
                  </a:cubicBezTo>
                  <a:cubicBezTo>
                    <a:pt x="530" y="103"/>
                    <a:pt x="525" y="105"/>
                    <a:pt x="519" y="105"/>
                  </a:cubicBezTo>
                  <a:cubicBezTo>
                    <a:pt x="508" y="105"/>
                    <a:pt x="502" y="96"/>
                    <a:pt x="502" y="79"/>
                  </a:cubicBezTo>
                  <a:cubicBezTo>
                    <a:pt x="502" y="61"/>
                    <a:pt x="508" y="52"/>
                    <a:pt x="519" y="52"/>
                  </a:cubicBezTo>
                  <a:cubicBezTo>
                    <a:pt x="525" y="52"/>
                    <a:pt x="530" y="54"/>
                    <a:pt x="533" y="59"/>
                  </a:cubicBezTo>
                  <a:moveTo>
                    <a:pt x="487" y="45"/>
                  </a:moveTo>
                  <a:cubicBezTo>
                    <a:pt x="481" y="53"/>
                    <a:pt x="478" y="64"/>
                    <a:pt x="478" y="79"/>
                  </a:cubicBezTo>
                  <a:cubicBezTo>
                    <a:pt x="478" y="93"/>
                    <a:pt x="481" y="104"/>
                    <a:pt x="486" y="112"/>
                  </a:cubicBezTo>
                  <a:cubicBezTo>
                    <a:pt x="492" y="120"/>
                    <a:pt x="500" y="124"/>
                    <a:pt x="511" y="124"/>
                  </a:cubicBezTo>
                  <a:cubicBezTo>
                    <a:pt x="516" y="124"/>
                    <a:pt x="521" y="123"/>
                    <a:pt x="525" y="121"/>
                  </a:cubicBezTo>
                  <a:cubicBezTo>
                    <a:pt x="529" y="119"/>
                    <a:pt x="532" y="115"/>
                    <a:pt x="535" y="111"/>
                  </a:cubicBezTo>
                  <a:cubicBezTo>
                    <a:pt x="536" y="111"/>
                    <a:pt x="536" y="111"/>
                    <a:pt x="536" y="111"/>
                  </a:cubicBezTo>
                  <a:cubicBezTo>
                    <a:pt x="536" y="112"/>
                    <a:pt x="536" y="114"/>
                    <a:pt x="536" y="116"/>
                  </a:cubicBezTo>
                  <a:cubicBezTo>
                    <a:pt x="536" y="118"/>
                    <a:pt x="535" y="120"/>
                    <a:pt x="535" y="121"/>
                  </a:cubicBezTo>
                  <a:cubicBezTo>
                    <a:pt x="535" y="123"/>
                    <a:pt x="535" y="123"/>
                    <a:pt x="535" y="123"/>
                  </a:cubicBezTo>
                  <a:cubicBezTo>
                    <a:pt x="535" y="136"/>
                    <a:pt x="529" y="143"/>
                    <a:pt x="517" y="143"/>
                  </a:cubicBezTo>
                  <a:cubicBezTo>
                    <a:pt x="505" y="143"/>
                    <a:pt x="494" y="141"/>
                    <a:pt x="483" y="136"/>
                  </a:cubicBezTo>
                  <a:cubicBezTo>
                    <a:pt x="483" y="155"/>
                    <a:pt x="483" y="155"/>
                    <a:pt x="483" y="155"/>
                  </a:cubicBezTo>
                  <a:cubicBezTo>
                    <a:pt x="488" y="157"/>
                    <a:pt x="493" y="159"/>
                    <a:pt x="498" y="159"/>
                  </a:cubicBezTo>
                  <a:cubicBezTo>
                    <a:pt x="504" y="160"/>
                    <a:pt x="509" y="160"/>
                    <a:pt x="516" y="160"/>
                  </a:cubicBezTo>
                  <a:cubicBezTo>
                    <a:pt x="530" y="160"/>
                    <a:pt x="541" y="157"/>
                    <a:pt x="548" y="151"/>
                  </a:cubicBezTo>
                  <a:cubicBezTo>
                    <a:pt x="556" y="144"/>
                    <a:pt x="559" y="135"/>
                    <a:pt x="559" y="122"/>
                  </a:cubicBezTo>
                  <a:cubicBezTo>
                    <a:pt x="559" y="35"/>
                    <a:pt x="559" y="35"/>
                    <a:pt x="559" y="35"/>
                  </a:cubicBezTo>
                  <a:cubicBezTo>
                    <a:pt x="539" y="35"/>
                    <a:pt x="539" y="35"/>
                    <a:pt x="539" y="35"/>
                  </a:cubicBezTo>
                  <a:cubicBezTo>
                    <a:pt x="537" y="46"/>
                    <a:pt x="537" y="46"/>
                    <a:pt x="537" y="46"/>
                  </a:cubicBezTo>
                  <a:cubicBezTo>
                    <a:pt x="537" y="46"/>
                    <a:pt x="537" y="46"/>
                    <a:pt x="537" y="46"/>
                  </a:cubicBezTo>
                  <a:cubicBezTo>
                    <a:pt x="531" y="37"/>
                    <a:pt x="522" y="33"/>
                    <a:pt x="511" y="33"/>
                  </a:cubicBezTo>
                  <a:cubicBezTo>
                    <a:pt x="501" y="33"/>
                    <a:pt x="493" y="37"/>
                    <a:pt x="487" y="45"/>
                  </a:cubicBezTo>
                  <a:moveTo>
                    <a:pt x="412" y="36"/>
                  </a:moveTo>
                  <a:cubicBezTo>
                    <a:pt x="407" y="38"/>
                    <a:pt x="403" y="41"/>
                    <a:pt x="401" y="46"/>
                  </a:cubicBezTo>
                  <a:cubicBezTo>
                    <a:pt x="399" y="46"/>
                    <a:pt x="399" y="46"/>
                    <a:pt x="399" y="46"/>
                  </a:cubicBezTo>
                  <a:cubicBezTo>
                    <a:pt x="396" y="35"/>
                    <a:pt x="396" y="35"/>
                    <a:pt x="396" y="35"/>
                  </a:cubicBezTo>
                  <a:cubicBezTo>
                    <a:pt x="378" y="35"/>
                    <a:pt x="378" y="35"/>
                    <a:pt x="378" y="35"/>
                  </a:cubicBezTo>
                  <a:cubicBezTo>
                    <a:pt x="378" y="122"/>
                    <a:pt x="378" y="122"/>
                    <a:pt x="378" y="122"/>
                  </a:cubicBezTo>
                  <a:cubicBezTo>
                    <a:pt x="402" y="122"/>
                    <a:pt x="402" y="122"/>
                    <a:pt x="402" y="122"/>
                  </a:cubicBezTo>
                  <a:cubicBezTo>
                    <a:pt x="402" y="81"/>
                    <a:pt x="402" y="81"/>
                    <a:pt x="402" y="81"/>
                  </a:cubicBezTo>
                  <a:cubicBezTo>
                    <a:pt x="402" y="72"/>
                    <a:pt x="403" y="65"/>
                    <a:pt x="406" y="60"/>
                  </a:cubicBezTo>
                  <a:cubicBezTo>
                    <a:pt x="408" y="55"/>
                    <a:pt x="413" y="52"/>
                    <a:pt x="421" y="52"/>
                  </a:cubicBezTo>
                  <a:cubicBezTo>
                    <a:pt x="426" y="52"/>
                    <a:pt x="429" y="54"/>
                    <a:pt x="431" y="57"/>
                  </a:cubicBezTo>
                  <a:cubicBezTo>
                    <a:pt x="434" y="60"/>
                    <a:pt x="435" y="65"/>
                    <a:pt x="435" y="71"/>
                  </a:cubicBezTo>
                  <a:cubicBezTo>
                    <a:pt x="435" y="122"/>
                    <a:pt x="435" y="122"/>
                    <a:pt x="435" y="122"/>
                  </a:cubicBezTo>
                  <a:cubicBezTo>
                    <a:pt x="459" y="122"/>
                    <a:pt x="459" y="122"/>
                    <a:pt x="459" y="122"/>
                  </a:cubicBezTo>
                  <a:cubicBezTo>
                    <a:pt x="459" y="65"/>
                    <a:pt x="459" y="65"/>
                    <a:pt x="459" y="65"/>
                  </a:cubicBezTo>
                  <a:cubicBezTo>
                    <a:pt x="459" y="54"/>
                    <a:pt x="456" y="46"/>
                    <a:pt x="450" y="41"/>
                  </a:cubicBezTo>
                  <a:cubicBezTo>
                    <a:pt x="444" y="36"/>
                    <a:pt x="437" y="33"/>
                    <a:pt x="427" y="33"/>
                  </a:cubicBezTo>
                  <a:cubicBezTo>
                    <a:pt x="422" y="33"/>
                    <a:pt x="417" y="34"/>
                    <a:pt x="412" y="36"/>
                  </a:cubicBezTo>
                  <a:moveTo>
                    <a:pt x="329" y="122"/>
                  </a:moveTo>
                  <a:cubicBezTo>
                    <a:pt x="353" y="122"/>
                    <a:pt x="353" y="122"/>
                    <a:pt x="353" y="122"/>
                  </a:cubicBezTo>
                  <a:cubicBezTo>
                    <a:pt x="353" y="35"/>
                    <a:pt x="353" y="35"/>
                    <a:pt x="353" y="35"/>
                  </a:cubicBezTo>
                  <a:cubicBezTo>
                    <a:pt x="329" y="35"/>
                    <a:pt x="329" y="35"/>
                    <a:pt x="329" y="35"/>
                  </a:cubicBezTo>
                  <a:lnTo>
                    <a:pt x="329" y="122"/>
                  </a:lnTo>
                  <a:close/>
                  <a:moveTo>
                    <a:pt x="332" y="3"/>
                  </a:moveTo>
                  <a:cubicBezTo>
                    <a:pt x="329" y="5"/>
                    <a:pt x="328" y="8"/>
                    <a:pt x="328" y="12"/>
                  </a:cubicBezTo>
                  <a:cubicBezTo>
                    <a:pt x="328" y="16"/>
                    <a:pt x="329" y="20"/>
                    <a:pt x="332" y="21"/>
                  </a:cubicBezTo>
                  <a:cubicBezTo>
                    <a:pt x="334" y="23"/>
                    <a:pt x="337" y="24"/>
                    <a:pt x="341" y="24"/>
                  </a:cubicBezTo>
                  <a:cubicBezTo>
                    <a:pt x="345" y="24"/>
                    <a:pt x="348" y="23"/>
                    <a:pt x="350" y="21"/>
                  </a:cubicBezTo>
                  <a:cubicBezTo>
                    <a:pt x="353" y="20"/>
                    <a:pt x="354" y="16"/>
                    <a:pt x="354" y="12"/>
                  </a:cubicBezTo>
                  <a:cubicBezTo>
                    <a:pt x="354" y="8"/>
                    <a:pt x="353" y="5"/>
                    <a:pt x="350" y="3"/>
                  </a:cubicBezTo>
                  <a:cubicBezTo>
                    <a:pt x="348" y="1"/>
                    <a:pt x="345" y="0"/>
                    <a:pt x="341" y="0"/>
                  </a:cubicBezTo>
                  <a:cubicBezTo>
                    <a:pt x="337" y="0"/>
                    <a:pt x="334" y="1"/>
                    <a:pt x="332" y="3"/>
                  </a:cubicBezTo>
                  <a:moveTo>
                    <a:pt x="283" y="122"/>
                  </a:moveTo>
                  <a:cubicBezTo>
                    <a:pt x="317" y="35"/>
                    <a:pt x="317" y="35"/>
                    <a:pt x="317" y="35"/>
                  </a:cubicBezTo>
                  <a:cubicBezTo>
                    <a:pt x="292" y="35"/>
                    <a:pt x="292" y="35"/>
                    <a:pt x="292" y="35"/>
                  </a:cubicBezTo>
                  <a:cubicBezTo>
                    <a:pt x="275" y="84"/>
                    <a:pt x="275" y="84"/>
                    <a:pt x="275" y="84"/>
                  </a:cubicBezTo>
                  <a:cubicBezTo>
                    <a:pt x="273" y="91"/>
                    <a:pt x="272" y="97"/>
                    <a:pt x="271" y="102"/>
                  </a:cubicBezTo>
                  <a:cubicBezTo>
                    <a:pt x="271" y="102"/>
                    <a:pt x="271" y="102"/>
                    <a:pt x="271" y="102"/>
                  </a:cubicBezTo>
                  <a:cubicBezTo>
                    <a:pt x="270" y="100"/>
                    <a:pt x="270" y="97"/>
                    <a:pt x="270" y="94"/>
                  </a:cubicBezTo>
                  <a:cubicBezTo>
                    <a:pt x="269" y="91"/>
                    <a:pt x="268" y="87"/>
                    <a:pt x="267" y="84"/>
                  </a:cubicBezTo>
                  <a:cubicBezTo>
                    <a:pt x="251" y="35"/>
                    <a:pt x="251" y="35"/>
                    <a:pt x="251" y="35"/>
                  </a:cubicBezTo>
                  <a:cubicBezTo>
                    <a:pt x="226" y="35"/>
                    <a:pt x="226" y="35"/>
                    <a:pt x="226" y="35"/>
                  </a:cubicBezTo>
                  <a:cubicBezTo>
                    <a:pt x="259" y="122"/>
                    <a:pt x="259" y="122"/>
                    <a:pt x="259" y="122"/>
                  </a:cubicBezTo>
                  <a:lnTo>
                    <a:pt x="283" y="122"/>
                  </a:lnTo>
                  <a:close/>
                  <a:moveTo>
                    <a:pt x="189" y="122"/>
                  </a:moveTo>
                  <a:cubicBezTo>
                    <a:pt x="213" y="122"/>
                    <a:pt x="213" y="122"/>
                    <a:pt x="213" y="122"/>
                  </a:cubicBezTo>
                  <a:cubicBezTo>
                    <a:pt x="213" y="35"/>
                    <a:pt x="213" y="35"/>
                    <a:pt x="213" y="35"/>
                  </a:cubicBezTo>
                  <a:cubicBezTo>
                    <a:pt x="189" y="35"/>
                    <a:pt x="189" y="35"/>
                    <a:pt x="189" y="35"/>
                  </a:cubicBezTo>
                  <a:lnTo>
                    <a:pt x="189" y="122"/>
                  </a:lnTo>
                  <a:close/>
                  <a:moveTo>
                    <a:pt x="192" y="3"/>
                  </a:moveTo>
                  <a:cubicBezTo>
                    <a:pt x="190" y="5"/>
                    <a:pt x="188" y="8"/>
                    <a:pt x="188" y="12"/>
                  </a:cubicBezTo>
                  <a:cubicBezTo>
                    <a:pt x="188" y="16"/>
                    <a:pt x="190" y="20"/>
                    <a:pt x="192" y="21"/>
                  </a:cubicBezTo>
                  <a:cubicBezTo>
                    <a:pt x="195" y="23"/>
                    <a:pt x="198" y="24"/>
                    <a:pt x="201" y="24"/>
                  </a:cubicBezTo>
                  <a:cubicBezTo>
                    <a:pt x="205" y="24"/>
                    <a:pt x="208" y="23"/>
                    <a:pt x="210" y="21"/>
                  </a:cubicBezTo>
                  <a:cubicBezTo>
                    <a:pt x="213" y="20"/>
                    <a:pt x="214" y="16"/>
                    <a:pt x="214" y="12"/>
                  </a:cubicBezTo>
                  <a:cubicBezTo>
                    <a:pt x="214" y="8"/>
                    <a:pt x="213" y="5"/>
                    <a:pt x="210" y="3"/>
                  </a:cubicBezTo>
                  <a:cubicBezTo>
                    <a:pt x="208" y="1"/>
                    <a:pt x="205" y="0"/>
                    <a:pt x="201" y="0"/>
                  </a:cubicBezTo>
                  <a:cubicBezTo>
                    <a:pt x="198" y="0"/>
                    <a:pt x="195" y="1"/>
                    <a:pt x="192" y="3"/>
                  </a:cubicBezTo>
                  <a:moveTo>
                    <a:pt x="150" y="38"/>
                  </a:moveTo>
                  <a:cubicBezTo>
                    <a:pt x="145" y="41"/>
                    <a:pt x="142" y="45"/>
                    <a:pt x="139" y="49"/>
                  </a:cubicBezTo>
                  <a:cubicBezTo>
                    <a:pt x="138" y="49"/>
                    <a:pt x="138" y="49"/>
                    <a:pt x="138" y="49"/>
                  </a:cubicBezTo>
                  <a:cubicBezTo>
                    <a:pt x="135" y="35"/>
                    <a:pt x="135" y="35"/>
                    <a:pt x="135" y="35"/>
                  </a:cubicBezTo>
                  <a:cubicBezTo>
                    <a:pt x="117" y="35"/>
                    <a:pt x="117" y="35"/>
                    <a:pt x="117" y="35"/>
                  </a:cubicBezTo>
                  <a:cubicBezTo>
                    <a:pt x="117" y="122"/>
                    <a:pt x="117" y="122"/>
                    <a:pt x="117" y="122"/>
                  </a:cubicBezTo>
                  <a:cubicBezTo>
                    <a:pt x="140" y="122"/>
                    <a:pt x="140" y="122"/>
                    <a:pt x="140" y="122"/>
                  </a:cubicBezTo>
                  <a:cubicBezTo>
                    <a:pt x="140" y="78"/>
                    <a:pt x="140" y="78"/>
                    <a:pt x="140" y="78"/>
                  </a:cubicBezTo>
                  <a:cubicBezTo>
                    <a:pt x="140" y="72"/>
                    <a:pt x="142" y="68"/>
                    <a:pt x="144" y="64"/>
                  </a:cubicBezTo>
                  <a:cubicBezTo>
                    <a:pt x="146" y="61"/>
                    <a:pt x="149" y="59"/>
                    <a:pt x="153" y="57"/>
                  </a:cubicBezTo>
                  <a:cubicBezTo>
                    <a:pt x="157" y="56"/>
                    <a:pt x="161" y="55"/>
                    <a:pt x="165" y="55"/>
                  </a:cubicBezTo>
                  <a:cubicBezTo>
                    <a:pt x="166" y="55"/>
                    <a:pt x="167" y="55"/>
                    <a:pt x="168" y="56"/>
                  </a:cubicBezTo>
                  <a:cubicBezTo>
                    <a:pt x="170" y="56"/>
                    <a:pt x="171" y="56"/>
                    <a:pt x="172" y="56"/>
                  </a:cubicBezTo>
                  <a:cubicBezTo>
                    <a:pt x="173" y="34"/>
                    <a:pt x="173" y="34"/>
                    <a:pt x="173" y="34"/>
                  </a:cubicBezTo>
                  <a:cubicBezTo>
                    <a:pt x="172" y="34"/>
                    <a:pt x="171" y="33"/>
                    <a:pt x="170" y="33"/>
                  </a:cubicBezTo>
                  <a:cubicBezTo>
                    <a:pt x="168" y="33"/>
                    <a:pt x="167" y="33"/>
                    <a:pt x="165" y="33"/>
                  </a:cubicBezTo>
                  <a:cubicBezTo>
                    <a:pt x="160" y="33"/>
                    <a:pt x="154" y="35"/>
                    <a:pt x="150" y="38"/>
                  </a:cubicBezTo>
                  <a:moveTo>
                    <a:pt x="35" y="102"/>
                  </a:moveTo>
                  <a:cubicBezTo>
                    <a:pt x="24" y="102"/>
                    <a:pt x="24" y="102"/>
                    <a:pt x="24" y="102"/>
                  </a:cubicBezTo>
                  <a:cubicBezTo>
                    <a:pt x="24" y="28"/>
                    <a:pt x="24" y="28"/>
                    <a:pt x="24" y="28"/>
                  </a:cubicBezTo>
                  <a:cubicBezTo>
                    <a:pt x="37" y="28"/>
                    <a:pt x="37" y="28"/>
                    <a:pt x="37" y="28"/>
                  </a:cubicBezTo>
                  <a:cubicBezTo>
                    <a:pt x="48" y="28"/>
                    <a:pt x="56" y="31"/>
                    <a:pt x="61" y="37"/>
                  </a:cubicBezTo>
                  <a:cubicBezTo>
                    <a:pt x="67" y="43"/>
                    <a:pt x="70" y="52"/>
                    <a:pt x="70" y="64"/>
                  </a:cubicBezTo>
                  <a:cubicBezTo>
                    <a:pt x="70" y="90"/>
                    <a:pt x="58" y="102"/>
                    <a:pt x="35" y="102"/>
                  </a:cubicBezTo>
                  <a:moveTo>
                    <a:pt x="88" y="33"/>
                  </a:moveTo>
                  <a:cubicBezTo>
                    <a:pt x="83" y="25"/>
                    <a:pt x="76" y="18"/>
                    <a:pt x="67" y="14"/>
                  </a:cubicBezTo>
                  <a:cubicBezTo>
                    <a:pt x="58" y="10"/>
                    <a:pt x="48" y="8"/>
                    <a:pt x="36" y="8"/>
                  </a:cubicBezTo>
                  <a:cubicBezTo>
                    <a:pt x="0" y="8"/>
                    <a:pt x="0" y="8"/>
                    <a:pt x="0" y="8"/>
                  </a:cubicBezTo>
                  <a:cubicBezTo>
                    <a:pt x="0" y="122"/>
                    <a:pt x="0" y="122"/>
                    <a:pt x="0" y="122"/>
                  </a:cubicBezTo>
                  <a:cubicBezTo>
                    <a:pt x="32" y="122"/>
                    <a:pt x="32" y="122"/>
                    <a:pt x="32" y="122"/>
                  </a:cubicBezTo>
                  <a:cubicBezTo>
                    <a:pt x="52" y="122"/>
                    <a:pt x="67" y="117"/>
                    <a:pt x="78" y="107"/>
                  </a:cubicBezTo>
                  <a:cubicBezTo>
                    <a:pt x="89" y="98"/>
                    <a:pt x="95" y="83"/>
                    <a:pt x="95" y="64"/>
                  </a:cubicBezTo>
                  <a:cubicBezTo>
                    <a:pt x="95" y="52"/>
                    <a:pt x="92" y="41"/>
                    <a:pt x="88" y="33"/>
                  </a:cubicBezTo>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30" name="Freeform 49">
              <a:extLst>
                <a:ext uri="{FF2B5EF4-FFF2-40B4-BE49-F238E27FC236}">
                  <a16:creationId xmlns:a16="http://schemas.microsoft.com/office/drawing/2014/main" id="{635190D4-DB66-494B-A5EC-DBE9BD5245FD}"/>
                </a:ext>
              </a:extLst>
            </p:cNvPr>
            <p:cNvSpPr>
              <a:spLocks noEditPoints="1"/>
            </p:cNvSpPr>
            <p:nvPr/>
          </p:nvSpPr>
          <p:spPr bwMode="auto">
            <a:xfrm>
              <a:off x="4114800" y="1803401"/>
              <a:ext cx="904875" cy="220663"/>
            </a:xfrm>
            <a:custGeom>
              <a:avLst/>
              <a:gdLst>
                <a:gd name="T0" fmla="*/ 1253 w 1380"/>
                <a:gd name="T1" fmla="*/ 314 h 334"/>
                <a:gd name="T2" fmla="*/ 1273 w 1380"/>
                <a:gd name="T3" fmla="*/ 333 h 334"/>
                <a:gd name="T4" fmla="*/ 1314 w 1380"/>
                <a:gd name="T5" fmla="*/ 295 h 334"/>
                <a:gd name="T6" fmla="*/ 1327 w 1380"/>
                <a:gd name="T7" fmla="*/ 228 h 334"/>
                <a:gd name="T8" fmla="*/ 1225 w 1380"/>
                <a:gd name="T9" fmla="*/ 253 h 334"/>
                <a:gd name="T10" fmla="*/ 1263 w 1380"/>
                <a:gd name="T11" fmla="*/ 238 h 334"/>
                <a:gd name="T12" fmla="*/ 1253 w 1380"/>
                <a:gd name="T13" fmla="*/ 195 h 334"/>
                <a:gd name="T14" fmla="*/ 1255 w 1380"/>
                <a:gd name="T15" fmla="*/ 223 h 334"/>
                <a:gd name="T16" fmla="*/ 1232 w 1380"/>
                <a:gd name="T17" fmla="*/ 267 h 334"/>
                <a:gd name="T18" fmla="*/ 1283 w 1380"/>
                <a:gd name="T19" fmla="*/ 231 h 334"/>
                <a:gd name="T20" fmla="*/ 1178 w 1380"/>
                <a:gd name="T21" fmla="*/ 187 h 334"/>
                <a:gd name="T22" fmla="*/ 1177 w 1380"/>
                <a:gd name="T23" fmla="*/ 110 h 334"/>
                <a:gd name="T24" fmla="*/ 1103 w 1380"/>
                <a:gd name="T25" fmla="*/ 168 h 334"/>
                <a:gd name="T26" fmla="*/ 1098 w 1380"/>
                <a:gd name="T27" fmla="*/ 199 h 334"/>
                <a:gd name="T28" fmla="*/ 1161 w 1380"/>
                <a:gd name="T29" fmla="*/ 135 h 334"/>
                <a:gd name="T30" fmla="*/ 1223 w 1380"/>
                <a:gd name="T31" fmla="*/ 131 h 334"/>
                <a:gd name="T32" fmla="*/ 980 w 1380"/>
                <a:gd name="T33" fmla="*/ 116 h 334"/>
                <a:gd name="T34" fmla="*/ 1019 w 1380"/>
                <a:gd name="T35" fmla="*/ 79 h 334"/>
                <a:gd name="T36" fmla="*/ 971 w 1380"/>
                <a:gd name="T37" fmla="*/ 109 h 334"/>
                <a:gd name="T38" fmla="*/ 930 w 1380"/>
                <a:gd name="T39" fmla="*/ 108 h 334"/>
                <a:gd name="T40" fmla="*/ 892 w 1380"/>
                <a:gd name="T41" fmla="*/ 69 h 334"/>
                <a:gd name="T42" fmla="*/ 941 w 1380"/>
                <a:gd name="T43" fmla="*/ 62 h 334"/>
                <a:gd name="T44" fmla="*/ 880 w 1380"/>
                <a:gd name="T45" fmla="*/ 79 h 334"/>
                <a:gd name="T46" fmla="*/ 917 w 1380"/>
                <a:gd name="T47" fmla="*/ 118 h 334"/>
                <a:gd name="T48" fmla="*/ 867 w 1380"/>
                <a:gd name="T49" fmla="*/ 127 h 334"/>
                <a:gd name="T50" fmla="*/ 930 w 1380"/>
                <a:gd name="T51" fmla="*/ 108 h 334"/>
                <a:gd name="T52" fmla="*/ 842 w 1380"/>
                <a:gd name="T53" fmla="*/ 41 h 334"/>
                <a:gd name="T54" fmla="*/ 857 w 1380"/>
                <a:gd name="T55" fmla="*/ 27 h 334"/>
                <a:gd name="T56" fmla="*/ 750 w 1380"/>
                <a:gd name="T57" fmla="*/ 100 h 334"/>
                <a:gd name="T58" fmla="*/ 793 w 1380"/>
                <a:gd name="T59" fmla="*/ 79 h 334"/>
                <a:gd name="T60" fmla="*/ 780 w 1380"/>
                <a:gd name="T61" fmla="*/ 118 h 334"/>
                <a:gd name="T62" fmla="*/ 812 w 1380"/>
                <a:gd name="T63" fmla="*/ 1 h 334"/>
                <a:gd name="T64" fmla="*/ 795 w 1380"/>
                <a:gd name="T65" fmla="*/ 47 h 334"/>
                <a:gd name="T66" fmla="*/ 738 w 1380"/>
                <a:gd name="T67" fmla="*/ 108 h 334"/>
                <a:gd name="T68" fmla="*/ 683 w 1380"/>
                <a:gd name="T69" fmla="*/ 47 h 334"/>
                <a:gd name="T70" fmla="*/ 684 w 1380"/>
                <a:gd name="T71" fmla="*/ 72 h 334"/>
                <a:gd name="T72" fmla="*/ 718 w 1380"/>
                <a:gd name="T73" fmla="*/ 44 h 334"/>
                <a:gd name="T74" fmla="*/ 584 w 1380"/>
                <a:gd name="T75" fmla="*/ 56 h 334"/>
                <a:gd name="T76" fmla="*/ 607 w 1380"/>
                <a:gd name="T77" fmla="*/ 111 h 334"/>
                <a:gd name="T78" fmla="*/ 622 w 1380"/>
                <a:gd name="T79" fmla="*/ 37 h 334"/>
                <a:gd name="T80" fmla="*/ 587 w 1380"/>
                <a:gd name="T81" fmla="*/ 119 h 334"/>
                <a:gd name="T82" fmla="*/ 522 w 1380"/>
                <a:gd name="T83" fmla="*/ 15 h 334"/>
                <a:gd name="T84" fmla="*/ 528 w 1380"/>
                <a:gd name="T85" fmla="*/ 110 h 334"/>
                <a:gd name="T86" fmla="*/ 469 w 1380"/>
                <a:gd name="T87" fmla="*/ 142 h 334"/>
                <a:gd name="T88" fmla="*/ 528 w 1380"/>
                <a:gd name="T89" fmla="*/ 131 h 334"/>
                <a:gd name="T90" fmla="*/ 350 w 1380"/>
                <a:gd name="T91" fmla="*/ 106 h 334"/>
                <a:gd name="T92" fmla="*/ 316 w 1380"/>
                <a:gd name="T93" fmla="*/ 144 h 334"/>
                <a:gd name="T94" fmla="*/ 302 w 1380"/>
                <a:gd name="T95" fmla="*/ 114 h 334"/>
                <a:gd name="T96" fmla="*/ 378 w 1380"/>
                <a:gd name="T97" fmla="*/ 156 h 334"/>
                <a:gd name="T98" fmla="*/ 260 w 1380"/>
                <a:gd name="T99" fmla="*/ 120 h 334"/>
                <a:gd name="T100" fmla="*/ 266 w 1380"/>
                <a:gd name="T101" fmla="*/ 198 h 334"/>
                <a:gd name="T102" fmla="*/ 199 w 1380"/>
                <a:gd name="T103" fmla="*/ 148 h 334"/>
                <a:gd name="T104" fmla="*/ 179 w 1380"/>
                <a:gd name="T105" fmla="*/ 180 h 334"/>
                <a:gd name="T106" fmla="*/ 153 w 1380"/>
                <a:gd name="T107" fmla="*/ 223 h 334"/>
                <a:gd name="T108" fmla="*/ 133 w 1380"/>
                <a:gd name="T109" fmla="*/ 196 h 334"/>
                <a:gd name="T110" fmla="*/ 216 w 1380"/>
                <a:gd name="T111" fmla="*/ 225 h 334"/>
                <a:gd name="T112" fmla="*/ 100 w 1380"/>
                <a:gd name="T113" fmla="*/ 247 h 334"/>
                <a:gd name="T114" fmla="*/ 13 w 1380"/>
                <a:gd name="T115" fmla="*/ 230 h 334"/>
                <a:gd name="T116" fmla="*/ 30 w 1380"/>
                <a:gd name="T117" fmla="*/ 260 h 334"/>
                <a:gd name="T118" fmla="*/ 73 w 1380"/>
                <a:gd name="T119" fmla="*/ 187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80" h="334">
                  <a:moveTo>
                    <a:pt x="1292" y="309"/>
                  </a:moveTo>
                  <a:cubicBezTo>
                    <a:pt x="1282" y="316"/>
                    <a:pt x="1282" y="316"/>
                    <a:pt x="1282" y="316"/>
                  </a:cubicBezTo>
                  <a:cubicBezTo>
                    <a:pt x="1278" y="318"/>
                    <a:pt x="1274" y="320"/>
                    <a:pt x="1270" y="321"/>
                  </a:cubicBezTo>
                  <a:cubicBezTo>
                    <a:pt x="1265" y="321"/>
                    <a:pt x="1261" y="320"/>
                    <a:pt x="1257" y="317"/>
                  </a:cubicBezTo>
                  <a:cubicBezTo>
                    <a:pt x="1256" y="316"/>
                    <a:pt x="1255" y="315"/>
                    <a:pt x="1253" y="314"/>
                  </a:cubicBezTo>
                  <a:cubicBezTo>
                    <a:pt x="1252" y="313"/>
                    <a:pt x="1251" y="312"/>
                    <a:pt x="1250" y="311"/>
                  </a:cubicBezTo>
                  <a:cubicBezTo>
                    <a:pt x="1244" y="320"/>
                    <a:pt x="1244" y="320"/>
                    <a:pt x="1244" y="320"/>
                  </a:cubicBezTo>
                  <a:cubicBezTo>
                    <a:pt x="1245" y="321"/>
                    <a:pt x="1246" y="322"/>
                    <a:pt x="1247" y="323"/>
                  </a:cubicBezTo>
                  <a:cubicBezTo>
                    <a:pt x="1249" y="325"/>
                    <a:pt x="1251" y="326"/>
                    <a:pt x="1253" y="328"/>
                  </a:cubicBezTo>
                  <a:cubicBezTo>
                    <a:pt x="1259" y="333"/>
                    <a:pt x="1266" y="334"/>
                    <a:pt x="1273" y="333"/>
                  </a:cubicBezTo>
                  <a:cubicBezTo>
                    <a:pt x="1279" y="332"/>
                    <a:pt x="1286" y="329"/>
                    <a:pt x="1293" y="324"/>
                  </a:cubicBezTo>
                  <a:cubicBezTo>
                    <a:pt x="1380" y="267"/>
                    <a:pt x="1380" y="267"/>
                    <a:pt x="1380" y="267"/>
                  </a:cubicBezTo>
                  <a:cubicBezTo>
                    <a:pt x="1368" y="258"/>
                    <a:pt x="1368" y="258"/>
                    <a:pt x="1368" y="258"/>
                  </a:cubicBezTo>
                  <a:cubicBezTo>
                    <a:pt x="1326" y="287"/>
                    <a:pt x="1326" y="287"/>
                    <a:pt x="1326" y="287"/>
                  </a:cubicBezTo>
                  <a:cubicBezTo>
                    <a:pt x="1322" y="290"/>
                    <a:pt x="1318" y="293"/>
                    <a:pt x="1314" y="295"/>
                  </a:cubicBezTo>
                  <a:cubicBezTo>
                    <a:pt x="1311" y="298"/>
                    <a:pt x="1308" y="300"/>
                    <a:pt x="1306" y="302"/>
                  </a:cubicBezTo>
                  <a:cubicBezTo>
                    <a:pt x="1305" y="302"/>
                    <a:pt x="1305" y="302"/>
                    <a:pt x="1305" y="302"/>
                  </a:cubicBezTo>
                  <a:cubicBezTo>
                    <a:pt x="1307" y="298"/>
                    <a:pt x="1308" y="295"/>
                    <a:pt x="1309" y="291"/>
                  </a:cubicBezTo>
                  <a:cubicBezTo>
                    <a:pt x="1311" y="287"/>
                    <a:pt x="1312" y="283"/>
                    <a:pt x="1313" y="278"/>
                  </a:cubicBezTo>
                  <a:cubicBezTo>
                    <a:pt x="1327" y="228"/>
                    <a:pt x="1327" y="228"/>
                    <a:pt x="1327" y="228"/>
                  </a:cubicBezTo>
                  <a:cubicBezTo>
                    <a:pt x="1314" y="219"/>
                    <a:pt x="1314" y="219"/>
                    <a:pt x="1314" y="219"/>
                  </a:cubicBezTo>
                  <a:lnTo>
                    <a:pt x="1292" y="309"/>
                  </a:lnTo>
                  <a:close/>
                  <a:moveTo>
                    <a:pt x="1259" y="245"/>
                  </a:moveTo>
                  <a:cubicBezTo>
                    <a:pt x="1255" y="252"/>
                    <a:pt x="1249" y="256"/>
                    <a:pt x="1243" y="257"/>
                  </a:cubicBezTo>
                  <a:cubicBezTo>
                    <a:pt x="1237" y="258"/>
                    <a:pt x="1231" y="257"/>
                    <a:pt x="1225" y="253"/>
                  </a:cubicBezTo>
                  <a:cubicBezTo>
                    <a:pt x="1221" y="251"/>
                    <a:pt x="1218" y="248"/>
                    <a:pt x="1217" y="244"/>
                  </a:cubicBezTo>
                  <a:cubicBezTo>
                    <a:pt x="1215" y="241"/>
                    <a:pt x="1216" y="237"/>
                    <a:pt x="1218" y="233"/>
                  </a:cubicBezTo>
                  <a:cubicBezTo>
                    <a:pt x="1221" y="228"/>
                    <a:pt x="1225" y="226"/>
                    <a:pt x="1230" y="225"/>
                  </a:cubicBezTo>
                  <a:cubicBezTo>
                    <a:pt x="1235" y="225"/>
                    <a:pt x="1242" y="227"/>
                    <a:pt x="1252" y="232"/>
                  </a:cubicBezTo>
                  <a:cubicBezTo>
                    <a:pt x="1263" y="238"/>
                    <a:pt x="1263" y="238"/>
                    <a:pt x="1263" y="238"/>
                  </a:cubicBezTo>
                  <a:lnTo>
                    <a:pt x="1259" y="245"/>
                  </a:lnTo>
                  <a:close/>
                  <a:moveTo>
                    <a:pt x="1257" y="184"/>
                  </a:moveTo>
                  <a:cubicBezTo>
                    <a:pt x="1252" y="183"/>
                    <a:pt x="1247" y="182"/>
                    <a:pt x="1243" y="182"/>
                  </a:cubicBezTo>
                  <a:cubicBezTo>
                    <a:pt x="1241" y="193"/>
                    <a:pt x="1241" y="193"/>
                    <a:pt x="1241" y="193"/>
                  </a:cubicBezTo>
                  <a:cubicBezTo>
                    <a:pt x="1245" y="194"/>
                    <a:pt x="1249" y="194"/>
                    <a:pt x="1253" y="195"/>
                  </a:cubicBezTo>
                  <a:cubicBezTo>
                    <a:pt x="1257" y="196"/>
                    <a:pt x="1261" y="198"/>
                    <a:pt x="1265" y="200"/>
                  </a:cubicBezTo>
                  <a:cubicBezTo>
                    <a:pt x="1270" y="203"/>
                    <a:pt x="1273" y="207"/>
                    <a:pt x="1274" y="210"/>
                  </a:cubicBezTo>
                  <a:cubicBezTo>
                    <a:pt x="1276" y="214"/>
                    <a:pt x="1274" y="220"/>
                    <a:pt x="1271" y="226"/>
                  </a:cubicBezTo>
                  <a:cubicBezTo>
                    <a:pt x="1268" y="230"/>
                    <a:pt x="1268" y="230"/>
                    <a:pt x="1268" y="230"/>
                  </a:cubicBezTo>
                  <a:cubicBezTo>
                    <a:pt x="1255" y="223"/>
                    <a:pt x="1255" y="223"/>
                    <a:pt x="1255" y="223"/>
                  </a:cubicBezTo>
                  <a:cubicBezTo>
                    <a:pt x="1243" y="216"/>
                    <a:pt x="1233" y="213"/>
                    <a:pt x="1225" y="214"/>
                  </a:cubicBezTo>
                  <a:cubicBezTo>
                    <a:pt x="1217" y="214"/>
                    <a:pt x="1210" y="218"/>
                    <a:pt x="1206" y="225"/>
                  </a:cubicBezTo>
                  <a:cubicBezTo>
                    <a:pt x="1202" y="233"/>
                    <a:pt x="1200" y="240"/>
                    <a:pt x="1203" y="246"/>
                  </a:cubicBezTo>
                  <a:cubicBezTo>
                    <a:pt x="1205" y="252"/>
                    <a:pt x="1209" y="257"/>
                    <a:pt x="1216" y="261"/>
                  </a:cubicBezTo>
                  <a:cubicBezTo>
                    <a:pt x="1222" y="265"/>
                    <a:pt x="1228" y="267"/>
                    <a:pt x="1232" y="267"/>
                  </a:cubicBezTo>
                  <a:cubicBezTo>
                    <a:pt x="1237" y="267"/>
                    <a:pt x="1242" y="266"/>
                    <a:pt x="1248" y="264"/>
                  </a:cubicBezTo>
                  <a:cubicBezTo>
                    <a:pt x="1248" y="264"/>
                    <a:pt x="1248" y="264"/>
                    <a:pt x="1248" y="264"/>
                  </a:cubicBezTo>
                  <a:cubicBezTo>
                    <a:pt x="1245" y="276"/>
                    <a:pt x="1245" y="276"/>
                    <a:pt x="1245" y="276"/>
                  </a:cubicBezTo>
                  <a:cubicBezTo>
                    <a:pt x="1253" y="281"/>
                    <a:pt x="1253" y="281"/>
                    <a:pt x="1253" y="281"/>
                  </a:cubicBezTo>
                  <a:cubicBezTo>
                    <a:pt x="1283" y="231"/>
                    <a:pt x="1283" y="231"/>
                    <a:pt x="1283" y="231"/>
                  </a:cubicBezTo>
                  <a:cubicBezTo>
                    <a:pt x="1288" y="223"/>
                    <a:pt x="1290" y="215"/>
                    <a:pt x="1288" y="209"/>
                  </a:cubicBezTo>
                  <a:cubicBezTo>
                    <a:pt x="1286" y="202"/>
                    <a:pt x="1281" y="196"/>
                    <a:pt x="1272" y="191"/>
                  </a:cubicBezTo>
                  <a:cubicBezTo>
                    <a:pt x="1267" y="188"/>
                    <a:pt x="1262" y="186"/>
                    <a:pt x="1257" y="184"/>
                  </a:cubicBezTo>
                  <a:moveTo>
                    <a:pt x="1223" y="131"/>
                  </a:moveTo>
                  <a:cubicBezTo>
                    <a:pt x="1178" y="187"/>
                    <a:pt x="1178" y="187"/>
                    <a:pt x="1178" y="187"/>
                  </a:cubicBezTo>
                  <a:cubicBezTo>
                    <a:pt x="1175" y="191"/>
                    <a:pt x="1172" y="195"/>
                    <a:pt x="1169" y="198"/>
                  </a:cubicBezTo>
                  <a:cubicBezTo>
                    <a:pt x="1166" y="202"/>
                    <a:pt x="1164" y="206"/>
                    <a:pt x="1162" y="209"/>
                  </a:cubicBezTo>
                  <a:cubicBezTo>
                    <a:pt x="1163" y="206"/>
                    <a:pt x="1164" y="201"/>
                    <a:pt x="1165" y="196"/>
                  </a:cubicBezTo>
                  <a:cubicBezTo>
                    <a:pt x="1166" y="192"/>
                    <a:pt x="1167" y="187"/>
                    <a:pt x="1167" y="181"/>
                  </a:cubicBezTo>
                  <a:cubicBezTo>
                    <a:pt x="1177" y="110"/>
                    <a:pt x="1177" y="110"/>
                    <a:pt x="1177" y="110"/>
                  </a:cubicBezTo>
                  <a:cubicBezTo>
                    <a:pt x="1164" y="103"/>
                    <a:pt x="1164" y="103"/>
                    <a:pt x="1164" y="103"/>
                  </a:cubicBezTo>
                  <a:cubicBezTo>
                    <a:pt x="1117" y="158"/>
                    <a:pt x="1117" y="158"/>
                    <a:pt x="1117" y="158"/>
                  </a:cubicBezTo>
                  <a:cubicBezTo>
                    <a:pt x="1114" y="161"/>
                    <a:pt x="1110" y="165"/>
                    <a:pt x="1107" y="169"/>
                  </a:cubicBezTo>
                  <a:cubicBezTo>
                    <a:pt x="1104" y="173"/>
                    <a:pt x="1102" y="177"/>
                    <a:pt x="1100" y="181"/>
                  </a:cubicBezTo>
                  <a:cubicBezTo>
                    <a:pt x="1101" y="177"/>
                    <a:pt x="1102" y="172"/>
                    <a:pt x="1103" y="168"/>
                  </a:cubicBezTo>
                  <a:cubicBezTo>
                    <a:pt x="1104" y="163"/>
                    <a:pt x="1105" y="159"/>
                    <a:pt x="1106" y="154"/>
                  </a:cubicBezTo>
                  <a:cubicBezTo>
                    <a:pt x="1119" y="83"/>
                    <a:pt x="1119" y="83"/>
                    <a:pt x="1119" y="83"/>
                  </a:cubicBezTo>
                  <a:cubicBezTo>
                    <a:pt x="1105" y="77"/>
                    <a:pt x="1105" y="77"/>
                    <a:pt x="1105" y="77"/>
                  </a:cubicBezTo>
                  <a:cubicBezTo>
                    <a:pt x="1085" y="193"/>
                    <a:pt x="1085" y="193"/>
                    <a:pt x="1085" y="193"/>
                  </a:cubicBezTo>
                  <a:cubicBezTo>
                    <a:pt x="1098" y="199"/>
                    <a:pt x="1098" y="199"/>
                    <a:pt x="1098" y="199"/>
                  </a:cubicBezTo>
                  <a:cubicBezTo>
                    <a:pt x="1149" y="140"/>
                    <a:pt x="1149" y="140"/>
                    <a:pt x="1149" y="140"/>
                  </a:cubicBezTo>
                  <a:cubicBezTo>
                    <a:pt x="1152" y="137"/>
                    <a:pt x="1155" y="133"/>
                    <a:pt x="1158" y="129"/>
                  </a:cubicBezTo>
                  <a:cubicBezTo>
                    <a:pt x="1161" y="125"/>
                    <a:pt x="1163" y="123"/>
                    <a:pt x="1164" y="122"/>
                  </a:cubicBezTo>
                  <a:cubicBezTo>
                    <a:pt x="1163" y="123"/>
                    <a:pt x="1163" y="124"/>
                    <a:pt x="1162" y="127"/>
                  </a:cubicBezTo>
                  <a:cubicBezTo>
                    <a:pt x="1162" y="129"/>
                    <a:pt x="1161" y="132"/>
                    <a:pt x="1161" y="135"/>
                  </a:cubicBezTo>
                  <a:cubicBezTo>
                    <a:pt x="1160" y="138"/>
                    <a:pt x="1160" y="142"/>
                    <a:pt x="1159" y="145"/>
                  </a:cubicBezTo>
                  <a:cubicBezTo>
                    <a:pt x="1148" y="222"/>
                    <a:pt x="1148" y="222"/>
                    <a:pt x="1148" y="222"/>
                  </a:cubicBezTo>
                  <a:cubicBezTo>
                    <a:pt x="1162" y="228"/>
                    <a:pt x="1162" y="228"/>
                    <a:pt x="1162" y="228"/>
                  </a:cubicBezTo>
                  <a:cubicBezTo>
                    <a:pt x="1237" y="137"/>
                    <a:pt x="1237" y="137"/>
                    <a:pt x="1237" y="137"/>
                  </a:cubicBezTo>
                  <a:lnTo>
                    <a:pt x="1223" y="131"/>
                  </a:lnTo>
                  <a:close/>
                  <a:moveTo>
                    <a:pt x="979" y="31"/>
                  </a:moveTo>
                  <a:cubicBezTo>
                    <a:pt x="947" y="148"/>
                    <a:pt x="947" y="148"/>
                    <a:pt x="947" y="148"/>
                  </a:cubicBezTo>
                  <a:cubicBezTo>
                    <a:pt x="960" y="152"/>
                    <a:pt x="960" y="152"/>
                    <a:pt x="960" y="152"/>
                  </a:cubicBezTo>
                  <a:cubicBezTo>
                    <a:pt x="969" y="121"/>
                    <a:pt x="969" y="121"/>
                    <a:pt x="969" y="121"/>
                  </a:cubicBezTo>
                  <a:cubicBezTo>
                    <a:pt x="980" y="116"/>
                    <a:pt x="980" y="116"/>
                    <a:pt x="980" y="116"/>
                  </a:cubicBezTo>
                  <a:cubicBezTo>
                    <a:pt x="998" y="162"/>
                    <a:pt x="998" y="162"/>
                    <a:pt x="998" y="162"/>
                  </a:cubicBezTo>
                  <a:cubicBezTo>
                    <a:pt x="1015" y="167"/>
                    <a:pt x="1015" y="167"/>
                    <a:pt x="1015" y="167"/>
                  </a:cubicBezTo>
                  <a:cubicBezTo>
                    <a:pt x="992" y="109"/>
                    <a:pt x="992" y="109"/>
                    <a:pt x="992" y="109"/>
                  </a:cubicBezTo>
                  <a:cubicBezTo>
                    <a:pt x="1035" y="83"/>
                    <a:pt x="1035" y="83"/>
                    <a:pt x="1035" y="83"/>
                  </a:cubicBezTo>
                  <a:cubicBezTo>
                    <a:pt x="1019" y="79"/>
                    <a:pt x="1019" y="79"/>
                    <a:pt x="1019" y="79"/>
                  </a:cubicBezTo>
                  <a:cubicBezTo>
                    <a:pt x="985" y="100"/>
                    <a:pt x="985" y="100"/>
                    <a:pt x="985" y="100"/>
                  </a:cubicBezTo>
                  <a:cubicBezTo>
                    <a:pt x="984" y="100"/>
                    <a:pt x="982" y="101"/>
                    <a:pt x="981" y="103"/>
                  </a:cubicBezTo>
                  <a:cubicBezTo>
                    <a:pt x="979" y="104"/>
                    <a:pt x="977" y="105"/>
                    <a:pt x="976" y="106"/>
                  </a:cubicBezTo>
                  <a:cubicBezTo>
                    <a:pt x="974" y="107"/>
                    <a:pt x="973" y="108"/>
                    <a:pt x="972" y="109"/>
                  </a:cubicBezTo>
                  <a:cubicBezTo>
                    <a:pt x="971" y="109"/>
                    <a:pt x="971" y="109"/>
                    <a:pt x="971" y="109"/>
                  </a:cubicBezTo>
                  <a:cubicBezTo>
                    <a:pt x="972" y="107"/>
                    <a:pt x="973" y="105"/>
                    <a:pt x="974" y="102"/>
                  </a:cubicBezTo>
                  <a:cubicBezTo>
                    <a:pt x="974" y="99"/>
                    <a:pt x="975" y="97"/>
                    <a:pt x="976" y="96"/>
                  </a:cubicBezTo>
                  <a:cubicBezTo>
                    <a:pt x="993" y="34"/>
                    <a:pt x="993" y="34"/>
                    <a:pt x="993" y="34"/>
                  </a:cubicBezTo>
                  <a:lnTo>
                    <a:pt x="979" y="31"/>
                  </a:lnTo>
                  <a:close/>
                  <a:moveTo>
                    <a:pt x="930" y="108"/>
                  </a:moveTo>
                  <a:cubicBezTo>
                    <a:pt x="929" y="104"/>
                    <a:pt x="927" y="101"/>
                    <a:pt x="923" y="98"/>
                  </a:cubicBezTo>
                  <a:cubicBezTo>
                    <a:pt x="920" y="96"/>
                    <a:pt x="916" y="93"/>
                    <a:pt x="911" y="90"/>
                  </a:cubicBezTo>
                  <a:cubicBezTo>
                    <a:pt x="906" y="87"/>
                    <a:pt x="902" y="84"/>
                    <a:pt x="899" y="82"/>
                  </a:cubicBezTo>
                  <a:cubicBezTo>
                    <a:pt x="896" y="80"/>
                    <a:pt x="894" y="78"/>
                    <a:pt x="893" y="76"/>
                  </a:cubicBezTo>
                  <a:cubicBezTo>
                    <a:pt x="892" y="74"/>
                    <a:pt x="892" y="72"/>
                    <a:pt x="892" y="69"/>
                  </a:cubicBezTo>
                  <a:cubicBezTo>
                    <a:pt x="893" y="66"/>
                    <a:pt x="895" y="64"/>
                    <a:pt x="898" y="63"/>
                  </a:cubicBezTo>
                  <a:cubicBezTo>
                    <a:pt x="902" y="62"/>
                    <a:pt x="906" y="61"/>
                    <a:pt x="912" y="63"/>
                  </a:cubicBezTo>
                  <a:cubicBezTo>
                    <a:pt x="916" y="63"/>
                    <a:pt x="920" y="65"/>
                    <a:pt x="923" y="67"/>
                  </a:cubicBezTo>
                  <a:cubicBezTo>
                    <a:pt x="927" y="68"/>
                    <a:pt x="930" y="70"/>
                    <a:pt x="934" y="72"/>
                  </a:cubicBezTo>
                  <a:cubicBezTo>
                    <a:pt x="941" y="62"/>
                    <a:pt x="941" y="62"/>
                    <a:pt x="941" y="62"/>
                  </a:cubicBezTo>
                  <a:cubicBezTo>
                    <a:pt x="937" y="60"/>
                    <a:pt x="933" y="58"/>
                    <a:pt x="929" y="56"/>
                  </a:cubicBezTo>
                  <a:cubicBezTo>
                    <a:pt x="925" y="54"/>
                    <a:pt x="920" y="52"/>
                    <a:pt x="915" y="51"/>
                  </a:cubicBezTo>
                  <a:cubicBezTo>
                    <a:pt x="905" y="50"/>
                    <a:pt x="897" y="50"/>
                    <a:pt x="891" y="53"/>
                  </a:cubicBezTo>
                  <a:cubicBezTo>
                    <a:pt x="884" y="55"/>
                    <a:pt x="880" y="60"/>
                    <a:pt x="879" y="68"/>
                  </a:cubicBezTo>
                  <a:cubicBezTo>
                    <a:pt x="878" y="72"/>
                    <a:pt x="878" y="76"/>
                    <a:pt x="880" y="79"/>
                  </a:cubicBezTo>
                  <a:cubicBezTo>
                    <a:pt x="881" y="83"/>
                    <a:pt x="884" y="86"/>
                    <a:pt x="887" y="89"/>
                  </a:cubicBezTo>
                  <a:cubicBezTo>
                    <a:pt x="891" y="92"/>
                    <a:pt x="895" y="95"/>
                    <a:pt x="900" y="98"/>
                  </a:cubicBezTo>
                  <a:cubicBezTo>
                    <a:pt x="905" y="101"/>
                    <a:pt x="909" y="104"/>
                    <a:pt x="912" y="106"/>
                  </a:cubicBezTo>
                  <a:cubicBezTo>
                    <a:pt x="914" y="108"/>
                    <a:pt x="916" y="110"/>
                    <a:pt x="917" y="112"/>
                  </a:cubicBezTo>
                  <a:cubicBezTo>
                    <a:pt x="918" y="114"/>
                    <a:pt x="918" y="116"/>
                    <a:pt x="917" y="118"/>
                  </a:cubicBezTo>
                  <a:cubicBezTo>
                    <a:pt x="917" y="122"/>
                    <a:pt x="915" y="125"/>
                    <a:pt x="911" y="126"/>
                  </a:cubicBezTo>
                  <a:cubicBezTo>
                    <a:pt x="907" y="128"/>
                    <a:pt x="902" y="128"/>
                    <a:pt x="895" y="127"/>
                  </a:cubicBezTo>
                  <a:cubicBezTo>
                    <a:pt x="890" y="126"/>
                    <a:pt x="885" y="124"/>
                    <a:pt x="881" y="122"/>
                  </a:cubicBezTo>
                  <a:cubicBezTo>
                    <a:pt x="877" y="119"/>
                    <a:pt x="873" y="117"/>
                    <a:pt x="870" y="115"/>
                  </a:cubicBezTo>
                  <a:cubicBezTo>
                    <a:pt x="867" y="127"/>
                    <a:pt x="867" y="127"/>
                    <a:pt x="867" y="127"/>
                  </a:cubicBezTo>
                  <a:cubicBezTo>
                    <a:pt x="870" y="130"/>
                    <a:pt x="874" y="132"/>
                    <a:pt x="878" y="133"/>
                  </a:cubicBezTo>
                  <a:cubicBezTo>
                    <a:pt x="882" y="135"/>
                    <a:pt x="887" y="137"/>
                    <a:pt x="893" y="138"/>
                  </a:cubicBezTo>
                  <a:cubicBezTo>
                    <a:pt x="903" y="140"/>
                    <a:pt x="911" y="139"/>
                    <a:pt x="918" y="136"/>
                  </a:cubicBezTo>
                  <a:cubicBezTo>
                    <a:pt x="925" y="133"/>
                    <a:pt x="929" y="128"/>
                    <a:pt x="931" y="120"/>
                  </a:cubicBezTo>
                  <a:cubicBezTo>
                    <a:pt x="932" y="115"/>
                    <a:pt x="932" y="111"/>
                    <a:pt x="930" y="108"/>
                  </a:cubicBezTo>
                  <a:moveTo>
                    <a:pt x="842" y="41"/>
                  </a:moveTo>
                  <a:cubicBezTo>
                    <a:pt x="831" y="126"/>
                    <a:pt x="831" y="126"/>
                    <a:pt x="831" y="126"/>
                  </a:cubicBezTo>
                  <a:cubicBezTo>
                    <a:pt x="845" y="128"/>
                    <a:pt x="845" y="128"/>
                    <a:pt x="845" y="128"/>
                  </a:cubicBezTo>
                  <a:cubicBezTo>
                    <a:pt x="856" y="43"/>
                    <a:pt x="856" y="43"/>
                    <a:pt x="856" y="43"/>
                  </a:cubicBezTo>
                  <a:lnTo>
                    <a:pt x="842" y="41"/>
                  </a:lnTo>
                  <a:close/>
                  <a:moveTo>
                    <a:pt x="847" y="11"/>
                  </a:moveTo>
                  <a:cubicBezTo>
                    <a:pt x="846" y="13"/>
                    <a:pt x="845" y="15"/>
                    <a:pt x="844" y="18"/>
                  </a:cubicBezTo>
                  <a:cubicBezTo>
                    <a:pt x="844" y="21"/>
                    <a:pt x="844" y="23"/>
                    <a:pt x="846" y="25"/>
                  </a:cubicBezTo>
                  <a:cubicBezTo>
                    <a:pt x="847" y="27"/>
                    <a:pt x="849" y="28"/>
                    <a:pt x="851" y="28"/>
                  </a:cubicBezTo>
                  <a:cubicBezTo>
                    <a:pt x="853" y="28"/>
                    <a:pt x="855" y="28"/>
                    <a:pt x="857" y="27"/>
                  </a:cubicBezTo>
                  <a:cubicBezTo>
                    <a:pt x="859" y="25"/>
                    <a:pt x="860" y="23"/>
                    <a:pt x="860" y="20"/>
                  </a:cubicBezTo>
                  <a:cubicBezTo>
                    <a:pt x="861" y="17"/>
                    <a:pt x="860" y="15"/>
                    <a:pt x="859" y="13"/>
                  </a:cubicBezTo>
                  <a:cubicBezTo>
                    <a:pt x="857" y="11"/>
                    <a:pt x="856" y="10"/>
                    <a:pt x="854" y="10"/>
                  </a:cubicBezTo>
                  <a:cubicBezTo>
                    <a:pt x="851" y="10"/>
                    <a:pt x="849" y="10"/>
                    <a:pt x="847" y="11"/>
                  </a:cubicBezTo>
                  <a:moveTo>
                    <a:pt x="750" y="100"/>
                  </a:moveTo>
                  <a:cubicBezTo>
                    <a:pt x="746" y="94"/>
                    <a:pt x="745" y="86"/>
                    <a:pt x="746" y="76"/>
                  </a:cubicBezTo>
                  <a:cubicBezTo>
                    <a:pt x="746" y="66"/>
                    <a:pt x="749" y="58"/>
                    <a:pt x="753" y="52"/>
                  </a:cubicBezTo>
                  <a:cubicBezTo>
                    <a:pt x="757" y="46"/>
                    <a:pt x="763" y="44"/>
                    <a:pt x="771" y="44"/>
                  </a:cubicBezTo>
                  <a:cubicBezTo>
                    <a:pt x="780" y="45"/>
                    <a:pt x="786" y="48"/>
                    <a:pt x="789" y="54"/>
                  </a:cubicBezTo>
                  <a:cubicBezTo>
                    <a:pt x="793" y="60"/>
                    <a:pt x="794" y="68"/>
                    <a:pt x="793" y="79"/>
                  </a:cubicBezTo>
                  <a:cubicBezTo>
                    <a:pt x="793" y="81"/>
                    <a:pt x="793" y="81"/>
                    <a:pt x="793" y="81"/>
                  </a:cubicBezTo>
                  <a:cubicBezTo>
                    <a:pt x="792" y="91"/>
                    <a:pt x="790" y="99"/>
                    <a:pt x="786" y="103"/>
                  </a:cubicBezTo>
                  <a:cubicBezTo>
                    <a:pt x="782" y="108"/>
                    <a:pt x="775" y="110"/>
                    <a:pt x="766" y="110"/>
                  </a:cubicBezTo>
                  <a:cubicBezTo>
                    <a:pt x="758" y="109"/>
                    <a:pt x="753" y="106"/>
                    <a:pt x="750" y="100"/>
                  </a:cubicBezTo>
                  <a:moveTo>
                    <a:pt x="780" y="118"/>
                  </a:moveTo>
                  <a:cubicBezTo>
                    <a:pt x="784" y="116"/>
                    <a:pt x="788" y="113"/>
                    <a:pt x="791" y="110"/>
                  </a:cubicBezTo>
                  <a:cubicBezTo>
                    <a:pt x="791" y="110"/>
                    <a:pt x="791" y="110"/>
                    <a:pt x="791" y="110"/>
                  </a:cubicBezTo>
                  <a:cubicBezTo>
                    <a:pt x="793" y="121"/>
                    <a:pt x="793" y="121"/>
                    <a:pt x="793" y="121"/>
                  </a:cubicBezTo>
                  <a:cubicBezTo>
                    <a:pt x="804" y="122"/>
                    <a:pt x="804" y="122"/>
                    <a:pt x="804" y="122"/>
                  </a:cubicBezTo>
                  <a:cubicBezTo>
                    <a:pt x="812" y="1"/>
                    <a:pt x="812" y="1"/>
                    <a:pt x="812" y="1"/>
                  </a:cubicBezTo>
                  <a:cubicBezTo>
                    <a:pt x="798" y="0"/>
                    <a:pt x="798" y="0"/>
                    <a:pt x="798" y="0"/>
                  </a:cubicBezTo>
                  <a:cubicBezTo>
                    <a:pt x="796" y="34"/>
                    <a:pt x="796" y="34"/>
                    <a:pt x="796" y="34"/>
                  </a:cubicBezTo>
                  <a:cubicBezTo>
                    <a:pt x="796" y="36"/>
                    <a:pt x="796" y="38"/>
                    <a:pt x="796" y="41"/>
                  </a:cubicBezTo>
                  <a:cubicBezTo>
                    <a:pt x="796" y="43"/>
                    <a:pt x="796" y="45"/>
                    <a:pt x="796" y="47"/>
                  </a:cubicBezTo>
                  <a:cubicBezTo>
                    <a:pt x="795" y="47"/>
                    <a:pt x="795" y="47"/>
                    <a:pt x="795" y="47"/>
                  </a:cubicBezTo>
                  <a:cubicBezTo>
                    <a:pt x="793" y="43"/>
                    <a:pt x="789" y="40"/>
                    <a:pt x="785" y="37"/>
                  </a:cubicBezTo>
                  <a:cubicBezTo>
                    <a:pt x="781" y="34"/>
                    <a:pt x="776" y="33"/>
                    <a:pt x="769" y="32"/>
                  </a:cubicBezTo>
                  <a:cubicBezTo>
                    <a:pt x="759" y="32"/>
                    <a:pt x="750" y="35"/>
                    <a:pt x="743" y="42"/>
                  </a:cubicBezTo>
                  <a:cubicBezTo>
                    <a:pt x="736" y="49"/>
                    <a:pt x="732" y="60"/>
                    <a:pt x="731" y="74"/>
                  </a:cubicBezTo>
                  <a:cubicBezTo>
                    <a:pt x="730" y="89"/>
                    <a:pt x="732" y="100"/>
                    <a:pt x="738" y="108"/>
                  </a:cubicBezTo>
                  <a:cubicBezTo>
                    <a:pt x="744" y="116"/>
                    <a:pt x="752" y="120"/>
                    <a:pt x="763" y="121"/>
                  </a:cubicBezTo>
                  <a:cubicBezTo>
                    <a:pt x="770" y="121"/>
                    <a:pt x="775" y="121"/>
                    <a:pt x="780" y="118"/>
                  </a:cubicBezTo>
                  <a:moveTo>
                    <a:pt x="694" y="35"/>
                  </a:moveTo>
                  <a:cubicBezTo>
                    <a:pt x="689" y="38"/>
                    <a:pt x="686" y="43"/>
                    <a:pt x="683" y="47"/>
                  </a:cubicBezTo>
                  <a:cubicBezTo>
                    <a:pt x="683" y="47"/>
                    <a:pt x="683" y="47"/>
                    <a:pt x="683" y="47"/>
                  </a:cubicBezTo>
                  <a:cubicBezTo>
                    <a:pt x="681" y="32"/>
                    <a:pt x="681" y="32"/>
                    <a:pt x="681" y="32"/>
                  </a:cubicBezTo>
                  <a:cubicBezTo>
                    <a:pt x="669" y="32"/>
                    <a:pt x="669" y="32"/>
                    <a:pt x="669" y="32"/>
                  </a:cubicBezTo>
                  <a:cubicBezTo>
                    <a:pt x="670" y="117"/>
                    <a:pt x="670" y="117"/>
                    <a:pt x="670" y="117"/>
                  </a:cubicBezTo>
                  <a:cubicBezTo>
                    <a:pt x="684" y="117"/>
                    <a:pt x="684" y="117"/>
                    <a:pt x="684" y="117"/>
                  </a:cubicBezTo>
                  <a:cubicBezTo>
                    <a:pt x="684" y="72"/>
                    <a:pt x="684" y="72"/>
                    <a:pt x="684" y="72"/>
                  </a:cubicBezTo>
                  <a:cubicBezTo>
                    <a:pt x="684" y="66"/>
                    <a:pt x="685" y="61"/>
                    <a:pt x="687" y="56"/>
                  </a:cubicBezTo>
                  <a:cubicBezTo>
                    <a:pt x="689" y="52"/>
                    <a:pt x="692" y="49"/>
                    <a:pt x="696" y="46"/>
                  </a:cubicBezTo>
                  <a:cubicBezTo>
                    <a:pt x="700" y="44"/>
                    <a:pt x="704" y="43"/>
                    <a:pt x="709" y="43"/>
                  </a:cubicBezTo>
                  <a:cubicBezTo>
                    <a:pt x="710" y="43"/>
                    <a:pt x="711" y="43"/>
                    <a:pt x="713" y="43"/>
                  </a:cubicBezTo>
                  <a:cubicBezTo>
                    <a:pt x="715" y="43"/>
                    <a:pt x="716" y="43"/>
                    <a:pt x="718" y="44"/>
                  </a:cubicBezTo>
                  <a:cubicBezTo>
                    <a:pt x="719" y="31"/>
                    <a:pt x="719" y="31"/>
                    <a:pt x="719" y="31"/>
                  </a:cubicBezTo>
                  <a:cubicBezTo>
                    <a:pt x="718" y="30"/>
                    <a:pt x="716" y="30"/>
                    <a:pt x="715" y="30"/>
                  </a:cubicBezTo>
                  <a:cubicBezTo>
                    <a:pt x="713" y="30"/>
                    <a:pt x="711" y="30"/>
                    <a:pt x="709" y="30"/>
                  </a:cubicBezTo>
                  <a:cubicBezTo>
                    <a:pt x="703" y="30"/>
                    <a:pt x="698" y="32"/>
                    <a:pt x="694" y="35"/>
                  </a:cubicBezTo>
                  <a:moveTo>
                    <a:pt x="584" y="56"/>
                  </a:moveTo>
                  <a:cubicBezTo>
                    <a:pt x="587" y="50"/>
                    <a:pt x="593" y="46"/>
                    <a:pt x="602" y="46"/>
                  </a:cubicBezTo>
                  <a:cubicBezTo>
                    <a:pt x="610" y="45"/>
                    <a:pt x="617" y="47"/>
                    <a:pt x="622" y="53"/>
                  </a:cubicBezTo>
                  <a:cubicBezTo>
                    <a:pt x="626" y="58"/>
                    <a:pt x="629" y="66"/>
                    <a:pt x="630" y="76"/>
                  </a:cubicBezTo>
                  <a:cubicBezTo>
                    <a:pt x="630" y="86"/>
                    <a:pt x="629" y="94"/>
                    <a:pt x="626" y="101"/>
                  </a:cubicBezTo>
                  <a:cubicBezTo>
                    <a:pt x="622" y="107"/>
                    <a:pt x="616" y="110"/>
                    <a:pt x="607" y="111"/>
                  </a:cubicBezTo>
                  <a:cubicBezTo>
                    <a:pt x="599" y="112"/>
                    <a:pt x="592" y="109"/>
                    <a:pt x="588" y="104"/>
                  </a:cubicBezTo>
                  <a:cubicBezTo>
                    <a:pt x="583" y="98"/>
                    <a:pt x="580" y="90"/>
                    <a:pt x="580" y="80"/>
                  </a:cubicBezTo>
                  <a:cubicBezTo>
                    <a:pt x="579" y="70"/>
                    <a:pt x="580" y="62"/>
                    <a:pt x="584" y="56"/>
                  </a:cubicBezTo>
                  <a:moveTo>
                    <a:pt x="637" y="51"/>
                  </a:moveTo>
                  <a:cubicBezTo>
                    <a:pt x="633" y="45"/>
                    <a:pt x="628" y="40"/>
                    <a:pt x="622" y="37"/>
                  </a:cubicBezTo>
                  <a:cubicBezTo>
                    <a:pt x="616" y="34"/>
                    <a:pt x="609" y="33"/>
                    <a:pt x="601" y="34"/>
                  </a:cubicBezTo>
                  <a:cubicBezTo>
                    <a:pt x="589" y="35"/>
                    <a:pt x="579" y="40"/>
                    <a:pt x="573" y="48"/>
                  </a:cubicBezTo>
                  <a:cubicBezTo>
                    <a:pt x="567" y="56"/>
                    <a:pt x="564" y="67"/>
                    <a:pt x="565" y="81"/>
                  </a:cubicBezTo>
                  <a:cubicBezTo>
                    <a:pt x="566" y="91"/>
                    <a:pt x="568" y="99"/>
                    <a:pt x="572" y="105"/>
                  </a:cubicBezTo>
                  <a:cubicBezTo>
                    <a:pt x="576" y="111"/>
                    <a:pt x="581" y="116"/>
                    <a:pt x="587" y="119"/>
                  </a:cubicBezTo>
                  <a:cubicBezTo>
                    <a:pt x="594" y="122"/>
                    <a:pt x="600" y="123"/>
                    <a:pt x="608" y="123"/>
                  </a:cubicBezTo>
                  <a:cubicBezTo>
                    <a:pt x="620" y="122"/>
                    <a:pt x="630" y="117"/>
                    <a:pt x="636" y="109"/>
                  </a:cubicBezTo>
                  <a:cubicBezTo>
                    <a:pt x="643" y="100"/>
                    <a:pt x="645" y="89"/>
                    <a:pt x="644" y="75"/>
                  </a:cubicBezTo>
                  <a:cubicBezTo>
                    <a:pt x="643" y="65"/>
                    <a:pt x="641" y="58"/>
                    <a:pt x="637" y="51"/>
                  </a:cubicBezTo>
                  <a:moveTo>
                    <a:pt x="522" y="15"/>
                  </a:moveTo>
                  <a:cubicBezTo>
                    <a:pt x="509" y="18"/>
                    <a:pt x="509" y="18"/>
                    <a:pt x="509" y="18"/>
                  </a:cubicBezTo>
                  <a:cubicBezTo>
                    <a:pt x="522" y="81"/>
                    <a:pt x="522" y="81"/>
                    <a:pt x="522" y="81"/>
                  </a:cubicBezTo>
                  <a:cubicBezTo>
                    <a:pt x="522" y="84"/>
                    <a:pt x="523" y="88"/>
                    <a:pt x="524" y="92"/>
                  </a:cubicBezTo>
                  <a:cubicBezTo>
                    <a:pt x="525" y="96"/>
                    <a:pt x="526" y="100"/>
                    <a:pt x="527" y="103"/>
                  </a:cubicBezTo>
                  <a:cubicBezTo>
                    <a:pt x="527" y="106"/>
                    <a:pt x="528" y="109"/>
                    <a:pt x="528" y="110"/>
                  </a:cubicBezTo>
                  <a:cubicBezTo>
                    <a:pt x="528" y="110"/>
                    <a:pt x="528" y="110"/>
                    <a:pt x="528" y="110"/>
                  </a:cubicBezTo>
                  <a:cubicBezTo>
                    <a:pt x="450" y="30"/>
                    <a:pt x="450" y="30"/>
                    <a:pt x="450" y="30"/>
                  </a:cubicBezTo>
                  <a:cubicBezTo>
                    <a:pt x="433" y="33"/>
                    <a:pt x="433" y="33"/>
                    <a:pt x="433" y="33"/>
                  </a:cubicBezTo>
                  <a:cubicBezTo>
                    <a:pt x="456" y="145"/>
                    <a:pt x="456" y="145"/>
                    <a:pt x="456" y="145"/>
                  </a:cubicBezTo>
                  <a:cubicBezTo>
                    <a:pt x="469" y="142"/>
                    <a:pt x="469" y="142"/>
                    <a:pt x="469" y="142"/>
                  </a:cubicBezTo>
                  <a:cubicBezTo>
                    <a:pt x="456" y="80"/>
                    <a:pt x="456" y="80"/>
                    <a:pt x="456" y="80"/>
                  </a:cubicBezTo>
                  <a:cubicBezTo>
                    <a:pt x="455" y="74"/>
                    <a:pt x="454" y="68"/>
                    <a:pt x="452" y="63"/>
                  </a:cubicBezTo>
                  <a:cubicBezTo>
                    <a:pt x="451" y="58"/>
                    <a:pt x="450" y="53"/>
                    <a:pt x="449" y="49"/>
                  </a:cubicBezTo>
                  <a:cubicBezTo>
                    <a:pt x="449" y="49"/>
                    <a:pt x="449" y="49"/>
                    <a:pt x="449" y="49"/>
                  </a:cubicBezTo>
                  <a:cubicBezTo>
                    <a:pt x="528" y="131"/>
                    <a:pt x="528" y="131"/>
                    <a:pt x="528" y="131"/>
                  </a:cubicBezTo>
                  <a:cubicBezTo>
                    <a:pt x="544" y="127"/>
                    <a:pt x="544" y="127"/>
                    <a:pt x="544" y="127"/>
                  </a:cubicBezTo>
                  <a:lnTo>
                    <a:pt x="522" y="15"/>
                  </a:lnTo>
                  <a:close/>
                  <a:moveTo>
                    <a:pt x="314" y="119"/>
                  </a:moveTo>
                  <a:cubicBezTo>
                    <a:pt x="316" y="112"/>
                    <a:pt x="321" y="108"/>
                    <a:pt x="329" y="105"/>
                  </a:cubicBezTo>
                  <a:cubicBezTo>
                    <a:pt x="337" y="102"/>
                    <a:pt x="344" y="102"/>
                    <a:pt x="350" y="106"/>
                  </a:cubicBezTo>
                  <a:cubicBezTo>
                    <a:pt x="356" y="110"/>
                    <a:pt x="360" y="117"/>
                    <a:pt x="364" y="127"/>
                  </a:cubicBezTo>
                  <a:cubicBezTo>
                    <a:pt x="367" y="136"/>
                    <a:pt x="368" y="144"/>
                    <a:pt x="366" y="151"/>
                  </a:cubicBezTo>
                  <a:cubicBezTo>
                    <a:pt x="364" y="158"/>
                    <a:pt x="359" y="163"/>
                    <a:pt x="351" y="166"/>
                  </a:cubicBezTo>
                  <a:cubicBezTo>
                    <a:pt x="343" y="169"/>
                    <a:pt x="336" y="168"/>
                    <a:pt x="330" y="164"/>
                  </a:cubicBezTo>
                  <a:cubicBezTo>
                    <a:pt x="325" y="160"/>
                    <a:pt x="320" y="153"/>
                    <a:pt x="316" y="144"/>
                  </a:cubicBezTo>
                  <a:cubicBezTo>
                    <a:pt x="313" y="134"/>
                    <a:pt x="312" y="126"/>
                    <a:pt x="314" y="119"/>
                  </a:cubicBezTo>
                  <a:moveTo>
                    <a:pt x="365" y="101"/>
                  </a:moveTo>
                  <a:cubicBezTo>
                    <a:pt x="359" y="96"/>
                    <a:pt x="353" y="93"/>
                    <a:pt x="346" y="91"/>
                  </a:cubicBezTo>
                  <a:cubicBezTo>
                    <a:pt x="340" y="90"/>
                    <a:pt x="333" y="91"/>
                    <a:pt x="325" y="93"/>
                  </a:cubicBezTo>
                  <a:cubicBezTo>
                    <a:pt x="314" y="98"/>
                    <a:pt x="306" y="104"/>
                    <a:pt x="302" y="114"/>
                  </a:cubicBezTo>
                  <a:cubicBezTo>
                    <a:pt x="298" y="124"/>
                    <a:pt x="298" y="135"/>
                    <a:pt x="303" y="149"/>
                  </a:cubicBezTo>
                  <a:cubicBezTo>
                    <a:pt x="306" y="157"/>
                    <a:pt x="310" y="164"/>
                    <a:pt x="316" y="170"/>
                  </a:cubicBezTo>
                  <a:cubicBezTo>
                    <a:pt x="321" y="175"/>
                    <a:pt x="327" y="178"/>
                    <a:pt x="334" y="179"/>
                  </a:cubicBezTo>
                  <a:cubicBezTo>
                    <a:pt x="341" y="180"/>
                    <a:pt x="348" y="180"/>
                    <a:pt x="355" y="177"/>
                  </a:cubicBezTo>
                  <a:cubicBezTo>
                    <a:pt x="366" y="173"/>
                    <a:pt x="374" y="166"/>
                    <a:pt x="378" y="156"/>
                  </a:cubicBezTo>
                  <a:cubicBezTo>
                    <a:pt x="383" y="147"/>
                    <a:pt x="382" y="135"/>
                    <a:pt x="377" y="122"/>
                  </a:cubicBezTo>
                  <a:cubicBezTo>
                    <a:pt x="374" y="113"/>
                    <a:pt x="370" y="106"/>
                    <a:pt x="365" y="101"/>
                  </a:cubicBezTo>
                  <a:moveTo>
                    <a:pt x="279" y="206"/>
                  </a:moveTo>
                  <a:cubicBezTo>
                    <a:pt x="273" y="114"/>
                    <a:pt x="273" y="114"/>
                    <a:pt x="273" y="114"/>
                  </a:cubicBezTo>
                  <a:cubicBezTo>
                    <a:pt x="260" y="120"/>
                    <a:pt x="260" y="120"/>
                    <a:pt x="260" y="120"/>
                  </a:cubicBezTo>
                  <a:cubicBezTo>
                    <a:pt x="264" y="174"/>
                    <a:pt x="264" y="174"/>
                    <a:pt x="264" y="174"/>
                  </a:cubicBezTo>
                  <a:cubicBezTo>
                    <a:pt x="264" y="176"/>
                    <a:pt x="265" y="179"/>
                    <a:pt x="265" y="182"/>
                  </a:cubicBezTo>
                  <a:cubicBezTo>
                    <a:pt x="265" y="185"/>
                    <a:pt x="265" y="188"/>
                    <a:pt x="266" y="191"/>
                  </a:cubicBezTo>
                  <a:cubicBezTo>
                    <a:pt x="266" y="194"/>
                    <a:pt x="267" y="196"/>
                    <a:pt x="267" y="198"/>
                  </a:cubicBezTo>
                  <a:cubicBezTo>
                    <a:pt x="266" y="198"/>
                    <a:pt x="266" y="198"/>
                    <a:pt x="266" y="198"/>
                  </a:cubicBezTo>
                  <a:cubicBezTo>
                    <a:pt x="265" y="196"/>
                    <a:pt x="264" y="195"/>
                    <a:pt x="262" y="193"/>
                  </a:cubicBezTo>
                  <a:cubicBezTo>
                    <a:pt x="260" y="190"/>
                    <a:pt x="259" y="188"/>
                    <a:pt x="256" y="186"/>
                  </a:cubicBezTo>
                  <a:cubicBezTo>
                    <a:pt x="254" y="184"/>
                    <a:pt x="252" y="182"/>
                    <a:pt x="251" y="180"/>
                  </a:cubicBezTo>
                  <a:cubicBezTo>
                    <a:pt x="213" y="142"/>
                    <a:pt x="213" y="142"/>
                    <a:pt x="213" y="142"/>
                  </a:cubicBezTo>
                  <a:cubicBezTo>
                    <a:pt x="199" y="148"/>
                    <a:pt x="199" y="148"/>
                    <a:pt x="199" y="148"/>
                  </a:cubicBezTo>
                  <a:cubicBezTo>
                    <a:pt x="265" y="212"/>
                    <a:pt x="265" y="212"/>
                    <a:pt x="265" y="212"/>
                  </a:cubicBezTo>
                  <a:lnTo>
                    <a:pt x="279" y="206"/>
                  </a:lnTo>
                  <a:close/>
                  <a:moveTo>
                    <a:pt x="146" y="199"/>
                  </a:moveTo>
                  <a:cubicBezTo>
                    <a:pt x="147" y="192"/>
                    <a:pt x="151" y="187"/>
                    <a:pt x="158" y="182"/>
                  </a:cubicBezTo>
                  <a:cubicBezTo>
                    <a:pt x="166" y="178"/>
                    <a:pt x="173" y="177"/>
                    <a:pt x="179" y="180"/>
                  </a:cubicBezTo>
                  <a:cubicBezTo>
                    <a:pt x="186" y="183"/>
                    <a:pt x="191" y="189"/>
                    <a:pt x="196" y="198"/>
                  </a:cubicBezTo>
                  <a:cubicBezTo>
                    <a:pt x="201" y="207"/>
                    <a:pt x="203" y="215"/>
                    <a:pt x="203" y="222"/>
                  </a:cubicBezTo>
                  <a:cubicBezTo>
                    <a:pt x="202" y="229"/>
                    <a:pt x="198" y="235"/>
                    <a:pt x="191" y="239"/>
                  </a:cubicBezTo>
                  <a:cubicBezTo>
                    <a:pt x="183" y="243"/>
                    <a:pt x="176" y="244"/>
                    <a:pt x="170" y="241"/>
                  </a:cubicBezTo>
                  <a:cubicBezTo>
                    <a:pt x="163" y="238"/>
                    <a:pt x="158" y="232"/>
                    <a:pt x="153" y="223"/>
                  </a:cubicBezTo>
                  <a:cubicBezTo>
                    <a:pt x="148" y="214"/>
                    <a:pt x="145" y="206"/>
                    <a:pt x="146" y="199"/>
                  </a:cubicBezTo>
                  <a:moveTo>
                    <a:pt x="193" y="172"/>
                  </a:moveTo>
                  <a:cubicBezTo>
                    <a:pt x="187" y="168"/>
                    <a:pt x="180" y="166"/>
                    <a:pt x="173" y="166"/>
                  </a:cubicBezTo>
                  <a:cubicBezTo>
                    <a:pt x="166" y="166"/>
                    <a:pt x="159" y="168"/>
                    <a:pt x="153" y="172"/>
                  </a:cubicBezTo>
                  <a:cubicBezTo>
                    <a:pt x="142" y="178"/>
                    <a:pt x="135" y="186"/>
                    <a:pt x="133" y="196"/>
                  </a:cubicBezTo>
                  <a:cubicBezTo>
                    <a:pt x="131" y="206"/>
                    <a:pt x="133" y="218"/>
                    <a:pt x="140" y="230"/>
                  </a:cubicBezTo>
                  <a:cubicBezTo>
                    <a:pt x="145" y="238"/>
                    <a:pt x="150" y="244"/>
                    <a:pt x="156" y="249"/>
                  </a:cubicBezTo>
                  <a:cubicBezTo>
                    <a:pt x="163" y="253"/>
                    <a:pt x="169" y="255"/>
                    <a:pt x="176" y="255"/>
                  </a:cubicBezTo>
                  <a:cubicBezTo>
                    <a:pt x="183" y="255"/>
                    <a:pt x="190" y="253"/>
                    <a:pt x="196" y="249"/>
                  </a:cubicBezTo>
                  <a:cubicBezTo>
                    <a:pt x="207" y="243"/>
                    <a:pt x="213" y="235"/>
                    <a:pt x="216" y="225"/>
                  </a:cubicBezTo>
                  <a:cubicBezTo>
                    <a:pt x="218" y="215"/>
                    <a:pt x="216" y="203"/>
                    <a:pt x="209" y="191"/>
                  </a:cubicBezTo>
                  <a:cubicBezTo>
                    <a:pt x="204" y="183"/>
                    <a:pt x="199" y="176"/>
                    <a:pt x="193" y="172"/>
                  </a:cubicBezTo>
                  <a:moveTo>
                    <a:pt x="73" y="187"/>
                  </a:moveTo>
                  <a:cubicBezTo>
                    <a:pt x="62" y="195"/>
                    <a:pt x="62" y="195"/>
                    <a:pt x="62" y="195"/>
                  </a:cubicBezTo>
                  <a:cubicBezTo>
                    <a:pt x="100" y="247"/>
                    <a:pt x="100" y="247"/>
                    <a:pt x="100" y="247"/>
                  </a:cubicBezTo>
                  <a:cubicBezTo>
                    <a:pt x="102" y="250"/>
                    <a:pt x="104" y="253"/>
                    <a:pt x="107" y="256"/>
                  </a:cubicBezTo>
                  <a:cubicBezTo>
                    <a:pt x="109" y="260"/>
                    <a:pt x="112" y="262"/>
                    <a:pt x="114" y="265"/>
                  </a:cubicBezTo>
                  <a:cubicBezTo>
                    <a:pt x="116" y="268"/>
                    <a:pt x="118" y="270"/>
                    <a:pt x="119" y="271"/>
                  </a:cubicBezTo>
                  <a:cubicBezTo>
                    <a:pt x="118" y="272"/>
                    <a:pt x="118" y="272"/>
                    <a:pt x="118" y="272"/>
                  </a:cubicBezTo>
                  <a:cubicBezTo>
                    <a:pt x="13" y="230"/>
                    <a:pt x="13" y="230"/>
                    <a:pt x="13" y="230"/>
                  </a:cubicBezTo>
                  <a:cubicBezTo>
                    <a:pt x="0" y="240"/>
                    <a:pt x="0" y="240"/>
                    <a:pt x="0" y="240"/>
                  </a:cubicBezTo>
                  <a:cubicBezTo>
                    <a:pt x="67" y="333"/>
                    <a:pt x="67" y="333"/>
                    <a:pt x="67" y="333"/>
                  </a:cubicBezTo>
                  <a:cubicBezTo>
                    <a:pt x="77" y="325"/>
                    <a:pt x="77" y="325"/>
                    <a:pt x="77" y="325"/>
                  </a:cubicBezTo>
                  <a:cubicBezTo>
                    <a:pt x="40" y="273"/>
                    <a:pt x="40" y="273"/>
                    <a:pt x="40" y="273"/>
                  </a:cubicBezTo>
                  <a:cubicBezTo>
                    <a:pt x="37" y="269"/>
                    <a:pt x="33" y="264"/>
                    <a:pt x="30" y="260"/>
                  </a:cubicBezTo>
                  <a:cubicBezTo>
                    <a:pt x="26" y="255"/>
                    <a:pt x="23" y="252"/>
                    <a:pt x="21" y="249"/>
                  </a:cubicBezTo>
                  <a:cubicBezTo>
                    <a:pt x="21" y="248"/>
                    <a:pt x="21" y="248"/>
                    <a:pt x="21" y="248"/>
                  </a:cubicBezTo>
                  <a:cubicBezTo>
                    <a:pt x="127" y="290"/>
                    <a:pt x="127" y="290"/>
                    <a:pt x="127" y="290"/>
                  </a:cubicBezTo>
                  <a:cubicBezTo>
                    <a:pt x="140" y="280"/>
                    <a:pt x="140" y="280"/>
                    <a:pt x="140" y="280"/>
                  </a:cubicBezTo>
                  <a:lnTo>
                    <a:pt x="73" y="187"/>
                  </a:lnTo>
                  <a:close/>
                </a:path>
              </a:pathLst>
            </a:custGeom>
            <a:solidFill>
              <a:srgbClr val="222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sp>
          <p:nvSpPr>
            <p:cNvPr id="31" name="Freeform 50">
              <a:extLst>
                <a:ext uri="{FF2B5EF4-FFF2-40B4-BE49-F238E27FC236}">
                  <a16:creationId xmlns:a16="http://schemas.microsoft.com/office/drawing/2014/main" id="{94065410-4AAD-214C-AB65-EFE1DF89A74C}"/>
                </a:ext>
              </a:extLst>
            </p:cNvPr>
            <p:cNvSpPr>
              <a:spLocks noEditPoints="1"/>
            </p:cNvSpPr>
            <p:nvPr/>
          </p:nvSpPr>
          <p:spPr bwMode="auto">
            <a:xfrm>
              <a:off x="4051300" y="3079751"/>
              <a:ext cx="1066800" cy="266700"/>
            </a:xfrm>
            <a:custGeom>
              <a:avLst/>
              <a:gdLst>
                <a:gd name="T0" fmla="*/ 1552 w 1625"/>
                <a:gd name="T1" fmla="*/ 34 h 403"/>
                <a:gd name="T2" fmla="*/ 1539 w 1625"/>
                <a:gd name="T3" fmla="*/ 35 h 403"/>
                <a:gd name="T4" fmla="*/ 1608 w 1625"/>
                <a:gd name="T5" fmla="*/ 51 h 403"/>
                <a:gd name="T6" fmla="*/ 1609 w 1625"/>
                <a:gd name="T7" fmla="*/ 83 h 403"/>
                <a:gd name="T8" fmla="*/ 1503 w 1625"/>
                <a:gd name="T9" fmla="*/ 100 h 403"/>
                <a:gd name="T10" fmla="*/ 1515 w 1625"/>
                <a:gd name="T11" fmla="*/ 56 h 403"/>
                <a:gd name="T12" fmla="*/ 1516 w 1625"/>
                <a:gd name="T13" fmla="*/ 110 h 403"/>
                <a:gd name="T14" fmla="*/ 1510 w 1625"/>
                <a:gd name="T15" fmla="*/ 144 h 403"/>
                <a:gd name="T16" fmla="*/ 1441 w 1625"/>
                <a:gd name="T17" fmla="*/ 129 h 403"/>
                <a:gd name="T18" fmla="*/ 1402 w 1625"/>
                <a:gd name="T19" fmla="*/ 159 h 403"/>
                <a:gd name="T20" fmla="*/ 1483 w 1625"/>
                <a:gd name="T21" fmla="*/ 164 h 403"/>
                <a:gd name="T22" fmla="*/ 1453 w 1625"/>
                <a:gd name="T23" fmla="*/ 121 h 403"/>
                <a:gd name="T24" fmla="*/ 1308 w 1625"/>
                <a:gd name="T25" fmla="*/ 191 h 403"/>
                <a:gd name="T26" fmla="*/ 1364 w 1625"/>
                <a:gd name="T27" fmla="*/ 195 h 403"/>
                <a:gd name="T28" fmla="*/ 1256 w 1625"/>
                <a:gd name="T29" fmla="*/ 216 h 403"/>
                <a:gd name="T30" fmla="*/ 1250 w 1625"/>
                <a:gd name="T31" fmla="*/ 201 h 403"/>
                <a:gd name="T32" fmla="*/ 1249 w 1625"/>
                <a:gd name="T33" fmla="*/ 275 h 403"/>
                <a:gd name="T34" fmla="*/ 1208 w 1625"/>
                <a:gd name="T35" fmla="*/ 248 h 403"/>
                <a:gd name="T36" fmla="*/ 1184 w 1625"/>
                <a:gd name="T37" fmla="*/ 270 h 403"/>
                <a:gd name="T38" fmla="*/ 1243 w 1625"/>
                <a:gd name="T39" fmla="*/ 302 h 403"/>
                <a:gd name="T40" fmla="*/ 1254 w 1625"/>
                <a:gd name="T41" fmla="*/ 306 h 403"/>
                <a:gd name="T42" fmla="*/ 1108 w 1625"/>
                <a:gd name="T43" fmla="*/ 330 h 403"/>
                <a:gd name="T44" fmla="*/ 1156 w 1625"/>
                <a:gd name="T45" fmla="*/ 335 h 403"/>
                <a:gd name="T46" fmla="*/ 1043 w 1625"/>
                <a:gd name="T47" fmla="*/ 358 h 403"/>
                <a:gd name="T48" fmla="*/ 1044 w 1625"/>
                <a:gd name="T49" fmla="*/ 333 h 403"/>
                <a:gd name="T50" fmla="*/ 1032 w 1625"/>
                <a:gd name="T51" fmla="*/ 381 h 403"/>
                <a:gd name="T52" fmla="*/ 990 w 1625"/>
                <a:gd name="T53" fmla="*/ 312 h 403"/>
                <a:gd name="T54" fmla="*/ 846 w 1625"/>
                <a:gd name="T55" fmla="*/ 351 h 403"/>
                <a:gd name="T56" fmla="*/ 838 w 1625"/>
                <a:gd name="T57" fmla="*/ 385 h 403"/>
                <a:gd name="T58" fmla="*/ 876 w 1625"/>
                <a:gd name="T59" fmla="*/ 390 h 403"/>
                <a:gd name="T60" fmla="*/ 866 w 1625"/>
                <a:gd name="T61" fmla="*/ 314 h 403"/>
                <a:gd name="T62" fmla="*/ 740 w 1625"/>
                <a:gd name="T63" fmla="*/ 359 h 403"/>
                <a:gd name="T64" fmla="*/ 719 w 1625"/>
                <a:gd name="T65" fmla="*/ 325 h 403"/>
                <a:gd name="T66" fmla="*/ 700 w 1625"/>
                <a:gd name="T67" fmla="*/ 398 h 403"/>
                <a:gd name="T68" fmla="*/ 695 w 1625"/>
                <a:gd name="T69" fmla="*/ 325 h 403"/>
                <a:gd name="T70" fmla="*/ 616 w 1625"/>
                <a:gd name="T71" fmla="*/ 374 h 403"/>
                <a:gd name="T72" fmla="*/ 626 w 1625"/>
                <a:gd name="T73" fmla="*/ 357 h 403"/>
                <a:gd name="T74" fmla="*/ 630 w 1625"/>
                <a:gd name="T75" fmla="*/ 335 h 403"/>
                <a:gd name="T76" fmla="*/ 610 w 1625"/>
                <a:gd name="T77" fmla="*/ 387 h 403"/>
                <a:gd name="T78" fmla="*/ 618 w 1625"/>
                <a:gd name="T79" fmla="*/ 302 h 403"/>
                <a:gd name="T80" fmla="*/ 461 w 1625"/>
                <a:gd name="T81" fmla="*/ 357 h 403"/>
                <a:gd name="T82" fmla="*/ 531 w 1625"/>
                <a:gd name="T83" fmla="*/ 375 h 403"/>
                <a:gd name="T84" fmla="*/ 423 w 1625"/>
                <a:gd name="T85" fmla="*/ 345 h 403"/>
                <a:gd name="T86" fmla="*/ 454 w 1625"/>
                <a:gd name="T87" fmla="*/ 248 h 403"/>
                <a:gd name="T88" fmla="*/ 342 w 1625"/>
                <a:gd name="T89" fmla="*/ 305 h 403"/>
                <a:gd name="T90" fmla="*/ 363 w 1625"/>
                <a:gd name="T91" fmla="*/ 232 h 403"/>
                <a:gd name="T92" fmla="*/ 381 w 1625"/>
                <a:gd name="T93" fmla="*/ 275 h 403"/>
                <a:gd name="T94" fmla="*/ 367 w 1625"/>
                <a:gd name="T95" fmla="*/ 312 h 403"/>
                <a:gd name="T96" fmla="*/ 363 w 1625"/>
                <a:gd name="T97" fmla="*/ 232 h 403"/>
                <a:gd name="T98" fmla="*/ 313 w 1625"/>
                <a:gd name="T99" fmla="*/ 186 h 403"/>
                <a:gd name="T100" fmla="*/ 261 w 1625"/>
                <a:gd name="T101" fmla="*/ 269 h 403"/>
                <a:gd name="T102" fmla="*/ 283 w 1625"/>
                <a:gd name="T103" fmla="*/ 278 h 403"/>
                <a:gd name="T104" fmla="*/ 215 w 1625"/>
                <a:gd name="T105" fmla="*/ 179 h 403"/>
                <a:gd name="T106" fmla="*/ 242 w 1625"/>
                <a:gd name="T107" fmla="*/ 169 h 403"/>
                <a:gd name="T108" fmla="*/ 224 w 1625"/>
                <a:gd name="T109" fmla="*/ 227 h 403"/>
                <a:gd name="T110" fmla="*/ 180 w 1625"/>
                <a:gd name="T111" fmla="*/ 234 h 403"/>
                <a:gd name="T112" fmla="*/ 134 w 1625"/>
                <a:gd name="T113" fmla="*/ 183 h 403"/>
                <a:gd name="T114" fmla="*/ 105 w 1625"/>
                <a:gd name="T115" fmla="*/ 187 h 403"/>
                <a:gd name="T116" fmla="*/ 177 w 1625"/>
                <a:gd name="T117" fmla="*/ 131 h 403"/>
                <a:gd name="T118" fmla="*/ 77 w 1625"/>
                <a:gd name="T119" fmla="*/ 38 h 403"/>
                <a:gd name="T120" fmla="*/ 84 w 1625"/>
                <a:gd name="T121" fmla="*/ 26 h 403"/>
                <a:gd name="T122" fmla="*/ 61 w 1625"/>
                <a:gd name="T123" fmla="*/ 115 h 403"/>
                <a:gd name="T124" fmla="*/ 21 w 1625"/>
                <a:gd name="T125" fmla="*/ 122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5" h="403">
                  <a:moveTo>
                    <a:pt x="1607" y="34"/>
                  </a:moveTo>
                  <a:cubicBezTo>
                    <a:pt x="1603" y="34"/>
                    <a:pt x="1600" y="34"/>
                    <a:pt x="1595" y="35"/>
                  </a:cubicBezTo>
                  <a:cubicBezTo>
                    <a:pt x="1591" y="36"/>
                    <a:pt x="1586" y="38"/>
                    <a:pt x="1581" y="40"/>
                  </a:cubicBezTo>
                  <a:cubicBezTo>
                    <a:pt x="1576" y="42"/>
                    <a:pt x="1571" y="44"/>
                    <a:pt x="1568" y="45"/>
                  </a:cubicBezTo>
                  <a:cubicBezTo>
                    <a:pt x="1564" y="46"/>
                    <a:pt x="1561" y="46"/>
                    <a:pt x="1559" y="46"/>
                  </a:cubicBezTo>
                  <a:cubicBezTo>
                    <a:pt x="1557" y="46"/>
                    <a:pt x="1555" y="45"/>
                    <a:pt x="1554" y="43"/>
                  </a:cubicBezTo>
                  <a:cubicBezTo>
                    <a:pt x="1551" y="41"/>
                    <a:pt x="1551" y="38"/>
                    <a:pt x="1552" y="34"/>
                  </a:cubicBezTo>
                  <a:cubicBezTo>
                    <a:pt x="1553" y="31"/>
                    <a:pt x="1555" y="27"/>
                    <a:pt x="1559" y="23"/>
                  </a:cubicBezTo>
                  <a:cubicBezTo>
                    <a:pt x="1562" y="20"/>
                    <a:pt x="1566" y="18"/>
                    <a:pt x="1569" y="16"/>
                  </a:cubicBezTo>
                  <a:cubicBezTo>
                    <a:pt x="1573" y="14"/>
                    <a:pt x="1577" y="13"/>
                    <a:pt x="1580" y="11"/>
                  </a:cubicBezTo>
                  <a:cubicBezTo>
                    <a:pt x="1576" y="0"/>
                    <a:pt x="1576" y="0"/>
                    <a:pt x="1576" y="0"/>
                  </a:cubicBezTo>
                  <a:cubicBezTo>
                    <a:pt x="1572" y="1"/>
                    <a:pt x="1568" y="3"/>
                    <a:pt x="1564" y="5"/>
                  </a:cubicBezTo>
                  <a:cubicBezTo>
                    <a:pt x="1560" y="8"/>
                    <a:pt x="1556" y="11"/>
                    <a:pt x="1552" y="14"/>
                  </a:cubicBezTo>
                  <a:cubicBezTo>
                    <a:pt x="1545" y="21"/>
                    <a:pt x="1541" y="28"/>
                    <a:pt x="1539" y="35"/>
                  </a:cubicBezTo>
                  <a:cubicBezTo>
                    <a:pt x="1538" y="41"/>
                    <a:pt x="1539" y="48"/>
                    <a:pt x="1544" y="53"/>
                  </a:cubicBezTo>
                  <a:cubicBezTo>
                    <a:pt x="1548" y="56"/>
                    <a:pt x="1551" y="58"/>
                    <a:pt x="1555" y="59"/>
                  </a:cubicBezTo>
                  <a:cubicBezTo>
                    <a:pt x="1558" y="60"/>
                    <a:pt x="1562" y="60"/>
                    <a:pt x="1567" y="58"/>
                  </a:cubicBezTo>
                  <a:cubicBezTo>
                    <a:pt x="1571" y="57"/>
                    <a:pt x="1576" y="56"/>
                    <a:pt x="1581" y="53"/>
                  </a:cubicBezTo>
                  <a:cubicBezTo>
                    <a:pt x="1587" y="51"/>
                    <a:pt x="1591" y="49"/>
                    <a:pt x="1595" y="49"/>
                  </a:cubicBezTo>
                  <a:cubicBezTo>
                    <a:pt x="1598" y="48"/>
                    <a:pt x="1601" y="47"/>
                    <a:pt x="1603" y="48"/>
                  </a:cubicBezTo>
                  <a:cubicBezTo>
                    <a:pt x="1605" y="48"/>
                    <a:pt x="1607" y="49"/>
                    <a:pt x="1608" y="51"/>
                  </a:cubicBezTo>
                  <a:cubicBezTo>
                    <a:pt x="1611" y="54"/>
                    <a:pt x="1612" y="57"/>
                    <a:pt x="1611" y="61"/>
                  </a:cubicBezTo>
                  <a:cubicBezTo>
                    <a:pt x="1610" y="65"/>
                    <a:pt x="1607" y="69"/>
                    <a:pt x="1602" y="74"/>
                  </a:cubicBezTo>
                  <a:cubicBezTo>
                    <a:pt x="1598" y="77"/>
                    <a:pt x="1594" y="80"/>
                    <a:pt x="1590" y="83"/>
                  </a:cubicBezTo>
                  <a:cubicBezTo>
                    <a:pt x="1585" y="85"/>
                    <a:pt x="1581" y="87"/>
                    <a:pt x="1577" y="88"/>
                  </a:cubicBezTo>
                  <a:cubicBezTo>
                    <a:pt x="1586" y="97"/>
                    <a:pt x="1586" y="97"/>
                    <a:pt x="1586" y="97"/>
                  </a:cubicBezTo>
                  <a:cubicBezTo>
                    <a:pt x="1590" y="96"/>
                    <a:pt x="1593" y="94"/>
                    <a:pt x="1597" y="92"/>
                  </a:cubicBezTo>
                  <a:cubicBezTo>
                    <a:pt x="1601" y="90"/>
                    <a:pt x="1605" y="87"/>
                    <a:pt x="1609" y="83"/>
                  </a:cubicBezTo>
                  <a:cubicBezTo>
                    <a:pt x="1617" y="75"/>
                    <a:pt x="1622" y="68"/>
                    <a:pt x="1623" y="61"/>
                  </a:cubicBezTo>
                  <a:cubicBezTo>
                    <a:pt x="1625" y="53"/>
                    <a:pt x="1623" y="47"/>
                    <a:pt x="1617" y="41"/>
                  </a:cubicBezTo>
                  <a:cubicBezTo>
                    <a:pt x="1614" y="37"/>
                    <a:pt x="1611" y="35"/>
                    <a:pt x="1607" y="34"/>
                  </a:cubicBezTo>
                  <a:moveTo>
                    <a:pt x="1543" y="93"/>
                  </a:moveTo>
                  <a:cubicBezTo>
                    <a:pt x="1540" y="92"/>
                    <a:pt x="1536" y="91"/>
                    <a:pt x="1532" y="92"/>
                  </a:cubicBezTo>
                  <a:cubicBezTo>
                    <a:pt x="1527" y="93"/>
                    <a:pt x="1522" y="94"/>
                    <a:pt x="1517" y="96"/>
                  </a:cubicBezTo>
                  <a:cubicBezTo>
                    <a:pt x="1511" y="98"/>
                    <a:pt x="1507" y="99"/>
                    <a:pt x="1503" y="100"/>
                  </a:cubicBezTo>
                  <a:cubicBezTo>
                    <a:pt x="1500" y="101"/>
                    <a:pt x="1497" y="101"/>
                    <a:pt x="1495" y="101"/>
                  </a:cubicBezTo>
                  <a:cubicBezTo>
                    <a:pt x="1493" y="101"/>
                    <a:pt x="1491" y="99"/>
                    <a:pt x="1489" y="98"/>
                  </a:cubicBezTo>
                  <a:cubicBezTo>
                    <a:pt x="1487" y="95"/>
                    <a:pt x="1487" y="92"/>
                    <a:pt x="1488" y="89"/>
                  </a:cubicBezTo>
                  <a:cubicBezTo>
                    <a:pt x="1489" y="85"/>
                    <a:pt x="1492" y="82"/>
                    <a:pt x="1497" y="78"/>
                  </a:cubicBezTo>
                  <a:cubicBezTo>
                    <a:pt x="1500" y="76"/>
                    <a:pt x="1503" y="73"/>
                    <a:pt x="1507" y="72"/>
                  </a:cubicBezTo>
                  <a:cubicBezTo>
                    <a:pt x="1511" y="70"/>
                    <a:pt x="1515" y="69"/>
                    <a:pt x="1518" y="68"/>
                  </a:cubicBezTo>
                  <a:cubicBezTo>
                    <a:pt x="1515" y="56"/>
                    <a:pt x="1515" y="56"/>
                    <a:pt x="1515" y="56"/>
                  </a:cubicBezTo>
                  <a:cubicBezTo>
                    <a:pt x="1511" y="57"/>
                    <a:pt x="1507" y="59"/>
                    <a:pt x="1502" y="61"/>
                  </a:cubicBezTo>
                  <a:cubicBezTo>
                    <a:pt x="1498" y="63"/>
                    <a:pt x="1494" y="65"/>
                    <a:pt x="1490" y="69"/>
                  </a:cubicBezTo>
                  <a:cubicBezTo>
                    <a:pt x="1483" y="75"/>
                    <a:pt x="1478" y="81"/>
                    <a:pt x="1476" y="88"/>
                  </a:cubicBezTo>
                  <a:cubicBezTo>
                    <a:pt x="1474" y="95"/>
                    <a:pt x="1475" y="101"/>
                    <a:pt x="1480" y="107"/>
                  </a:cubicBezTo>
                  <a:cubicBezTo>
                    <a:pt x="1483" y="110"/>
                    <a:pt x="1486" y="113"/>
                    <a:pt x="1489" y="114"/>
                  </a:cubicBezTo>
                  <a:cubicBezTo>
                    <a:pt x="1493" y="114"/>
                    <a:pt x="1497" y="115"/>
                    <a:pt x="1501" y="114"/>
                  </a:cubicBezTo>
                  <a:cubicBezTo>
                    <a:pt x="1506" y="113"/>
                    <a:pt x="1511" y="112"/>
                    <a:pt x="1516" y="110"/>
                  </a:cubicBezTo>
                  <a:cubicBezTo>
                    <a:pt x="1522" y="108"/>
                    <a:pt x="1527" y="107"/>
                    <a:pt x="1530" y="106"/>
                  </a:cubicBezTo>
                  <a:cubicBezTo>
                    <a:pt x="1533" y="105"/>
                    <a:pt x="1536" y="105"/>
                    <a:pt x="1538" y="106"/>
                  </a:cubicBezTo>
                  <a:cubicBezTo>
                    <a:pt x="1540" y="106"/>
                    <a:pt x="1542" y="108"/>
                    <a:pt x="1543" y="109"/>
                  </a:cubicBezTo>
                  <a:cubicBezTo>
                    <a:pt x="1546" y="112"/>
                    <a:pt x="1546" y="116"/>
                    <a:pt x="1545" y="119"/>
                  </a:cubicBezTo>
                  <a:cubicBezTo>
                    <a:pt x="1544" y="123"/>
                    <a:pt x="1541" y="127"/>
                    <a:pt x="1535" y="132"/>
                  </a:cubicBezTo>
                  <a:cubicBezTo>
                    <a:pt x="1532" y="135"/>
                    <a:pt x="1527" y="138"/>
                    <a:pt x="1523" y="140"/>
                  </a:cubicBezTo>
                  <a:cubicBezTo>
                    <a:pt x="1518" y="141"/>
                    <a:pt x="1514" y="143"/>
                    <a:pt x="1510" y="144"/>
                  </a:cubicBezTo>
                  <a:cubicBezTo>
                    <a:pt x="1518" y="154"/>
                    <a:pt x="1518" y="154"/>
                    <a:pt x="1518" y="154"/>
                  </a:cubicBezTo>
                  <a:cubicBezTo>
                    <a:pt x="1522" y="153"/>
                    <a:pt x="1526" y="152"/>
                    <a:pt x="1529" y="150"/>
                  </a:cubicBezTo>
                  <a:cubicBezTo>
                    <a:pt x="1533" y="148"/>
                    <a:pt x="1538" y="145"/>
                    <a:pt x="1542" y="141"/>
                  </a:cubicBezTo>
                  <a:cubicBezTo>
                    <a:pt x="1550" y="134"/>
                    <a:pt x="1556" y="127"/>
                    <a:pt x="1558" y="120"/>
                  </a:cubicBezTo>
                  <a:cubicBezTo>
                    <a:pt x="1560" y="113"/>
                    <a:pt x="1558" y="106"/>
                    <a:pt x="1553" y="100"/>
                  </a:cubicBezTo>
                  <a:cubicBezTo>
                    <a:pt x="1550" y="96"/>
                    <a:pt x="1547" y="94"/>
                    <a:pt x="1543" y="93"/>
                  </a:cubicBezTo>
                  <a:moveTo>
                    <a:pt x="1441" y="129"/>
                  </a:moveTo>
                  <a:cubicBezTo>
                    <a:pt x="1446" y="131"/>
                    <a:pt x="1451" y="135"/>
                    <a:pt x="1455" y="141"/>
                  </a:cubicBezTo>
                  <a:cubicBezTo>
                    <a:pt x="1419" y="166"/>
                    <a:pt x="1419" y="166"/>
                    <a:pt x="1419" y="166"/>
                  </a:cubicBezTo>
                  <a:cubicBezTo>
                    <a:pt x="1415" y="159"/>
                    <a:pt x="1413" y="153"/>
                    <a:pt x="1414" y="147"/>
                  </a:cubicBezTo>
                  <a:cubicBezTo>
                    <a:pt x="1415" y="141"/>
                    <a:pt x="1418" y="136"/>
                    <a:pt x="1424" y="133"/>
                  </a:cubicBezTo>
                  <a:cubicBezTo>
                    <a:pt x="1430" y="129"/>
                    <a:pt x="1435" y="128"/>
                    <a:pt x="1441" y="129"/>
                  </a:cubicBezTo>
                  <a:moveTo>
                    <a:pt x="1404" y="139"/>
                  </a:moveTo>
                  <a:cubicBezTo>
                    <a:pt x="1401" y="145"/>
                    <a:pt x="1401" y="152"/>
                    <a:pt x="1402" y="159"/>
                  </a:cubicBezTo>
                  <a:cubicBezTo>
                    <a:pt x="1403" y="166"/>
                    <a:pt x="1406" y="174"/>
                    <a:pt x="1412" y="182"/>
                  </a:cubicBezTo>
                  <a:cubicBezTo>
                    <a:pt x="1417" y="190"/>
                    <a:pt x="1423" y="195"/>
                    <a:pt x="1429" y="199"/>
                  </a:cubicBezTo>
                  <a:cubicBezTo>
                    <a:pt x="1436" y="202"/>
                    <a:pt x="1443" y="203"/>
                    <a:pt x="1450" y="203"/>
                  </a:cubicBezTo>
                  <a:cubicBezTo>
                    <a:pt x="1457" y="202"/>
                    <a:pt x="1464" y="199"/>
                    <a:pt x="1470" y="195"/>
                  </a:cubicBezTo>
                  <a:cubicBezTo>
                    <a:pt x="1475" y="191"/>
                    <a:pt x="1479" y="188"/>
                    <a:pt x="1482" y="185"/>
                  </a:cubicBezTo>
                  <a:cubicBezTo>
                    <a:pt x="1485" y="182"/>
                    <a:pt x="1488" y="178"/>
                    <a:pt x="1490" y="174"/>
                  </a:cubicBezTo>
                  <a:cubicBezTo>
                    <a:pt x="1483" y="164"/>
                    <a:pt x="1483" y="164"/>
                    <a:pt x="1483" y="164"/>
                  </a:cubicBezTo>
                  <a:cubicBezTo>
                    <a:pt x="1481" y="168"/>
                    <a:pt x="1478" y="172"/>
                    <a:pt x="1475" y="175"/>
                  </a:cubicBezTo>
                  <a:cubicBezTo>
                    <a:pt x="1472" y="178"/>
                    <a:pt x="1469" y="181"/>
                    <a:pt x="1464" y="184"/>
                  </a:cubicBezTo>
                  <a:cubicBezTo>
                    <a:pt x="1457" y="189"/>
                    <a:pt x="1450" y="191"/>
                    <a:pt x="1443" y="189"/>
                  </a:cubicBezTo>
                  <a:cubicBezTo>
                    <a:pt x="1437" y="188"/>
                    <a:pt x="1430" y="183"/>
                    <a:pt x="1425" y="175"/>
                  </a:cubicBezTo>
                  <a:cubicBezTo>
                    <a:pt x="1473" y="142"/>
                    <a:pt x="1473" y="142"/>
                    <a:pt x="1473" y="142"/>
                  </a:cubicBezTo>
                  <a:cubicBezTo>
                    <a:pt x="1468" y="135"/>
                    <a:pt x="1468" y="135"/>
                    <a:pt x="1468" y="135"/>
                  </a:cubicBezTo>
                  <a:cubicBezTo>
                    <a:pt x="1464" y="129"/>
                    <a:pt x="1459" y="124"/>
                    <a:pt x="1453" y="121"/>
                  </a:cubicBezTo>
                  <a:cubicBezTo>
                    <a:pt x="1448" y="117"/>
                    <a:pt x="1442" y="116"/>
                    <a:pt x="1436" y="116"/>
                  </a:cubicBezTo>
                  <a:cubicBezTo>
                    <a:pt x="1429" y="117"/>
                    <a:pt x="1423" y="119"/>
                    <a:pt x="1417" y="123"/>
                  </a:cubicBezTo>
                  <a:cubicBezTo>
                    <a:pt x="1411" y="127"/>
                    <a:pt x="1407" y="133"/>
                    <a:pt x="1404" y="139"/>
                  </a:cubicBezTo>
                  <a:moveTo>
                    <a:pt x="1321" y="186"/>
                  </a:moveTo>
                  <a:cubicBezTo>
                    <a:pt x="1318" y="190"/>
                    <a:pt x="1317" y="195"/>
                    <a:pt x="1316" y="200"/>
                  </a:cubicBezTo>
                  <a:cubicBezTo>
                    <a:pt x="1316" y="200"/>
                    <a:pt x="1316" y="200"/>
                    <a:pt x="1316" y="200"/>
                  </a:cubicBezTo>
                  <a:cubicBezTo>
                    <a:pt x="1308" y="191"/>
                    <a:pt x="1308" y="191"/>
                    <a:pt x="1308" y="191"/>
                  </a:cubicBezTo>
                  <a:cubicBezTo>
                    <a:pt x="1298" y="196"/>
                    <a:pt x="1298" y="196"/>
                    <a:pt x="1298" y="196"/>
                  </a:cubicBezTo>
                  <a:cubicBezTo>
                    <a:pt x="1340" y="272"/>
                    <a:pt x="1340" y="272"/>
                    <a:pt x="1340" y="272"/>
                  </a:cubicBezTo>
                  <a:cubicBezTo>
                    <a:pt x="1352" y="265"/>
                    <a:pt x="1352" y="265"/>
                    <a:pt x="1352" y="265"/>
                  </a:cubicBezTo>
                  <a:cubicBezTo>
                    <a:pt x="1330" y="226"/>
                    <a:pt x="1330" y="226"/>
                    <a:pt x="1330" y="226"/>
                  </a:cubicBezTo>
                  <a:cubicBezTo>
                    <a:pt x="1326" y="217"/>
                    <a:pt x="1323" y="209"/>
                    <a:pt x="1324" y="203"/>
                  </a:cubicBezTo>
                  <a:cubicBezTo>
                    <a:pt x="1325" y="197"/>
                    <a:pt x="1329" y="191"/>
                    <a:pt x="1337" y="187"/>
                  </a:cubicBezTo>
                  <a:cubicBezTo>
                    <a:pt x="1349" y="180"/>
                    <a:pt x="1358" y="183"/>
                    <a:pt x="1364" y="195"/>
                  </a:cubicBezTo>
                  <a:cubicBezTo>
                    <a:pt x="1391" y="243"/>
                    <a:pt x="1391" y="243"/>
                    <a:pt x="1391" y="243"/>
                  </a:cubicBezTo>
                  <a:cubicBezTo>
                    <a:pt x="1403" y="237"/>
                    <a:pt x="1403" y="237"/>
                    <a:pt x="1403" y="237"/>
                  </a:cubicBezTo>
                  <a:cubicBezTo>
                    <a:pt x="1376" y="188"/>
                    <a:pt x="1376" y="188"/>
                    <a:pt x="1376" y="188"/>
                  </a:cubicBezTo>
                  <a:cubicBezTo>
                    <a:pt x="1371" y="178"/>
                    <a:pt x="1364" y="172"/>
                    <a:pt x="1357" y="171"/>
                  </a:cubicBezTo>
                  <a:cubicBezTo>
                    <a:pt x="1350" y="169"/>
                    <a:pt x="1342" y="170"/>
                    <a:pt x="1334" y="175"/>
                  </a:cubicBezTo>
                  <a:cubicBezTo>
                    <a:pt x="1329" y="178"/>
                    <a:pt x="1325" y="181"/>
                    <a:pt x="1321" y="186"/>
                  </a:cubicBezTo>
                  <a:moveTo>
                    <a:pt x="1256" y="216"/>
                  </a:moveTo>
                  <a:cubicBezTo>
                    <a:pt x="1293" y="294"/>
                    <a:pt x="1293" y="294"/>
                    <a:pt x="1293" y="294"/>
                  </a:cubicBezTo>
                  <a:cubicBezTo>
                    <a:pt x="1306" y="288"/>
                    <a:pt x="1306" y="288"/>
                    <a:pt x="1306" y="288"/>
                  </a:cubicBezTo>
                  <a:cubicBezTo>
                    <a:pt x="1269" y="210"/>
                    <a:pt x="1269" y="210"/>
                    <a:pt x="1269" y="210"/>
                  </a:cubicBezTo>
                  <a:lnTo>
                    <a:pt x="1256" y="216"/>
                  </a:lnTo>
                  <a:close/>
                  <a:moveTo>
                    <a:pt x="1244" y="189"/>
                  </a:moveTo>
                  <a:cubicBezTo>
                    <a:pt x="1244" y="191"/>
                    <a:pt x="1244" y="193"/>
                    <a:pt x="1245" y="196"/>
                  </a:cubicBezTo>
                  <a:cubicBezTo>
                    <a:pt x="1247" y="199"/>
                    <a:pt x="1248" y="200"/>
                    <a:pt x="1250" y="201"/>
                  </a:cubicBezTo>
                  <a:cubicBezTo>
                    <a:pt x="1252" y="202"/>
                    <a:pt x="1254" y="201"/>
                    <a:pt x="1257" y="200"/>
                  </a:cubicBezTo>
                  <a:cubicBezTo>
                    <a:pt x="1258" y="200"/>
                    <a:pt x="1260" y="198"/>
                    <a:pt x="1261" y="196"/>
                  </a:cubicBezTo>
                  <a:cubicBezTo>
                    <a:pt x="1262" y="194"/>
                    <a:pt x="1261" y="192"/>
                    <a:pt x="1260" y="189"/>
                  </a:cubicBezTo>
                  <a:cubicBezTo>
                    <a:pt x="1259" y="186"/>
                    <a:pt x="1257" y="184"/>
                    <a:pt x="1255" y="184"/>
                  </a:cubicBezTo>
                  <a:cubicBezTo>
                    <a:pt x="1253" y="183"/>
                    <a:pt x="1251" y="183"/>
                    <a:pt x="1249" y="184"/>
                  </a:cubicBezTo>
                  <a:cubicBezTo>
                    <a:pt x="1247" y="185"/>
                    <a:pt x="1245" y="187"/>
                    <a:pt x="1244" y="189"/>
                  </a:cubicBezTo>
                  <a:moveTo>
                    <a:pt x="1249" y="275"/>
                  </a:moveTo>
                  <a:cubicBezTo>
                    <a:pt x="1246" y="273"/>
                    <a:pt x="1242" y="272"/>
                    <a:pt x="1238" y="272"/>
                  </a:cubicBezTo>
                  <a:cubicBezTo>
                    <a:pt x="1233" y="271"/>
                    <a:pt x="1228" y="271"/>
                    <a:pt x="1222" y="271"/>
                  </a:cubicBezTo>
                  <a:cubicBezTo>
                    <a:pt x="1216" y="271"/>
                    <a:pt x="1212" y="271"/>
                    <a:pt x="1208" y="271"/>
                  </a:cubicBezTo>
                  <a:cubicBezTo>
                    <a:pt x="1205" y="270"/>
                    <a:pt x="1202" y="270"/>
                    <a:pt x="1200" y="269"/>
                  </a:cubicBezTo>
                  <a:cubicBezTo>
                    <a:pt x="1198" y="268"/>
                    <a:pt x="1197" y="266"/>
                    <a:pt x="1196" y="264"/>
                  </a:cubicBezTo>
                  <a:cubicBezTo>
                    <a:pt x="1195" y="261"/>
                    <a:pt x="1195" y="258"/>
                    <a:pt x="1197" y="255"/>
                  </a:cubicBezTo>
                  <a:cubicBezTo>
                    <a:pt x="1199" y="252"/>
                    <a:pt x="1203" y="250"/>
                    <a:pt x="1208" y="248"/>
                  </a:cubicBezTo>
                  <a:cubicBezTo>
                    <a:pt x="1212" y="246"/>
                    <a:pt x="1216" y="245"/>
                    <a:pt x="1220" y="245"/>
                  </a:cubicBezTo>
                  <a:cubicBezTo>
                    <a:pt x="1224" y="244"/>
                    <a:pt x="1228" y="244"/>
                    <a:pt x="1232" y="244"/>
                  </a:cubicBezTo>
                  <a:cubicBezTo>
                    <a:pt x="1232" y="232"/>
                    <a:pt x="1232" y="232"/>
                    <a:pt x="1232" y="232"/>
                  </a:cubicBezTo>
                  <a:cubicBezTo>
                    <a:pt x="1228" y="232"/>
                    <a:pt x="1224" y="232"/>
                    <a:pt x="1219" y="233"/>
                  </a:cubicBezTo>
                  <a:cubicBezTo>
                    <a:pt x="1215" y="233"/>
                    <a:pt x="1210" y="235"/>
                    <a:pt x="1205" y="237"/>
                  </a:cubicBezTo>
                  <a:cubicBezTo>
                    <a:pt x="1196" y="240"/>
                    <a:pt x="1190" y="245"/>
                    <a:pt x="1186" y="251"/>
                  </a:cubicBezTo>
                  <a:cubicBezTo>
                    <a:pt x="1182" y="257"/>
                    <a:pt x="1181" y="263"/>
                    <a:pt x="1184" y="270"/>
                  </a:cubicBezTo>
                  <a:cubicBezTo>
                    <a:pt x="1185" y="274"/>
                    <a:pt x="1188" y="277"/>
                    <a:pt x="1191" y="279"/>
                  </a:cubicBezTo>
                  <a:cubicBezTo>
                    <a:pt x="1194" y="281"/>
                    <a:pt x="1198" y="282"/>
                    <a:pt x="1202" y="283"/>
                  </a:cubicBezTo>
                  <a:cubicBezTo>
                    <a:pt x="1207" y="283"/>
                    <a:pt x="1212" y="284"/>
                    <a:pt x="1218" y="284"/>
                  </a:cubicBezTo>
                  <a:cubicBezTo>
                    <a:pt x="1224" y="283"/>
                    <a:pt x="1229" y="284"/>
                    <a:pt x="1232" y="284"/>
                  </a:cubicBezTo>
                  <a:cubicBezTo>
                    <a:pt x="1235" y="285"/>
                    <a:pt x="1238" y="285"/>
                    <a:pt x="1240" y="286"/>
                  </a:cubicBezTo>
                  <a:cubicBezTo>
                    <a:pt x="1241" y="288"/>
                    <a:pt x="1243" y="289"/>
                    <a:pt x="1244" y="291"/>
                  </a:cubicBezTo>
                  <a:cubicBezTo>
                    <a:pt x="1245" y="295"/>
                    <a:pt x="1245" y="298"/>
                    <a:pt x="1243" y="302"/>
                  </a:cubicBezTo>
                  <a:cubicBezTo>
                    <a:pt x="1240" y="305"/>
                    <a:pt x="1236" y="308"/>
                    <a:pt x="1229" y="310"/>
                  </a:cubicBezTo>
                  <a:cubicBezTo>
                    <a:pt x="1225" y="312"/>
                    <a:pt x="1220" y="314"/>
                    <a:pt x="1215" y="314"/>
                  </a:cubicBezTo>
                  <a:cubicBezTo>
                    <a:pt x="1210" y="314"/>
                    <a:pt x="1205" y="315"/>
                    <a:pt x="1202" y="314"/>
                  </a:cubicBezTo>
                  <a:cubicBezTo>
                    <a:pt x="1206" y="326"/>
                    <a:pt x="1206" y="326"/>
                    <a:pt x="1206" y="326"/>
                  </a:cubicBezTo>
                  <a:cubicBezTo>
                    <a:pt x="1210" y="326"/>
                    <a:pt x="1214" y="326"/>
                    <a:pt x="1218" y="326"/>
                  </a:cubicBezTo>
                  <a:cubicBezTo>
                    <a:pt x="1223" y="325"/>
                    <a:pt x="1228" y="323"/>
                    <a:pt x="1233" y="321"/>
                  </a:cubicBezTo>
                  <a:cubicBezTo>
                    <a:pt x="1243" y="317"/>
                    <a:pt x="1250" y="312"/>
                    <a:pt x="1254" y="306"/>
                  </a:cubicBezTo>
                  <a:cubicBezTo>
                    <a:pt x="1258" y="300"/>
                    <a:pt x="1259" y="293"/>
                    <a:pt x="1256" y="285"/>
                  </a:cubicBezTo>
                  <a:cubicBezTo>
                    <a:pt x="1254" y="281"/>
                    <a:pt x="1252" y="278"/>
                    <a:pt x="1249" y="275"/>
                  </a:cubicBezTo>
                  <a:moveTo>
                    <a:pt x="1135" y="264"/>
                  </a:moveTo>
                  <a:cubicBezTo>
                    <a:pt x="1148" y="307"/>
                    <a:pt x="1148" y="307"/>
                    <a:pt x="1148" y="307"/>
                  </a:cubicBezTo>
                  <a:cubicBezTo>
                    <a:pt x="1151" y="316"/>
                    <a:pt x="1151" y="324"/>
                    <a:pt x="1149" y="330"/>
                  </a:cubicBezTo>
                  <a:cubicBezTo>
                    <a:pt x="1147" y="337"/>
                    <a:pt x="1142" y="341"/>
                    <a:pt x="1133" y="344"/>
                  </a:cubicBezTo>
                  <a:cubicBezTo>
                    <a:pt x="1120" y="347"/>
                    <a:pt x="1112" y="343"/>
                    <a:pt x="1108" y="330"/>
                  </a:cubicBezTo>
                  <a:cubicBezTo>
                    <a:pt x="1092" y="277"/>
                    <a:pt x="1092" y="277"/>
                    <a:pt x="1092" y="277"/>
                  </a:cubicBezTo>
                  <a:cubicBezTo>
                    <a:pt x="1079" y="281"/>
                    <a:pt x="1079" y="281"/>
                    <a:pt x="1079" y="281"/>
                  </a:cubicBezTo>
                  <a:cubicBezTo>
                    <a:pt x="1095" y="335"/>
                    <a:pt x="1095" y="335"/>
                    <a:pt x="1095" y="335"/>
                  </a:cubicBezTo>
                  <a:cubicBezTo>
                    <a:pt x="1098" y="345"/>
                    <a:pt x="1103" y="352"/>
                    <a:pt x="1109" y="355"/>
                  </a:cubicBezTo>
                  <a:cubicBezTo>
                    <a:pt x="1116" y="358"/>
                    <a:pt x="1124" y="359"/>
                    <a:pt x="1134" y="356"/>
                  </a:cubicBezTo>
                  <a:cubicBezTo>
                    <a:pt x="1139" y="354"/>
                    <a:pt x="1144" y="351"/>
                    <a:pt x="1148" y="348"/>
                  </a:cubicBezTo>
                  <a:cubicBezTo>
                    <a:pt x="1152" y="345"/>
                    <a:pt x="1155" y="340"/>
                    <a:pt x="1156" y="335"/>
                  </a:cubicBezTo>
                  <a:cubicBezTo>
                    <a:pt x="1157" y="335"/>
                    <a:pt x="1157" y="335"/>
                    <a:pt x="1157" y="335"/>
                  </a:cubicBezTo>
                  <a:cubicBezTo>
                    <a:pt x="1162" y="345"/>
                    <a:pt x="1162" y="345"/>
                    <a:pt x="1162" y="345"/>
                  </a:cubicBezTo>
                  <a:cubicBezTo>
                    <a:pt x="1173" y="342"/>
                    <a:pt x="1173" y="342"/>
                    <a:pt x="1173" y="342"/>
                  </a:cubicBezTo>
                  <a:cubicBezTo>
                    <a:pt x="1148" y="260"/>
                    <a:pt x="1148" y="260"/>
                    <a:pt x="1148" y="260"/>
                  </a:cubicBezTo>
                  <a:lnTo>
                    <a:pt x="1135" y="264"/>
                  </a:lnTo>
                  <a:close/>
                  <a:moveTo>
                    <a:pt x="1044" y="333"/>
                  </a:moveTo>
                  <a:cubicBezTo>
                    <a:pt x="1046" y="344"/>
                    <a:pt x="1046" y="352"/>
                    <a:pt x="1043" y="358"/>
                  </a:cubicBezTo>
                  <a:cubicBezTo>
                    <a:pt x="1040" y="365"/>
                    <a:pt x="1035" y="368"/>
                    <a:pt x="1028" y="370"/>
                  </a:cubicBezTo>
                  <a:cubicBezTo>
                    <a:pt x="1018" y="372"/>
                    <a:pt x="1012" y="370"/>
                    <a:pt x="1007" y="365"/>
                  </a:cubicBezTo>
                  <a:cubicBezTo>
                    <a:pt x="1003" y="361"/>
                    <a:pt x="999" y="353"/>
                    <a:pt x="997" y="343"/>
                  </a:cubicBezTo>
                  <a:cubicBezTo>
                    <a:pt x="997" y="342"/>
                    <a:pt x="997" y="342"/>
                    <a:pt x="997" y="342"/>
                  </a:cubicBezTo>
                  <a:cubicBezTo>
                    <a:pt x="995" y="331"/>
                    <a:pt x="995" y="323"/>
                    <a:pt x="998" y="317"/>
                  </a:cubicBezTo>
                  <a:cubicBezTo>
                    <a:pt x="1000" y="311"/>
                    <a:pt x="1006" y="308"/>
                    <a:pt x="1015" y="306"/>
                  </a:cubicBezTo>
                  <a:cubicBezTo>
                    <a:pt x="1030" y="303"/>
                    <a:pt x="1040" y="312"/>
                    <a:pt x="1044" y="333"/>
                  </a:cubicBezTo>
                  <a:moveTo>
                    <a:pt x="968" y="268"/>
                  </a:moveTo>
                  <a:cubicBezTo>
                    <a:pt x="992" y="387"/>
                    <a:pt x="992" y="387"/>
                    <a:pt x="992" y="387"/>
                  </a:cubicBezTo>
                  <a:cubicBezTo>
                    <a:pt x="1002" y="385"/>
                    <a:pt x="1002" y="385"/>
                    <a:pt x="1002" y="385"/>
                  </a:cubicBezTo>
                  <a:cubicBezTo>
                    <a:pt x="1002" y="374"/>
                    <a:pt x="1002" y="374"/>
                    <a:pt x="1002" y="374"/>
                  </a:cubicBezTo>
                  <a:cubicBezTo>
                    <a:pt x="1004" y="374"/>
                    <a:pt x="1004" y="374"/>
                    <a:pt x="1004" y="374"/>
                  </a:cubicBezTo>
                  <a:cubicBezTo>
                    <a:pt x="1007" y="377"/>
                    <a:pt x="1010" y="379"/>
                    <a:pt x="1015" y="381"/>
                  </a:cubicBezTo>
                  <a:cubicBezTo>
                    <a:pt x="1020" y="382"/>
                    <a:pt x="1025" y="382"/>
                    <a:pt x="1032" y="381"/>
                  </a:cubicBezTo>
                  <a:cubicBezTo>
                    <a:pt x="1042" y="379"/>
                    <a:pt x="1050" y="374"/>
                    <a:pt x="1055" y="365"/>
                  </a:cubicBezTo>
                  <a:cubicBezTo>
                    <a:pt x="1060" y="356"/>
                    <a:pt x="1061" y="345"/>
                    <a:pt x="1058" y="330"/>
                  </a:cubicBezTo>
                  <a:cubicBezTo>
                    <a:pt x="1055" y="316"/>
                    <a:pt x="1050" y="306"/>
                    <a:pt x="1042" y="300"/>
                  </a:cubicBezTo>
                  <a:cubicBezTo>
                    <a:pt x="1034" y="294"/>
                    <a:pt x="1025" y="292"/>
                    <a:pt x="1015" y="294"/>
                  </a:cubicBezTo>
                  <a:cubicBezTo>
                    <a:pt x="1008" y="295"/>
                    <a:pt x="1003" y="297"/>
                    <a:pt x="999" y="301"/>
                  </a:cubicBezTo>
                  <a:cubicBezTo>
                    <a:pt x="996" y="304"/>
                    <a:pt x="993" y="308"/>
                    <a:pt x="991" y="312"/>
                  </a:cubicBezTo>
                  <a:cubicBezTo>
                    <a:pt x="990" y="312"/>
                    <a:pt x="990" y="312"/>
                    <a:pt x="990" y="312"/>
                  </a:cubicBezTo>
                  <a:cubicBezTo>
                    <a:pt x="990" y="310"/>
                    <a:pt x="990" y="307"/>
                    <a:pt x="989" y="304"/>
                  </a:cubicBezTo>
                  <a:cubicBezTo>
                    <a:pt x="989" y="301"/>
                    <a:pt x="988" y="298"/>
                    <a:pt x="988" y="294"/>
                  </a:cubicBezTo>
                  <a:cubicBezTo>
                    <a:pt x="982" y="265"/>
                    <a:pt x="982" y="265"/>
                    <a:pt x="982" y="265"/>
                  </a:cubicBezTo>
                  <a:lnTo>
                    <a:pt x="968" y="268"/>
                  </a:lnTo>
                  <a:close/>
                  <a:moveTo>
                    <a:pt x="883" y="331"/>
                  </a:moveTo>
                  <a:cubicBezTo>
                    <a:pt x="887" y="335"/>
                    <a:pt x="889" y="341"/>
                    <a:pt x="889" y="348"/>
                  </a:cubicBezTo>
                  <a:cubicBezTo>
                    <a:pt x="846" y="351"/>
                    <a:pt x="846" y="351"/>
                    <a:pt x="846" y="351"/>
                  </a:cubicBezTo>
                  <a:cubicBezTo>
                    <a:pt x="846" y="343"/>
                    <a:pt x="848" y="337"/>
                    <a:pt x="851" y="333"/>
                  </a:cubicBezTo>
                  <a:cubicBezTo>
                    <a:pt x="855" y="328"/>
                    <a:pt x="860" y="326"/>
                    <a:pt x="867" y="325"/>
                  </a:cubicBezTo>
                  <a:cubicBezTo>
                    <a:pt x="874" y="325"/>
                    <a:pt x="879" y="326"/>
                    <a:pt x="883" y="331"/>
                  </a:cubicBezTo>
                  <a:moveTo>
                    <a:pt x="847" y="320"/>
                  </a:moveTo>
                  <a:cubicBezTo>
                    <a:pt x="841" y="324"/>
                    <a:pt x="837" y="330"/>
                    <a:pt x="835" y="337"/>
                  </a:cubicBezTo>
                  <a:cubicBezTo>
                    <a:pt x="832" y="344"/>
                    <a:pt x="831" y="352"/>
                    <a:pt x="832" y="361"/>
                  </a:cubicBezTo>
                  <a:cubicBezTo>
                    <a:pt x="832" y="371"/>
                    <a:pt x="835" y="379"/>
                    <a:pt x="838" y="385"/>
                  </a:cubicBezTo>
                  <a:cubicBezTo>
                    <a:pt x="842" y="391"/>
                    <a:pt x="848" y="396"/>
                    <a:pt x="854" y="399"/>
                  </a:cubicBezTo>
                  <a:cubicBezTo>
                    <a:pt x="860" y="401"/>
                    <a:pt x="868" y="403"/>
                    <a:pt x="876" y="402"/>
                  </a:cubicBezTo>
                  <a:cubicBezTo>
                    <a:pt x="882" y="402"/>
                    <a:pt x="887" y="401"/>
                    <a:pt x="891" y="400"/>
                  </a:cubicBezTo>
                  <a:cubicBezTo>
                    <a:pt x="895" y="398"/>
                    <a:pt x="899" y="397"/>
                    <a:pt x="904" y="395"/>
                  </a:cubicBezTo>
                  <a:cubicBezTo>
                    <a:pt x="903" y="382"/>
                    <a:pt x="903" y="382"/>
                    <a:pt x="903" y="382"/>
                  </a:cubicBezTo>
                  <a:cubicBezTo>
                    <a:pt x="898" y="384"/>
                    <a:pt x="894" y="386"/>
                    <a:pt x="890" y="388"/>
                  </a:cubicBezTo>
                  <a:cubicBezTo>
                    <a:pt x="886" y="389"/>
                    <a:pt x="881" y="390"/>
                    <a:pt x="876" y="390"/>
                  </a:cubicBezTo>
                  <a:cubicBezTo>
                    <a:pt x="867" y="391"/>
                    <a:pt x="860" y="389"/>
                    <a:pt x="855" y="384"/>
                  </a:cubicBezTo>
                  <a:cubicBezTo>
                    <a:pt x="850" y="379"/>
                    <a:pt x="847" y="372"/>
                    <a:pt x="846" y="362"/>
                  </a:cubicBezTo>
                  <a:cubicBezTo>
                    <a:pt x="905" y="358"/>
                    <a:pt x="905" y="358"/>
                    <a:pt x="905" y="358"/>
                  </a:cubicBezTo>
                  <a:cubicBezTo>
                    <a:pt x="904" y="350"/>
                    <a:pt x="904" y="350"/>
                    <a:pt x="904" y="350"/>
                  </a:cubicBezTo>
                  <a:cubicBezTo>
                    <a:pt x="904" y="342"/>
                    <a:pt x="902" y="335"/>
                    <a:pt x="899" y="330"/>
                  </a:cubicBezTo>
                  <a:cubicBezTo>
                    <a:pt x="895" y="324"/>
                    <a:pt x="891" y="320"/>
                    <a:pt x="885" y="317"/>
                  </a:cubicBezTo>
                  <a:cubicBezTo>
                    <a:pt x="880" y="314"/>
                    <a:pt x="873" y="313"/>
                    <a:pt x="866" y="314"/>
                  </a:cubicBezTo>
                  <a:cubicBezTo>
                    <a:pt x="859" y="314"/>
                    <a:pt x="852" y="316"/>
                    <a:pt x="847" y="320"/>
                  </a:cubicBezTo>
                  <a:moveTo>
                    <a:pt x="801" y="282"/>
                  </a:moveTo>
                  <a:cubicBezTo>
                    <a:pt x="786" y="282"/>
                    <a:pt x="786" y="282"/>
                    <a:pt x="786" y="282"/>
                  </a:cubicBezTo>
                  <a:cubicBezTo>
                    <a:pt x="787" y="403"/>
                    <a:pt x="787" y="403"/>
                    <a:pt x="787" y="403"/>
                  </a:cubicBezTo>
                  <a:cubicBezTo>
                    <a:pt x="801" y="403"/>
                    <a:pt x="801" y="403"/>
                    <a:pt x="801" y="403"/>
                  </a:cubicBezTo>
                  <a:lnTo>
                    <a:pt x="801" y="282"/>
                  </a:lnTo>
                  <a:close/>
                  <a:moveTo>
                    <a:pt x="740" y="359"/>
                  </a:moveTo>
                  <a:cubicBezTo>
                    <a:pt x="740" y="370"/>
                    <a:pt x="737" y="378"/>
                    <a:pt x="733" y="383"/>
                  </a:cubicBezTo>
                  <a:cubicBezTo>
                    <a:pt x="729" y="389"/>
                    <a:pt x="723" y="391"/>
                    <a:pt x="715" y="391"/>
                  </a:cubicBezTo>
                  <a:cubicBezTo>
                    <a:pt x="706" y="390"/>
                    <a:pt x="700" y="387"/>
                    <a:pt x="696" y="381"/>
                  </a:cubicBezTo>
                  <a:cubicBezTo>
                    <a:pt x="693" y="375"/>
                    <a:pt x="692" y="367"/>
                    <a:pt x="693" y="356"/>
                  </a:cubicBezTo>
                  <a:cubicBezTo>
                    <a:pt x="693" y="356"/>
                    <a:pt x="693" y="356"/>
                    <a:pt x="693" y="356"/>
                  </a:cubicBezTo>
                  <a:cubicBezTo>
                    <a:pt x="694" y="345"/>
                    <a:pt x="696" y="337"/>
                    <a:pt x="700" y="332"/>
                  </a:cubicBezTo>
                  <a:cubicBezTo>
                    <a:pt x="704" y="327"/>
                    <a:pt x="710" y="325"/>
                    <a:pt x="719" y="325"/>
                  </a:cubicBezTo>
                  <a:cubicBezTo>
                    <a:pt x="735" y="326"/>
                    <a:pt x="742" y="338"/>
                    <a:pt x="740" y="359"/>
                  </a:cubicBezTo>
                  <a:moveTo>
                    <a:pt x="684" y="277"/>
                  </a:moveTo>
                  <a:cubicBezTo>
                    <a:pt x="676" y="398"/>
                    <a:pt x="676" y="398"/>
                    <a:pt x="676" y="398"/>
                  </a:cubicBezTo>
                  <a:cubicBezTo>
                    <a:pt x="686" y="399"/>
                    <a:pt x="686" y="399"/>
                    <a:pt x="686" y="399"/>
                  </a:cubicBezTo>
                  <a:cubicBezTo>
                    <a:pt x="690" y="388"/>
                    <a:pt x="690" y="388"/>
                    <a:pt x="690" y="388"/>
                  </a:cubicBezTo>
                  <a:cubicBezTo>
                    <a:pt x="691" y="388"/>
                    <a:pt x="691" y="388"/>
                    <a:pt x="691" y="388"/>
                  </a:cubicBezTo>
                  <a:cubicBezTo>
                    <a:pt x="693" y="392"/>
                    <a:pt x="696" y="395"/>
                    <a:pt x="700" y="398"/>
                  </a:cubicBezTo>
                  <a:cubicBezTo>
                    <a:pt x="704" y="400"/>
                    <a:pt x="710" y="402"/>
                    <a:pt x="716" y="402"/>
                  </a:cubicBezTo>
                  <a:cubicBezTo>
                    <a:pt x="727" y="403"/>
                    <a:pt x="736" y="400"/>
                    <a:pt x="743" y="393"/>
                  </a:cubicBezTo>
                  <a:cubicBezTo>
                    <a:pt x="750" y="386"/>
                    <a:pt x="754" y="375"/>
                    <a:pt x="755" y="361"/>
                  </a:cubicBezTo>
                  <a:cubicBezTo>
                    <a:pt x="756" y="346"/>
                    <a:pt x="753" y="335"/>
                    <a:pt x="747" y="327"/>
                  </a:cubicBezTo>
                  <a:cubicBezTo>
                    <a:pt x="742" y="319"/>
                    <a:pt x="733" y="315"/>
                    <a:pt x="723" y="314"/>
                  </a:cubicBezTo>
                  <a:cubicBezTo>
                    <a:pt x="716" y="313"/>
                    <a:pt x="710" y="314"/>
                    <a:pt x="706" y="316"/>
                  </a:cubicBezTo>
                  <a:cubicBezTo>
                    <a:pt x="701" y="319"/>
                    <a:pt x="698" y="321"/>
                    <a:pt x="695" y="325"/>
                  </a:cubicBezTo>
                  <a:cubicBezTo>
                    <a:pt x="694" y="325"/>
                    <a:pt x="694" y="325"/>
                    <a:pt x="694" y="325"/>
                  </a:cubicBezTo>
                  <a:cubicBezTo>
                    <a:pt x="695" y="323"/>
                    <a:pt x="695" y="321"/>
                    <a:pt x="695" y="317"/>
                  </a:cubicBezTo>
                  <a:cubicBezTo>
                    <a:pt x="696" y="314"/>
                    <a:pt x="696" y="311"/>
                    <a:pt x="696" y="307"/>
                  </a:cubicBezTo>
                  <a:cubicBezTo>
                    <a:pt x="698" y="278"/>
                    <a:pt x="698" y="278"/>
                    <a:pt x="698" y="278"/>
                  </a:cubicBezTo>
                  <a:lnTo>
                    <a:pt x="684" y="277"/>
                  </a:lnTo>
                  <a:close/>
                  <a:moveTo>
                    <a:pt x="626" y="357"/>
                  </a:moveTo>
                  <a:cubicBezTo>
                    <a:pt x="625" y="365"/>
                    <a:pt x="622" y="371"/>
                    <a:pt x="616" y="374"/>
                  </a:cubicBezTo>
                  <a:cubicBezTo>
                    <a:pt x="611" y="378"/>
                    <a:pt x="604" y="379"/>
                    <a:pt x="597" y="377"/>
                  </a:cubicBezTo>
                  <a:cubicBezTo>
                    <a:pt x="593" y="377"/>
                    <a:pt x="589" y="375"/>
                    <a:pt x="587" y="372"/>
                  </a:cubicBezTo>
                  <a:cubicBezTo>
                    <a:pt x="584" y="370"/>
                    <a:pt x="583" y="366"/>
                    <a:pt x="584" y="361"/>
                  </a:cubicBezTo>
                  <a:cubicBezTo>
                    <a:pt x="585" y="356"/>
                    <a:pt x="588" y="352"/>
                    <a:pt x="592" y="350"/>
                  </a:cubicBezTo>
                  <a:cubicBezTo>
                    <a:pt x="597" y="347"/>
                    <a:pt x="604" y="347"/>
                    <a:pt x="615" y="348"/>
                  </a:cubicBezTo>
                  <a:cubicBezTo>
                    <a:pt x="627" y="350"/>
                    <a:pt x="627" y="350"/>
                    <a:pt x="627" y="350"/>
                  </a:cubicBezTo>
                  <a:lnTo>
                    <a:pt x="626" y="357"/>
                  </a:lnTo>
                  <a:close/>
                  <a:moveTo>
                    <a:pt x="602" y="302"/>
                  </a:moveTo>
                  <a:cubicBezTo>
                    <a:pt x="597" y="303"/>
                    <a:pt x="592" y="304"/>
                    <a:pt x="588" y="305"/>
                  </a:cubicBezTo>
                  <a:cubicBezTo>
                    <a:pt x="591" y="316"/>
                    <a:pt x="591" y="316"/>
                    <a:pt x="591" y="316"/>
                  </a:cubicBezTo>
                  <a:cubicBezTo>
                    <a:pt x="594" y="315"/>
                    <a:pt x="598" y="314"/>
                    <a:pt x="602" y="313"/>
                  </a:cubicBezTo>
                  <a:cubicBezTo>
                    <a:pt x="607" y="313"/>
                    <a:pt x="611" y="313"/>
                    <a:pt x="615" y="313"/>
                  </a:cubicBezTo>
                  <a:cubicBezTo>
                    <a:pt x="621" y="314"/>
                    <a:pt x="625" y="316"/>
                    <a:pt x="628" y="320"/>
                  </a:cubicBezTo>
                  <a:cubicBezTo>
                    <a:pt x="630" y="323"/>
                    <a:pt x="631" y="328"/>
                    <a:pt x="630" y="335"/>
                  </a:cubicBezTo>
                  <a:cubicBezTo>
                    <a:pt x="629" y="340"/>
                    <a:pt x="629" y="340"/>
                    <a:pt x="629" y="340"/>
                  </a:cubicBezTo>
                  <a:cubicBezTo>
                    <a:pt x="615" y="338"/>
                    <a:pt x="615" y="338"/>
                    <a:pt x="615" y="338"/>
                  </a:cubicBezTo>
                  <a:cubicBezTo>
                    <a:pt x="601" y="336"/>
                    <a:pt x="590" y="337"/>
                    <a:pt x="583" y="341"/>
                  </a:cubicBezTo>
                  <a:cubicBezTo>
                    <a:pt x="575" y="344"/>
                    <a:pt x="571" y="350"/>
                    <a:pt x="570" y="359"/>
                  </a:cubicBezTo>
                  <a:cubicBezTo>
                    <a:pt x="568" y="367"/>
                    <a:pt x="570" y="374"/>
                    <a:pt x="574" y="379"/>
                  </a:cubicBezTo>
                  <a:cubicBezTo>
                    <a:pt x="579" y="384"/>
                    <a:pt x="585" y="387"/>
                    <a:pt x="592" y="388"/>
                  </a:cubicBezTo>
                  <a:cubicBezTo>
                    <a:pt x="600" y="389"/>
                    <a:pt x="605" y="389"/>
                    <a:pt x="610" y="387"/>
                  </a:cubicBezTo>
                  <a:cubicBezTo>
                    <a:pt x="614" y="386"/>
                    <a:pt x="619" y="383"/>
                    <a:pt x="623" y="379"/>
                  </a:cubicBezTo>
                  <a:cubicBezTo>
                    <a:pt x="624" y="379"/>
                    <a:pt x="624" y="379"/>
                    <a:pt x="624" y="379"/>
                  </a:cubicBezTo>
                  <a:cubicBezTo>
                    <a:pt x="624" y="392"/>
                    <a:pt x="624" y="392"/>
                    <a:pt x="624" y="392"/>
                  </a:cubicBezTo>
                  <a:cubicBezTo>
                    <a:pt x="635" y="393"/>
                    <a:pt x="635" y="393"/>
                    <a:pt x="635" y="393"/>
                  </a:cubicBezTo>
                  <a:cubicBezTo>
                    <a:pt x="644" y="336"/>
                    <a:pt x="644" y="336"/>
                    <a:pt x="644" y="336"/>
                  </a:cubicBezTo>
                  <a:cubicBezTo>
                    <a:pt x="645" y="326"/>
                    <a:pt x="644" y="318"/>
                    <a:pt x="640" y="313"/>
                  </a:cubicBezTo>
                  <a:cubicBezTo>
                    <a:pt x="636" y="307"/>
                    <a:pt x="628" y="304"/>
                    <a:pt x="618" y="302"/>
                  </a:cubicBezTo>
                  <a:cubicBezTo>
                    <a:pt x="612" y="301"/>
                    <a:pt x="607" y="301"/>
                    <a:pt x="602" y="302"/>
                  </a:cubicBezTo>
                  <a:moveTo>
                    <a:pt x="507" y="282"/>
                  </a:moveTo>
                  <a:cubicBezTo>
                    <a:pt x="501" y="283"/>
                    <a:pt x="497" y="285"/>
                    <a:pt x="493" y="289"/>
                  </a:cubicBezTo>
                  <a:cubicBezTo>
                    <a:pt x="492" y="289"/>
                    <a:pt x="492" y="289"/>
                    <a:pt x="492" y="289"/>
                  </a:cubicBezTo>
                  <a:cubicBezTo>
                    <a:pt x="493" y="277"/>
                    <a:pt x="493" y="277"/>
                    <a:pt x="493" y="277"/>
                  </a:cubicBezTo>
                  <a:cubicBezTo>
                    <a:pt x="482" y="274"/>
                    <a:pt x="482" y="274"/>
                    <a:pt x="482" y="274"/>
                  </a:cubicBezTo>
                  <a:cubicBezTo>
                    <a:pt x="461" y="357"/>
                    <a:pt x="461" y="357"/>
                    <a:pt x="461" y="357"/>
                  </a:cubicBezTo>
                  <a:cubicBezTo>
                    <a:pt x="475" y="361"/>
                    <a:pt x="475" y="361"/>
                    <a:pt x="475" y="361"/>
                  </a:cubicBezTo>
                  <a:cubicBezTo>
                    <a:pt x="486" y="318"/>
                    <a:pt x="486" y="318"/>
                    <a:pt x="486" y="318"/>
                  </a:cubicBezTo>
                  <a:cubicBezTo>
                    <a:pt x="488" y="308"/>
                    <a:pt x="492" y="301"/>
                    <a:pt x="497" y="297"/>
                  </a:cubicBezTo>
                  <a:cubicBezTo>
                    <a:pt x="502" y="292"/>
                    <a:pt x="509" y="291"/>
                    <a:pt x="518" y="294"/>
                  </a:cubicBezTo>
                  <a:cubicBezTo>
                    <a:pt x="530" y="297"/>
                    <a:pt x="535" y="305"/>
                    <a:pt x="531" y="318"/>
                  </a:cubicBezTo>
                  <a:cubicBezTo>
                    <a:pt x="518" y="371"/>
                    <a:pt x="518" y="371"/>
                    <a:pt x="518" y="371"/>
                  </a:cubicBezTo>
                  <a:cubicBezTo>
                    <a:pt x="531" y="375"/>
                    <a:pt x="531" y="375"/>
                    <a:pt x="531" y="375"/>
                  </a:cubicBezTo>
                  <a:cubicBezTo>
                    <a:pt x="545" y="321"/>
                    <a:pt x="545" y="321"/>
                    <a:pt x="545" y="321"/>
                  </a:cubicBezTo>
                  <a:cubicBezTo>
                    <a:pt x="548" y="310"/>
                    <a:pt x="547" y="302"/>
                    <a:pt x="543" y="296"/>
                  </a:cubicBezTo>
                  <a:cubicBezTo>
                    <a:pt x="539" y="289"/>
                    <a:pt x="533" y="285"/>
                    <a:pt x="523" y="283"/>
                  </a:cubicBezTo>
                  <a:cubicBezTo>
                    <a:pt x="517" y="281"/>
                    <a:pt x="512" y="281"/>
                    <a:pt x="507" y="282"/>
                  </a:cubicBezTo>
                  <a:moveTo>
                    <a:pt x="437" y="259"/>
                  </a:moveTo>
                  <a:cubicBezTo>
                    <a:pt x="410" y="340"/>
                    <a:pt x="410" y="340"/>
                    <a:pt x="410" y="340"/>
                  </a:cubicBezTo>
                  <a:cubicBezTo>
                    <a:pt x="423" y="345"/>
                    <a:pt x="423" y="345"/>
                    <a:pt x="423" y="345"/>
                  </a:cubicBezTo>
                  <a:cubicBezTo>
                    <a:pt x="450" y="263"/>
                    <a:pt x="450" y="263"/>
                    <a:pt x="450" y="263"/>
                  </a:cubicBezTo>
                  <a:lnTo>
                    <a:pt x="437" y="259"/>
                  </a:lnTo>
                  <a:close/>
                  <a:moveTo>
                    <a:pt x="448" y="231"/>
                  </a:moveTo>
                  <a:cubicBezTo>
                    <a:pt x="446" y="232"/>
                    <a:pt x="444" y="234"/>
                    <a:pt x="443" y="237"/>
                  </a:cubicBezTo>
                  <a:cubicBezTo>
                    <a:pt x="442" y="240"/>
                    <a:pt x="442" y="242"/>
                    <a:pt x="443" y="244"/>
                  </a:cubicBezTo>
                  <a:cubicBezTo>
                    <a:pt x="444" y="246"/>
                    <a:pt x="446" y="247"/>
                    <a:pt x="448" y="248"/>
                  </a:cubicBezTo>
                  <a:cubicBezTo>
                    <a:pt x="450" y="248"/>
                    <a:pt x="452" y="248"/>
                    <a:pt x="454" y="248"/>
                  </a:cubicBezTo>
                  <a:cubicBezTo>
                    <a:pt x="456" y="247"/>
                    <a:pt x="458" y="245"/>
                    <a:pt x="459" y="242"/>
                  </a:cubicBezTo>
                  <a:cubicBezTo>
                    <a:pt x="460" y="239"/>
                    <a:pt x="460" y="237"/>
                    <a:pt x="459" y="235"/>
                  </a:cubicBezTo>
                  <a:cubicBezTo>
                    <a:pt x="458" y="233"/>
                    <a:pt x="456" y="231"/>
                    <a:pt x="454" y="231"/>
                  </a:cubicBezTo>
                  <a:cubicBezTo>
                    <a:pt x="452" y="230"/>
                    <a:pt x="450" y="230"/>
                    <a:pt x="448" y="231"/>
                  </a:cubicBezTo>
                  <a:moveTo>
                    <a:pt x="375" y="291"/>
                  </a:moveTo>
                  <a:cubicBezTo>
                    <a:pt x="372" y="299"/>
                    <a:pt x="367" y="304"/>
                    <a:pt x="361" y="306"/>
                  </a:cubicBezTo>
                  <a:cubicBezTo>
                    <a:pt x="355" y="308"/>
                    <a:pt x="349" y="307"/>
                    <a:pt x="342" y="305"/>
                  </a:cubicBezTo>
                  <a:cubicBezTo>
                    <a:pt x="338" y="303"/>
                    <a:pt x="335" y="300"/>
                    <a:pt x="333" y="297"/>
                  </a:cubicBezTo>
                  <a:cubicBezTo>
                    <a:pt x="331" y="294"/>
                    <a:pt x="331" y="290"/>
                    <a:pt x="333" y="286"/>
                  </a:cubicBezTo>
                  <a:cubicBezTo>
                    <a:pt x="335" y="281"/>
                    <a:pt x="338" y="278"/>
                    <a:pt x="343" y="276"/>
                  </a:cubicBezTo>
                  <a:cubicBezTo>
                    <a:pt x="348" y="275"/>
                    <a:pt x="356" y="276"/>
                    <a:pt x="366" y="280"/>
                  </a:cubicBezTo>
                  <a:cubicBezTo>
                    <a:pt x="378" y="284"/>
                    <a:pt x="378" y="284"/>
                    <a:pt x="378" y="284"/>
                  </a:cubicBezTo>
                  <a:lnTo>
                    <a:pt x="375" y="291"/>
                  </a:lnTo>
                  <a:close/>
                  <a:moveTo>
                    <a:pt x="363" y="232"/>
                  </a:moveTo>
                  <a:cubicBezTo>
                    <a:pt x="358" y="231"/>
                    <a:pt x="353" y="231"/>
                    <a:pt x="349" y="232"/>
                  </a:cubicBezTo>
                  <a:cubicBezTo>
                    <a:pt x="349" y="243"/>
                    <a:pt x="349" y="243"/>
                    <a:pt x="349" y="243"/>
                  </a:cubicBezTo>
                  <a:cubicBezTo>
                    <a:pt x="353" y="243"/>
                    <a:pt x="357" y="243"/>
                    <a:pt x="361" y="243"/>
                  </a:cubicBezTo>
                  <a:cubicBezTo>
                    <a:pt x="366" y="244"/>
                    <a:pt x="370" y="245"/>
                    <a:pt x="374" y="246"/>
                  </a:cubicBezTo>
                  <a:cubicBezTo>
                    <a:pt x="379" y="248"/>
                    <a:pt x="383" y="251"/>
                    <a:pt x="385" y="255"/>
                  </a:cubicBezTo>
                  <a:cubicBezTo>
                    <a:pt x="386" y="259"/>
                    <a:pt x="386" y="264"/>
                    <a:pt x="383" y="270"/>
                  </a:cubicBezTo>
                  <a:cubicBezTo>
                    <a:pt x="381" y="275"/>
                    <a:pt x="381" y="275"/>
                    <a:pt x="381" y="275"/>
                  </a:cubicBezTo>
                  <a:cubicBezTo>
                    <a:pt x="368" y="270"/>
                    <a:pt x="368" y="270"/>
                    <a:pt x="368" y="270"/>
                  </a:cubicBezTo>
                  <a:cubicBezTo>
                    <a:pt x="355" y="265"/>
                    <a:pt x="344" y="264"/>
                    <a:pt x="336" y="266"/>
                  </a:cubicBezTo>
                  <a:cubicBezTo>
                    <a:pt x="328" y="268"/>
                    <a:pt x="323" y="272"/>
                    <a:pt x="319" y="280"/>
                  </a:cubicBezTo>
                  <a:cubicBezTo>
                    <a:pt x="316" y="288"/>
                    <a:pt x="316" y="295"/>
                    <a:pt x="319" y="301"/>
                  </a:cubicBezTo>
                  <a:cubicBezTo>
                    <a:pt x="323" y="307"/>
                    <a:pt x="328" y="311"/>
                    <a:pt x="335" y="314"/>
                  </a:cubicBezTo>
                  <a:cubicBezTo>
                    <a:pt x="342" y="317"/>
                    <a:pt x="347" y="318"/>
                    <a:pt x="352" y="317"/>
                  </a:cubicBezTo>
                  <a:cubicBezTo>
                    <a:pt x="357" y="317"/>
                    <a:pt x="362" y="315"/>
                    <a:pt x="367" y="312"/>
                  </a:cubicBezTo>
                  <a:cubicBezTo>
                    <a:pt x="367" y="312"/>
                    <a:pt x="367" y="312"/>
                    <a:pt x="367" y="312"/>
                  </a:cubicBezTo>
                  <a:cubicBezTo>
                    <a:pt x="365" y="324"/>
                    <a:pt x="365" y="324"/>
                    <a:pt x="365" y="324"/>
                  </a:cubicBezTo>
                  <a:cubicBezTo>
                    <a:pt x="375" y="328"/>
                    <a:pt x="375" y="328"/>
                    <a:pt x="375" y="328"/>
                  </a:cubicBezTo>
                  <a:cubicBezTo>
                    <a:pt x="397" y="274"/>
                    <a:pt x="397" y="274"/>
                    <a:pt x="397" y="274"/>
                  </a:cubicBezTo>
                  <a:cubicBezTo>
                    <a:pt x="400" y="265"/>
                    <a:pt x="401" y="257"/>
                    <a:pt x="398" y="251"/>
                  </a:cubicBezTo>
                  <a:cubicBezTo>
                    <a:pt x="395" y="245"/>
                    <a:pt x="389" y="240"/>
                    <a:pt x="379" y="236"/>
                  </a:cubicBezTo>
                  <a:cubicBezTo>
                    <a:pt x="374" y="234"/>
                    <a:pt x="369" y="233"/>
                    <a:pt x="363" y="232"/>
                  </a:cubicBezTo>
                  <a:moveTo>
                    <a:pt x="276" y="270"/>
                  </a:moveTo>
                  <a:cubicBezTo>
                    <a:pt x="275" y="267"/>
                    <a:pt x="275" y="263"/>
                    <a:pt x="278" y="258"/>
                  </a:cubicBezTo>
                  <a:cubicBezTo>
                    <a:pt x="299" y="214"/>
                    <a:pt x="299" y="214"/>
                    <a:pt x="299" y="214"/>
                  </a:cubicBezTo>
                  <a:cubicBezTo>
                    <a:pt x="322" y="225"/>
                    <a:pt x="322" y="225"/>
                    <a:pt x="322" y="225"/>
                  </a:cubicBezTo>
                  <a:cubicBezTo>
                    <a:pt x="327" y="215"/>
                    <a:pt x="327" y="215"/>
                    <a:pt x="327" y="215"/>
                  </a:cubicBezTo>
                  <a:cubicBezTo>
                    <a:pt x="304" y="204"/>
                    <a:pt x="304" y="204"/>
                    <a:pt x="304" y="204"/>
                  </a:cubicBezTo>
                  <a:cubicBezTo>
                    <a:pt x="313" y="186"/>
                    <a:pt x="313" y="186"/>
                    <a:pt x="313" y="186"/>
                  </a:cubicBezTo>
                  <a:cubicBezTo>
                    <a:pt x="305" y="183"/>
                    <a:pt x="305" y="183"/>
                    <a:pt x="305" y="183"/>
                  </a:cubicBezTo>
                  <a:cubicBezTo>
                    <a:pt x="292" y="197"/>
                    <a:pt x="292" y="197"/>
                    <a:pt x="292" y="197"/>
                  </a:cubicBezTo>
                  <a:cubicBezTo>
                    <a:pt x="279" y="196"/>
                    <a:pt x="279" y="196"/>
                    <a:pt x="279" y="196"/>
                  </a:cubicBezTo>
                  <a:cubicBezTo>
                    <a:pt x="276" y="202"/>
                    <a:pt x="276" y="202"/>
                    <a:pt x="276" y="202"/>
                  </a:cubicBezTo>
                  <a:cubicBezTo>
                    <a:pt x="287" y="208"/>
                    <a:pt x="287" y="208"/>
                    <a:pt x="287" y="208"/>
                  </a:cubicBezTo>
                  <a:cubicBezTo>
                    <a:pt x="265" y="252"/>
                    <a:pt x="265" y="252"/>
                    <a:pt x="265" y="252"/>
                  </a:cubicBezTo>
                  <a:cubicBezTo>
                    <a:pt x="262" y="259"/>
                    <a:pt x="261" y="264"/>
                    <a:pt x="261" y="269"/>
                  </a:cubicBezTo>
                  <a:cubicBezTo>
                    <a:pt x="261" y="273"/>
                    <a:pt x="263" y="277"/>
                    <a:pt x="266" y="280"/>
                  </a:cubicBezTo>
                  <a:cubicBezTo>
                    <a:pt x="268" y="283"/>
                    <a:pt x="272" y="285"/>
                    <a:pt x="276" y="287"/>
                  </a:cubicBezTo>
                  <a:cubicBezTo>
                    <a:pt x="278" y="289"/>
                    <a:pt x="281" y="289"/>
                    <a:pt x="283" y="290"/>
                  </a:cubicBezTo>
                  <a:cubicBezTo>
                    <a:pt x="286" y="291"/>
                    <a:pt x="288" y="291"/>
                    <a:pt x="290" y="291"/>
                  </a:cubicBezTo>
                  <a:cubicBezTo>
                    <a:pt x="295" y="282"/>
                    <a:pt x="295" y="282"/>
                    <a:pt x="295" y="282"/>
                  </a:cubicBezTo>
                  <a:cubicBezTo>
                    <a:pt x="293" y="282"/>
                    <a:pt x="291" y="281"/>
                    <a:pt x="289" y="281"/>
                  </a:cubicBezTo>
                  <a:cubicBezTo>
                    <a:pt x="287" y="280"/>
                    <a:pt x="285" y="279"/>
                    <a:pt x="283" y="278"/>
                  </a:cubicBezTo>
                  <a:cubicBezTo>
                    <a:pt x="279" y="276"/>
                    <a:pt x="277" y="274"/>
                    <a:pt x="276" y="270"/>
                  </a:cubicBezTo>
                  <a:moveTo>
                    <a:pt x="238" y="227"/>
                  </a:moveTo>
                  <a:cubicBezTo>
                    <a:pt x="238" y="224"/>
                    <a:pt x="237" y="220"/>
                    <a:pt x="235" y="216"/>
                  </a:cubicBezTo>
                  <a:cubicBezTo>
                    <a:pt x="232" y="213"/>
                    <a:pt x="229" y="208"/>
                    <a:pt x="226" y="204"/>
                  </a:cubicBezTo>
                  <a:cubicBezTo>
                    <a:pt x="222" y="199"/>
                    <a:pt x="219" y="196"/>
                    <a:pt x="217" y="193"/>
                  </a:cubicBezTo>
                  <a:cubicBezTo>
                    <a:pt x="215" y="190"/>
                    <a:pt x="214" y="187"/>
                    <a:pt x="214" y="185"/>
                  </a:cubicBezTo>
                  <a:cubicBezTo>
                    <a:pt x="213" y="183"/>
                    <a:pt x="214" y="181"/>
                    <a:pt x="215" y="179"/>
                  </a:cubicBezTo>
                  <a:cubicBezTo>
                    <a:pt x="217" y="176"/>
                    <a:pt x="219" y="174"/>
                    <a:pt x="223" y="174"/>
                  </a:cubicBezTo>
                  <a:cubicBezTo>
                    <a:pt x="226" y="174"/>
                    <a:pt x="231" y="176"/>
                    <a:pt x="236" y="179"/>
                  </a:cubicBezTo>
                  <a:cubicBezTo>
                    <a:pt x="239" y="181"/>
                    <a:pt x="242" y="183"/>
                    <a:pt x="245" y="186"/>
                  </a:cubicBezTo>
                  <a:cubicBezTo>
                    <a:pt x="248" y="189"/>
                    <a:pt x="251" y="192"/>
                    <a:pt x="253" y="195"/>
                  </a:cubicBezTo>
                  <a:cubicBezTo>
                    <a:pt x="263" y="188"/>
                    <a:pt x="263" y="188"/>
                    <a:pt x="263" y="188"/>
                  </a:cubicBezTo>
                  <a:cubicBezTo>
                    <a:pt x="260" y="184"/>
                    <a:pt x="257" y="181"/>
                    <a:pt x="254" y="178"/>
                  </a:cubicBezTo>
                  <a:cubicBezTo>
                    <a:pt x="251" y="175"/>
                    <a:pt x="247" y="172"/>
                    <a:pt x="242" y="169"/>
                  </a:cubicBezTo>
                  <a:cubicBezTo>
                    <a:pt x="234" y="164"/>
                    <a:pt x="226" y="162"/>
                    <a:pt x="219" y="163"/>
                  </a:cubicBezTo>
                  <a:cubicBezTo>
                    <a:pt x="212" y="163"/>
                    <a:pt x="207" y="166"/>
                    <a:pt x="203" y="173"/>
                  </a:cubicBezTo>
                  <a:cubicBezTo>
                    <a:pt x="201" y="177"/>
                    <a:pt x="200" y="180"/>
                    <a:pt x="200" y="184"/>
                  </a:cubicBezTo>
                  <a:cubicBezTo>
                    <a:pt x="200" y="188"/>
                    <a:pt x="202" y="192"/>
                    <a:pt x="204" y="195"/>
                  </a:cubicBezTo>
                  <a:cubicBezTo>
                    <a:pt x="206" y="199"/>
                    <a:pt x="209" y="203"/>
                    <a:pt x="213" y="208"/>
                  </a:cubicBezTo>
                  <a:cubicBezTo>
                    <a:pt x="217" y="213"/>
                    <a:pt x="220" y="217"/>
                    <a:pt x="221" y="220"/>
                  </a:cubicBezTo>
                  <a:cubicBezTo>
                    <a:pt x="223" y="223"/>
                    <a:pt x="224" y="225"/>
                    <a:pt x="224" y="227"/>
                  </a:cubicBezTo>
                  <a:cubicBezTo>
                    <a:pt x="224" y="229"/>
                    <a:pt x="224" y="231"/>
                    <a:pt x="223" y="233"/>
                  </a:cubicBezTo>
                  <a:cubicBezTo>
                    <a:pt x="221" y="236"/>
                    <a:pt x="218" y="238"/>
                    <a:pt x="214" y="239"/>
                  </a:cubicBezTo>
                  <a:cubicBezTo>
                    <a:pt x="210" y="239"/>
                    <a:pt x="205" y="237"/>
                    <a:pt x="199" y="234"/>
                  </a:cubicBezTo>
                  <a:cubicBezTo>
                    <a:pt x="195" y="231"/>
                    <a:pt x="191" y="228"/>
                    <a:pt x="187" y="224"/>
                  </a:cubicBezTo>
                  <a:cubicBezTo>
                    <a:pt x="184" y="221"/>
                    <a:pt x="181" y="217"/>
                    <a:pt x="179" y="214"/>
                  </a:cubicBezTo>
                  <a:cubicBezTo>
                    <a:pt x="172" y="225"/>
                    <a:pt x="172" y="225"/>
                    <a:pt x="172" y="225"/>
                  </a:cubicBezTo>
                  <a:cubicBezTo>
                    <a:pt x="174" y="228"/>
                    <a:pt x="177" y="231"/>
                    <a:pt x="180" y="234"/>
                  </a:cubicBezTo>
                  <a:cubicBezTo>
                    <a:pt x="184" y="237"/>
                    <a:pt x="188" y="240"/>
                    <a:pt x="193" y="243"/>
                  </a:cubicBezTo>
                  <a:cubicBezTo>
                    <a:pt x="202" y="249"/>
                    <a:pt x="210" y="251"/>
                    <a:pt x="218" y="250"/>
                  </a:cubicBezTo>
                  <a:cubicBezTo>
                    <a:pt x="225" y="250"/>
                    <a:pt x="231" y="246"/>
                    <a:pt x="235" y="239"/>
                  </a:cubicBezTo>
                  <a:cubicBezTo>
                    <a:pt x="238" y="235"/>
                    <a:pt x="239" y="231"/>
                    <a:pt x="238" y="227"/>
                  </a:cubicBezTo>
                  <a:moveTo>
                    <a:pt x="177" y="131"/>
                  </a:moveTo>
                  <a:cubicBezTo>
                    <a:pt x="152" y="168"/>
                    <a:pt x="152" y="168"/>
                    <a:pt x="152" y="168"/>
                  </a:cubicBezTo>
                  <a:cubicBezTo>
                    <a:pt x="146" y="176"/>
                    <a:pt x="140" y="181"/>
                    <a:pt x="134" y="183"/>
                  </a:cubicBezTo>
                  <a:cubicBezTo>
                    <a:pt x="128" y="186"/>
                    <a:pt x="121" y="184"/>
                    <a:pt x="113" y="178"/>
                  </a:cubicBezTo>
                  <a:cubicBezTo>
                    <a:pt x="103" y="171"/>
                    <a:pt x="102" y="162"/>
                    <a:pt x="109" y="151"/>
                  </a:cubicBezTo>
                  <a:cubicBezTo>
                    <a:pt x="141" y="106"/>
                    <a:pt x="141" y="106"/>
                    <a:pt x="141" y="106"/>
                  </a:cubicBezTo>
                  <a:cubicBezTo>
                    <a:pt x="129" y="97"/>
                    <a:pt x="129" y="97"/>
                    <a:pt x="129" y="97"/>
                  </a:cubicBezTo>
                  <a:cubicBezTo>
                    <a:pt x="97" y="143"/>
                    <a:pt x="97" y="143"/>
                    <a:pt x="97" y="143"/>
                  </a:cubicBezTo>
                  <a:cubicBezTo>
                    <a:pt x="91" y="152"/>
                    <a:pt x="89" y="160"/>
                    <a:pt x="90" y="167"/>
                  </a:cubicBezTo>
                  <a:cubicBezTo>
                    <a:pt x="91" y="174"/>
                    <a:pt x="96" y="181"/>
                    <a:pt x="105" y="187"/>
                  </a:cubicBezTo>
                  <a:cubicBezTo>
                    <a:pt x="109" y="190"/>
                    <a:pt x="114" y="192"/>
                    <a:pt x="119" y="193"/>
                  </a:cubicBezTo>
                  <a:cubicBezTo>
                    <a:pt x="125" y="194"/>
                    <a:pt x="130" y="194"/>
                    <a:pt x="134" y="192"/>
                  </a:cubicBezTo>
                  <a:cubicBezTo>
                    <a:pt x="135" y="192"/>
                    <a:pt x="135" y="192"/>
                    <a:pt x="135" y="192"/>
                  </a:cubicBezTo>
                  <a:cubicBezTo>
                    <a:pt x="130" y="203"/>
                    <a:pt x="130" y="203"/>
                    <a:pt x="130" y="203"/>
                  </a:cubicBezTo>
                  <a:cubicBezTo>
                    <a:pt x="140" y="209"/>
                    <a:pt x="140" y="209"/>
                    <a:pt x="140" y="209"/>
                  </a:cubicBezTo>
                  <a:cubicBezTo>
                    <a:pt x="189" y="139"/>
                    <a:pt x="189" y="139"/>
                    <a:pt x="189" y="139"/>
                  </a:cubicBezTo>
                  <a:lnTo>
                    <a:pt x="177" y="131"/>
                  </a:lnTo>
                  <a:close/>
                  <a:moveTo>
                    <a:pt x="79" y="109"/>
                  </a:moveTo>
                  <a:cubicBezTo>
                    <a:pt x="80" y="105"/>
                    <a:pt x="79" y="100"/>
                    <a:pt x="78" y="95"/>
                  </a:cubicBezTo>
                  <a:cubicBezTo>
                    <a:pt x="76" y="90"/>
                    <a:pt x="73" y="84"/>
                    <a:pt x="70" y="78"/>
                  </a:cubicBezTo>
                  <a:cubicBezTo>
                    <a:pt x="66" y="72"/>
                    <a:pt x="64" y="67"/>
                    <a:pt x="62" y="63"/>
                  </a:cubicBezTo>
                  <a:cubicBezTo>
                    <a:pt x="61" y="59"/>
                    <a:pt x="61" y="56"/>
                    <a:pt x="61" y="53"/>
                  </a:cubicBezTo>
                  <a:cubicBezTo>
                    <a:pt x="61" y="50"/>
                    <a:pt x="63" y="47"/>
                    <a:pt x="65" y="44"/>
                  </a:cubicBezTo>
                  <a:cubicBezTo>
                    <a:pt x="68" y="40"/>
                    <a:pt x="72" y="38"/>
                    <a:pt x="77" y="38"/>
                  </a:cubicBezTo>
                  <a:cubicBezTo>
                    <a:pt x="82" y="38"/>
                    <a:pt x="87" y="41"/>
                    <a:pt x="92" y="45"/>
                  </a:cubicBezTo>
                  <a:cubicBezTo>
                    <a:pt x="96" y="48"/>
                    <a:pt x="100" y="52"/>
                    <a:pt x="102" y="56"/>
                  </a:cubicBezTo>
                  <a:cubicBezTo>
                    <a:pt x="105" y="60"/>
                    <a:pt x="108" y="64"/>
                    <a:pt x="110" y="67"/>
                  </a:cubicBezTo>
                  <a:cubicBezTo>
                    <a:pt x="121" y="61"/>
                    <a:pt x="121" y="61"/>
                    <a:pt x="121" y="61"/>
                  </a:cubicBezTo>
                  <a:cubicBezTo>
                    <a:pt x="119" y="57"/>
                    <a:pt x="116" y="52"/>
                    <a:pt x="113" y="48"/>
                  </a:cubicBezTo>
                  <a:cubicBezTo>
                    <a:pt x="110" y="44"/>
                    <a:pt x="106" y="40"/>
                    <a:pt x="101" y="36"/>
                  </a:cubicBezTo>
                  <a:cubicBezTo>
                    <a:pt x="95" y="31"/>
                    <a:pt x="90" y="28"/>
                    <a:pt x="84" y="26"/>
                  </a:cubicBezTo>
                  <a:cubicBezTo>
                    <a:pt x="78" y="25"/>
                    <a:pt x="73" y="24"/>
                    <a:pt x="68" y="26"/>
                  </a:cubicBezTo>
                  <a:cubicBezTo>
                    <a:pt x="62" y="27"/>
                    <a:pt x="58" y="30"/>
                    <a:pt x="54" y="35"/>
                  </a:cubicBezTo>
                  <a:cubicBezTo>
                    <a:pt x="48" y="41"/>
                    <a:pt x="46" y="48"/>
                    <a:pt x="46" y="55"/>
                  </a:cubicBezTo>
                  <a:cubicBezTo>
                    <a:pt x="47" y="63"/>
                    <a:pt x="50" y="71"/>
                    <a:pt x="55" y="80"/>
                  </a:cubicBezTo>
                  <a:cubicBezTo>
                    <a:pt x="59" y="86"/>
                    <a:pt x="61" y="91"/>
                    <a:pt x="63" y="95"/>
                  </a:cubicBezTo>
                  <a:cubicBezTo>
                    <a:pt x="65" y="99"/>
                    <a:pt x="65" y="103"/>
                    <a:pt x="65" y="106"/>
                  </a:cubicBezTo>
                  <a:cubicBezTo>
                    <a:pt x="64" y="109"/>
                    <a:pt x="63" y="112"/>
                    <a:pt x="61" y="115"/>
                  </a:cubicBezTo>
                  <a:cubicBezTo>
                    <a:pt x="57" y="119"/>
                    <a:pt x="52" y="121"/>
                    <a:pt x="47" y="121"/>
                  </a:cubicBezTo>
                  <a:cubicBezTo>
                    <a:pt x="41" y="121"/>
                    <a:pt x="35" y="118"/>
                    <a:pt x="29" y="112"/>
                  </a:cubicBezTo>
                  <a:cubicBezTo>
                    <a:pt x="24" y="109"/>
                    <a:pt x="20" y="104"/>
                    <a:pt x="17" y="100"/>
                  </a:cubicBezTo>
                  <a:cubicBezTo>
                    <a:pt x="13" y="95"/>
                    <a:pt x="11" y="91"/>
                    <a:pt x="9" y="87"/>
                  </a:cubicBezTo>
                  <a:cubicBezTo>
                    <a:pt x="0" y="97"/>
                    <a:pt x="0" y="97"/>
                    <a:pt x="0" y="97"/>
                  </a:cubicBezTo>
                  <a:cubicBezTo>
                    <a:pt x="2" y="101"/>
                    <a:pt x="4" y="105"/>
                    <a:pt x="8" y="109"/>
                  </a:cubicBezTo>
                  <a:cubicBezTo>
                    <a:pt x="11" y="113"/>
                    <a:pt x="16" y="118"/>
                    <a:pt x="21" y="122"/>
                  </a:cubicBezTo>
                  <a:cubicBezTo>
                    <a:pt x="30" y="130"/>
                    <a:pt x="40" y="134"/>
                    <a:pt x="49" y="134"/>
                  </a:cubicBezTo>
                  <a:cubicBezTo>
                    <a:pt x="58" y="135"/>
                    <a:pt x="66" y="131"/>
                    <a:pt x="72" y="123"/>
                  </a:cubicBezTo>
                  <a:cubicBezTo>
                    <a:pt x="76" y="119"/>
                    <a:pt x="79" y="114"/>
                    <a:pt x="79" y="109"/>
                  </a:cubicBezTo>
                </a:path>
              </a:pathLst>
            </a:custGeom>
            <a:solidFill>
              <a:srgbClr val="222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8" name="Content Placeholder 3">
            <a:extLst>
              <a:ext uri="{FF2B5EF4-FFF2-40B4-BE49-F238E27FC236}">
                <a16:creationId xmlns:a16="http://schemas.microsoft.com/office/drawing/2014/main" id="{373D8BB1-B6E6-436F-9247-6DF593C1DEAC}"/>
              </a:ext>
            </a:extLst>
          </p:cNvPr>
          <p:cNvSpPr txBox="1">
            <a:spLocks/>
          </p:cNvSpPr>
          <p:nvPr/>
        </p:nvSpPr>
        <p:spPr>
          <a:xfrm>
            <a:off x="7273616" y="4184460"/>
            <a:ext cx="2345398" cy="1376724"/>
          </a:xfrm>
          <a:prstGeom prst="rect">
            <a:avLst/>
          </a:prstGeom>
        </p:spPr>
        <p:txBody>
          <a:bodyPr wrap="square" lIns="0" tIns="0" rIns="0" bIns="0">
            <a:spAutoFit/>
          </a:bodyPr>
          <a:lstStyle>
            <a:lvl1pPr marL="265113" indent="-265113" algn="l" defTabSz="914400" rtl="0" eaLnBrk="1" latinLnBrk="0" hangingPunct="1">
              <a:spcBef>
                <a:spcPct val="20000"/>
              </a:spcBef>
              <a:buClr>
                <a:srgbClr val="009FDA"/>
              </a:buClr>
              <a:buFont typeface="Verdana" pitchFamily="34" charset="0"/>
              <a:buChar char="•"/>
              <a:defRPr sz="1800" kern="1200">
                <a:solidFill>
                  <a:srgbClr val="001423"/>
                </a:solidFill>
                <a:latin typeface="+mn-lt"/>
                <a:ea typeface="+mn-ea"/>
                <a:cs typeface="+mn-cs"/>
              </a:defRPr>
            </a:lvl1pPr>
            <a:lvl2pPr marL="536575" indent="-271463" algn="l" defTabSz="914400" rtl="0" eaLnBrk="1" latinLnBrk="0" hangingPunct="1">
              <a:spcBef>
                <a:spcPct val="20000"/>
              </a:spcBef>
              <a:buClr>
                <a:srgbClr val="009FDA"/>
              </a:buClr>
              <a:buFont typeface="Verdana" pitchFamily="34" charset="0"/>
              <a:buChar char="•"/>
              <a:defRPr sz="1600" kern="1200">
                <a:solidFill>
                  <a:srgbClr val="001423"/>
                </a:solidFill>
                <a:latin typeface="+mn-lt"/>
                <a:ea typeface="+mn-ea"/>
                <a:cs typeface="+mn-cs"/>
              </a:defRPr>
            </a:lvl2pPr>
            <a:lvl3pPr marL="808038" indent="-271463" algn="l" defTabSz="914400" rtl="0" eaLnBrk="1" latinLnBrk="0" hangingPunct="1">
              <a:spcBef>
                <a:spcPct val="20000"/>
              </a:spcBef>
              <a:buClr>
                <a:srgbClr val="009FDA"/>
              </a:buClr>
              <a:buFont typeface="Verdana" pitchFamily="34" charset="0"/>
              <a:buChar char="•"/>
              <a:defRPr sz="1400" kern="1200">
                <a:solidFill>
                  <a:srgbClr val="001423"/>
                </a:solidFill>
                <a:latin typeface="+mn-lt"/>
                <a:ea typeface="+mn-ea"/>
                <a:cs typeface="+mn-cs"/>
              </a:defRPr>
            </a:lvl3pPr>
            <a:lvl4pPr marL="985838" indent="-177800" algn="l" defTabSz="914400" rtl="0" eaLnBrk="1" latinLnBrk="0" hangingPunct="1">
              <a:spcBef>
                <a:spcPct val="20000"/>
              </a:spcBef>
              <a:buClr>
                <a:srgbClr val="009FDA"/>
              </a:buClr>
              <a:buFont typeface="Verdana" pitchFamily="34" charset="0"/>
              <a:buChar char="•"/>
              <a:defRPr sz="1200" kern="1200">
                <a:solidFill>
                  <a:srgbClr val="001423"/>
                </a:solidFill>
                <a:latin typeface="+mn-lt"/>
                <a:ea typeface="+mn-ea"/>
                <a:cs typeface="+mn-cs"/>
              </a:defRPr>
            </a:lvl4pPr>
            <a:lvl5pPr marL="1257300" indent="-184150" algn="l" defTabSz="914400" rtl="0" eaLnBrk="1" latinLnBrk="0" hangingPunct="1">
              <a:spcBef>
                <a:spcPct val="20000"/>
              </a:spcBef>
              <a:buClr>
                <a:srgbClr val="009FDA"/>
              </a:buClr>
              <a:buFont typeface="Verdana" pitchFamily="34" charset="0"/>
              <a:buChar char="•"/>
              <a:defRPr sz="1100" kern="1200">
                <a:solidFill>
                  <a:srgbClr val="001423"/>
                </a:solidFill>
                <a:latin typeface="+mn-lt"/>
                <a:ea typeface="+mn-ea"/>
                <a:cs typeface="+mn-cs"/>
              </a:defRPr>
            </a:lvl5pPr>
            <a:lvl6pPr marL="2514600" indent="-228600" algn="l" defTabSz="914400" rtl="0" eaLnBrk="1" latinLnBrk="0" hangingPunct="1">
              <a:spcBef>
                <a:spcPct val="20000"/>
              </a:spcBef>
              <a:buFont typeface="Verdana"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Verdana"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Verdana"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Verdana" pitchFamily="34" charset="0"/>
              <a:buChar char="•"/>
              <a:defRPr sz="2000" kern="1200">
                <a:solidFill>
                  <a:schemeClr val="tx1"/>
                </a:solidFill>
                <a:latin typeface="+mn-lt"/>
                <a:ea typeface="+mn-ea"/>
                <a:cs typeface="+mn-cs"/>
              </a:defRPr>
            </a:lvl9pPr>
          </a:lstStyle>
          <a:p>
            <a:pPr marL="0" marR="0" lvl="0" indent="0" defTabSz="914400" rtl="0" eaLnBrk="1" fontAlgn="auto" latinLnBrk="0" hangingPunct="1">
              <a:lnSpc>
                <a:spcPct val="130000"/>
              </a:lnSpc>
              <a:spcBef>
                <a:spcPct val="20000"/>
              </a:spcBef>
              <a:spcAft>
                <a:spcPts val="0"/>
              </a:spcAft>
              <a:buClr>
                <a:srgbClr val="009FDA"/>
              </a:buClr>
              <a:buSzTx/>
              <a:buFont typeface="Verdana" pitchFamily="34" charset="0"/>
              <a:buNone/>
              <a:tabLst/>
              <a:defRPr/>
            </a:pPr>
            <a:r>
              <a:rPr kumimoji="0" lang="en-GB" altLang="da-DK" sz="140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The </a:t>
            </a:r>
            <a:r>
              <a:rPr kumimoji="0" lang="en-GB" altLang="da-DK" sz="1400" b="1"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Novo Nordisk Way </a:t>
            </a:r>
            <a:r>
              <a:rPr kumimoji="0" lang="en-GB" altLang="da-DK" sz="1400" u="none" strike="noStrike" kern="1200" cap="none" spc="0" normalizeH="0" baseline="0" noProof="0" dirty="0">
                <a:ln>
                  <a:noFill/>
                </a:ln>
                <a:solidFill>
                  <a:srgbClr val="001965"/>
                </a:solidFill>
                <a:effectLst/>
                <a:uLnTx/>
                <a:uFillTx/>
                <a:latin typeface="Apis For Office" panose="020B0504010101010104" pitchFamily="34" charset="0"/>
                <a:ea typeface="Apis For Office" panose="020B0504010101010104" pitchFamily="34" charset="0"/>
                <a:cs typeface="Apis For Office" panose="020B0504010101010104" pitchFamily="34" charset="0"/>
              </a:rPr>
              <a:t>describes who we are, where we want to go and the values that characterise our company.</a:t>
            </a:r>
          </a:p>
        </p:txBody>
      </p:sp>
    </p:spTree>
    <p:custDataLst>
      <p:tags r:id="rId1"/>
    </p:custDataLst>
    <p:extLst>
      <p:ext uri="{BB962C8B-B14F-4D97-AF65-F5344CB8AC3E}">
        <p14:creationId xmlns:p14="http://schemas.microsoft.com/office/powerpoint/2010/main" val="26785041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726322-4EF2-4506-BC68-CA64823151E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5" name="think-cell Slide" r:id="rId7" imgW="415" imgH="416" progId="TCLayout.ActiveDocument.1">
                  <p:embed/>
                </p:oleObj>
              </mc:Choice>
              <mc:Fallback>
                <p:oleObj name="think-cell Slide" r:id="rId7" imgW="415" imgH="416" progId="TCLayout.ActiveDocument.1">
                  <p:embed/>
                  <p:pic>
                    <p:nvPicPr>
                      <p:cNvPr id="3" name="Object 2" hidden="1">
                        <a:extLst>
                          <a:ext uri="{FF2B5EF4-FFF2-40B4-BE49-F238E27FC236}">
                            <a16:creationId xmlns:a16="http://schemas.microsoft.com/office/drawing/2014/main" id="{9B726322-4EF2-4506-BC68-CA64823151E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Pladsholder til indhold 1">
            <a:extLst>
              <a:ext uri="{FF2B5EF4-FFF2-40B4-BE49-F238E27FC236}">
                <a16:creationId xmlns:a16="http://schemas.microsoft.com/office/drawing/2014/main" id="{9D5C88A5-1DFF-468F-AF39-D2B8691CF558}"/>
              </a:ext>
            </a:extLst>
          </p:cNvPr>
          <p:cNvSpPr>
            <a:spLocks noGrp="1"/>
          </p:cNvSpPr>
          <p:nvPr>
            <p:ph idx="1"/>
          </p:nvPr>
        </p:nvSpPr>
        <p:spPr>
          <a:xfrm>
            <a:off x="6387043" y="931181"/>
            <a:ext cx="5673600" cy="4745232"/>
          </a:xfrm>
        </p:spPr>
        <p:txBody>
          <a:bodyPr>
            <a:noAutofit/>
          </a:bodyPr>
          <a:lstStyle/>
          <a:p>
            <a:pPr marL="476239" indent="-476239">
              <a:spcBef>
                <a:spcPts val="800"/>
              </a:spcBef>
              <a:spcAft>
                <a:spcPts val="800"/>
              </a:spcAft>
              <a:buFont typeface="+mj-lt"/>
              <a:buAutoNum type="arabicPeriod"/>
            </a:pPr>
            <a:r>
              <a:rPr lang="en-GB" altLang="en-US" sz="1333" b="1" dirty="0"/>
              <a:t>We create value by having a patient-centred business approach.</a:t>
            </a:r>
          </a:p>
          <a:p>
            <a:pPr marL="476239" indent="-476239">
              <a:spcBef>
                <a:spcPts val="800"/>
              </a:spcBef>
              <a:spcAft>
                <a:spcPts val="800"/>
              </a:spcAft>
              <a:buFont typeface="+mj-lt"/>
              <a:buAutoNum type="arabicPeriod"/>
            </a:pPr>
            <a:r>
              <a:rPr lang="en-GB" altLang="en-US" sz="1333" dirty="0"/>
              <a:t>We set ambitious goals and strive for excellence.</a:t>
            </a:r>
          </a:p>
          <a:p>
            <a:pPr marL="476239" indent="-476239">
              <a:spcBef>
                <a:spcPts val="800"/>
              </a:spcBef>
              <a:spcAft>
                <a:spcPts val="800"/>
              </a:spcAft>
              <a:buFont typeface="+mj-lt"/>
              <a:buAutoNum type="arabicPeriod"/>
            </a:pPr>
            <a:r>
              <a:rPr lang="en-GB" altLang="en-US" sz="1333" dirty="0"/>
              <a:t>We are accountable for our financial, environmental and social performance.</a:t>
            </a:r>
          </a:p>
          <a:p>
            <a:pPr marL="476239" indent="-476239">
              <a:spcBef>
                <a:spcPts val="800"/>
              </a:spcBef>
              <a:spcAft>
                <a:spcPts val="800"/>
              </a:spcAft>
              <a:buFont typeface="+mj-lt"/>
              <a:buAutoNum type="arabicPeriod"/>
            </a:pPr>
            <a:r>
              <a:rPr lang="en-GB" altLang="en-US" sz="1333" b="1" dirty="0"/>
              <a:t>We provide innovation to the benefit of our stakeholders.</a:t>
            </a:r>
          </a:p>
          <a:p>
            <a:pPr marL="476239" indent="-476239">
              <a:spcBef>
                <a:spcPts val="800"/>
              </a:spcBef>
              <a:spcAft>
                <a:spcPts val="800"/>
              </a:spcAft>
              <a:buFont typeface="+mj-lt"/>
              <a:buAutoNum type="arabicPeriod"/>
            </a:pPr>
            <a:r>
              <a:rPr lang="en-GB" altLang="en-US" sz="1333" dirty="0"/>
              <a:t>We build and maintain good relations with our </a:t>
            </a:r>
            <a:br>
              <a:rPr lang="en-GB" altLang="en-US" sz="1333" dirty="0"/>
            </a:br>
            <a:r>
              <a:rPr lang="en-GB" altLang="en-US" sz="1333" dirty="0"/>
              <a:t>key stakeholders.</a:t>
            </a:r>
          </a:p>
          <a:p>
            <a:pPr marL="476239" indent="-476239">
              <a:spcBef>
                <a:spcPts val="800"/>
              </a:spcBef>
              <a:spcAft>
                <a:spcPts val="800"/>
              </a:spcAft>
              <a:buFont typeface="+mj-lt"/>
              <a:buAutoNum type="arabicPeriod"/>
            </a:pPr>
            <a:r>
              <a:rPr lang="en-GB" altLang="en-US" sz="1333" dirty="0"/>
              <a:t>We treat everyone with respect.</a:t>
            </a:r>
          </a:p>
          <a:p>
            <a:pPr marL="476239" indent="-476239">
              <a:spcBef>
                <a:spcPts val="800"/>
              </a:spcBef>
              <a:spcAft>
                <a:spcPts val="800"/>
              </a:spcAft>
              <a:buFont typeface="+mj-lt"/>
              <a:buAutoNum type="arabicPeriod"/>
            </a:pPr>
            <a:r>
              <a:rPr lang="en-GB" altLang="en-US" sz="1333" dirty="0"/>
              <a:t>We focus on personal performance and development.</a:t>
            </a:r>
          </a:p>
          <a:p>
            <a:pPr marL="476239" indent="-476239">
              <a:spcBef>
                <a:spcPts val="800"/>
              </a:spcBef>
              <a:spcAft>
                <a:spcPts val="800"/>
              </a:spcAft>
              <a:buFont typeface="+mj-lt"/>
              <a:buAutoNum type="arabicPeriod"/>
            </a:pPr>
            <a:r>
              <a:rPr lang="en-GB" altLang="en-US" sz="1333" dirty="0"/>
              <a:t>We have a healthy and engaging working environment.</a:t>
            </a:r>
          </a:p>
          <a:p>
            <a:pPr marL="476239" indent="-476239">
              <a:spcBef>
                <a:spcPts val="800"/>
              </a:spcBef>
              <a:spcAft>
                <a:spcPts val="800"/>
              </a:spcAft>
              <a:buFont typeface="+mj-lt"/>
              <a:buAutoNum type="arabicPeriod"/>
            </a:pPr>
            <a:r>
              <a:rPr lang="en-GB" altLang="en-US" sz="1333" dirty="0"/>
              <a:t>We strive for agility and simplicity in everything we do.</a:t>
            </a:r>
          </a:p>
          <a:p>
            <a:pPr marL="476239" indent="-476239">
              <a:spcBef>
                <a:spcPts val="800"/>
              </a:spcBef>
              <a:spcAft>
                <a:spcPts val="800"/>
              </a:spcAft>
              <a:buFont typeface="+mj-lt"/>
              <a:buAutoNum type="arabicPeriod"/>
            </a:pPr>
            <a:r>
              <a:rPr lang="en-GB" altLang="en-US" sz="1333" dirty="0"/>
              <a:t>We never compromise on quality </a:t>
            </a:r>
            <a:br>
              <a:rPr lang="en-GB" altLang="en-US" sz="1333" dirty="0"/>
            </a:br>
            <a:r>
              <a:rPr lang="en-GB" altLang="en-US" sz="1333" dirty="0"/>
              <a:t>and business ethics.</a:t>
            </a:r>
          </a:p>
        </p:txBody>
      </p:sp>
      <p:sp>
        <p:nvSpPr>
          <p:cNvPr id="5" name="Titel 1">
            <a:extLst>
              <a:ext uri="{FF2B5EF4-FFF2-40B4-BE49-F238E27FC236}">
                <a16:creationId xmlns:a16="http://schemas.microsoft.com/office/drawing/2014/main" id="{9AFF3302-2582-4F7F-B259-80B6D71CDAC0}"/>
              </a:ext>
            </a:extLst>
          </p:cNvPr>
          <p:cNvSpPr txBox="1">
            <a:spLocks/>
          </p:cNvSpPr>
          <p:nvPr/>
        </p:nvSpPr>
        <p:spPr>
          <a:xfrm>
            <a:off x="6268283" y="210675"/>
            <a:ext cx="4090224" cy="521883"/>
          </a:xfrm>
          <a:prstGeom prst="rect">
            <a:avLst/>
          </a:prstGeom>
        </p:spPr>
        <p:txBody>
          <a:bodyPr/>
          <a:lstStyle>
            <a:lvl1pPr algn="l" defTabSz="914400" rtl="0" eaLnBrk="1" latinLnBrk="0" hangingPunct="1">
              <a:spcBef>
                <a:spcPct val="0"/>
              </a:spcBef>
              <a:buNone/>
              <a:defRPr sz="2400" b="1" kern="1200">
                <a:solidFill>
                  <a:srgbClr val="009FD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001965"/>
                </a:solidFill>
                <a:effectLst/>
                <a:uLnTx/>
                <a:uFillTx/>
                <a:latin typeface="Apis For Office"/>
                <a:ea typeface="+mj-ea"/>
                <a:cs typeface="+mj-cs"/>
              </a:rPr>
              <a:t>The Essentials</a:t>
            </a:r>
          </a:p>
        </p:txBody>
      </p:sp>
      <p:sp>
        <p:nvSpPr>
          <p:cNvPr id="2" name="Rectangle 1">
            <a:extLst>
              <a:ext uri="{FF2B5EF4-FFF2-40B4-BE49-F238E27FC236}">
                <a16:creationId xmlns:a16="http://schemas.microsoft.com/office/drawing/2014/main" id="{260015A3-D8BB-4955-B28C-A6B1FDFECF39}"/>
              </a:ext>
            </a:extLst>
          </p:cNvPr>
          <p:cNvSpPr/>
          <p:nvPr/>
        </p:nvSpPr>
        <p:spPr>
          <a:xfrm>
            <a:off x="10661904" y="5733288"/>
            <a:ext cx="1389888" cy="10058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pic>
        <p:nvPicPr>
          <p:cNvPr id="7" name="Picture 6">
            <a:extLst>
              <a:ext uri="{FF2B5EF4-FFF2-40B4-BE49-F238E27FC236}">
                <a16:creationId xmlns:a16="http://schemas.microsoft.com/office/drawing/2014/main" id="{54172B0B-73A8-40FE-8D3F-BF6036B3AD77}"/>
              </a:ext>
            </a:extLst>
          </p:cNvPr>
          <p:cNvPicPr>
            <a:picLocks noChangeAspect="1"/>
          </p:cNvPicPr>
          <p:nvPr>
            <p:custDataLst>
              <p:tags r:id="rId4"/>
            </p:custDataLst>
          </p:nvPr>
        </p:nvPicPr>
        <p:blipFill rotWithShape="1">
          <a:blip r:embed="rId9">
            <a:extLst>
              <a:ext uri="{28A0092B-C50C-407E-A947-70E740481C1C}">
                <a14:useLocalDpi xmlns:a14="http://schemas.microsoft.com/office/drawing/2010/main" val="0"/>
              </a:ext>
            </a:extLst>
          </a:blip>
          <a:srcRect/>
          <a:stretch/>
        </p:blipFill>
        <p:spPr>
          <a:xfrm>
            <a:off x="-162351" y="0"/>
            <a:ext cx="6086069" cy="6858000"/>
          </a:xfrm>
          <a:prstGeom prst="rect">
            <a:avLst/>
          </a:prstGeom>
        </p:spPr>
      </p:pic>
      <p:sp>
        <p:nvSpPr>
          <p:cNvPr id="8" name="TextBox 7">
            <a:extLst>
              <a:ext uri="{FF2B5EF4-FFF2-40B4-BE49-F238E27FC236}">
                <a16:creationId xmlns:a16="http://schemas.microsoft.com/office/drawing/2014/main" id="{5EE552A2-2C2D-4F9D-A2AD-894792F46989}"/>
              </a:ext>
            </a:extLst>
          </p:cNvPr>
          <p:cNvSpPr txBox="1"/>
          <p:nvPr/>
        </p:nvSpPr>
        <p:spPr>
          <a:xfrm>
            <a:off x="11218069" y="324000"/>
            <a:ext cx="648494" cy="10772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Novo Nordisk</a:t>
            </a:r>
            <a:r>
              <a:rPr kumimoji="0" lang="en-GB" sz="700" b="0" i="0" u="none" strike="noStrike" kern="1200" cap="none" spc="0" normalizeH="0" baseline="30000" noProof="0" dirty="0">
                <a:ln>
                  <a:noFill/>
                </a:ln>
                <a:solidFill>
                  <a:srgbClr val="001965"/>
                </a:solidFill>
                <a:effectLst/>
                <a:uLnTx/>
                <a:uFillTx/>
                <a:latin typeface="Apis For Office"/>
                <a:ea typeface="+mn-ea"/>
                <a:cs typeface="+mn-cs"/>
              </a:rPr>
              <a:t>®</a:t>
            </a:r>
          </a:p>
        </p:txBody>
      </p:sp>
    </p:spTree>
    <p:custDataLst>
      <p:tags r:id="rId2"/>
    </p:custDataLst>
    <p:extLst>
      <p:ext uri="{BB962C8B-B14F-4D97-AF65-F5344CB8AC3E}">
        <p14:creationId xmlns:p14="http://schemas.microsoft.com/office/powerpoint/2010/main" val="787572825"/>
      </p:ext>
    </p:extLst>
  </p:cSld>
  <p:clrMapOvr>
    <a:masterClrMapping/>
  </p:clrMapOvr>
  <mc:AlternateContent xmlns:mc="http://schemas.openxmlformats.org/markup-compatibility/2006" xmlns:p14="http://schemas.microsoft.com/office/powerpoint/2010/main">
    <mc:Choice Requires="p14">
      <p:transition p14:dur="10"/>
    </mc:Choice>
    <mc:Fallback xmlns="" xmlns:a16="http://schemas.microsoft.com/office/drawing/2014/main">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tekst 3">
            <a:extLst>
              <a:ext uri="{FF2B5EF4-FFF2-40B4-BE49-F238E27FC236}">
                <a16:creationId xmlns:a16="http://schemas.microsoft.com/office/drawing/2014/main" id="{60755ADC-2829-174D-874B-3597847DA880}"/>
              </a:ext>
            </a:extLst>
          </p:cNvPr>
          <p:cNvSpPr>
            <a:spLocks noGrp="1"/>
          </p:cNvSpPr>
          <p:nvPr>
            <p:ph type="body" sz="quarter" idx="13"/>
          </p:nvPr>
        </p:nvSpPr>
        <p:spPr/>
        <p:txBody>
          <a:bodyPr/>
          <a:lstStyle/>
          <a:p>
            <a:endParaRPr lang="en-GB" dirty="0"/>
          </a:p>
        </p:txBody>
      </p:sp>
      <p:sp>
        <p:nvSpPr>
          <p:cNvPr id="5" name="Pladsholder til sidefod 4">
            <a:extLst>
              <a:ext uri="{FF2B5EF4-FFF2-40B4-BE49-F238E27FC236}">
                <a16:creationId xmlns:a16="http://schemas.microsoft.com/office/drawing/2014/main" id="{EAD7737D-1D56-3341-A022-A42BC11D2C5E}"/>
              </a:ext>
            </a:extLst>
          </p:cNvPr>
          <p:cNvSpPr>
            <a:spLocks noGrp="1"/>
          </p:cNvSpPr>
          <p:nvPr>
            <p:ph type="ftr" sz="quarter" idx="11"/>
          </p:nvPr>
        </p:nvSpPr>
        <p:spPr/>
        <p:txBody>
          <a:bodyPr/>
          <a:lstStyle/>
          <a:p>
            <a:r>
              <a:rPr lang="en-GB"/>
              <a:t>Novo Nordisk company presentation</a:t>
            </a:r>
          </a:p>
        </p:txBody>
      </p:sp>
      <p:sp>
        <p:nvSpPr>
          <p:cNvPr id="6" name="Pladsholder til slidenummer 5">
            <a:extLst>
              <a:ext uri="{FF2B5EF4-FFF2-40B4-BE49-F238E27FC236}">
                <a16:creationId xmlns:a16="http://schemas.microsoft.com/office/drawing/2014/main" id="{9D289B41-49FE-AA4F-8E81-1F4D00D9F5E0}"/>
              </a:ext>
            </a:extLst>
          </p:cNvPr>
          <p:cNvSpPr>
            <a:spLocks noGrp="1"/>
          </p:cNvSpPr>
          <p:nvPr>
            <p:ph type="sldNum" sz="quarter" idx="12"/>
          </p:nvPr>
        </p:nvSpPr>
        <p:spPr/>
        <p:txBody>
          <a:bodyPr/>
          <a:lstStyle/>
          <a:p>
            <a:fld id="{23AA811B-2EBD-4900-905E-5BE206449611}" type="slidenum">
              <a:rPr lang="en-GB" smtClean="0"/>
              <a:t>19</a:t>
            </a:fld>
            <a:endParaRPr lang="en-GB"/>
          </a:p>
        </p:txBody>
      </p:sp>
      <p:grpSp>
        <p:nvGrpSpPr>
          <p:cNvPr id="7" name="Group 4">
            <a:extLst>
              <a:ext uri="{FF2B5EF4-FFF2-40B4-BE49-F238E27FC236}">
                <a16:creationId xmlns:a16="http://schemas.microsoft.com/office/drawing/2014/main" id="{6CA342CC-4D47-D34E-910D-88251F7D35A9}"/>
              </a:ext>
            </a:extLst>
          </p:cNvPr>
          <p:cNvGrpSpPr/>
          <p:nvPr/>
        </p:nvGrpSpPr>
        <p:grpSpPr>
          <a:xfrm>
            <a:off x="2448295" y="872087"/>
            <a:ext cx="8403727" cy="4721644"/>
            <a:chOff x="1517650" y="896938"/>
            <a:chExt cx="5659438" cy="3179762"/>
          </a:xfrm>
        </p:grpSpPr>
        <p:grpSp>
          <p:nvGrpSpPr>
            <p:cNvPr id="8" name="Group 5">
              <a:extLst>
                <a:ext uri="{FF2B5EF4-FFF2-40B4-BE49-F238E27FC236}">
                  <a16:creationId xmlns:a16="http://schemas.microsoft.com/office/drawing/2014/main" id="{274EBAA5-FABE-C542-8CED-D40466288215}"/>
                </a:ext>
              </a:extLst>
            </p:cNvPr>
            <p:cNvGrpSpPr/>
            <p:nvPr/>
          </p:nvGrpSpPr>
          <p:grpSpPr>
            <a:xfrm>
              <a:off x="1517650" y="3609975"/>
              <a:ext cx="1581150" cy="466725"/>
              <a:chOff x="1517650" y="3609975"/>
              <a:chExt cx="1581150" cy="466725"/>
            </a:xfrm>
          </p:grpSpPr>
          <p:sp>
            <p:nvSpPr>
              <p:cNvPr id="29" name="Freeform 19">
                <a:extLst>
                  <a:ext uri="{FF2B5EF4-FFF2-40B4-BE49-F238E27FC236}">
                    <a16:creationId xmlns:a16="http://schemas.microsoft.com/office/drawing/2014/main" id="{1D825600-C68A-AF4D-8D5F-21065ED0C188}"/>
                  </a:ext>
                </a:extLst>
              </p:cNvPr>
              <p:cNvSpPr>
                <a:spLocks noEditPoints="1"/>
              </p:cNvSpPr>
              <p:nvPr/>
            </p:nvSpPr>
            <p:spPr bwMode="auto">
              <a:xfrm>
                <a:off x="1971675" y="3863975"/>
                <a:ext cx="1116013" cy="212725"/>
              </a:xfrm>
              <a:custGeom>
                <a:avLst/>
                <a:gdLst>
                  <a:gd name="T0" fmla="*/ 1397 w 1487"/>
                  <a:gd name="T1" fmla="*/ 91 h 280"/>
                  <a:gd name="T2" fmla="*/ 1367 w 1487"/>
                  <a:gd name="T3" fmla="*/ 96 h 280"/>
                  <a:gd name="T4" fmla="*/ 1431 w 1487"/>
                  <a:gd name="T5" fmla="*/ 215 h 280"/>
                  <a:gd name="T6" fmla="*/ 1458 w 1487"/>
                  <a:gd name="T7" fmla="*/ 191 h 280"/>
                  <a:gd name="T8" fmla="*/ 1487 w 1487"/>
                  <a:gd name="T9" fmla="*/ 142 h 280"/>
                  <a:gd name="T10" fmla="*/ 1426 w 1487"/>
                  <a:gd name="T11" fmla="*/ 59 h 280"/>
                  <a:gd name="T12" fmla="*/ 1295 w 1487"/>
                  <a:gd name="T13" fmla="*/ 212 h 280"/>
                  <a:gd name="T14" fmla="*/ 1221 w 1487"/>
                  <a:gd name="T15" fmla="*/ 180 h 280"/>
                  <a:gd name="T16" fmla="*/ 1148 w 1487"/>
                  <a:gd name="T17" fmla="*/ 136 h 280"/>
                  <a:gd name="T18" fmla="*/ 1123 w 1487"/>
                  <a:gd name="T19" fmla="*/ 0 h 280"/>
                  <a:gd name="T20" fmla="*/ 1148 w 1487"/>
                  <a:gd name="T21" fmla="*/ 193 h 280"/>
                  <a:gd name="T22" fmla="*/ 1256 w 1487"/>
                  <a:gd name="T23" fmla="*/ 137 h 280"/>
                  <a:gd name="T24" fmla="*/ 1148 w 1487"/>
                  <a:gd name="T25" fmla="*/ 82 h 280"/>
                  <a:gd name="T26" fmla="*/ 1148 w 1487"/>
                  <a:gd name="T27" fmla="*/ 0 h 280"/>
                  <a:gd name="T28" fmla="*/ 1076 w 1487"/>
                  <a:gd name="T29" fmla="*/ 62 h 280"/>
                  <a:gd name="T30" fmla="*/ 1049 w 1487"/>
                  <a:gd name="T31" fmla="*/ 22 h 280"/>
                  <a:gd name="T32" fmla="*/ 1078 w 1487"/>
                  <a:gd name="T33" fmla="*/ 22 h 280"/>
                  <a:gd name="T34" fmla="*/ 1009 w 1487"/>
                  <a:gd name="T35" fmla="*/ 151 h 280"/>
                  <a:gd name="T36" fmla="*/ 934 w 1487"/>
                  <a:gd name="T37" fmla="*/ 108 h 280"/>
                  <a:gd name="T38" fmla="*/ 983 w 1487"/>
                  <a:gd name="T39" fmla="*/ 82 h 280"/>
                  <a:gd name="T40" fmla="*/ 964 w 1487"/>
                  <a:gd name="T41" fmla="*/ 59 h 280"/>
                  <a:gd name="T42" fmla="*/ 929 w 1487"/>
                  <a:gd name="T43" fmla="*/ 133 h 280"/>
                  <a:gd name="T44" fmla="*/ 991 w 1487"/>
                  <a:gd name="T45" fmla="*/ 173 h 280"/>
                  <a:gd name="T46" fmla="*/ 908 w 1487"/>
                  <a:gd name="T47" fmla="*/ 183 h 280"/>
                  <a:gd name="T48" fmla="*/ 998 w 1487"/>
                  <a:gd name="T49" fmla="*/ 204 h 280"/>
                  <a:gd name="T50" fmla="*/ 769 w 1487"/>
                  <a:gd name="T51" fmla="*/ 83 h 280"/>
                  <a:gd name="T52" fmla="*/ 744 w 1487"/>
                  <a:gd name="T53" fmla="*/ 212 h 280"/>
                  <a:gd name="T54" fmla="*/ 812 w 1487"/>
                  <a:gd name="T55" fmla="*/ 80 h 280"/>
                  <a:gd name="T56" fmla="*/ 870 w 1487"/>
                  <a:gd name="T57" fmla="*/ 115 h 280"/>
                  <a:gd name="T58" fmla="*/ 602 w 1487"/>
                  <a:gd name="T59" fmla="*/ 95 h 280"/>
                  <a:gd name="T60" fmla="*/ 669 w 1487"/>
                  <a:gd name="T61" fmla="*/ 179 h 280"/>
                  <a:gd name="T62" fmla="*/ 602 w 1487"/>
                  <a:gd name="T63" fmla="*/ 95 h 280"/>
                  <a:gd name="T64" fmla="*/ 585 w 1487"/>
                  <a:gd name="T65" fmla="*/ 80 h 280"/>
                  <a:gd name="T66" fmla="*/ 635 w 1487"/>
                  <a:gd name="T67" fmla="*/ 215 h 280"/>
                  <a:gd name="T68" fmla="*/ 500 w 1487"/>
                  <a:gd name="T69" fmla="*/ 96 h 280"/>
                  <a:gd name="T70" fmla="*/ 470 w 1487"/>
                  <a:gd name="T71" fmla="*/ 195 h 280"/>
                  <a:gd name="T72" fmla="*/ 437 w 1487"/>
                  <a:gd name="T73" fmla="*/ 93 h 280"/>
                  <a:gd name="T74" fmla="*/ 427 w 1487"/>
                  <a:gd name="T75" fmla="*/ 83 h 280"/>
                  <a:gd name="T76" fmla="*/ 402 w 1487"/>
                  <a:gd name="T77" fmla="*/ 280 h 280"/>
                  <a:gd name="T78" fmla="*/ 425 w 1487"/>
                  <a:gd name="T79" fmla="*/ 193 h 280"/>
                  <a:gd name="T80" fmla="*/ 518 w 1487"/>
                  <a:gd name="T81" fmla="*/ 195 h 280"/>
                  <a:gd name="T82" fmla="*/ 444 w 1487"/>
                  <a:gd name="T83" fmla="*/ 66 h 280"/>
                  <a:gd name="T84" fmla="*/ 298 w 1487"/>
                  <a:gd name="T85" fmla="*/ 117 h 280"/>
                  <a:gd name="T86" fmla="*/ 313 w 1487"/>
                  <a:gd name="T87" fmla="*/ 80 h 280"/>
                  <a:gd name="T88" fmla="*/ 340 w 1487"/>
                  <a:gd name="T89" fmla="*/ 62 h 280"/>
                  <a:gd name="T90" fmla="*/ 264 w 1487"/>
                  <a:gd name="T91" fmla="*/ 119 h 280"/>
                  <a:gd name="T92" fmla="*/ 339 w 1487"/>
                  <a:gd name="T93" fmla="*/ 163 h 280"/>
                  <a:gd name="T94" fmla="*/ 280 w 1487"/>
                  <a:gd name="T95" fmla="*/ 191 h 280"/>
                  <a:gd name="T96" fmla="*/ 306 w 1487"/>
                  <a:gd name="T97" fmla="*/ 215 h 280"/>
                  <a:gd name="T98" fmla="*/ 195 w 1487"/>
                  <a:gd name="T99" fmla="*/ 91 h 280"/>
                  <a:gd name="T100" fmla="*/ 168 w 1487"/>
                  <a:gd name="T101" fmla="*/ 80 h 280"/>
                  <a:gd name="T102" fmla="*/ 102 w 1487"/>
                  <a:gd name="T103" fmla="*/ 138 h 280"/>
                  <a:gd name="T104" fmla="*/ 201 w 1487"/>
                  <a:gd name="T105" fmla="*/ 213 h 280"/>
                  <a:gd name="T106" fmla="*/ 175 w 1487"/>
                  <a:gd name="T107" fmla="*/ 194 h 280"/>
                  <a:gd name="T108" fmla="*/ 230 w 1487"/>
                  <a:gd name="T109" fmla="*/ 127 h 280"/>
                  <a:gd name="T110" fmla="*/ 133 w 1487"/>
                  <a:gd name="T111" fmla="*/ 69 h 280"/>
                  <a:gd name="T112" fmla="*/ 20 w 1487"/>
                  <a:gd name="T113" fmla="*/ 62 h 280"/>
                  <a:gd name="T114" fmla="*/ 25 w 1487"/>
                  <a:gd name="T115" fmla="*/ 132 h 280"/>
                  <a:gd name="T116" fmla="*/ 76 w 1487"/>
                  <a:gd name="T117" fmla="*/ 82 h 280"/>
                  <a:gd name="T118" fmla="*/ 70 w 1487"/>
                  <a:gd name="T119" fmla="*/ 5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87" h="280">
                    <a:moveTo>
                      <a:pt x="1453" y="91"/>
                    </a:moveTo>
                    <a:cubicBezTo>
                      <a:pt x="1458" y="99"/>
                      <a:pt x="1461" y="110"/>
                      <a:pt x="1462" y="122"/>
                    </a:cubicBezTo>
                    <a:cubicBezTo>
                      <a:pt x="1385" y="122"/>
                      <a:pt x="1385" y="122"/>
                      <a:pt x="1385" y="122"/>
                    </a:cubicBezTo>
                    <a:cubicBezTo>
                      <a:pt x="1387" y="109"/>
                      <a:pt x="1391" y="98"/>
                      <a:pt x="1397" y="91"/>
                    </a:cubicBezTo>
                    <a:cubicBezTo>
                      <a:pt x="1404" y="83"/>
                      <a:pt x="1413" y="80"/>
                      <a:pt x="1425" y="80"/>
                    </a:cubicBezTo>
                    <a:cubicBezTo>
                      <a:pt x="1438" y="80"/>
                      <a:pt x="1447" y="84"/>
                      <a:pt x="1453" y="91"/>
                    </a:cubicBezTo>
                    <a:moveTo>
                      <a:pt x="1391" y="69"/>
                    </a:moveTo>
                    <a:cubicBezTo>
                      <a:pt x="1381" y="75"/>
                      <a:pt x="1373" y="84"/>
                      <a:pt x="1367" y="96"/>
                    </a:cubicBezTo>
                    <a:cubicBezTo>
                      <a:pt x="1362" y="108"/>
                      <a:pt x="1359" y="122"/>
                      <a:pt x="1359" y="138"/>
                    </a:cubicBezTo>
                    <a:cubicBezTo>
                      <a:pt x="1359" y="155"/>
                      <a:pt x="1362" y="169"/>
                      <a:pt x="1368" y="181"/>
                    </a:cubicBezTo>
                    <a:cubicBezTo>
                      <a:pt x="1374" y="192"/>
                      <a:pt x="1383" y="201"/>
                      <a:pt x="1394" y="206"/>
                    </a:cubicBezTo>
                    <a:cubicBezTo>
                      <a:pt x="1404" y="212"/>
                      <a:pt x="1417" y="215"/>
                      <a:pt x="1431" y="215"/>
                    </a:cubicBezTo>
                    <a:cubicBezTo>
                      <a:pt x="1442" y="215"/>
                      <a:pt x="1451" y="214"/>
                      <a:pt x="1458" y="213"/>
                    </a:cubicBezTo>
                    <a:cubicBezTo>
                      <a:pt x="1465" y="211"/>
                      <a:pt x="1473" y="209"/>
                      <a:pt x="1481" y="205"/>
                    </a:cubicBezTo>
                    <a:cubicBezTo>
                      <a:pt x="1481" y="184"/>
                      <a:pt x="1481" y="184"/>
                      <a:pt x="1481" y="184"/>
                    </a:cubicBezTo>
                    <a:cubicBezTo>
                      <a:pt x="1473" y="187"/>
                      <a:pt x="1465" y="190"/>
                      <a:pt x="1458" y="191"/>
                    </a:cubicBezTo>
                    <a:cubicBezTo>
                      <a:pt x="1450" y="193"/>
                      <a:pt x="1442" y="194"/>
                      <a:pt x="1433" y="194"/>
                    </a:cubicBezTo>
                    <a:cubicBezTo>
                      <a:pt x="1418" y="194"/>
                      <a:pt x="1406" y="190"/>
                      <a:pt x="1398" y="181"/>
                    </a:cubicBezTo>
                    <a:cubicBezTo>
                      <a:pt x="1389" y="172"/>
                      <a:pt x="1385" y="159"/>
                      <a:pt x="1385" y="142"/>
                    </a:cubicBezTo>
                    <a:cubicBezTo>
                      <a:pt x="1487" y="142"/>
                      <a:pt x="1487" y="142"/>
                      <a:pt x="1487" y="142"/>
                    </a:cubicBezTo>
                    <a:cubicBezTo>
                      <a:pt x="1487" y="127"/>
                      <a:pt x="1487" y="127"/>
                      <a:pt x="1487" y="127"/>
                    </a:cubicBezTo>
                    <a:cubicBezTo>
                      <a:pt x="1487" y="114"/>
                      <a:pt x="1485" y="102"/>
                      <a:pt x="1480" y="91"/>
                    </a:cubicBezTo>
                    <a:cubicBezTo>
                      <a:pt x="1475" y="81"/>
                      <a:pt x="1468" y="73"/>
                      <a:pt x="1459" y="68"/>
                    </a:cubicBezTo>
                    <a:cubicBezTo>
                      <a:pt x="1449" y="62"/>
                      <a:pt x="1438" y="59"/>
                      <a:pt x="1426" y="59"/>
                    </a:cubicBezTo>
                    <a:cubicBezTo>
                      <a:pt x="1412" y="59"/>
                      <a:pt x="1401" y="63"/>
                      <a:pt x="1391" y="69"/>
                    </a:cubicBezTo>
                    <a:moveTo>
                      <a:pt x="1320" y="0"/>
                    </a:moveTo>
                    <a:cubicBezTo>
                      <a:pt x="1295" y="0"/>
                      <a:pt x="1295" y="0"/>
                      <a:pt x="1295" y="0"/>
                    </a:cubicBezTo>
                    <a:cubicBezTo>
                      <a:pt x="1295" y="212"/>
                      <a:pt x="1295" y="212"/>
                      <a:pt x="1295" y="212"/>
                    </a:cubicBezTo>
                    <a:cubicBezTo>
                      <a:pt x="1320" y="212"/>
                      <a:pt x="1320" y="212"/>
                      <a:pt x="1320" y="212"/>
                    </a:cubicBezTo>
                    <a:lnTo>
                      <a:pt x="1320" y="0"/>
                    </a:lnTo>
                    <a:close/>
                    <a:moveTo>
                      <a:pt x="1231" y="137"/>
                    </a:moveTo>
                    <a:cubicBezTo>
                      <a:pt x="1231" y="156"/>
                      <a:pt x="1227" y="170"/>
                      <a:pt x="1221" y="180"/>
                    </a:cubicBezTo>
                    <a:cubicBezTo>
                      <a:pt x="1214" y="190"/>
                      <a:pt x="1204" y="195"/>
                      <a:pt x="1191" y="195"/>
                    </a:cubicBezTo>
                    <a:cubicBezTo>
                      <a:pt x="1174" y="195"/>
                      <a:pt x="1163" y="190"/>
                      <a:pt x="1157" y="180"/>
                    </a:cubicBezTo>
                    <a:cubicBezTo>
                      <a:pt x="1151" y="170"/>
                      <a:pt x="1148" y="156"/>
                      <a:pt x="1148" y="138"/>
                    </a:cubicBezTo>
                    <a:cubicBezTo>
                      <a:pt x="1148" y="136"/>
                      <a:pt x="1148" y="136"/>
                      <a:pt x="1148" y="136"/>
                    </a:cubicBezTo>
                    <a:cubicBezTo>
                      <a:pt x="1148" y="117"/>
                      <a:pt x="1151" y="103"/>
                      <a:pt x="1157" y="94"/>
                    </a:cubicBezTo>
                    <a:cubicBezTo>
                      <a:pt x="1163" y="85"/>
                      <a:pt x="1174" y="80"/>
                      <a:pt x="1190" y="80"/>
                    </a:cubicBezTo>
                    <a:cubicBezTo>
                      <a:pt x="1217" y="80"/>
                      <a:pt x="1231" y="99"/>
                      <a:pt x="1231" y="137"/>
                    </a:cubicBezTo>
                    <a:moveTo>
                      <a:pt x="1123" y="0"/>
                    </a:moveTo>
                    <a:cubicBezTo>
                      <a:pt x="1123" y="212"/>
                      <a:pt x="1123" y="212"/>
                      <a:pt x="1123" y="212"/>
                    </a:cubicBezTo>
                    <a:cubicBezTo>
                      <a:pt x="1141" y="212"/>
                      <a:pt x="1141" y="212"/>
                      <a:pt x="1141" y="212"/>
                    </a:cubicBezTo>
                    <a:cubicBezTo>
                      <a:pt x="1146" y="193"/>
                      <a:pt x="1146" y="193"/>
                      <a:pt x="1146" y="193"/>
                    </a:cubicBezTo>
                    <a:cubicBezTo>
                      <a:pt x="1148" y="193"/>
                      <a:pt x="1148" y="193"/>
                      <a:pt x="1148" y="193"/>
                    </a:cubicBezTo>
                    <a:cubicBezTo>
                      <a:pt x="1152" y="199"/>
                      <a:pt x="1158" y="204"/>
                      <a:pt x="1165" y="209"/>
                    </a:cubicBezTo>
                    <a:cubicBezTo>
                      <a:pt x="1173" y="213"/>
                      <a:pt x="1182" y="215"/>
                      <a:pt x="1194" y="215"/>
                    </a:cubicBezTo>
                    <a:cubicBezTo>
                      <a:pt x="1213" y="215"/>
                      <a:pt x="1228" y="209"/>
                      <a:pt x="1239" y="196"/>
                    </a:cubicBezTo>
                    <a:cubicBezTo>
                      <a:pt x="1250" y="182"/>
                      <a:pt x="1256" y="163"/>
                      <a:pt x="1256" y="137"/>
                    </a:cubicBezTo>
                    <a:cubicBezTo>
                      <a:pt x="1256" y="112"/>
                      <a:pt x="1250" y="92"/>
                      <a:pt x="1239" y="79"/>
                    </a:cubicBezTo>
                    <a:cubicBezTo>
                      <a:pt x="1228" y="66"/>
                      <a:pt x="1213" y="60"/>
                      <a:pt x="1194" y="60"/>
                    </a:cubicBezTo>
                    <a:cubicBezTo>
                      <a:pt x="1182" y="60"/>
                      <a:pt x="1173" y="62"/>
                      <a:pt x="1165" y="66"/>
                    </a:cubicBezTo>
                    <a:cubicBezTo>
                      <a:pt x="1158" y="70"/>
                      <a:pt x="1152" y="76"/>
                      <a:pt x="1148" y="82"/>
                    </a:cubicBezTo>
                    <a:cubicBezTo>
                      <a:pt x="1146" y="82"/>
                      <a:pt x="1146" y="82"/>
                      <a:pt x="1146" y="82"/>
                    </a:cubicBezTo>
                    <a:cubicBezTo>
                      <a:pt x="1147" y="79"/>
                      <a:pt x="1147" y="75"/>
                      <a:pt x="1147" y="69"/>
                    </a:cubicBezTo>
                    <a:cubicBezTo>
                      <a:pt x="1148" y="64"/>
                      <a:pt x="1148" y="58"/>
                      <a:pt x="1148" y="51"/>
                    </a:cubicBezTo>
                    <a:cubicBezTo>
                      <a:pt x="1148" y="0"/>
                      <a:pt x="1148" y="0"/>
                      <a:pt x="1148" y="0"/>
                    </a:cubicBezTo>
                    <a:lnTo>
                      <a:pt x="1123" y="0"/>
                    </a:lnTo>
                    <a:close/>
                    <a:moveTo>
                      <a:pt x="1051" y="212"/>
                    </a:moveTo>
                    <a:cubicBezTo>
                      <a:pt x="1076" y="212"/>
                      <a:pt x="1076" y="212"/>
                      <a:pt x="1076" y="212"/>
                    </a:cubicBezTo>
                    <a:cubicBezTo>
                      <a:pt x="1076" y="62"/>
                      <a:pt x="1076" y="62"/>
                      <a:pt x="1076" y="62"/>
                    </a:cubicBezTo>
                    <a:cubicBezTo>
                      <a:pt x="1051" y="62"/>
                      <a:pt x="1051" y="62"/>
                      <a:pt x="1051" y="62"/>
                    </a:cubicBezTo>
                    <a:lnTo>
                      <a:pt x="1051" y="212"/>
                    </a:lnTo>
                    <a:close/>
                    <a:moveTo>
                      <a:pt x="1053" y="10"/>
                    </a:moveTo>
                    <a:cubicBezTo>
                      <a:pt x="1050" y="12"/>
                      <a:pt x="1049" y="16"/>
                      <a:pt x="1049" y="22"/>
                    </a:cubicBezTo>
                    <a:cubicBezTo>
                      <a:pt x="1049" y="27"/>
                      <a:pt x="1050" y="31"/>
                      <a:pt x="1053" y="34"/>
                    </a:cubicBezTo>
                    <a:cubicBezTo>
                      <a:pt x="1056" y="36"/>
                      <a:pt x="1059" y="37"/>
                      <a:pt x="1063" y="37"/>
                    </a:cubicBezTo>
                    <a:cubicBezTo>
                      <a:pt x="1067" y="37"/>
                      <a:pt x="1071" y="36"/>
                      <a:pt x="1073" y="34"/>
                    </a:cubicBezTo>
                    <a:cubicBezTo>
                      <a:pt x="1076" y="31"/>
                      <a:pt x="1078" y="27"/>
                      <a:pt x="1078" y="22"/>
                    </a:cubicBezTo>
                    <a:cubicBezTo>
                      <a:pt x="1078" y="16"/>
                      <a:pt x="1076" y="12"/>
                      <a:pt x="1073" y="10"/>
                    </a:cubicBezTo>
                    <a:cubicBezTo>
                      <a:pt x="1071" y="7"/>
                      <a:pt x="1067" y="6"/>
                      <a:pt x="1063" y="6"/>
                    </a:cubicBezTo>
                    <a:cubicBezTo>
                      <a:pt x="1059" y="6"/>
                      <a:pt x="1056" y="7"/>
                      <a:pt x="1053" y="10"/>
                    </a:cubicBezTo>
                    <a:moveTo>
                      <a:pt x="1009" y="151"/>
                    </a:moveTo>
                    <a:cubicBezTo>
                      <a:pt x="1006" y="146"/>
                      <a:pt x="1000" y="141"/>
                      <a:pt x="994" y="137"/>
                    </a:cubicBezTo>
                    <a:cubicBezTo>
                      <a:pt x="987" y="134"/>
                      <a:pt x="979" y="130"/>
                      <a:pt x="969" y="126"/>
                    </a:cubicBezTo>
                    <a:cubicBezTo>
                      <a:pt x="960" y="123"/>
                      <a:pt x="952" y="120"/>
                      <a:pt x="947" y="117"/>
                    </a:cubicBezTo>
                    <a:cubicBezTo>
                      <a:pt x="941" y="114"/>
                      <a:pt x="937" y="111"/>
                      <a:pt x="934" y="108"/>
                    </a:cubicBezTo>
                    <a:cubicBezTo>
                      <a:pt x="932" y="106"/>
                      <a:pt x="931" y="102"/>
                      <a:pt x="931" y="98"/>
                    </a:cubicBezTo>
                    <a:cubicBezTo>
                      <a:pt x="931" y="92"/>
                      <a:pt x="933" y="88"/>
                      <a:pt x="939" y="84"/>
                    </a:cubicBezTo>
                    <a:cubicBezTo>
                      <a:pt x="944" y="81"/>
                      <a:pt x="952" y="80"/>
                      <a:pt x="962" y="80"/>
                    </a:cubicBezTo>
                    <a:cubicBezTo>
                      <a:pt x="969" y="80"/>
                      <a:pt x="976" y="81"/>
                      <a:pt x="983" y="82"/>
                    </a:cubicBezTo>
                    <a:cubicBezTo>
                      <a:pt x="990" y="84"/>
                      <a:pt x="997" y="87"/>
                      <a:pt x="1003" y="89"/>
                    </a:cubicBezTo>
                    <a:cubicBezTo>
                      <a:pt x="1011" y="70"/>
                      <a:pt x="1011" y="70"/>
                      <a:pt x="1011" y="70"/>
                    </a:cubicBezTo>
                    <a:cubicBezTo>
                      <a:pt x="1005" y="67"/>
                      <a:pt x="997" y="64"/>
                      <a:pt x="989" y="62"/>
                    </a:cubicBezTo>
                    <a:cubicBezTo>
                      <a:pt x="981" y="60"/>
                      <a:pt x="973" y="59"/>
                      <a:pt x="964" y="59"/>
                    </a:cubicBezTo>
                    <a:cubicBezTo>
                      <a:pt x="947" y="59"/>
                      <a:pt x="933" y="63"/>
                      <a:pt x="923" y="70"/>
                    </a:cubicBezTo>
                    <a:cubicBezTo>
                      <a:pt x="912" y="77"/>
                      <a:pt x="907" y="87"/>
                      <a:pt x="907" y="99"/>
                    </a:cubicBezTo>
                    <a:cubicBezTo>
                      <a:pt x="907" y="107"/>
                      <a:pt x="909" y="114"/>
                      <a:pt x="913" y="119"/>
                    </a:cubicBezTo>
                    <a:cubicBezTo>
                      <a:pt x="917" y="125"/>
                      <a:pt x="922" y="129"/>
                      <a:pt x="929" y="133"/>
                    </a:cubicBezTo>
                    <a:cubicBezTo>
                      <a:pt x="936" y="137"/>
                      <a:pt x="944" y="140"/>
                      <a:pt x="954" y="144"/>
                    </a:cubicBezTo>
                    <a:cubicBezTo>
                      <a:pt x="964" y="148"/>
                      <a:pt x="971" y="151"/>
                      <a:pt x="977" y="154"/>
                    </a:cubicBezTo>
                    <a:cubicBezTo>
                      <a:pt x="982" y="157"/>
                      <a:pt x="986" y="160"/>
                      <a:pt x="988" y="163"/>
                    </a:cubicBezTo>
                    <a:cubicBezTo>
                      <a:pt x="990" y="166"/>
                      <a:pt x="991" y="169"/>
                      <a:pt x="991" y="173"/>
                    </a:cubicBezTo>
                    <a:cubicBezTo>
                      <a:pt x="991" y="180"/>
                      <a:pt x="988" y="185"/>
                      <a:pt x="982" y="189"/>
                    </a:cubicBezTo>
                    <a:cubicBezTo>
                      <a:pt x="977" y="193"/>
                      <a:pt x="968" y="195"/>
                      <a:pt x="955" y="195"/>
                    </a:cubicBezTo>
                    <a:cubicBezTo>
                      <a:pt x="946" y="195"/>
                      <a:pt x="938" y="194"/>
                      <a:pt x="929" y="191"/>
                    </a:cubicBezTo>
                    <a:cubicBezTo>
                      <a:pt x="921" y="189"/>
                      <a:pt x="914" y="186"/>
                      <a:pt x="908" y="183"/>
                    </a:cubicBezTo>
                    <a:cubicBezTo>
                      <a:pt x="908" y="206"/>
                      <a:pt x="908" y="206"/>
                      <a:pt x="908" y="206"/>
                    </a:cubicBezTo>
                    <a:cubicBezTo>
                      <a:pt x="913" y="209"/>
                      <a:pt x="920" y="211"/>
                      <a:pt x="928" y="213"/>
                    </a:cubicBezTo>
                    <a:cubicBezTo>
                      <a:pt x="935" y="214"/>
                      <a:pt x="944" y="215"/>
                      <a:pt x="955" y="215"/>
                    </a:cubicBezTo>
                    <a:cubicBezTo>
                      <a:pt x="973" y="215"/>
                      <a:pt x="987" y="211"/>
                      <a:pt x="998" y="204"/>
                    </a:cubicBezTo>
                    <a:cubicBezTo>
                      <a:pt x="1009" y="196"/>
                      <a:pt x="1014" y="185"/>
                      <a:pt x="1014" y="171"/>
                    </a:cubicBezTo>
                    <a:cubicBezTo>
                      <a:pt x="1014" y="163"/>
                      <a:pt x="1013" y="156"/>
                      <a:pt x="1009" y="151"/>
                    </a:cubicBezTo>
                    <a:moveTo>
                      <a:pt x="789" y="65"/>
                    </a:moveTo>
                    <a:cubicBezTo>
                      <a:pt x="780" y="69"/>
                      <a:pt x="774" y="75"/>
                      <a:pt x="769" y="83"/>
                    </a:cubicBezTo>
                    <a:cubicBezTo>
                      <a:pt x="767" y="83"/>
                      <a:pt x="767" y="83"/>
                      <a:pt x="767" y="83"/>
                    </a:cubicBezTo>
                    <a:cubicBezTo>
                      <a:pt x="764" y="62"/>
                      <a:pt x="764" y="62"/>
                      <a:pt x="764" y="62"/>
                    </a:cubicBezTo>
                    <a:cubicBezTo>
                      <a:pt x="744" y="62"/>
                      <a:pt x="744" y="62"/>
                      <a:pt x="744" y="62"/>
                    </a:cubicBezTo>
                    <a:cubicBezTo>
                      <a:pt x="744" y="212"/>
                      <a:pt x="744" y="212"/>
                      <a:pt x="744" y="212"/>
                    </a:cubicBezTo>
                    <a:cubicBezTo>
                      <a:pt x="768" y="212"/>
                      <a:pt x="768" y="212"/>
                      <a:pt x="768" y="212"/>
                    </a:cubicBezTo>
                    <a:cubicBezTo>
                      <a:pt x="768" y="134"/>
                      <a:pt x="768" y="134"/>
                      <a:pt x="768" y="134"/>
                    </a:cubicBezTo>
                    <a:cubicBezTo>
                      <a:pt x="768" y="117"/>
                      <a:pt x="772" y="103"/>
                      <a:pt x="778" y="94"/>
                    </a:cubicBezTo>
                    <a:cubicBezTo>
                      <a:pt x="784" y="85"/>
                      <a:pt x="796" y="80"/>
                      <a:pt x="812" y="80"/>
                    </a:cubicBezTo>
                    <a:cubicBezTo>
                      <a:pt x="835" y="80"/>
                      <a:pt x="846" y="92"/>
                      <a:pt x="846" y="116"/>
                    </a:cubicBezTo>
                    <a:cubicBezTo>
                      <a:pt x="846" y="212"/>
                      <a:pt x="846" y="212"/>
                      <a:pt x="846" y="212"/>
                    </a:cubicBezTo>
                    <a:cubicBezTo>
                      <a:pt x="870" y="212"/>
                      <a:pt x="870" y="212"/>
                      <a:pt x="870" y="212"/>
                    </a:cubicBezTo>
                    <a:cubicBezTo>
                      <a:pt x="870" y="115"/>
                      <a:pt x="870" y="115"/>
                      <a:pt x="870" y="115"/>
                    </a:cubicBezTo>
                    <a:cubicBezTo>
                      <a:pt x="870" y="95"/>
                      <a:pt x="866" y="81"/>
                      <a:pt x="857" y="73"/>
                    </a:cubicBezTo>
                    <a:cubicBezTo>
                      <a:pt x="847" y="64"/>
                      <a:pt x="834" y="59"/>
                      <a:pt x="816" y="59"/>
                    </a:cubicBezTo>
                    <a:cubicBezTo>
                      <a:pt x="806" y="59"/>
                      <a:pt x="797" y="61"/>
                      <a:pt x="789" y="65"/>
                    </a:cubicBezTo>
                    <a:moveTo>
                      <a:pt x="602" y="95"/>
                    </a:moveTo>
                    <a:cubicBezTo>
                      <a:pt x="609" y="85"/>
                      <a:pt x="620" y="80"/>
                      <a:pt x="635" y="80"/>
                    </a:cubicBezTo>
                    <a:cubicBezTo>
                      <a:pt x="650" y="80"/>
                      <a:pt x="662" y="85"/>
                      <a:pt x="669" y="95"/>
                    </a:cubicBezTo>
                    <a:cubicBezTo>
                      <a:pt x="676" y="105"/>
                      <a:pt x="679" y="119"/>
                      <a:pt x="679" y="137"/>
                    </a:cubicBezTo>
                    <a:cubicBezTo>
                      <a:pt x="679" y="155"/>
                      <a:pt x="676" y="169"/>
                      <a:pt x="669" y="179"/>
                    </a:cubicBezTo>
                    <a:cubicBezTo>
                      <a:pt x="662" y="189"/>
                      <a:pt x="650" y="195"/>
                      <a:pt x="635" y="195"/>
                    </a:cubicBezTo>
                    <a:cubicBezTo>
                      <a:pt x="620" y="195"/>
                      <a:pt x="609" y="189"/>
                      <a:pt x="602" y="179"/>
                    </a:cubicBezTo>
                    <a:cubicBezTo>
                      <a:pt x="595" y="169"/>
                      <a:pt x="591" y="155"/>
                      <a:pt x="591" y="137"/>
                    </a:cubicBezTo>
                    <a:cubicBezTo>
                      <a:pt x="591" y="119"/>
                      <a:pt x="595" y="105"/>
                      <a:pt x="602" y="95"/>
                    </a:cubicBezTo>
                    <a:moveTo>
                      <a:pt x="696" y="95"/>
                    </a:moveTo>
                    <a:cubicBezTo>
                      <a:pt x="690" y="83"/>
                      <a:pt x="682" y="75"/>
                      <a:pt x="671" y="69"/>
                    </a:cubicBezTo>
                    <a:cubicBezTo>
                      <a:pt x="661" y="62"/>
                      <a:pt x="649" y="59"/>
                      <a:pt x="636" y="59"/>
                    </a:cubicBezTo>
                    <a:cubicBezTo>
                      <a:pt x="614" y="59"/>
                      <a:pt x="597" y="66"/>
                      <a:pt x="585" y="80"/>
                    </a:cubicBezTo>
                    <a:cubicBezTo>
                      <a:pt x="572" y="93"/>
                      <a:pt x="566" y="112"/>
                      <a:pt x="566" y="137"/>
                    </a:cubicBezTo>
                    <a:cubicBezTo>
                      <a:pt x="566" y="154"/>
                      <a:pt x="569" y="168"/>
                      <a:pt x="575" y="179"/>
                    </a:cubicBezTo>
                    <a:cubicBezTo>
                      <a:pt x="581" y="191"/>
                      <a:pt x="589" y="200"/>
                      <a:pt x="599" y="206"/>
                    </a:cubicBezTo>
                    <a:cubicBezTo>
                      <a:pt x="610" y="212"/>
                      <a:pt x="622" y="215"/>
                      <a:pt x="635" y="215"/>
                    </a:cubicBezTo>
                    <a:cubicBezTo>
                      <a:pt x="656" y="215"/>
                      <a:pt x="673" y="208"/>
                      <a:pt x="686" y="195"/>
                    </a:cubicBezTo>
                    <a:cubicBezTo>
                      <a:pt x="699" y="181"/>
                      <a:pt x="705" y="162"/>
                      <a:pt x="705" y="137"/>
                    </a:cubicBezTo>
                    <a:cubicBezTo>
                      <a:pt x="705" y="120"/>
                      <a:pt x="702" y="106"/>
                      <a:pt x="696" y="95"/>
                    </a:cubicBezTo>
                    <a:moveTo>
                      <a:pt x="500" y="96"/>
                    </a:moveTo>
                    <a:cubicBezTo>
                      <a:pt x="506" y="106"/>
                      <a:pt x="510" y="120"/>
                      <a:pt x="510" y="137"/>
                    </a:cubicBezTo>
                    <a:cubicBezTo>
                      <a:pt x="510" y="148"/>
                      <a:pt x="508" y="158"/>
                      <a:pt x="505" y="167"/>
                    </a:cubicBezTo>
                    <a:cubicBezTo>
                      <a:pt x="502" y="175"/>
                      <a:pt x="498" y="182"/>
                      <a:pt x="492" y="187"/>
                    </a:cubicBezTo>
                    <a:cubicBezTo>
                      <a:pt x="486" y="192"/>
                      <a:pt x="479" y="195"/>
                      <a:pt x="470" y="195"/>
                    </a:cubicBezTo>
                    <a:cubicBezTo>
                      <a:pt x="453" y="195"/>
                      <a:pt x="442" y="190"/>
                      <a:pt x="436" y="180"/>
                    </a:cubicBezTo>
                    <a:cubicBezTo>
                      <a:pt x="430" y="170"/>
                      <a:pt x="427" y="155"/>
                      <a:pt x="427" y="137"/>
                    </a:cubicBezTo>
                    <a:cubicBezTo>
                      <a:pt x="427" y="132"/>
                      <a:pt x="427" y="132"/>
                      <a:pt x="427" y="132"/>
                    </a:cubicBezTo>
                    <a:cubicBezTo>
                      <a:pt x="427" y="115"/>
                      <a:pt x="430" y="102"/>
                      <a:pt x="437" y="93"/>
                    </a:cubicBezTo>
                    <a:cubicBezTo>
                      <a:pt x="443" y="84"/>
                      <a:pt x="454" y="80"/>
                      <a:pt x="469" y="80"/>
                    </a:cubicBezTo>
                    <a:cubicBezTo>
                      <a:pt x="483" y="80"/>
                      <a:pt x="493" y="85"/>
                      <a:pt x="500" y="96"/>
                    </a:cubicBezTo>
                    <a:moveTo>
                      <a:pt x="444" y="66"/>
                    </a:moveTo>
                    <a:cubicBezTo>
                      <a:pt x="437" y="71"/>
                      <a:pt x="431" y="76"/>
                      <a:pt x="427" y="83"/>
                    </a:cubicBezTo>
                    <a:cubicBezTo>
                      <a:pt x="426" y="83"/>
                      <a:pt x="426" y="83"/>
                      <a:pt x="426" y="83"/>
                    </a:cubicBezTo>
                    <a:cubicBezTo>
                      <a:pt x="422" y="62"/>
                      <a:pt x="422" y="62"/>
                      <a:pt x="422" y="62"/>
                    </a:cubicBezTo>
                    <a:cubicBezTo>
                      <a:pt x="402" y="62"/>
                      <a:pt x="402" y="62"/>
                      <a:pt x="402" y="62"/>
                    </a:cubicBezTo>
                    <a:cubicBezTo>
                      <a:pt x="402" y="280"/>
                      <a:pt x="402" y="280"/>
                      <a:pt x="402" y="280"/>
                    </a:cubicBezTo>
                    <a:cubicBezTo>
                      <a:pt x="427" y="280"/>
                      <a:pt x="427" y="280"/>
                      <a:pt x="427" y="280"/>
                    </a:cubicBezTo>
                    <a:cubicBezTo>
                      <a:pt x="427" y="218"/>
                      <a:pt x="427" y="218"/>
                      <a:pt x="427" y="218"/>
                    </a:cubicBezTo>
                    <a:cubicBezTo>
                      <a:pt x="427" y="214"/>
                      <a:pt x="427" y="210"/>
                      <a:pt x="426" y="205"/>
                    </a:cubicBezTo>
                    <a:cubicBezTo>
                      <a:pt x="426" y="200"/>
                      <a:pt x="425" y="196"/>
                      <a:pt x="425" y="193"/>
                    </a:cubicBezTo>
                    <a:cubicBezTo>
                      <a:pt x="427" y="193"/>
                      <a:pt x="427" y="193"/>
                      <a:pt x="427" y="193"/>
                    </a:cubicBezTo>
                    <a:cubicBezTo>
                      <a:pt x="431" y="199"/>
                      <a:pt x="437" y="204"/>
                      <a:pt x="445" y="209"/>
                    </a:cubicBezTo>
                    <a:cubicBezTo>
                      <a:pt x="452" y="213"/>
                      <a:pt x="462" y="215"/>
                      <a:pt x="473" y="215"/>
                    </a:cubicBezTo>
                    <a:cubicBezTo>
                      <a:pt x="492" y="215"/>
                      <a:pt x="507" y="208"/>
                      <a:pt x="518" y="195"/>
                    </a:cubicBezTo>
                    <a:cubicBezTo>
                      <a:pt x="529" y="182"/>
                      <a:pt x="535" y="163"/>
                      <a:pt x="535" y="137"/>
                    </a:cubicBezTo>
                    <a:cubicBezTo>
                      <a:pt x="535" y="111"/>
                      <a:pt x="529" y="92"/>
                      <a:pt x="518" y="79"/>
                    </a:cubicBezTo>
                    <a:cubicBezTo>
                      <a:pt x="507" y="66"/>
                      <a:pt x="492" y="59"/>
                      <a:pt x="474" y="59"/>
                    </a:cubicBezTo>
                    <a:cubicBezTo>
                      <a:pt x="461" y="59"/>
                      <a:pt x="452" y="62"/>
                      <a:pt x="444" y="66"/>
                    </a:cubicBezTo>
                    <a:moveTo>
                      <a:pt x="360" y="151"/>
                    </a:moveTo>
                    <a:cubicBezTo>
                      <a:pt x="357" y="146"/>
                      <a:pt x="352" y="141"/>
                      <a:pt x="345" y="137"/>
                    </a:cubicBezTo>
                    <a:cubicBezTo>
                      <a:pt x="338" y="134"/>
                      <a:pt x="330" y="130"/>
                      <a:pt x="321" y="126"/>
                    </a:cubicBezTo>
                    <a:cubicBezTo>
                      <a:pt x="311" y="123"/>
                      <a:pt x="304" y="120"/>
                      <a:pt x="298" y="117"/>
                    </a:cubicBezTo>
                    <a:cubicBezTo>
                      <a:pt x="292" y="114"/>
                      <a:pt x="288" y="111"/>
                      <a:pt x="286" y="108"/>
                    </a:cubicBezTo>
                    <a:cubicBezTo>
                      <a:pt x="283" y="106"/>
                      <a:pt x="282" y="102"/>
                      <a:pt x="282" y="98"/>
                    </a:cubicBezTo>
                    <a:cubicBezTo>
                      <a:pt x="282" y="92"/>
                      <a:pt x="285" y="88"/>
                      <a:pt x="290" y="84"/>
                    </a:cubicBezTo>
                    <a:cubicBezTo>
                      <a:pt x="295" y="81"/>
                      <a:pt x="303" y="80"/>
                      <a:pt x="313" y="80"/>
                    </a:cubicBezTo>
                    <a:cubicBezTo>
                      <a:pt x="320" y="80"/>
                      <a:pt x="327" y="81"/>
                      <a:pt x="334" y="82"/>
                    </a:cubicBezTo>
                    <a:cubicBezTo>
                      <a:pt x="341" y="84"/>
                      <a:pt x="348" y="87"/>
                      <a:pt x="354" y="89"/>
                    </a:cubicBezTo>
                    <a:cubicBezTo>
                      <a:pt x="363" y="70"/>
                      <a:pt x="363" y="70"/>
                      <a:pt x="363" y="70"/>
                    </a:cubicBezTo>
                    <a:cubicBezTo>
                      <a:pt x="356" y="67"/>
                      <a:pt x="348" y="64"/>
                      <a:pt x="340" y="62"/>
                    </a:cubicBezTo>
                    <a:cubicBezTo>
                      <a:pt x="332" y="60"/>
                      <a:pt x="324" y="59"/>
                      <a:pt x="315" y="59"/>
                    </a:cubicBezTo>
                    <a:cubicBezTo>
                      <a:pt x="298" y="59"/>
                      <a:pt x="284" y="63"/>
                      <a:pt x="274" y="70"/>
                    </a:cubicBezTo>
                    <a:cubicBezTo>
                      <a:pt x="264" y="77"/>
                      <a:pt x="258" y="87"/>
                      <a:pt x="258" y="99"/>
                    </a:cubicBezTo>
                    <a:cubicBezTo>
                      <a:pt x="258" y="107"/>
                      <a:pt x="260" y="114"/>
                      <a:pt x="264" y="119"/>
                    </a:cubicBezTo>
                    <a:cubicBezTo>
                      <a:pt x="268" y="125"/>
                      <a:pt x="273" y="129"/>
                      <a:pt x="280" y="133"/>
                    </a:cubicBezTo>
                    <a:cubicBezTo>
                      <a:pt x="287" y="137"/>
                      <a:pt x="295" y="140"/>
                      <a:pt x="305" y="144"/>
                    </a:cubicBezTo>
                    <a:cubicBezTo>
                      <a:pt x="315" y="148"/>
                      <a:pt x="322" y="151"/>
                      <a:pt x="328" y="154"/>
                    </a:cubicBezTo>
                    <a:cubicBezTo>
                      <a:pt x="333" y="157"/>
                      <a:pt x="337" y="160"/>
                      <a:pt x="339" y="163"/>
                    </a:cubicBezTo>
                    <a:cubicBezTo>
                      <a:pt x="341" y="166"/>
                      <a:pt x="342" y="169"/>
                      <a:pt x="342" y="173"/>
                    </a:cubicBezTo>
                    <a:cubicBezTo>
                      <a:pt x="342" y="180"/>
                      <a:pt x="339" y="185"/>
                      <a:pt x="334" y="189"/>
                    </a:cubicBezTo>
                    <a:cubicBezTo>
                      <a:pt x="328" y="193"/>
                      <a:pt x="319" y="195"/>
                      <a:pt x="306" y="195"/>
                    </a:cubicBezTo>
                    <a:cubicBezTo>
                      <a:pt x="298" y="195"/>
                      <a:pt x="289" y="194"/>
                      <a:pt x="280" y="191"/>
                    </a:cubicBezTo>
                    <a:cubicBezTo>
                      <a:pt x="272" y="189"/>
                      <a:pt x="265" y="186"/>
                      <a:pt x="259" y="183"/>
                    </a:cubicBezTo>
                    <a:cubicBezTo>
                      <a:pt x="259" y="206"/>
                      <a:pt x="259" y="206"/>
                      <a:pt x="259" y="206"/>
                    </a:cubicBezTo>
                    <a:cubicBezTo>
                      <a:pt x="265" y="209"/>
                      <a:pt x="271" y="211"/>
                      <a:pt x="279" y="213"/>
                    </a:cubicBezTo>
                    <a:cubicBezTo>
                      <a:pt x="286" y="214"/>
                      <a:pt x="295" y="215"/>
                      <a:pt x="306" y="215"/>
                    </a:cubicBezTo>
                    <a:cubicBezTo>
                      <a:pt x="324" y="215"/>
                      <a:pt x="339" y="211"/>
                      <a:pt x="349" y="204"/>
                    </a:cubicBezTo>
                    <a:cubicBezTo>
                      <a:pt x="360" y="196"/>
                      <a:pt x="366" y="185"/>
                      <a:pt x="366" y="171"/>
                    </a:cubicBezTo>
                    <a:cubicBezTo>
                      <a:pt x="366" y="163"/>
                      <a:pt x="364" y="156"/>
                      <a:pt x="360" y="151"/>
                    </a:cubicBezTo>
                    <a:moveTo>
                      <a:pt x="195" y="91"/>
                    </a:moveTo>
                    <a:cubicBezTo>
                      <a:pt x="201" y="99"/>
                      <a:pt x="204" y="110"/>
                      <a:pt x="204" y="122"/>
                    </a:cubicBezTo>
                    <a:cubicBezTo>
                      <a:pt x="128" y="122"/>
                      <a:pt x="128" y="122"/>
                      <a:pt x="128" y="122"/>
                    </a:cubicBezTo>
                    <a:cubicBezTo>
                      <a:pt x="129" y="109"/>
                      <a:pt x="133" y="98"/>
                      <a:pt x="140" y="91"/>
                    </a:cubicBezTo>
                    <a:cubicBezTo>
                      <a:pt x="147" y="83"/>
                      <a:pt x="156" y="80"/>
                      <a:pt x="168" y="80"/>
                    </a:cubicBezTo>
                    <a:cubicBezTo>
                      <a:pt x="180" y="80"/>
                      <a:pt x="189" y="84"/>
                      <a:pt x="195" y="91"/>
                    </a:cubicBezTo>
                    <a:moveTo>
                      <a:pt x="133" y="69"/>
                    </a:moveTo>
                    <a:cubicBezTo>
                      <a:pt x="123" y="75"/>
                      <a:pt x="115" y="84"/>
                      <a:pt x="110" y="96"/>
                    </a:cubicBezTo>
                    <a:cubicBezTo>
                      <a:pt x="104" y="108"/>
                      <a:pt x="102" y="122"/>
                      <a:pt x="102" y="138"/>
                    </a:cubicBezTo>
                    <a:cubicBezTo>
                      <a:pt x="102" y="155"/>
                      <a:pt x="105" y="169"/>
                      <a:pt x="111" y="181"/>
                    </a:cubicBezTo>
                    <a:cubicBezTo>
                      <a:pt x="117" y="192"/>
                      <a:pt x="125" y="201"/>
                      <a:pt x="136" y="206"/>
                    </a:cubicBezTo>
                    <a:cubicBezTo>
                      <a:pt x="147" y="212"/>
                      <a:pt x="160" y="215"/>
                      <a:pt x="174" y="215"/>
                    </a:cubicBezTo>
                    <a:cubicBezTo>
                      <a:pt x="184" y="215"/>
                      <a:pt x="193" y="214"/>
                      <a:pt x="201" y="213"/>
                    </a:cubicBezTo>
                    <a:cubicBezTo>
                      <a:pt x="208" y="211"/>
                      <a:pt x="216" y="209"/>
                      <a:pt x="223" y="205"/>
                    </a:cubicBezTo>
                    <a:cubicBezTo>
                      <a:pt x="223" y="184"/>
                      <a:pt x="223" y="184"/>
                      <a:pt x="223" y="184"/>
                    </a:cubicBezTo>
                    <a:cubicBezTo>
                      <a:pt x="215" y="187"/>
                      <a:pt x="208" y="190"/>
                      <a:pt x="200" y="191"/>
                    </a:cubicBezTo>
                    <a:cubicBezTo>
                      <a:pt x="193" y="193"/>
                      <a:pt x="185" y="194"/>
                      <a:pt x="175" y="194"/>
                    </a:cubicBezTo>
                    <a:cubicBezTo>
                      <a:pt x="160" y="194"/>
                      <a:pt x="149" y="190"/>
                      <a:pt x="140" y="181"/>
                    </a:cubicBezTo>
                    <a:cubicBezTo>
                      <a:pt x="132" y="172"/>
                      <a:pt x="128" y="159"/>
                      <a:pt x="127" y="142"/>
                    </a:cubicBezTo>
                    <a:cubicBezTo>
                      <a:pt x="230" y="142"/>
                      <a:pt x="230" y="142"/>
                      <a:pt x="230" y="142"/>
                    </a:cubicBezTo>
                    <a:cubicBezTo>
                      <a:pt x="230" y="127"/>
                      <a:pt x="230" y="127"/>
                      <a:pt x="230" y="127"/>
                    </a:cubicBezTo>
                    <a:cubicBezTo>
                      <a:pt x="230" y="114"/>
                      <a:pt x="227" y="102"/>
                      <a:pt x="223" y="91"/>
                    </a:cubicBezTo>
                    <a:cubicBezTo>
                      <a:pt x="218" y="81"/>
                      <a:pt x="210" y="73"/>
                      <a:pt x="201" y="68"/>
                    </a:cubicBezTo>
                    <a:cubicBezTo>
                      <a:pt x="192" y="62"/>
                      <a:pt x="181" y="59"/>
                      <a:pt x="168" y="59"/>
                    </a:cubicBezTo>
                    <a:cubicBezTo>
                      <a:pt x="155" y="59"/>
                      <a:pt x="143" y="63"/>
                      <a:pt x="133" y="69"/>
                    </a:cubicBezTo>
                    <a:moveTo>
                      <a:pt x="43" y="68"/>
                    </a:moveTo>
                    <a:cubicBezTo>
                      <a:pt x="35" y="74"/>
                      <a:pt x="29" y="81"/>
                      <a:pt x="24" y="90"/>
                    </a:cubicBezTo>
                    <a:cubicBezTo>
                      <a:pt x="23" y="90"/>
                      <a:pt x="23" y="90"/>
                      <a:pt x="23" y="90"/>
                    </a:cubicBezTo>
                    <a:cubicBezTo>
                      <a:pt x="20" y="62"/>
                      <a:pt x="20" y="62"/>
                      <a:pt x="20" y="62"/>
                    </a:cubicBezTo>
                    <a:cubicBezTo>
                      <a:pt x="0" y="62"/>
                      <a:pt x="0" y="62"/>
                      <a:pt x="0" y="62"/>
                    </a:cubicBezTo>
                    <a:cubicBezTo>
                      <a:pt x="0" y="212"/>
                      <a:pt x="0" y="212"/>
                      <a:pt x="0" y="212"/>
                    </a:cubicBezTo>
                    <a:cubicBezTo>
                      <a:pt x="25" y="212"/>
                      <a:pt x="25" y="212"/>
                      <a:pt x="25" y="212"/>
                    </a:cubicBezTo>
                    <a:cubicBezTo>
                      <a:pt x="25" y="132"/>
                      <a:pt x="25" y="132"/>
                      <a:pt x="25" y="132"/>
                    </a:cubicBezTo>
                    <a:cubicBezTo>
                      <a:pt x="25" y="122"/>
                      <a:pt x="27" y="113"/>
                      <a:pt x="31" y="106"/>
                    </a:cubicBezTo>
                    <a:cubicBezTo>
                      <a:pt x="35" y="98"/>
                      <a:pt x="40" y="92"/>
                      <a:pt x="47" y="88"/>
                    </a:cubicBezTo>
                    <a:cubicBezTo>
                      <a:pt x="54" y="84"/>
                      <a:pt x="61" y="82"/>
                      <a:pt x="68" y="82"/>
                    </a:cubicBezTo>
                    <a:cubicBezTo>
                      <a:pt x="71" y="82"/>
                      <a:pt x="74" y="82"/>
                      <a:pt x="76" y="82"/>
                    </a:cubicBezTo>
                    <a:cubicBezTo>
                      <a:pt x="79" y="83"/>
                      <a:pt x="82" y="83"/>
                      <a:pt x="85" y="84"/>
                    </a:cubicBezTo>
                    <a:cubicBezTo>
                      <a:pt x="88" y="61"/>
                      <a:pt x="88" y="61"/>
                      <a:pt x="88" y="61"/>
                    </a:cubicBezTo>
                    <a:cubicBezTo>
                      <a:pt x="85" y="61"/>
                      <a:pt x="82" y="60"/>
                      <a:pt x="79" y="60"/>
                    </a:cubicBezTo>
                    <a:cubicBezTo>
                      <a:pt x="76" y="60"/>
                      <a:pt x="73" y="59"/>
                      <a:pt x="70" y="59"/>
                    </a:cubicBezTo>
                    <a:cubicBezTo>
                      <a:pt x="60" y="59"/>
                      <a:pt x="51" y="62"/>
                      <a:pt x="43" y="68"/>
                    </a:cubicBezTo>
                  </a:path>
                </a:pathLst>
              </a:custGeom>
              <a:solidFill>
                <a:srgbClr val="2A91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0">
                <a:extLst>
                  <a:ext uri="{FF2B5EF4-FFF2-40B4-BE49-F238E27FC236}">
                    <a16:creationId xmlns:a16="http://schemas.microsoft.com/office/drawing/2014/main" id="{0F15B7F3-E808-FE46-942E-EDCA23A19F7D}"/>
                  </a:ext>
                </a:extLst>
              </p:cNvPr>
              <p:cNvSpPr>
                <a:spLocks noEditPoints="1"/>
              </p:cNvSpPr>
              <p:nvPr/>
            </p:nvSpPr>
            <p:spPr bwMode="auto">
              <a:xfrm>
                <a:off x="1517650" y="3609975"/>
                <a:ext cx="1581150" cy="211138"/>
              </a:xfrm>
              <a:custGeom>
                <a:avLst/>
                <a:gdLst>
                  <a:gd name="T0" fmla="*/ 1974 w 2107"/>
                  <a:gd name="T1" fmla="*/ 259 h 280"/>
                  <a:gd name="T2" fmla="*/ 2022 w 2107"/>
                  <a:gd name="T3" fmla="*/ 267 h 280"/>
                  <a:gd name="T4" fmla="*/ 2042 w 2107"/>
                  <a:gd name="T5" fmla="*/ 170 h 280"/>
                  <a:gd name="T6" fmla="*/ 1990 w 2107"/>
                  <a:gd name="T7" fmla="*/ 62 h 280"/>
                  <a:gd name="T8" fmla="*/ 1915 w 2107"/>
                  <a:gd name="T9" fmla="*/ 212 h 280"/>
                  <a:gd name="T10" fmla="*/ 1843 w 2107"/>
                  <a:gd name="T11" fmla="*/ 212 h 280"/>
                  <a:gd name="T12" fmla="*/ 1728 w 2107"/>
                  <a:gd name="T13" fmla="*/ 195 h 280"/>
                  <a:gd name="T14" fmla="*/ 1772 w 2107"/>
                  <a:gd name="T15" fmla="*/ 139 h 280"/>
                  <a:gd name="T16" fmla="*/ 1719 w 2107"/>
                  <a:gd name="T17" fmla="*/ 83 h 280"/>
                  <a:gd name="T18" fmla="*/ 1747 w 2107"/>
                  <a:gd name="T19" fmla="*/ 123 h 280"/>
                  <a:gd name="T20" fmla="*/ 1752 w 2107"/>
                  <a:gd name="T21" fmla="*/ 209 h 280"/>
                  <a:gd name="T22" fmla="*/ 1797 w 2107"/>
                  <a:gd name="T23" fmla="*/ 110 h 280"/>
                  <a:gd name="T24" fmla="*/ 1612 w 2107"/>
                  <a:gd name="T25" fmla="*/ 168 h 280"/>
                  <a:gd name="T26" fmla="*/ 1612 w 2107"/>
                  <a:gd name="T27" fmla="*/ 28 h 280"/>
                  <a:gd name="T28" fmla="*/ 1587 w 2107"/>
                  <a:gd name="T29" fmla="*/ 81 h 280"/>
                  <a:gd name="T30" fmla="*/ 1645 w 2107"/>
                  <a:gd name="T31" fmla="*/ 214 h 280"/>
                  <a:gd name="T32" fmla="*/ 1618 w 2107"/>
                  <a:gd name="T33" fmla="*/ 188 h 280"/>
                  <a:gd name="T34" fmla="*/ 1412 w 2107"/>
                  <a:gd name="T35" fmla="*/ 62 h 280"/>
                  <a:gd name="T36" fmla="*/ 1481 w 2107"/>
                  <a:gd name="T37" fmla="*/ 80 h 280"/>
                  <a:gd name="T38" fmla="*/ 1525 w 2107"/>
                  <a:gd name="T39" fmla="*/ 73 h 280"/>
                  <a:gd name="T40" fmla="*/ 1272 w 2107"/>
                  <a:gd name="T41" fmla="*/ 122 h 280"/>
                  <a:gd name="T42" fmla="*/ 1254 w 2107"/>
                  <a:gd name="T43" fmla="*/ 96 h 280"/>
                  <a:gd name="T44" fmla="*/ 1345 w 2107"/>
                  <a:gd name="T45" fmla="*/ 213 h 280"/>
                  <a:gd name="T46" fmla="*/ 1284 w 2107"/>
                  <a:gd name="T47" fmla="*/ 181 h 280"/>
                  <a:gd name="T48" fmla="*/ 1345 w 2107"/>
                  <a:gd name="T49" fmla="*/ 68 h 280"/>
                  <a:gd name="T50" fmla="*/ 1107 w 2107"/>
                  <a:gd name="T51" fmla="*/ 85 h 280"/>
                  <a:gd name="T52" fmla="*/ 1012 w 2107"/>
                  <a:gd name="T53" fmla="*/ 62 h 280"/>
                  <a:gd name="T54" fmla="*/ 1026 w 2107"/>
                  <a:gd name="T55" fmla="*/ 94 h 280"/>
                  <a:gd name="T56" fmla="*/ 1112 w 2107"/>
                  <a:gd name="T57" fmla="*/ 129 h 280"/>
                  <a:gd name="T58" fmla="*/ 1208 w 2107"/>
                  <a:gd name="T59" fmla="*/ 212 h 280"/>
                  <a:gd name="T60" fmla="*/ 864 w 2107"/>
                  <a:gd name="T61" fmla="*/ 65 h 280"/>
                  <a:gd name="T62" fmla="*/ 819 w 2107"/>
                  <a:gd name="T63" fmla="*/ 212 h 280"/>
                  <a:gd name="T64" fmla="*/ 921 w 2107"/>
                  <a:gd name="T65" fmla="*/ 116 h 280"/>
                  <a:gd name="T66" fmla="*/ 891 w 2107"/>
                  <a:gd name="T67" fmla="*/ 59 h 280"/>
                  <a:gd name="T68" fmla="*/ 755 w 2107"/>
                  <a:gd name="T69" fmla="*/ 137 h 280"/>
                  <a:gd name="T70" fmla="*/ 677 w 2107"/>
                  <a:gd name="T71" fmla="*/ 95 h 280"/>
                  <a:gd name="T72" fmla="*/ 641 w 2107"/>
                  <a:gd name="T73" fmla="*/ 137 h 280"/>
                  <a:gd name="T74" fmla="*/ 780 w 2107"/>
                  <a:gd name="T75" fmla="*/ 137 h 280"/>
                  <a:gd name="T76" fmla="*/ 560 w 2107"/>
                  <a:gd name="T77" fmla="*/ 62 h 280"/>
                  <a:gd name="T78" fmla="*/ 570 w 2107"/>
                  <a:gd name="T79" fmla="*/ 106 h 280"/>
                  <a:gd name="T80" fmla="*/ 627 w 2107"/>
                  <a:gd name="T81" fmla="*/ 61 h 280"/>
                  <a:gd name="T82" fmla="*/ 492 w 2107"/>
                  <a:gd name="T83" fmla="*/ 212 h 280"/>
                  <a:gd name="T84" fmla="*/ 466 w 2107"/>
                  <a:gd name="T85" fmla="*/ 22 h 280"/>
                  <a:gd name="T86" fmla="*/ 490 w 2107"/>
                  <a:gd name="T87" fmla="*/ 10 h 280"/>
                  <a:gd name="T88" fmla="*/ 417 w 2107"/>
                  <a:gd name="T89" fmla="*/ 62 h 280"/>
                  <a:gd name="T90" fmla="*/ 372 w 2107"/>
                  <a:gd name="T91" fmla="*/ 190 h 280"/>
                  <a:gd name="T92" fmla="*/ 302 w 2107"/>
                  <a:gd name="T93" fmla="*/ 62 h 280"/>
                  <a:gd name="T94" fmla="*/ 176 w 2107"/>
                  <a:gd name="T95" fmla="*/ 83 h 280"/>
                  <a:gd name="T96" fmla="*/ 177 w 2107"/>
                  <a:gd name="T97" fmla="*/ 134 h 280"/>
                  <a:gd name="T98" fmla="*/ 279 w 2107"/>
                  <a:gd name="T99" fmla="*/ 212 h 280"/>
                  <a:gd name="T100" fmla="*/ 112 w 2107"/>
                  <a:gd name="T101" fmla="*/ 190 h 280"/>
                  <a:gd name="T102" fmla="*/ 25 w 2107"/>
                  <a:gd name="T103" fmla="*/ 97 h 280"/>
                  <a:gd name="T104" fmla="*/ 0 w 2107"/>
                  <a:gd name="T105" fmla="*/ 2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7" h="280">
                    <a:moveTo>
                      <a:pt x="2025" y="213"/>
                    </a:moveTo>
                    <a:cubicBezTo>
                      <a:pt x="2017" y="233"/>
                      <a:pt x="2017" y="233"/>
                      <a:pt x="2017" y="233"/>
                    </a:cubicBezTo>
                    <a:cubicBezTo>
                      <a:pt x="2014" y="241"/>
                      <a:pt x="2009" y="247"/>
                      <a:pt x="2004" y="252"/>
                    </a:cubicBezTo>
                    <a:cubicBezTo>
                      <a:pt x="1999" y="257"/>
                      <a:pt x="1992" y="259"/>
                      <a:pt x="1983" y="259"/>
                    </a:cubicBezTo>
                    <a:cubicBezTo>
                      <a:pt x="1980" y="259"/>
                      <a:pt x="1977" y="259"/>
                      <a:pt x="1974" y="259"/>
                    </a:cubicBezTo>
                    <a:cubicBezTo>
                      <a:pt x="1971" y="258"/>
                      <a:pt x="1969" y="258"/>
                      <a:pt x="1967" y="258"/>
                    </a:cubicBezTo>
                    <a:cubicBezTo>
                      <a:pt x="1967" y="277"/>
                      <a:pt x="1967" y="277"/>
                      <a:pt x="1967" y="277"/>
                    </a:cubicBezTo>
                    <a:cubicBezTo>
                      <a:pt x="1969" y="278"/>
                      <a:pt x="1972" y="278"/>
                      <a:pt x="1976" y="279"/>
                    </a:cubicBezTo>
                    <a:cubicBezTo>
                      <a:pt x="1979" y="279"/>
                      <a:pt x="1983" y="280"/>
                      <a:pt x="1987" y="280"/>
                    </a:cubicBezTo>
                    <a:cubicBezTo>
                      <a:pt x="2002" y="280"/>
                      <a:pt x="2013" y="275"/>
                      <a:pt x="2022" y="267"/>
                    </a:cubicBezTo>
                    <a:cubicBezTo>
                      <a:pt x="2030" y="259"/>
                      <a:pt x="2037" y="247"/>
                      <a:pt x="2042" y="233"/>
                    </a:cubicBezTo>
                    <a:cubicBezTo>
                      <a:pt x="2107" y="62"/>
                      <a:pt x="2107" y="62"/>
                      <a:pt x="2107" y="62"/>
                    </a:cubicBezTo>
                    <a:cubicBezTo>
                      <a:pt x="2080" y="62"/>
                      <a:pt x="2080" y="62"/>
                      <a:pt x="2080" y="62"/>
                    </a:cubicBezTo>
                    <a:cubicBezTo>
                      <a:pt x="2050" y="147"/>
                      <a:pt x="2050" y="147"/>
                      <a:pt x="2050" y="147"/>
                    </a:cubicBezTo>
                    <a:cubicBezTo>
                      <a:pt x="2047" y="155"/>
                      <a:pt x="2044" y="163"/>
                      <a:pt x="2042" y="170"/>
                    </a:cubicBezTo>
                    <a:cubicBezTo>
                      <a:pt x="2040" y="178"/>
                      <a:pt x="2038" y="184"/>
                      <a:pt x="2037" y="189"/>
                    </a:cubicBezTo>
                    <a:cubicBezTo>
                      <a:pt x="2036" y="189"/>
                      <a:pt x="2036" y="189"/>
                      <a:pt x="2036" y="189"/>
                    </a:cubicBezTo>
                    <a:cubicBezTo>
                      <a:pt x="2034" y="182"/>
                      <a:pt x="2033" y="176"/>
                      <a:pt x="2031" y="169"/>
                    </a:cubicBezTo>
                    <a:cubicBezTo>
                      <a:pt x="2028" y="162"/>
                      <a:pt x="2026" y="155"/>
                      <a:pt x="2023" y="148"/>
                    </a:cubicBezTo>
                    <a:cubicBezTo>
                      <a:pt x="1990" y="62"/>
                      <a:pt x="1990" y="62"/>
                      <a:pt x="1990" y="62"/>
                    </a:cubicBezTo>
                    <a:cubicBezTo>
                      <a:pt x="1964" y="62"/>
                      <a:pt x="1964" y="62"/>
                      <a:pt x="1964" y="62"/>
                    </a:cubicBezTo>
                    <a:lnTo>
                      <a:pt x="2025" y="213"/>
                    </a:lnTo>
                    <a:close/>
                    <a:moveTo>
                      <a:pt x="1940" y="0"/>
                    </a:moveTo>
                    <a:cubicBezTo>
                      <a:pt x="1915" y="0"/>
                      <a:pt x="1915" y="0"/>
                      <a:pt x="1915" y="0"/>
                    </a:cubicBezTo>
                    <a:cubicBezTo>
                      <a:pt x="1915" y="212"/>
                      <a:pt x="1915" y="212"/>
                      <a:pt x="1915" y="212"/>
                    </a:cubicBezTo>
                    <a:cubicBezTo>
                      <a:pt x="1940" y="212"/>
                      <a:pt x="1940" y="212"/>
                      <a:pt x="1940" y="212"/>
                    </a:cubicBezTo>
                    <a:lnTo>
                      <a:pt x="1940" y="0"/>
                    </a:lnTo>
                    <a:close/>
                    <a:moveTo>
                      <a:pt x="1868" y="0"/>
                    </a:moveTo>
                    <a:cubicBezTo>
                      <a:pt x="1843" y="0"/>
                      <a:pt x="1843" y="0"/>
                      <a:pt x="1843" y="0"/>
                    </a:cubicBezTo>
                    <a:cubicBezTo>
                      <a:pt x="1843" y="212"/>
                      <a:pt x="1843" y="212"/>
                      <a:pt x="1843" y="212"/>
                    </a:cubicBezTo>
                    <a:cubicBezTo>
                      <a:pt x="1868" y="212"/>
                      <a:pt x="1868" y="212"/>
                      <a:pt x="1868" y="212"/>
                    </a:cubicBezTo>
                    <a:lnTo>
                      <a:pt x="1868" y="0"/>
                    </a:lnTo>
                    <a:close/>
                    <a:moveTo>
                      <a:pt x="1772" y="152"/>
                    </a:moveTo>
                    <a:cubicBezTo>
                      <a:pt x="1772" y="167"/>
                      <a:pt x="1768" y="178"/>
                      <a:pt x="1760" y="185"/>
                    </a:cubicBezTo>
                    <a:cubicBezTo>
                      <a:pt x="1751" y="192"/>
                      <a:pt x="1741" y="195"/>
                      <a:pt x="1728" y="195"/>
                    </a:cubicBezTo>
                    <a:cubicBezTo>
                      <a:pt x="1720" y="195"/>
                      <a:pt x="1714" y="193"/>
                      <a:pt x="1708" y="189"/>
                    </a:cubicBezTo>
                    <a:cubicBezTo>
                      <a:pt x="1703" y="185"/>
                      <a:pt x="1701" y="179"/>
                      <a:pt x="1701" y="171"/>
                    </a:cubicBezTo>
                    <a:cubicBezTo>
                      <a:pt x="1701" y="161"/>
                      <a:pt x="1704" y="154"/>
                      <a:pt x="1711" y="149"/>
                    </a:cubicBezTo>
                    <a:cubicBezTo>
                      <a:pt x="1719" y="144"/>
                      <a:pt x="1732" y="141"/>
                      <a:pt x="1750" y="140"/>
                    </a:cubicBezTo>
                    <a:cubicBezTo>
                      <a:pt x="1772" y="139"/>
                      <a:pt x="1772" y="139"/>
                      <a:pt x="1772" y="139"/>
                    </a:cubicBezTo>
                    <a:lnTo>
                      <a:pt x="1772" y="152"/>
                    </a:lnTo>
                    <a:close/>
                    <a:moveTo>
                      <a:pt x="1715" y="63"/>
                    </a:moveTo>
                    <a:cubicBezTo>
                      <a:pt x="1706" y="66"/>
                      <a:pt x="1698" y="69"/>
                      <a:pt x="1692" y="73"/>
                    </a:cubicBezTo>
                    <a:cubicBezTo>
                      <a:pt x="1699" y="91"/>
                      <a:pt x="1699" y="91"/>
                      <a:pt x="1699" y="91"/>
                    </a:cubicBezTo>
                    <a:cubicBezTo>
                      <a:pt x="1705" y="88"/>
                      <a:pt x="1712" y="85"/>
                      <a:pt x="1719" y="83"/>
                    </a:cubicBezTo>
                    <a:cubicBezTo>
                      <a:pt x="1726" y="81"/>
                      <a:pt x="1734" y="80"/>
                      <a:pt x="1742" y="80"/>
                    </a:cubicBezTo>
                    <a:cubicBezTo>
                      <a:pt x="1751" y="80"/>
                      <a:pt x="1759" y="82"/>
                      <a:pt x="1765" y="87"/>
                    </a:cubicBezTo>
                    <a:cubicBezTo>
                      <a:pt x="1770" y="92"/>
                      <a:pt x="1773" y="100"/>
                      <a:pt x="1773" y="113"/>
                    </a:cubicBezTo>
                    <a:cubicBezTo>
                      <a:pt x="1773" y="122"/>
                      <a:pt x="1773" y="122"/>
                      <a:pt x="1773" y="122"/>
                    </a:cubicBezTo>
                    <a:cubicBezTo>
                      <a:pt x="1747" y="123"/>
                      <a:pt x="1747" y="123"/>
                      <a:pt x="1747" y="123"/>
                    </a:cubicBezTo>
                    <a:cubicBezTo>
                      <a:pt x="1723" y="123"/>
                      <a:pt x="1705" y="128"/>
                      <a:pt x="1693" y="136"/>
                    </a:cubicBezTo>
                    <a:cubicBezTo>
                      <a:pt x="1681" y="144"/>
                      <a:pt x="1675" y="156"/>
                      <a:pt x="1675" y="171"/>
                    </a:cubicBezTo>
                    <a:cubicBezTo>
                      <a:pt x="1675" y="186"/>
                      <a:pt x="1680" y="197"/>
                      <a:pt x="1689" y="204"/>
                    </a:cubicBezTo>
                    <a:cubicBezTo>
                      <a:pt x="1698" y="212"/>
                      <a:pt x="1709" y="215"/>
                      <a:pt x="1723" y="215"/>
                    </a:cubicBezTo>
                    <a:cubicBezTo>
                      <a:pt x="1735" y="215"/>
                      <a:pt x="1745" y="213"/>
                      <a:pt x="1752" y="209"/>
                    </a:cubicBezTo>
                    <a:cubicBezTo>
                      <a:pt x="1759" y="205"/>
                      <a:pt x="1766" y="199"/>
                      <a:pt x="1773" y="191"/>
                    </a:cubicBezTo>
                    <a:cubicBezTo>
                      <a:pt x="1774" y="191"/>
                      <a:pt x="1774" y="191"/>
                      <a:pt x="1774" y="191"/>
                    </a:cubicBezTo>
                    <a:cubicBezTo>
                      <a:pt x="1779" y="212"/>
                      <a:pt x="1779" y="212"/>
                      <a:pt x="1779" y="212"/>
                    </a:cubicBezTo>
                    <a:cubicBezTo>
                      <a:pt x="1797" y="212"/>
                      <a:pt x="1797" y="212"/>
                      <a:pt x="1797" y="212"/>
                    </a:cubicBezTo>
                    <a:cubicBezTo>
                      <a:pt x="1797" y="110"/>
                      <a:pt x="1797" y="110"/>
                      <a:pt x="1797" y="110"/>
                    </a:cubicBezTo>
                    <a:cubicBezTo>
                      <a:pt x="1797" y="93"/>
                      <a:pt x="1792" y="80"/>
                      <a:pt x="1784" y="72"/>
                    </a:cubicBezTo>
                    <a:cubicBezTo>
                      <a:pt x="1775" y="64"/>
                      <a:pt x="1761" y="60"/>
                      <a:pt x="1743" y="60"/>
                    </a:cubicBezTo>
                    <a:cubicBezTo>
                      <a:pt x="1733" y="60"/>
                      <a:pt x="1724" y="61"/>
                      <a:pt x="1715" y="63"/>
                    </a:cubicBezTo>
                    <a:moveTo>
                      <a:pt x="1618" y="188"/>
                    </a:moveTo>
                    <a:cubicBezTo>
                      <a:pt x="1614" y="184"/>
                      <a:pt x="1612" y="177"/>
                      <a:pt x="1612" y="168"/>
                    </a:cubicBezTo>
                    <a:cubicBezTo>
                      <a:pt x="1612" y="81"/>
                      <a:pt x="1612" y="81"/>
                      <a:pt x="1612" y="81"/>
                    </a:cubicBezTo>
                    <a:cubicBezTo>
                      <a:pt x="1655" y="81"/>
                      <a:pt x="1655" y="81"/>
                      <a:pt x="1655" y="81"/>
                    </a:cubicBezTo>
                    <a:cubicBezTo>
                      <a:pt x="1655" y="62"/>
                      <a:pt x="1655" y="62"/>
                      <a:pt x="1655" y="62"/>
                    </a:cubicBezTo>
                    <a:cubicBezTo>
                      <a:pt x="1612" y="62"/>
                      <a:pt x="1612" y="62"/>
                      <a:pt x="1612" y="62"/>
                    </a:cubicBezTo>
                    <a:cubicBezTo>
                      <a:pt x="1612" y="28"/>
                      <a:pt x="1612" y="28"/>
                      <a:pt x="1612" y="28"/>
                    </a:cubicBezTo>
                    <a:cubicBezTo>
                      <a:pt x="1597" y="28"/>
                      <a:pt x="1597" y="28"/>
                      <a:pt x="1597" y="28"/>
                    </a:cubicBezTo>
                    <a:cubicBezTo>
                      <a:pt x="1587" y="60"/>
                      <a:pt x="1587" y="60"/>
                      <a:pt x="1587" y="60"/>
                    </a:cubicBezTo>
                    <a:cubicBezTo>
                      <a:pt x="1566" y="70"/>
                      <a:pt x="1566" y="70"/>
                      <a:pt x="1566" y="70"/>
                    </a:cubicBezTo>
                    <a:cubicBezTo>
                      <a:pt x="1566" y="81"/>
                      <a:pt x="1566" y="81"/>
                      <a:pt x="1566" y="81"/>
                    </a:cubicBezTo>
                    <a:cubicBezTo>
                      <a:pt x="1587" y="81"/>
                      <a:pt x="1587" y="81"/>
                      <a:pt x="1587" y="81"/>
                    </a:cubicBezTo>
                    <a:cubicBezTo>
                      <a:pt x="1587" y="169"/>
                      <a:pt x="1587" y="169"/>
                      <a:pt x="1587" y="169"/>
                    </a:cubicBezTo>
                    <a:cubicBezTo>
                      <a:pt x="1587" y="181"/>
                      <a:pt x="1589" y="190"/>
                      <a:pt x="1593" y="197"/>
                    </a:cubicBezTo>
                    <a:cubicBezTo>
                      <a:pt x="1597" y="204"/>
                      <a:pt x="1603" y="208"/>
                      <a:pt x="1609" y="211"/>
                    </a:cubicBezTo>
                    <a:cubicBezTo>
                      <a:pt x="1616" y="214"/>
                      <a:pt x="1623" y="215"/>
                      <a:pt x="1631" y="215"/>
                    </a:cubicBezTo>
                    <a:cubicBezTo>
                      <a:pt x="1635" y="215"/>
                      <a:pt x="1640" y="215"/>
                      <a:pt x="1645" y="214"/>
                    </a:cubicBezTo>
                    <a:cubicBezTo>
                      <a:pt x="1650" y="213"/>
                      <a:pt x="1654" y="212"/>
                      <a:pt x="1656" y="211"/>
                    </a:cubicBezTo>
                    <a:cubicBezTo>
                      <a:pt x="1656" y="192"/>
                      <a:pt x="1656" y="192"/>
                      <a:pt x="1656" y="192"/>
                    </a:cubicBezTo>
                    <a:cubicBezTo>
                      <a:pt x="1654" y="193"/>
                      <a:pt x="1651" y="194"/>
                      <a:pt x="1647" y="194"/>
                    </a:cubicBezTo>
                    <a:cubicBezTo>
                      <a:pt x="1643" y="195"/>
                      <a:pt x="1639" y="195"/>
                      <a:pt x="1635" y="195"/>
                    </a:cubicBezTo>
                    <a:cubicBezTo>
                      <a:pt x="1628" y="195"/>
                      <a:pt x="1623" y="193"/>
                      <a:pt x="1618" y="188"/>
                    </a:cubicBezTo>
                    <a:moveTo>
                      <a:pt x="1457" y="65"/>
                    </a:moveTo>
                    <a:cubicBezTo>
                      <a:pt x="1449" y="69"/>
                      <a:pt x="1442" y="75"/>
                      <a:pt x="1437" y="83"/>
                    </a:cubicBezTo>
                    <a:cubicBezTo>
                      <a:pt x="1436" y="83"/>
                      <a:pt x="1436" y="83"/>
                      <a:pt x="1436" y="83"/>
                    </a:cubicBezTo>
                    <a:cubicBezTo>
                      <a:pt x="1432" y="62"/>
                      <a:pt x="1432" y="62"/>
                      <a:pt x="1432" y="62"/>
                    </a:cubicBezTo>
                    <a:cubicBezTo>
                      <a:pt x="1412" y="62"/>
                      <a:pt x="1412" y="62"/>
                      <a:pt x="1412" y="62"/>
                    </a:cubicBezTo>
                    <a:cubicBezTo>
                      <a:pt x="1412" y="212"/>
                      <a:pt x="1412" y="212"/>
                      <a:pt x="1412" y="212"/>
                    </a:cubicBezTo>
                    <a:cubicBezTo>
                      <a:pt x="1437" y="212"/>
                      <a:pt x="1437" y="212"/>
                      <a:pt x="1437" y="212"/>
                    </a:cubicBezTo>
                    <a:cubicBezTo>
                      <a:pt x="1437" y="134"/>
                      <a:pt x="1437" y="134"/>
                      <a:pt x="1437" y="134"/>
                    </a:cubicBezTo>
                    <a:cubicBezTo>
                      <a:pt x="1437" y="117"/>
                      <a:pt x="1440" y="103"/>
                      <a:pt x="1446" y="94"/>
                    </a:cubicBezTo>
                    <a:cubicBezTo>
                      <a:pt x="1453" y="85"/>
                      <a:pt x="1464" y="80"/>
                      <a:pt x="1481" y="80"/>
                    </a:cubicBezTo>
                    <a:cubicBezTo>
                      <a:pt x="1503" y="80"/>
                      <a:pt x="1514" y="92"/>
                      <a:pt x="1514" y="116"/>
                    </a:cubicBezTo>
                    <a:cubicBezTo>
                      <a:pt x="1514" y="212"/>
                      <a:pt x="1514" y="212"/>
                      <a:pt x="1514" y="212"/>
                    </a:cubicBezTo>
                    <a:cubicBezTo>
                      <a:pt x="1539" y="212"/>
                      <a:pt x="1539" y="212"/>
                      <a:pt x="1539" y="212"/>
                    </a:cubicBezTo>
                    <a:cubicBezTo>
                      <a:pt x="1539" y="115"/>
                      <a:pt x="1539" y="115"/>
                      <a:pt x="1539" y="115"/>
                    </a:cubicBezTo>
                    <a:cubicBezTo>
                      <a:pt x="1539" y="95"/>
                      <a:pt x="1534" y="81"/>
                      <a:pt x="1525" y="73"/>
                    </a:cubicBezTo>
                    <a:cubicBezTo>
                      <a:pt x="1516" y="64"/>
                      <a:pt x="1502" y="59"/>
                      <a:pt x="1484" y="59"/>
                    </a:cubicBezTo>
                    <a:cubicBezTo>
                      <a:pt x="1475" y="59"/>
                      <a:pt x="1466" y="61"/>
                      <a:pt x="1457" y="65"/>
                    </a:cubicBezTo>
                    <a:moveTo>
                      <a:pt x="1339" y="91"/>
                    </a:moveTo>
                    <a:cubicBezTo>
                      <a:pt x="1345" y="99"/>
                      <a:pt x="1348" y="110"/>
                      <a:pt x="1348" y="122"/>
                    </a:cubicBezTo>
                    <a:cubicBezTo>
                      <a:pt x="1272" y="122"/>
                      <a:pt x="1272" y="122"/>
                      <a:pt x="1272" y="122"/>
                    </a:cubicBezTo>
                    <a:cubicBezTo>
                      <a:pt x="1273" y="109"/>
                      <a:pt x="1277" y="98"/>
                      <a:pt x="1284" y="91"/>
                    </a:cubicBezTo>
                    <a:cubicBezTo>
                      <a:pt x="1291" y="83"/>
                      <a:pt x="1300" y="80"/>
                      <a:pt x="1312" y="80"/>
                    </a:cubicBezTo>
                    <a:cubicBezTo>
                      <a:pt x="1324" y="80"/>
                      <a:pt x="1333" y="84"/>
                      <a:pt x="1339" y="91"/>
                    </a:cubicBezTo>
                    <a:moveTo>
                      <a:pt x="1277" y="69"/>
                    </a:moveTo>
                    <a:cubicBezTo>
                      <a:pt x="1267" y="75"/>
                      <a:pt x="1259" y="84"/>
                      <a:pt x="1254" y="96"/>
                    </a:cubicBezTo>
                    <a:cubicBezTo>
                      <a:pt x="1248" y="108"/>
                      <a:pt x="1246" y="122"/>
                      <a:pt x="1246" y="138"/>
                    </a:cubicBezTo>
                    <a:cubicBezTo>
                      <a:pt x="1246" y="155"/>
                      <a:pt x="1249" y="169"/>
                      <a:pt x="1255" y="181"/>
                    </a:cubicBezTo>
                    <a:cubicBezTo>
                      <a:pt x="1261" y="192"/>
                      <a:pt x="1269" y="201"/>
                      <a:pt x="1280" y="206"/>
                    </a:cubicBezTo>
                    <a:cubicBezTo>
                      <a:pt x="1291" y="212"/>
                      <a:pt x="1304" y="215"/>
                      <a:pt x="1318" y="215"/>
                    </a:cubicBezTo>
                    <a:cubicBezTo>
                      <a:pt x="1328" y="215"/>
                      <a:pt x="1337" y="214"/>
                      <a:pt x="1345" y="213"/>
                    </a:cubicBezTo>
                    <a:cubicBezTo>
                      <a:pt x="1352" y="211"/>
                      <a:pt x="1360" y="209"/>
                      <a:pt x="1367" y="205"/>
                    </a:cubicBezTo>
                    <a:cubicBezTo>
                      <a:pt x="1367" y="184"/>
                      <a:pt x="1367" y="184"/>
                      <a:pt x="1367" y="184"/>
                    </a:cubicBezTo>
                    <a:cubicBezTo>
                      <a:pt x="1359" y="187"/>
                      <a:pt x="1352" y="190"/>
                      <a:pt x="1344" y="191"/>
                    </a:cubicBezTo>
                    <a:cubicBezTo>
                      <a:pt x="1337" y="193"/>
                      <a:pt x="1329" y="194"/>
                      <a:pt x="1319" y="194"/>
                    </a:cubicBezTo>
                    <a:cubicBezTo>
                      <a:pt x="1304" y="194"/>
                      <a:pt x="1292" y="190"/>
                      <a:pt x="1284" y="181"/>
                    </a:cubicBezTo>
                    <a:cubicBezTo>
                      <a:pt x="1276" y="172"/>
                      <a:pt x="1272" y="159"/>
                      <a:pt x="1271" y="142"/>
                    </a:cubicBezTo>
                    <a:cubicBezTo>
                      <a:pt x="1374" y="142"/>
                      <a:pt x="1374" y="142"/>
                      <a:pt x="1374" y="142"/>
                    </a:cubicBezTo>
                    <a:cubicBezTo>
                      <a:pt x="1374" y="127"/>
                      <a:pt x="1374" y="127"/>
                      <a:pt x="1374" y="127"/>
                    </a:cubicBezTo>
                    <a:cubicBezTo>
                      <a:pt x="1374" y="114"/>
                      <a:pt x="1371" y="102"/>
                      <a:pt x="1367" y="91"/>
                    </a:cubicBezTo>
                    <a:cubicBezTo>
                      <a:pt x="1362" y="81"/>
                      <a:pt x="1354" y="73"/>
                      <a:pt x="1345" y="68"/>
                    </a:cubicBezTo>
                    <a:cubicBezTo>
                      <a:pt x="1336" y="62"/>
                      <a:pt x="1325" y="59"/>
                      <a:pt x="1312" y="59"/>
                    </a:cubicBezTo>
                    <a:cubicBezTo>
                      <a:pt x="1299" y="59"/>
                      <a:pt x="1287" y="63"/>
                      <a:pt x="1277" y="69"/>
                    </a:cubicBezTo>
                    <a:moveTo>
                      <a:pt x="1129" y="66"/>
                    </a:moveTo>
                    <a:cubicBezTo>
                      <a:pt x="1121" y="70"/>
                      <a:pt x="1114" y="76"/>
                      <a:pt x="1109" y="85"/>
                    </a:cubicBezTo>
                    <a:cubicBezTo>
                      <a:pt x="1107" y="85"/>
                      <a:pt x="1107" y="85"/>
                      <a:pt x="1107" y="85"/>
                    </a:cubicBezTo>
                    <a:cubicBezTo>
                      <a:pt x="1100" y="68"/>
                      <a:pt x="1085" y="59"/>
                      <a:pt x="1061" y="59"/>
                    </a:cubicBezTo>
                    <a:cubicBezTo>
                      <a:pt x="1052" y="59"/>
                      <a:pt x="1044" y="61"/>
                      <a:pt x="1036" y="65"/>
                    </a:cubicBezTo>
                    <a:cubicBezTo>
                      <a:pt x="1028" y="69"/>
                      <a:pt x="1022" y="75"/>
                      <a:pt x="1017" y="83"/>
                    </a:cubicBezTo>
                    <a:cubicBezTo>
                      <a:pt x="1016" y="83"/>
                      <a:pt x="1016" y="83"/>
                      <a:pt x="1016" y="83"/>
                    </a:cubicBezTo>
                    <a:cubicBezTo>
                      <a:pt x="1012" y="62"/>
                      <a:pt x="1012" y="62"/>
                      <a:pt x="1012" y="62"/>
                    </a:cubicBezTo>
                    <a:cubicBezTo>
                      <a:pt x="992" y="62"/>
                      <a:pt x="992" y="62"/>
                      <a:pt x="992" y="62"/>
                    </a:cubicBezTo>
                    <a:cubicBezTo>
                      <a:pt x="992" y="212"/>
                      <a:pt x="992" y="212"/>
                      <a:pt x="992" y="212"/>
                    </a:cubicBezTo>
                    <a:cubicBezTo>
                      <a:pt x="1017" y="212"/>
                      <a:pt x="1017" y="212"/>
                      <a:pt x="1017" y="212"/>
                    </a:cubicBezTo>
                    <a:cubicBezTo>
                      <a:pt x="1017" y="134"/>
                      <a:pt x="1017" y="134"/>
                      <a:pt x="1017" y="134"/>
                    </a:cubicBezTo>
                    <a:cubicBezTo>
                      <a:pt x="1017" y="117"/>
                      <a:pt x="1020" y="103"/>
                      <a:pt x="1026" y="94"/>
                    </a:cubicBezTo>
                    <a:cubicBezTo>
                      <a:pt x="1031" y="85"/>
                      <a:pt x="1042" y="80"/>
                      <a:pt x="1057" y="80"/>
                    </a:cubicBezTo>
                    <a:cubicBezTo>
                      <a:pt x="1078" y="80"/>
                      <a:pt x="1088" y="92"/>
                      <a:pt x="1088" y="116"/>
                    </a:cubicBezTo>
                    <a:cubicBezTo>
                      <a:pt x="1088" y="212"/>
                      <a:pt x="1088" y="212"/>
                      <a:pt x="1088" y="212"/>
                    </a:cubicBezTo>
                    <a:cubicBezTo>
                      <a:pt x="1112" y="212"/>
                      <a:pt x="1112" y="212"/>
                      <a:pt x="1112" y="212"/>
                    </a:cubicBezTo>
                    <a:cubicBezTo>
                      <a:pt x="1112" y="129"/>
                      <a:pt x="1112" y="129"/>
                      <a:pt x="1112" y="129"/>
                    </a:cubicBezTo>
                    <a:cubicBezTo>
                      <a:pt x="1112" y="113"/>
                      <a:pt x="1115" y="101"/>
                      <a:pt x="1122" y="93"/>
                    </a:cubicBezTo>
                    <a:cubicBezTo>
                      <a:pt x="1128" y="84"/>
                      <a:pt x="1138" y="80"/>
                      <a:pt x="1153" y="80"/>
                    </a:cubicBezTo>
                    <a:cubicBezTo>
                      <a:pt x="1173" y="80"/>
                      <a:pt x="1183" y="92"/>
                      <a:pt x="1183" y="116"/>
                    </a:cubicBezTo>
                    <a:cubicBezTo>
                      <a:pt x="1183" y="212"/>
                      <a:pt x="1183" y="212"/>
                      <a:pt x="1183" y="212"/>
                    </a:cubicBezTo>
                    <a:cubicBezTo>
                      <a:pt x="1208" y="212"/>
                      <a:pt x="1208" y="212"/>
                      <a:pt x="1208" y="212"/>
                    </a:cubicBezTo>
                    <a:cubicBezTo>
                      <a:pt x="1208" y="115"/>
                      <a:pt x="1208" y="115"/>
                      <a:pt x="1208" y="115"/>
                    </a:cubicBezTo>
                    <a:cubicBezTo>
                      <a:pt x="1208" y="95"/>
                      <a:pt x="1203" y="81"/>
                      <a:pt x="1195" y="73"/>
                    </a:cubicBezTo>
                    <a:cubicBezTo>
                      <a:pt x="1187" y="64"/>
                      <a:pt x="1174" y="59"/>
                      <a:pt x="1157" y="59"/>
                    </a:cubicBezTo>
                    <a:cubicBezTo>
                      <a:pt x="1147" y="59"/>
                      <a:pt x="1138" y="61"/>
                      <a:pt x="1129" y="66"/>
                    </a:cubicBezTo>
                    <a:moveTo>
                      <a:pt x="864" y="65"/>
                    </a:moveTo>
                    <a:cubicBezTo>
                      <a:pt x="856" y="69"/>
                      <a:pt x="849" y="75"/>
                      <a:pt x="844" y="83"/>
                    </a:cubicBezTo>
                    <a:cubicBezTo>
                      <a:pt x="843" y="83"/>
                      <a:pt x="843" y="83"/>
                      <a:pt x="843" y="83"/>
                    </a:cubicBezTo>
                    <a:cubicBezTo>
                      <a:pt x="839" y="62"/>
                      <a:pt x="839" y="62"/>
                      <a:pt x="839" y="62"/>
                    </a:cubicBezTo>
                    <a:cubicBezTo>
                      <a:pt x="819" y="62"/>
                      <a:pt x="819" y="62"/>
                      <a:pt x="819" y="62"/>
                    </a:cubicBezTo>
                    <a:cubicBezTo>
                      <a:pt x="819" y="212"/>
                      <a:pt x="819" y="212"/>
                      <a:pt x="819" y="212"/>
                    </a:cubicBezTo>
                    <a:cubicBezTo>
                      <a:pt x="844" y="212"/>
                      <a:pt x="844" y="212"/>
                      <a:pt x="844" y="212"/>
                    </a:cubicBezTo>
                    <a:cubicBezTo>
                      <a:pt x="844" y="134"/>
                      <a:pt x="844" y="134"/>
                      <a:pt x="844" y="134"/>
                    </a:cubicBezTo>
                    <a:cubicBezTo>
                      <a:pt x="844" y="117"/>
                      <a:pt x="847" y="103"/>
                      <a:pt x="853" y="94"/>
                    </a:cubicBezTo>
                    <a:cubicBezTo>
                      <a:pt x="860" y="85"/>
                      <a:pt x="871" y="80"/>
                      <a:pt x="888" y="80"/>
                    </a:cubicBezTo>
                    <a:cubicBezTo>
                      <a:pt x="910" y="80"/>
                      <a:pt x="921" y="92"/>
                      <a:pt x="921" y="116"/>
                    </a:cubicBezTo>
                    <a:cubicBezTo>
                      <a:pt x="921" y="212"/>
                      <a:pt x="921" y="212"/>
                      <a:pt x="921" y="212"/>
                    </a:cubicBezTo>
                    <a:cubicBezTo>
                      <a:pt x="946" y="212"/>
                      <a:pt x="946" y="212"/>
                      <a:pt x="946" y="212"/>
                    </a:cubicBezTo>
                    <a:cubicBezTo>
                      <a:pt x="946" y="115"/>
                      <a:pt x="946" y="115"/>
                      <a:pt x="946" y="115"/>
                    </a:cubicBezTo>
                    <a:cubicBezTo>
                      <a:pt x="946" y="95"/>
                      <a:pt x="941" y="81"/>
                      <a:pt x="932" y="73"/>
                    </a:cubicBezTo>
                    <a:cubicBezTo>
                      <a:pt x="923" y="64"/>
                      <a:pt x="909" y="59"/>
                      <a:pt x="891" y="59"/>
                    </a:cubicBezTo>
                    <a:cubicBezTo>
                      <a:pt x="882" y="59"/>
                      <a:pt x="873" y="61"/>
                      <a:pt x="864" y="65"/>
                    </a:cubicBezTo>
                    <a:moveTo>
                      <a:pt x="677" y="95"/>
                    </a:moveTo>
                    <a:cubicBezTo>
                      <a:pt x="684" y="85"/>
                      <a:pt x="695" y="80"/>
                      <a:pt x="711" y="80"/>
                    </a:cubicBezTo>
                    <a:cubicBezTo>
                      <a:pt x="726" y="80"/>
                      <a:pt x="737" y="85"/>
                      <a:pt x="744" y="95"/>
                    </a:cubicBezTo>
                    <a:cubicBezTo>
                      <a:pt x="751" y="105"/>
                      <a:pt x="755" y="119"/>
                      <a:pt x="755" y="137"/>
                    </a:cubicBezTo>
                    <a:cubicBezTo>
                      <a:pt x="755" y="155"/>
                      <a:pt x="751" y="169"/>
                      <a:pt x="744" y="179"/>
                    </a:cubicBezTo>
                    <a:cubicBezTo>
                      <a:pt x="737" y="189"/>
                      <a:pt x="726" y="195"/>
                      <a:pt x="711" y="195"/>
                    </a:cubicBezTo>
                    <a:cubicBezTo>
                      <a:pt x="696" y="195"/>
                      <a:pt x="684" y="189"/>
                      <a:pt x="677" y="179"/>
                    </a:cubicBezTo>
                    <a:cubicBezTo>
                      <a:pt x="670" y="169"/>
                      <a:pt x="667" y="155"/>
                      <a:pt x="667" y="137"/>
                    </a:cubicBezTo>
                    <a:cubicBezTo>
                      <a:pt x="667" y="119"/>
                      <a:pt x="670" y="105"/>
                      <a:pt x="677" y="95"/>
                    </a:cubicBezTo>
                    <a:moveTo>
                      <a:pt x="772" y="95"/>
                    </a:moveTo>
                    <a:cubicBezTo>
                      <a:pt x="766" y="83"/>
                      <a:pt x="757" y="75"/>
                      <a:pt x="747" y="69"/>
                    </a:cubicBezTo>
                    <a:cubicBezTo>
                      <a:pt x="737" y="62"/>
                      <a:pt x="725" y="59"/>
                      <a:pt x="711" y="59"/>
                    </a:cubicBezTo>
                    <a:cubicBezTo>
                      <a:pt x="690" y="59"/>
                      <a:pt x="672" y="66"/>
                      <a:pt x="660" y="80"/>
                    </a:cubicBezTo>
                    <a:cubicBezTo>
                      <a:pt x="648" y="93"/>
                      <a:pt x="641" y="112"/>
                      <a:pt x="641" y="137"/>
                    </a:cubicBezTo>
                    <a:cubicBezTo>
                      <a:pt x="641" y="154"/>
                      <a:pt x="644" y="168"/>
                      <a:pt x="650" y="179"/>
                    </a:cubicBezTo>
                    <a:cubicBezTo>
                      <a:pt x="656" y="191"/>
                      <a:pt x="665" y="200"/>
                      <a:pt x="675" y="206"/>
                    </a:cubicBezTo>
                    <a:cubicBezTo>
                      <a:pt x="685" y="212"/>
                      <a:pt x="697" y="215"/>
                      <a:pt x="710" y="215"/>
                    </a:cubicBezTo>
                    <a:cubicBezTo>
                      <a:pt x="732" y="215"/>
                      <a:pt x="749" y="208"/>
                      <a:pt x="761" y="195"/>
                    </a:cubicBezTo>
                    <a:cubicBezTo>
                      <a:pt x="774" y="181"/>
                      <a:pt x="780" y="162"/>
                      <a:pt x="780" y="137"/>
                    </a:cubicBezTo>
                    <a:cubicBezTo>
                      <a:pt x="780" y="120"/>
                      <a:pt x="777" y="106"/>
                      <a:pt x="772" y="95"/>
                    </a:cubicBezTo>
                    <a:moveTo>
                      <a:pt x="583" y="68"/>
                    </a:moveTo>
                    <a:cubicBezTo>
                      <a:pt x="575" y="74"/>
                      <a:pt x="569" y="81"/>
                      <a:pt x="564" y="90"/>
                    </a:cubicBezTo>
                    <a:cubicBezTo>
                      <a:pt x="563" y="90"/>
                      <a:pt x="563" y="90"/>
                      <a:pt x="563" y="90"/>
                    </a:cubicBezTo>
                    <a:cubicBezTo>
                      <a:pt x="560" y="62"/>
                      <a:pt x="560" y="62"/>
                      <a:pt x="560" y="62"/>
                    </a:cubicBezTo>
                    <a:cubicBezTo>
                      <a:pt x="540" y="62"/>
                      <a:pt x="540" y="62"/>
                      <a:pt x="540" y="62"/>
                    </a:cubicBezTo>
                    <a:cubicBezTo>
                      <a:pt x="540" y="212"/>
                      <a:pt x="540" y="212"/>
                      <a:pt x="540" y="212"/>
                    </a:cubicBezTo>
                    <a:cubicBezTo>
                      <a:pt x="564" y="212"/>
                      <a:pt x="564" y="212"/>
                      <a:pt x="564" y="212"/>
                    </a:cubicBezTo>
                    <a:cubicBezTo>
                      <a:pt x="564" y="132"/>
                      <a:pt x="564" y="132"/>
                      <a:pt x="564" y="132"/>
                    </a:cubicBezTo>
                    <a:cubicBezTo>
                      <a:pt x="564" y="122"/>
                      <a:pt x="566" y="113"/>
                      <a:pt x="570" y="106"/>
                    </a:cubicBezTo>
                    <a:cubicBezTo>
                      <a:pt x="574" y="98"/>
                      <a:pt x="580" y="92"/>
                      <a:pt x="587" y="88"/>
                    </a:cubicBezTo>
                    <a:cubicBezTo>
                      <a:pt x="593" y="84"/>
                      <a:pt x="600" y="82"/>
                      <a:pt x="608" y="82"/>
                    </a:cubicBezTo>
                    <a:cubicBezTo>
                      <a:pt x="611" y="82"/>
                      <a:pt x="613" y="82"/>
                      <a:pt x="616" y="82"/>
                    </a:cubicBezTo>
                    <a:cubicBezTo>
                      <a:pt x="619" y="83"/>
                      <a:pt x="622" y="83"/>
                      <a:pt x="624" y="84"/>
                    </a:cubicBezTo>
                    <a:cubicBezTo>
                      <a:pt x="627" y="61"/>
                      <a:pt x="627" y="61"/>
                      <a:pt x="627" y="61"/>
                    </a:cubicBezTo>
                    <a:cubicBezTo>
                      <a:pt x="625" y="61"/>
                      <a:pt x="622" y="60"/>
                      <a:pt x="619" y="60"/>
                    </a:cubicBezTo>
                    <a:cubicBezTo>
                      <a:pt x="616" y="60"/>
                      <a:pt x="613" y="59"/>
                      <a:pt x="610" y="59"/>
                    </a:cubicBezTo>
                    <a:cubicBezTo>
                      <a:pt x="599" y="59"/>
                      <a:pt x="590" y="62"/>
                      <a:pt x="583" y="68"/>
                    </a:cubicBezTo>
                    <a:moveTo>
                      <a:pt x="468" y="212"/>
                    </a:moveTo>
                    <a:cubicBezTo>
                      <a:pt x="492" y="212"/>
                      <a:pt x="492" y="212"/>
                      <a:pt x="492" y="212"/>
                    </a:cubicBezTo>
                    <a:cubicBezTo>
                      <a:pt x="492" y="62"/>
                      <a:pt x="492" y="62"/>
                      <a:pt x="492" y="62"/>
                    </a:cubicBezTo>
                    <a:cubicBezTo>
                      <a:pt x="468" y="62"/>
                      <a:pt x="468" y="62"/>
                      <a:pt x="468" y="62"/>
                    </a:cubicBezTo>
                    <a:lnTo>
                      <a:pt x="468" y="212"/>
                    </a:lnTo>
                    <a:close/>
                    <a:moveTo>
                      <a:pt x="470" y="10"/>
                    </a:moveTo>
                    <a:cubicBezTo>
                      <a:pt x="467" y="12"/>
                      <a:pt x="466" y="16"/>
                      <a:pt x="466" y="22"/>
                    </a:cubicBezTo>
                    <a:cubicBezTo>
                      <a:pt x="466" y="27"/>
                      <a:pt x="467" y="31"/>
                      <a:pt x="470" y="34"/>
                    </a:cubicBezTo>
                    <a:cubicBezTo>
                      <a:pt x="473" y="36"/>
                      <a:pt x="476" y="37"/>
                      <a:pt x="480" y="37"/>
                    </a:cubicBezTo>
                    <a:cubicBezTo>
                      <a:pt x="484" y="37"/>
                      <a:pt x="487" y="36"/>
                      <a:pt x="490" y="34"/>
                    </a:cubicBezTo>
                    <a:cubicBezTo>
                      <a:pt x="493" y="31"/>
                      <a:pt x="494" y="27"/>
                      <a:pt x="494" y="22"/>
                    </a:cubicBezTo>
                    <a:cubicBezTo>
                      <a:pt x="494" y="16"/>
                      <a:pt x="493" y="12"/>
                      <a:pt x="490" y="10"/>
                    </a:cubicBezTo>
                    <a:cubicBezTo>
                      <a:pt x="487" y="7"/>
                      <a:pt x="484" y="6"/>
                      <a:pt x="480" y="6"/>
                    </a:cubicBezTo>
                    <a:cubicBezTo>
                      <a:pt x="476" y="6"/>
                      <a:pt x="473" y="7"/>
                      <a:pt x="470" y="10"/>
                    </a:cubicBezTo>
                    <a:moveTo>
                      <a:pt x="387" y="212"/>
                    </a:moveTo>
                    <a:cubicBezTo>
                      <a:pt x="444" y="62"/>
                      <a:pt x="444" y="62"/>
                      <a:pt x="444" y="62"/>
                    </a:cubicBezTo>
                    <a:cubicBezTo>
                      <a:pt x="417" y="62"/>
                      <a:pt x="417" y="62"/>
                      <a:pt x="417" y="62"/>
                    </a:cubicBezTo>
                    <a:cubicBezTo>
                      <a:pt x="386" y="151"/>
                      <a:pt x="386" y="151"/>
                      <a:pt x="386" y="151"/>
                    </a:cubicBezTo>
                    <a:cubicBezTo>
                      <a:pt x="384" y="155"/>
                      <a:pt x="382" y="159"/>
                      <a:pt x="381" y="164"/>
                    </a:cubicBezTo>
                    <a:cubicBezTo>
                      <a:pt x="379" y="169"/>
                      <a:pt x="378" y="174"/>
                      <a:pt x="376" y="179"/>
                    </a:cubicBezTo>
                    <a:cubicBezTo>
                      <a:pt x="375" y="184"/>
                      <a:pt x="373" y="187"/>
                      <a:pt x="373" y="190"/>
                    </a:cubicBezTo>
                    <a:cubicBezTo>
                      <a:pt x="372" y="190"/>
                      <a:pt x="372" y="190"/>
                      <a:pt x="372" y="190"/>
                    </a:cubicBezTo>
                    <a:cubicBezTo>
                      <a:pt x="371" y="187"/>
                      <a:pt x="370" y="184"/>
                      <a:pt x="369" y="179"/>
                    </a:cubicBezTo>
                    <a:cubicBezTo>
                      <a:pt x="368" y="174"/>
                      <a:pt x="366" y="169"/>
                      <a:pt x="365" y="164"/>
                    </a:cubicBezTo>
                    <a:cubicBezTo>
                      <a:pt x="363" y="159"/>
                      <a:pt x="361" y="155"/>
                      <a:pt x="360" y="151"/>
                    </a:cubicBezTo>
                    <a:cubicBezTo>
                      <a:pt x="328" y="62"/>
                      <a:pt x="328" y="62"/>
                      <a:pt x="328" y="62"/>
                    </a:cubicBezTo>
                    <a:cubicBezTo>
                      <a:pt x="302" y="62"/>
                      <a:pt x="302" y="62"/>
                      <a:pt x="302" y="62"/>
                    </a:cubicBezTo>
                    <a:cubicBezTo>
                      <a:pt x="358" y="212"/>
                      <a:pt x="358" y="212"/>
                      <a:pt x="358" y="212"/>
                    </a:cubicBezTo>
                    <a:lnTo>
                      <a:pt x="387" y="212"/>
                    </a:lnTo>
                    <a:close/>
                    <a:moveTo>
                      <a:pt x="197" y="65"/>
                    </a:moveTo>
                    <a:cubicBezTo>
                      <a:pt x="189" y="69"/>
                      <a:pt x="182" y="75"/>
                      <a:pt x="177" y="83"/>
                    </a:cubicBezTo>
                    <a:cubicBezTo>
                      <a:pt x="176" y="83"/>
                      <a:pt x="176" y="83"/>
                      <a:pt x="176" y="83"/>
                    </a:cubicBezTo>
                    <a:cubicBezTo>
                      <a:pt x="172" y="62"/>
                      <a:pt x="172" y="62"/>
                      <a:pt x="172" y="62"/>
                    </a:cubicBezTo>
                    <a:cubicBezTo>
                      <a:pt x="152" y="62"/>
                      <a:pt x="152" y="62"/>
                      <a:pt x="152" y="62"/>
                    </a:cubicBezTo>
                    <a:cubicBezTo>
                      <a:pt x="152" y="212"/>
                      <a:pt x="152" y="212"/>
                      <a:pt x="152" y="212"/>
                    </a:cubicBezTo>
                    <a:cubicBezTo>
                      <a:pt x="177" y="212"/>
                      <a:pt x="177" y="212"/>
                      <a:pt x="177" y="212"/>
                    </a:cubicBezTo>
                    <a:cubicBezTo>
                      <a:pt x="177" y="134"/>
                      <a:pt x="177" y="134"/>
                      <a:pt x="177" y="134"/>
                    </a:cubicBezTo>
                    <a:cubicBezTo>
                      <a:pt x="177" y="117"/>
                      <a:pt x="180" y="103"/>
                      <a:pt x="186" y="94"/>
                    </a:cubicBezTo>
                    <a:cubicBezTo>
                      <a:pt x="193" y="85"/>
                      <a:pt x="204" y="80"/>
                      <a:pt x="221" y="80"/>
                    </a:cubicBezTo>
                    <a:cubicBezTo>
                      <a:pt x="243" y="80"/>
                      <a:pt x="254" y="92"/>
                      <a:pt x="254" y="116"/>
                    </a:cubicBezTo>
                    <a:cubicBezTo>
                      <a:pt x="254" y="212"/>
                      <a:pt x="254" y="212"/>
                      <a:pt x="254" y="212"/>
                    </a:cubicBezTo>
                    <a:cubicBezTo>
                      <a:pt x="279" y="212"/>
                      <a:pt x="279" y="212"/>
                      <a:pt x="279" y="212"/>
                    </a:cubicBezTo>
                    <a:cubicBezTo>
                      <a:pt x="279" y="115"/>
                      <a:pt x="279" y="115"/>
                      <a:pt x="279" y="115"/>
                    </a:cubicBezTo>
                    <a:cubicBezTo>
                      <a:pt x="279" y="95"/>
                      <a:pt x="274" y="81"/>
                      <a:pt x="265" y="73"/>
                    </a:cubicBezTo>
                    <a:cubicBezTo>
                      <a:pt x="256" y="64"/>
                      <a:pt x="242" y="59"/>
                      <a:pt x="225" y="59"/>
                    </a:cubicBezTo>
                    <a:cubicBezTo>
                      <a:pt x="215" y="59"/>
                      <a:pt x="206" y="61"/>
                      <a:pt x="197" y="65"/>
                    </a:cubicBezTo>
                    <a:moveTo>
                      <a:pt x="112" y="190"/>
                    </a:moveTo>
                    <a:cubicBezTo>
                      <a:pt x="25" y="190"/>
                      <a:pt x="25" y="190"/>
                      <a:pt x="25" y="190"/>
                    </a:cubicBezTo>
                    <a:cubicBezTo>
                      <a:pt x="25" y="119"/>
                      <a:pt x="25" y="119"/>
                      <a:pt x="25" y="119"/>
                    </a:cubicBezTo>
                    <a:cubicBezTo>
                      <a:pt x="107" y="119"/>
                      <a:pt x="107" y="119"/>
                      <a:pt x="107" y="119"/>
                    </a:cubicBezTo>
                    <a:cubicBezTo>
                      <a:pt x="107" y="97"/>
                      <a:pt x="107" y="97"/>
                      <a:pt x="107" y="97"/>
                    </a:cubicBezTo>
                    <a:cubicBezTo>
                      <a:pt x="25" y="97"/>
                      <a:pt x="25" y="97"/>
                      <a:pt x="25" y="97"/>
                    </a:cubicBezTo>
                    <a:cubicBezTo>
                      <a:pt x="25" y="35"/>
                      <a:pt x="25" y="35"/>
                      <a:pt x="25" y="35"/>
                    </a:cubicBezTo>
                    <a:cubicBezTo>
                      <a:pt x="112" y="35"/>
                      <a:pt x="112" y="35"/>
                      <a:pt x="112" y="35"/>
                    </a:cubicBezTo>
                    <a:cubicBezTo>
                      <a:pt x="112" y="12"/>
                      <a:pt x="112" y="12"/>
                      <a:pt x="112" y="12"/>
                    </a:cubicBezTo>
                    <a:cubicBezTo>
                      <a:pt x="0" y="12"/>
                      <a:pt x="0" y="12"/>
                      <a:pt x="0" y="12"/>
                    </a:cubicBezTo>
                    <a:cubicBezTo>
                      <a:pt x="0" y="212"/>
                      <a:pt x="0" y="212"/>
                      <a:pt x="0" y="212"/>
                    </a:cubicBezTo>
                    <a:cubicBezTo>
                      <a:pt x="112" y="212"/>
                      <a:pt x="112" y="212"/>
                      <a:pt x="112" y="212"/>
                    </a:cubicBezTo>
                    <a:lnTo>
                      <a:pt x="112" y="190"/>
                    </a:lnTo>
                    <a:close/>
                  </a:path>
                </a:pathLst>
              </a:custGeom>
              <a:solidFill>
                <a:srgbClr val="2A91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 name="Group 6">
              <a:extLst>
                <a:ext uri="{FF2B5EF4-FFF2-40B4-BE49-F238E27FC236}">
                  <a16:creationId xmlns:a16="http://schemas.microsoft.com/office/drawing/2014/main" id="{9202B623-B99C-EB48-B186-3E7C80075304}"/>
                </a:ext>
              </a:extLst>
            </p:cNvPr>
            <p:cNvGrpSpPr/>
            <p:nvPr/>
          </p:nvGrpSpPr>
          <p:grpSpPr>
            <a:xfrm>
              <a:off x="4019550" y="896938"/>
              <a:ext cx="1116013" cy="465138"/>
              <a:chOff x="4019550" y="896938"/>
              <a:chExt cx="1116013" cy="465138"/>
            </a:xfrm>
          </p:grpSpPr>
          <p:sp>
            <p:nvSpPr>
              <p:cNvPr id="27" name="Freeform 17">
                <a:extLst>
                  <a:ext uri="{FF2B5EF4-FFF2-40B4-BE49-F238E27FC236}">
                    <a16:creationId xmlns:a16="http://schemas.microsoft.com/office/drawing/2014/main" id="{59E7D78D-4BA1-ED4C-B4C9-675B2607EA67}"/>
                  </a:ext>
                </a:extLst>
              </p:cNvPr>
              <p:cNvSpPr>
                <a:spLocks noEditPoints="1"/>
              </p:cNvSpPr>
              <p:nvPr/>
            </p:nvSpPr>
            <p:spPr bwMode="auto">
              <a:xfrm>
                <a:off x="4019550" y="1150938"/>
                <a:ext cx="1116013" cy="211138"/>
              </a:xfrm>
              <a:custGeom>
                <a:avLst/>
                <a:gdLst>
                  <a:gd name="T0" fmla="*/ 1397 w 1487"/>
                  <a:gd name="T1" fmla="*/ 91 h 280"/>
                  <a:gd name="T2" fmla="*/ 1367 w 1487"/>
                  <a:gd name="T3" fmla="*/ 96 h 280"/>
                  <a:gd name="T4" fmla="*/ 1431 w 1487"/>
                  <a:gd name="T5" fmla="*/ 215 h 280"/>
                  <a:gd name="T6" fmla="*/ 1457 w 1487"/>
                  <a:gd name="T7" fmla="*/ 191 h 280"/>
                  <a:gd name="T8" fmla="*/ 1487 w 1487"/>
                  <a:gd name="T9" fmla="*/ 142 h 280"/>
                  <a:gd name="T10" fmla="*/ 1425 w 1487"/>
                  <a:gd name="T11" fmla="*/ 59 h 280"/>
                  <a:gd name="T12" fmla="*/ 1295 w 1487"/>
                  <a:gd name="T13" fmla="*/ 212 h 280"/>
                  <a:gd name="T14" fmla="*/ 1220 w 1487"/>
                  <a:gd name="T15" fmla="*/ 180 h 280"/>
                  <a:gd name="T16" fmla="*/ 1147 w 1487"/>
                  <a:gd name="T17" fmla="*/ 136 h 280"/>
                  <a:gd name="T18" fmla="*/ 1123 w 1487"/>
                  <a:gd name="T19" fmla="*/ 0 h 280"/>
                  <a:gd name="T20" fmla="*/ 1147 w 1487"/>
                  <a:gd name="T21" fmla="*/ 193 h 280"/>
                  <a:gd name="T22" fmla="*/ 1256 w 1487"/>
                  <a:gd name="T23" fmla="*/ 137 h 280"/>
                  <a:gd name="T24" fmla="*/ 1147 w 1487"/>
                  <a:gd name="T25" fmla="*/ 82 h 280"/>
                  <a:gd name="T26" fmla="*/ 1147 w 1487"/>
                  <a:gd name="T27" fmla="*/ 0 h 280"/>
                  <a:gd name="T28" fmla="*/ 1075 w 1487"/>
                  <a:gd name="T29" fmla="*/ 62 h 280"/>
                  <a:gd name="T30" fmla="*/ 1049 w 1487"/>
                  <a:gd name="T31" fmla="*/ 22 h 280"/>
                  <a:gd name="T32" fmla="*/ 1077 w 1487"/>
                  <a:gd name="T33" fmla="*/ 22 h 280"/>
                  <a:gd name="T34" fmla="*/ 1009 w 1487"/>
                  <a:gd name="T35" fmla="*/ 151 h 280"/>
                  <a:gd name="T36" fmla="*/ 934 w 1487"/>
                  <a:gd name="T37" fmla="*/ 108 h 280"/>
                  <a:gd name="T38" fmla="*/ 983 w 1487"/>
                  <a:gd name="T39" fmla="*/ 82 h 280"/>
                  <a:gd name="T40" fmla="*/ 963 w 1487"/>
                  <a:gd name="T41" fmla="*/ 59 h 280"/>
                  <a:gd name="T42" fmla="*/ 928 w 1487"/>
                  <a:gd name="T43" fmla="*/ 133 h 280"/>
                  <a:gd name="T44" fmla="*/ 990 w 1487"/>
                  <a:gd name="T45" fmla="*/ 173 h 280"/>
                  <a:gd name="T46" fmla="*/ 907 w 1487"/>
                  <a:gd name="T47" fmla="*/ 183 h 280"/>
                  <a:gd name="T48" fmla="*/ 998 w 1487"/>
                  <a:gd name="T49" fmla="*/ 204 h 280"/>
                  <a:gd name="T50" fmla="*/ 768 w 1487"/>
                  <a:gd name="T51" fmla="*/ 83 h 280"/>
                  <a:gd name="T52" fmla="*/ 743 w 1487"/>
                  <a:gd name="T53" fmla="*/ 212 h 280"/>
                  <a:gd name="T54" fmla="*/ 812 w 1487"/>
                  <a:gd name="T55" fmla="*/ 80 h 280"/>
                  <a:gd name="T56" fmla="*/ 870 w 1487"/>
                  <a:gd name="T57" fmla="*/ 115 h 280"/>
                  <a:gd name="T58" fmla="*/ 601 w 1487"/>
                  <a:gd name="T59" fmla="*/ 95 h 280"/>
                  <a:gd name="T60" fmla="*/ 668 w 1487"/>
                  <a:gd name="T61" fmla="*/ 179 h 280"/>
                  <a:gd name="T62" fmla="*/ 601 w 1487"/>
                  <a:gd name="T63" fmla="*/ 95 h 280"/>
                  <a:gd name="T64" fmla="*/ 584 w 1487"/>
                  <a:gd name="T65" fmla="*/ 80 h 280"/>
                  <a:gd name="T66" fmla="*/ 634 w 1487"/>
                  <a:gd name="T67" fmla="*/ 215 h 280"/>
                  <a:gd name="T68" fmla="*/ 499 w 1487"/>
                  <a:gd name="T69" fmla="*/ 96 h 280"/>
                  <a:gd name="T70" fmla="*/ 469 w 1487"/>
                  <a:gd name="T71" fmla="*/ 195 h 280"/>
                  <a:gd name="T72" fmla="*/ 436 w 1487"/>
                  <a:gd name="T73" fmla="*/ 93 h 280"/>
                  <a:gd name="T74" fmla="*/ 426 w 1487"/>
                  <a:gd name="T75" fmla="*/ 83 h 280"/>
                  <a:gd name="T76" fmla="*/ 402 w 1487"/>
                  <a:gd name="T77" fmla="*/ 280 h 280"/>
                  <a:gd name="T78" fmla="*/ 425 w 1487"/>
                  <a:gd name="T79" fmla="*/ 193 h 280"/>
                  <a:gd name="T80" fmla="*/ 518 w 1487"/>
                  <a:gd name="T81" fmla="*/ 195 h 280"/>
                  <a:gd name="T82" fmla="*/ 444 w 1487"/>
                  <a:gd name="T83" fmla="*/ 66 h 280"/>
                  <a:gd name="T84" fmla="*/ 297 w 1487"/>
                  <a:gd name="T85" fmla="*/ 117 h 280"/>
                  <a:gd name="T86" fmla="*/ 313 w 1487"/>
                  <a:gd name="T87" fmla="*/ 80 h 280"/>
                  <a:gd name="T88" fmla="*/ 340 w 1487"/>
                  <a:gd name="T89" fmla="*/ 62 h 280"/>
                  <a:gd name="T90" fmla="*/ 264 w 1487"/>
                  <a:gd name="T91" fmla="*/ 119 h 280"/>
                  <a:gd name="T92" fmla="*/ 338 w 1487"/>
                  <a:gd name="T93" fmla="*/ 163 h 280"/>
                  <a:gd name="T94" fmla="*/ 280 w 1487"/>
                  <a:gd name="T95" fmla="*/ 191 h 280"/>
                  <a:gd name="T96" fmla="*/ 305 w 1487"/>
                  <a:gd name="T97" fmla="*/ 215 h 280"/>
                  <a:gd name="T98" fmla="*/ 195 w 1487"/>
                  <a:gd name="T99" fmla="*/ 91 h 280"/>
                  <a:gd name="T100" fmla="*/ 167 w 1487"/>
                  <a:gd name="T101" fmla="*/ 80 h 280"/>
                  <a:gd name="T102" fmla="*/ 101 w 1487"/>
                  <a:gd name="T103" fmla="*/ 138 h 280"/>
                  <a:gd name="T104" fmla="*/ 200 w 1487"/>
                  <a:gd name="T105" fmla="*/ 213 h 280"/>
                  <a:gd name="T106" fmla="*/ 175 w 1487"/>
                  <a:gd name="T107" fmla="*/ 194 h 280"/>
                  <a:gd name="T108" fmla="*/ 230 w 1487"/>
                  <a:gd name="T109" fmla="*/ 127 h 280"/>
                  <a:gd name="T110" fmla="*/ 133 w 1487"/>
                  <a:gd name="T111" fmla="*/ 69 h 280"/>
                  <a:gd name="T112" fmla="*/ 20 w 1487"/>
                  <a:gd name="T113" fmla="*/ 62 h 280"/>
                  <a:gd name="T114" fmla="*/ 24 w 1487"/>
                  <a:gd name="T115" fmla="*/ 132 h 280"/>
                  <a:gd name="T116" fmla="*/ 76 w 1487"/>
                  <a:gd name="T117" fmla="*/ 82 h 280"/>
                  <a:gd name="T118" fmla="*/ 70 w 1487"/>
                  <a:gd name="T119" fmla="*/ 5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87" h="280">
                    <a:moveTo>
                      <a:pt x="1452" y="91"/>
                    </a:moveTo>
                    <a:cubicBezTo>
                      <a:pt x="1458" y="99"/>
                      <a:pt x="1461" y="110"/>
                      <a:pt x="1461" y="122"/>
                    </a:cubicBezTo>
                    <a:cubicBezTo>
                      <a:pt x="1385" y="122"/>
                      <a:pt x="1385" y="122"/>
                      <a:pt x="1385" y="122"/>
                    </a:cubicBezTo>
                    <a:cubicBezTo>
                      <a:pt x="1386" y="109"/>
                      <a:pt x="1390" y="98"/>
                      <a:pt x="1397" y="91"/>
                    </a:cubicBezTo>
                    <a:cubicBezTo>
                      <a:pt x="1404" y="83"/>
                      <a:pt x="1413" y="80"/>
                      <a:pt x="1425" y="80"/>
                    </a:cubicBezTo>
                    <a:cubicBezTo>
                      <a:pt x="1437" y="80"/>
                      <a:pt x="1447" y="84"/>
                      <a:pt x="1452" y="91"/>
                    </a:cubicBezTo>
                    <a:moveTo>
                      <a:pt x="1390" y="69"/>
                    </a:moveTo>
                    <a:cubicBezTo>
                      <a:pt x="1380" y="75"/>
                      <a:pt x="1373" y="84"/>
                      <a:pt x="1367" y="96"/>
                    </a:cubicBezTo>
                    <a:cubicBezTo>
                      <a:pt x="1362" y="108"/>
                      <a:pt x="1359" y="122"/>
                      <a:pt x="1359" y="138"/>
                    </a:cubicBezTo>
                    <a:cubicBezTo>
                      <a:pt x="1359" y="155"/>
                      <a:pt x="1362" y="169"/>
                      <a:pt x="1368" y="181"/>
                    </a:cubicBezTo>
                    <a:cubicBezTo>
                      <a:pt x="1374" y="192"/>
                      <a:pt x="1382" y="201"/>
                      <a:pt x="1393" y="206"/>
                    </a:cubicBezTo>
                    <a:cubicBezTo>
                      <a:pt x="1404" y="212"/>
                      <a:pt x="1417" y="215"/>
                      <a:pt x="1431" y="215"/>
                    </a:cubicBezTo>
                    <a:cubicBezTo>
                      <a:pt x="1441" y="215"/>
                      <a:pt x="1450" y="214"/>
                      <a:pt x="1458" y="213"/>
                    </a:cubicBezTo>
                    <a:cubicBezTo>
                      <a:pt x="1465" y="211"/>
                      <a:pt x="1473" y="209"/>
                      <a:pt x="1480" y="205"/>
                    </a:cubicBezTo>
                    <a:cubicBezTo>
                      <a:pt x="1480" y="184"/>
                      <a:pt x="1480" y="184"/>
                      <a:pt x="1480" y="184"/>
                    </a:cubicBezTo>
                    <a:cubicBezTo>
                      <a:pt x="1472" y="187"/>
                      <a:pt x="1465" y="190"/>
                      <a:pt x="1457" y="191"/>
                    </a:cubicBezTo>
                    <a:cubicBezTo>
                      <a:pt x="1450" y="193"/>
                      <a:pt x="1442" y="194"/>
                      <a:pt x="1432" y="194"/>
                    </a:cubicBezTo>
                    <a:cubicBezTo>
                      <a:pt x="1417" y="194"/>
                      <a:pt x="1406" y="190"/>
                      <a:pt x="1397" y="181"/>
                    </a:cubicBezTo>
                    <a:cubicBezTo>
                      <a:pt x="1389" y="172"/>
                      <a:pt x="1385" y="159"/>
                      <a:pt x="1384" y="142"/>
                    </a:cubicBezTo>
                    <a:cubicBezTo>
                      <a:pt x="1487" y="142"/>
                      <a:pt x="1487" y="142"/>
                      <a:pt x="1487" y="142"/>
                    </a:cubicBezTo>
                    <a:cubicBezTo>
                      <a:pt x="1487" y="127"/>
                      <a:pt x="1487" y="127"/>
                      <a:pt x="1487" y="127"/>
                    </a:cubicBezTo>
                    <a:cubicBezTo>
                      <a:pt x="1487" y="114"/>
                      <a:pt x="1485" y="102"/>
                      <a:pt x="1480" y="91"/>
                    </a:cubicBezTo>
                    <a:cubicBezTo>
                      <a:pt x="1475" y="81"/>
                      <a:pt x="1468" y="73"/>
                      <a:pt x="1458" y="68"/>
                    </a:cubicBezTo>
                    <a:cubicBezTo>
                      <a:pt x="1449" y="62"/>
                      <a:pt x="1438" y="59"/>
                      <a:pt x="1425" y="59"/>
                    </a:cubicBezTo>
                    <a:cubicBezTo>
                      <a:pt x="1412" y="59"/>
                      <a:pt x="1400" y="63"/>
                      <a:pt x="1390" y="69"/>
                    </a:cubicBezTo>
                    <a:moveTo>
                      <a:pt x="1320" y="0"/>
                    </a:moveTo>
                    <a:cubicBezTo>
                      <a:pt x="1295" y="0"/>
                      <a:pt x="1295" y="0"/>
                      <a:pt x="1295" y="0"/>
                    </a:cubicBezTo>
                    <a:cubicBezTo>
                      <a:pt x="1295" y="212"/>
                      <a:pt x="1295" y="212"/>
                      <a:pt x="1295" y="212"/>
                    </a:cubicBezTo>
                    <a:cubicBezTo>
                      <a:pt x="1320" y="212"/>
                      <a:pt x="1320" y="212"/>
                      <a:pt x="1320" y="212"/>
                    </a:cubicBezTo>
                    <a:lnTo>
                      <a:pt x="1320" y="0"/>
                    </a:lnTo>
                    <a:close/>
                    <a:moveTo>
                      <a:pt x="1230" y="137"/>
                    </a:moveTo>
                    <a:cubicBezTo>
                      <a:pt x="1230" y="156"/>
                      <a:pt x="1227" y="170"/>
                      <a:pt x="1220" y="180"/>
                    </a:cubicBezTo>
                    <a:cubicBezTo>
                      <a:pt x="1214" y="190"/>
                      <a:pt x="1204" y="195"/>
                      <a:pt x="1190" y="195"/>
                    </a:cubicBezTo>
                    <a:cubicBezTo>
                      <a:pt x="1174" y="195"/>
                      <a:pt x="1163" y="190"/>
                      <a:pt x="1157" y="180"/>
                    </a:cubicBezTo>
                    <a:cubicBezTo>
                      <a:pt x="1150" y="170"/>
                      <a:pt x="1147" y="156"/>
                      <a:pt x="1147" y="138"/>
                    </a:cubicBezTo>
                    <a:cubicBezTo>
                      <a:pt x="1147" y="136"/>
                      <a:pt x="1147" y="136"/>
                      <a:pt x="1147" y="136"/>
                    </a:cubicBezTo>
                    <a:cubicBezTo>
                      <a:pt x="1147" y="117"/>
                      <a:pt x="1150" y="103"/>
                      <a:pt x="1157" y="94"/>
                    </a:cubicBezTo>
                    <a:cubicBezTo>
                      <a:pt x="1163" y="85"/>
                      <a:pt x="1174" y="80"/>
                      <a:pt x="1190" y="80"/>
                    </a:cubicBezTo>
                    <a:cubicBezTo>
                      <a:pt x="1217" y="80"/>
                      <a:pt x="1230" y="99"/>
                      <a:pt x="1230" y="137"/>
                    </a:cubicBezTo>
                    <a:moveTo>
                      <a:pt x="1123" y="0"/>
                    </a:moveTo>
                    <a:cubicBezTo>
                      <a:pt x="1123" y="212"/>
                      <a:pt x="1123" y="212"/>
                      <a:pt x="1123" y="212"/>
                    </a:cubicBezTo>
                    <a:cubicBezTo>
                      <a:pt x="1140" y="212"/>
                      <a:pt x="1140" y="212"/>
                      <a:pt x="1140" y="212"/>
                    </a:cubicBezTo>
                    <a:cubicBezTo>
                      <a:pt x="1145" y="193"/>
                      <a:pt x="1145" y="193"/>
                      <a:pt x="1145" y="193"/>
                    </a:cubicBezTo>
                    <a:cubicBezTo>
                      <a:pt x="1147" y="193"/>
                      <a:pt x="1147" y="193"/>
                      <a:pt x="1147" y="193"/>
                    </a:cubicBezTo>
                    <a:cubicBezTo>
                      <a:pt x="1152" y="199"/>
                      <a:pt x="1158" y="204"/>
                      <a:pt x="1165" y="209"/>
                    </a:cubicBezTo>
                    <a:cubicBezTo>
                      <a:pt x="1173" y="213"/>
                      <a:pt x="1182" y="215"/>
                      <a:pt x="1194" y="215"/>
                    </a:cubicBezTo>
                    <a:cubicBezTo>
                      <a:pt x="1212" y="215"/>
                      <a:pt x="1227" y="209"/>
                      <a:pt x="1239" y="196"/>
                    </a:cubicBezTo>
                    <a:cubicBezTo>
                      <a:pt x="1250" y="182"/>
                      <a:pt x="1256" y="163"/>
                      <a:pt x="1256" y="137"/>
                    </a:cubicBezTo>
                    <a:cubicBezTo>
                      <a:pt x="1256" y="112"/>
                      <a:pt x="1250" y="92"/>
                      <a:pt x="1239" y="79"/>
                    </a:cubicBezTo>
                    <a:cubicBezTo>
                      <a:pt x="1228" y="66"/>
                      <a:pt x="1213" y="60"/>
                      <a:pt x="1194" y="60"/>
                    </a:cubicBezTo>
                    <a:cubicBezTo>
                      <a:pt x="1182" y="60"/>
                      <a:pt x="1173" y="62"/>
                      <a:pt x="1165" y="66"/>
                    </a:cubicBezTo>
                    <a:cubicBezTo>
                      <a:pt x="1158" y="70"/>
                      <a:pt x="1152" y="76"/>
                      <a:pt x="1147" y="82"/>
                    </a:cubicBezTo>
                    <a:cubicBezTo>
                      <a:pt x="1146" y="82"/>
                      <a:pt x="1146" y="82"/>
                      <a:pt x="1146" y="82"/>
                    </a:cubicBezTo>
                    <a:cubicBezTo>
                      <a:pt x="1146" y="79"/>
                      <a:pt x="1147" y="75"/>
                      <a:pt x="1147" y="69"/>
                    </a:cubicBezTo>
                    <a:cubicBezTo>
                      <a:pt x="1147" y="64"/>
                      <a:pt x="1147" y="58"/>
                      <a:pt x="1147" y="51"/>
                    </a:cubicBezTo>
                    <a:cubicBezTo>
                      <a:pt x="1147" y="0"/>
                      <a:pt x="1147" y="0"/>
                      <a:pt x="1147" y="0"/>
                    </a:cubicBezTo>
                    <a:lnTo>
                      <a:pt x="1123" y="0"/>
                    </a:lnTo>
                    <a:close/>
                    <a:moveTo>
                      <a:pt x="1051" y="212"/>
                    </a:moveTo>
                    <a:cubicBezTo>
                      <a:pt x="1075" y="212"/>
                      <a:pt x="1075" y="212"/>
                      <a:pt x="1075" y="212"/>
                    </a:cubicBezTo>
                    <a:cubicBezTo>
                      <a:pt x="1075" y="62"/>
                      <a:pt x="1075" y="62"/>
                      <a:pt x="1075" y="62"/>
                    </a:cubicBezTo>
                    <a:cubicBezTo>
                      <a:pt x="1051" y="62"/>
                      <a:pt x="1051" y="62"/>
                      <a:pt x="1051" y="62"/>
                    </a:cubicBezTo>
                    <a:lnTo>
                      <a:pt x="1051" y="212"/>
                    </a:lnTo>
                    <a:close/>
                    <a:moveTo>
                      <a:pt x="1053" y="10"/>
                    </a:moveTo>
                    <a:cubicBezTo>
                      <a:pt x="1050" y="12"/>
                      <a:pt x="1049" y="16"/>
                      <a:pt x="1049" y="22"/>
                    </a:cubicBezTo>
                    <a:cubicBezTo>
                      <a:pt x="1049" y="27"/>
                      <a:pt x="1050" y="31"/>
                      <a:pt x="1053" y="34"/>
                    </a:cubicBezTo>
                    <a:cubicBezTo>
                      <a:pt x="1056" y="36"/>
                      <a:pt x="1059" y="37"/>
                      <a:pt x="1063" y="37"/>
                    </a:cubicBezTo>
                    <a:cubicBezTo>
                      <a:pt x="1067" y="37"/>
                      <a:pt x="1070" y="36"/>
                      <a:pt x="1073" y="34"/>
                    </a:cubicBezTo>
                    <a:cubicBezTo>
                      <a:pt x="1076" y="31"/>
                      <a:pt x="1077" y="27"/>
                      <a:pt x="1077" y="22"/>
                    </a:cubicBezTo>
                    <a:cubicBezTo>
                      <a:pt x="1077" y="16"/>
                      <a:pt x="1076" y="12"/>
                      <a:pt x="1073" y="10"/>
                    </a:cubicBezTo>
                    <a:cubicBezTo>
                      <a:pt x="1070" y="7"/>
                      <a:pt x="1067" y="6"/>
                      <a:pt x="1063" y="6"/>
                    </a:cubicBezTo>
                    <a:cubicBezTo>
                      <a:pt x="1059" y="6"/>
                      <a:pt x="1056" y="7"/>
                      <a:pt x="1053" y="10"/>
                    </a:cubicBezTo>
                    <a:moveTo>
                      <a:pt x="1009" y="151"/>
                    </a:moveTo>
                    <a:cubicBezTo>
                      <a:pt x="1005" y="146"/>
                      <a:pt x="1000" y="141"/>
                      <a:pt x="993" y="137"/>
                    </a:cubicBezTo>
                    <a:cubicBezTo>
                      <a:pt x="987" y="134"/>
                      <a:pt x="979" y="130"/>
                      <a:pt x="969" y="126"/>
                    </a:cubicBezTo>
                    <a:cubicBezTo>
                      <a:pt x="960" y="123"/>
                      <a:pt x="952" y="120"/>
                      <a:pt x="946" y="117"/>
                    </a:cubicBezTo>
                    <a:cubicBezTo>
                      <a:pt x="941" y="114"/>
                      <a:pt x="936" y="111"/>
                      <a:pt x="934" y="108"/>
                    </a:cubicBezTo>
                    <a:cubicBezTo>
                      <a:pt x="932" y="106"/>
                      <a:pt x="930" y="102"/>
                      <a:pt x="930" y="98"/>
                    </a:cubicBezTo>
                    <a:cubicBezTo>
                      <a:pt x="930" y="92"/>
                      <a:pt x="933" y="88"/>
                      <a:pt x="938" y="84"/>
                    </a:cubicBezTo>
                    <a:cubicBezTo>
                      <a:pt x="944" y="81"/>
                      <a:pt x="951" y="80"/>
                      <a:pt x="961" y="80"/>
                    </a:cubicBezTo>
                    <a:cubicBezTo>
                      <a:pt x="969" y="80"/>
                      <a:pt x="976" y="81"/>
                      <a:pt x="983" y="82"/>
                    </a:cubicBezTo>
                    <a:cubicBezTo>
                      <a:pt x="990" y="84"/>
                      <a:pt x="996" y="87"/>
                      <a:pt x="1003" y="89"/>
                    </a:cubicBezTo>
                    <a:cubicBezTo>
                      <a:pt x="1011" y="70"/>
                      <a:pt x="1011" y="70"/>
                      <a:pt x="1011" y="70"/>
                    </a:cubicBezTo>
                    <a:cubicBezTo>
                      <a:pt x="1004" y="67"/>
                      <a:pt x="997" y="64"/>
                      <a:pt x="989" y="62"/>
                    </a:cubicBezTo>
                    <a:cubicBezTo>
                      <a:pt x="981" y="60"/>
                      <a:pt x="972" y="59"/>
                      <a:pt x="963" y="59"/>
                    </a:cubicBezTo>
                    <a:cubicBezTo>
                      <a:pt x="946" y="59"/>
                      <a:pt x="933" y="63"/>
                      <a:pt x="922" y="70"/>
                    </a:cubicBezTo>
                    <a:cubicBezTo>
                      <a:pt x="912" y="77"/>
                      <a:pt x="907" y="87"/>
                      <a:pt x="907" y="99"/>
                    </a:cubicBezTo>
                    <a:cubicBezTo>
                      <a:pt x="907" y="107"/>
                      <a:pt x="909" y="114"/>
                      <a:pt x="912" y="119"/>
                    </a:cubicBezTo>
                    <a:cubicBezTo>
                      <a:pt x="916" y="125"/>
                      <a:pt x="922" y="129"/>
                      <a:pt x="928" y="133"/>
                    </a:cubicBezTo>
                    <a:cubicBezTo>
                      <a:pt x="935" y="137"/>
                      <a:pt x="944" y="140"/>
                      <a:pt x="953" y="144"/>
                    </a:cubicBezTo>
                    <a:cubicBezTo>
                      <a:pt x="963" y="148"/>
                      <a:pt x="971" y="151"/>
                      <a:pt x="976" y="154"/>
                    </a:cubicBezTo>
                    <a:cubicBezTo>
                      <a:pt x="982" y="157"/>
                      <a:pt x="985" y="160"/>
                      <a:pt x="987" y="163"/>
                    </a:cubicBezTo>
                    <a:cubicBezTo>
                      <a:pt x="989" y="166"/>
                      <a:pt x="990" y="169"/>
                      <a:pt x="990" y="173"/>
                    </a:cubicBezTo>
                    <a:cubicBezTo>
                      <a:pt x="990" y="180"/>
                      <a:pt x="988" y="185"/>
                      <a:pt x="982" y="189"/>
                    </a:cubicBezTo>
                    <a:cubicBezTo>
                      <a:pt x="976" y="193"/>
                      <a:pt x="967" y="195"/>
                      <a:pt x="955" y="195"/>
                    </a:cubicBezTo>
                    <a:cubicBezTo>
                      <a:pt x="946" y="195"/>
                      <a:pt x="937" y="194"/>
                      <a:pt x="929" y="191"/>
                    </a:cubicBezTo>
                    <a:cubicBezTo>
                      <a:pt x="920" y="189"/>
                      <a:pt x="913" y="186"/>
                      <a:pt x="907" y="183"/>
                    </a:cubicBezTo>
                    <a:cubicBezTo>
                      <a:pt x="907" y="206"/>
                      <a:pt x="907" y="206"/>
                      <a:pt x="907" y="206"/>
                    </a:cubicBezTo>
                    <a:cubicBezTo>
                      <a:pt x="913" y="209"/>
                      <a:pt x="920" y="211"/>
                      <a:pt x="927" y="213"/>
                    </a:cubicBezTo>
                    <a:cubicBezTo>
                      <a:pt x="935" y="214"/>
                      <a:pt x="944" y="215"/>
                      <a:pt x="954" y="215"/>
                    </a:cubicBezTo>
                    <a:cubicBezTo>
                      <a:pt x="972" y="215"/>
                      <a:pt x="987" y="211"/>
                      <a:pt x="998" y="204"/>
                    </a:cubicBezTo>
                    <a:cubicBezTo>
                      <a:pt x="1009" y="196"/>
                      <a:pt x="1014" y="185"/>
                      <a:pt x="1014" y="171"/>
                    </a:cubicBezTo>
                    <a:cubicBezTo>
                      <a:pt x="1014" y="163"/>
                      <a:pt x="1012" y="156"/>
                      <a:pt x="1009" y="151"/>
                    </a:cubicBezTo>
                    <a:moveTo>
                      <a:pt x="788" y="65"/>
                    </a:moveTo>
                    <a:cubicBezTo>
                      <a:pt x="780" y="69"/>
                      <a:pt x="773" y="75"/>
                      <a:pt x="768" y="83"/>
                    </a:cubicBezTo>
                    <a:cubicBezTo>
                      <a:pt x="767" y="83"/>
                      <a:pt x="767" y="83"/>
                      <a:pt x="767" y="83"/>
                    </a:cubicBezTo>
                    <a:cubicBezTo>
                      <a:pt x="763" y="62"/>
                      <a:pt x="763" y="62"/>
                      <a:pt x="763" y="62"/>
                    </a:cubicBezTo>
                    <a:cubicBezTo>
                      <a:pt x="743" y="62"/>
                      <a:pt x="743" y="62"/>
                      <a:pt x="743" y="62"/>
                    </a:cubicBezTo>
                    <a:cubicBezTo>
                      <a:pt x="743" y="212"/>
                      <a:pt x="743" y="212"/>
                      <a:pt x="743" y="212"/>
                    </a:cubicBezTo>
                    <a:cubicBezTo>
                      <a:pt x="768" y="212"/>
                      <a:pt x="768" y="212"/>
                      <a:pt x="768" y="212"/>
                    </a:cubicBezTo>
                    <a:cubicBezTo>
                      <a:pt x="768" y="134"/>
                      <a:pt x="768" y="134"/>
                      <a:pt x="768" y="134"/>
                    </a:cubicBezTo>
                    <a:cubicBezTo>
                      <a:pt x="768" y="117"/>
                      <a:pt x="771" y="103"/>
                      <a:pt x="778" y="94"/>
                    </a:cubicBezTo>
                    <a:cubicBezTo>
                      <a:pt x="784" y="85"/>
                      <a:pt x="795" y="80"/>
                      <a:pt x="812" y="80"/>
                    </a:cubicBezTo>
                    <a:cubicBezTo>
                      <a:pt x="834" y="80"/>
                      <a:pt x="846" y="92"/>
                      <a:pt x="846" y="116"/>
                    </a:cubicBezTo>
                    <a:cubicBezTo>
                      <a:pt x="846" y="212"/>
                      <a:pt x="846" y="212"/>
                      <a:pt x="846" y="212"/>
                    </a:cubicBezTo>
                    <a:cubicBezTo>
                      <a:pt x="870" y="212"/>
                      <a:pt x="870" y="212"/>
                      <a:pt x="870" y="212"/>
                    </a:cubicBezTo>
                    <a:cubicBezTo>
                      <a:pt x="870" y="115"/>
                      <a:pt x="870" y="115"/>
                      <a:pt x="870" y="115"/>
                    </a:cubicBezTo>
                    <a:cubicBezTo>
                      <a:pt x="870" y="95"/>
                      <a:pt x="865" y="81"/>
                      <a:pt x="856" y="73"/>
                    </a:cubicBezTo>
                    <a:cubicBezTo>
                      <a:pt x="847" y="64"/>
                      <a:pt x="834" y="59"/>
                      <a:pt x="816" y="59"/>
                    </a:cubicBezTo>
                    <a:cubicBezTo>
                      <a:pt x="806" y="59"/>
                      <a:pt x="797" y="61"/>
                      <a:pt x="788" y="65"/>
                    </a:cubicBezTo>
                    <a:moveTo>
                      <a:pt x="601" y="95"/>
                    </a:moveTo>
                    <a:cubicBezTo>
                      <a:pt x="608" y="85"/>
                      <a:pt x="619" y="80"/>
                      <a:pt x="635" y="80"/>
                    </a:cubicBezTo>
                    <a:cubicBezTo>
                      <a:pt x="650" y="80"/>
                      <a:pt x="661" y="85"/>
                      <a:pt x="668" y="95"/>
                    </a:cubicBezTo>
                    <a:cubicBezTo>
                      <a:pt x="675" y="105"/>
                      <a:pt x="679" y="119"/>
                      <a:pt x="679" y="137"/>
                    </a:cubicBezTo>
                    <a:cubicBezTo>
                      <a:pt x="679" y="155"/>
                      <a:pt x="675" y="169"/>
                      <a:pt x="668" y="179"/>
                    </a:cubicBezTo>
                    <a:cubicBezTo>
                      <a:pt x="661" y="189"/>
                      <a:pt x="650" y="195"/>
                      <a:pt x="635" y="195"/>
                    </a:cubicBezTo>
                    <a:cubicBezTo>
                      <a:pt x="620" y="195"/>
                      <a:pt x="609" y="189"/>
                      <a:pt x="602" y="179"/>
                    </a:cubicBezTo>
                    <a:cubicBezTo>
                      <a:pt x="595" y="169"/>
                      <a:pt x="591" y="155"/>
                      <a:pt x="591" y="137"/>
                    </a:cubicBezTo>
                    <a:cubicBezTo>
                      <a:pt x="591" y="119"/>
                      <a:pt x="594" y="105"/>
                      <a:pt x="601" y="95"/>
                    </a:cubicBezTo>
                    <a:moveTo>
                      <a:pt x="696" y="95"/>
                    </a:moveTo>
                    <a:cubicBezTo>
                      <a:pt x="690" y="83"/>
                      <a:pt x="682" y="75"/>
                      <a:pt x="671" y="69"/>
                    </a:cubicBezTo>
                    <a:cubicBezTo>
                      <a:pt x="661" y="62"/>
                      <a:pt x="649" y="59"/>
                      <a:pt x="635" y="59"/>
                    </a:cubicBezTo>
                    <a:cubicBezTo>
                      <a:pt x="614" y="59"/>
                      <a:pt x="597" y="66"/>
                      <a:pt x="584" y="80"/>
                    </a:cubicBezTo>
                    <a:cubicBezTo>
                      <a:pt x="572" y="93"/>
                      <a:pt x="566" y="112"/>
                      <a:pt x="566" y="137"/>
                    </a:cubicBezTo>
                    <a:cubicBezTo>
                      <a:pt x="566" y="154"/>
                      <a:pt x="569" y="168"/>
                      <a:pt x="575" y="179"/>
                    </a:cubicBezTo>
                    <a:cubicBezTo>
                      <a:pt x="580" y="191"/>
                      <a:pt x="589" y="200"/>
                      <a:pt x="599" y="206"/>
                    </a:cubicBezTo>
                    <a:cubicBezTo>
                      <a:pt x="609" y="212"/>
                      <a:pt x="621" y="215"/>
                      <a:pt x="634" y="215"/>
                    </a:cubicBezTo>
                    <a:cubicBezTo>
                      <a:pt x="656" y="215"/>
                      <a:pt x="673" y="208"/>
                      <a:pt x="686" y="195"/>
                    </a:cubicBezTo>
                    <a:cubicBezTo>
                      <a:pt x="698" y="181"/>
                      <a:pt x="704" y="162"/>
                      <a:pt x="704" y="137"/>
                    </a:cubicBezTo>
                    <a:cubicBezTo>
                      <a:pt x="704" y="120"/>
                      <a:pt x="702" y="106"/>
                      <a:pt x="696" y="95"/>
                    </a:cubicBezTo>
                    <a:moveTo>
                      <a:pt x="499" y="96"/>
                    </a:moveTo>
                    <a:cubicBezTo>
                      <a:pt x="506" y="106"/>
                      <a:pt x="509" y="120"/>
                      <a:pt x="509" y="137"/>
                    </a:cubicBezTo>
                    <a:cubicBezTo>
                      <a:pt x="509" y="148"/>
                      <a:pt x="508" y="158"/>
                      <a:pt x="505" y="167"/>
                    </a:cubicBezTo>
                    <a:cubicBezTo>
                      <a:pt x="502" y="175"/>
                      <a:pt x="498" y="182"/>
                      <a:pt x="492" y="187"/>
                    </a:cubicBezTo>
                    <a:cubicBezTo>
                      <a:pt x="486" y="192"/>
                      <a:pt x="478" y="195"/>
                      <a:pt x="469" y="195"/>
                    </a:cubicBezTo>
                    <a:cubicBezTo>
                      <a:pt x="453" y="195"/>
                      <a:pt x="442" y="190"/>
                      <a:pt x="436" y="180"/>
                    </a:cubicBezTo>
                    <a:cubicBezTo>
                      <a:pt x="429" y="170"/>
                      <a:pt x="426" y="155"/>
                      <a:pt x="426" y="137"/>
                    </a:cubicBezTo>
                    <a:cubicBezTo>
                      <a:pt x="426" y="132"/>
                      <a:pt x="426" y="132"/>
                      <a:pt x="426" y="132"/>
                    </a:cubicBezTo>
                    <a:cubicBezTo>
                      <a:pt x="427" y="115"/>
                      <a:pt x="430" y="102"/>
                      <a:pt x="436" y="93"/>
                    </a:cubicBezTo>
                    <a:cubicBezTo>
                      <a:pt x="443" y="84"/>
                      <a:pt x="453" y="80"/>
                      <a:pt x="469" y="80"/>
                    </a:cubicBezTo>
                    <a:cubicBezTo>
                      <a:pt x="482" y="80"/>
                      <a:pt x="493" y="85"/>
                      <a:pt x="499" y="96"/>
                    </a:cubicBezTo>
                    <a:moveTo>
                      <a:pt x="444" y="66"/>
                    </a:moveTo>
                    <a:cubicBezTo>
                      <a:pt x="437" y="71"/>
                      <a:pt x="431" y="76"/>
                      <a:pt x="426" y="83"/>
                    </a:cubicBezTo>
                    <a:cubicBezTo>
                      <a:pt x="425" y="83"/>
                      <a:pt x="425" y="83"/>
                      <a:pt x="425" y="83"/>
                    </a:cubicBezTo>
                    <a:cubicBezTo>
                      <a:pt x="422" y="62"/>
                      <a:pt x="422" y="62"/>
                      <a:pt x="422" y="62"/>
                    </a:cubicBezTo>
                    <a:cubicBezTo>
                      <a:pt x="402" y="62"/>
                      <a:pt x="402" y="62"/>
                      <a:pt x="402" y="62"/>
                    </a:cubicBezTo>
                    <a:cubicBezTo>
                      <a:pt x="402" y="280"/>
                      <a:pt x="402" y="280"/>
                      <a:pt x="402" y="280"/>
                    </a:cubicBezTo>
                    <a:cubicBezTo>
                      <a:pt x="426" y="280"/>
                      <a:pt x="426" y="280"/>
                      <a:pt x="426" y="280"/>
                    </a:cubicBezTo>
                    <a:cubicBezTo>
                      <a:pt x="426" y="218"/>
                      <a:pt x="426" y="218"/>
                      <a:pt x="426" y="218"/>
                    </a:cubicBezTo>
                    <a:cubicBezTo>
                      <a:pt x="426" y="214"/>
                      <a:pt x="426" y="210"/>
                      <a:pt x="426" y="205"/>
                    </a:cubicBezTo>
                    <a:cubicBezTo>
                      <a:pt x="425" y="200"/>
                      <a:pt x="425" y="196"/>
                      <a:pt x="425" y="193"/>
                    </a:cubicBezTo>
                    <a:cubicBezTo>
                      <a:pt x="426" y="193"/>
                      <a:pt x="426" y="193"/>
                      <a:pt x="426" y="193"/>
                    </a:cubicBezTo>
                    <a:cubicBezTo>
                      <a:pt x="431" y="199"/>
                      <a:pt x="437" y="204"/>
                      <a:pt x="444" y="209"/>
                    </a:cubicBezTo>
                    <a:cubicBezTo>
                      <a:pt x="452" y="213"/>
                      <a:pt x="461" y="215"/>
                      <a:pt x="473" y="215"/>
                    </a:cubicBezTo>
                    <a:cubicBezTo>
                      <a:pt x="492" y="215"/>
                      <a:pt x="507" y="208"/>
                      <a:pt x="518" y="195"/>
                    </a:cubicBezTo>
                    <a:cubicBezTo>
                      <a:pt x="529" y="182"/>
                      <a:pt x="535" y="163"/>
                      <a:pt x="535" y="137"/>
                    </a:cubicBezTo>
                    <a:cubicBezTo>
                      <a:pt x="535" y="111"/>
                      <a:pt x="529" y="92"/>
                      <a:pt x="518" y="79"/>
                    </a:cubicBezTo>
                    <a:cubicBezTo>
                      <a:pt x="507" y="66"/>
                      <a:pt x="492" y="59"/>
                      <a:pt x="473" y="59"/>
                    </a:cubicBezTo>
                    <a:cubicBezTo>
                      <a:pt x="461" y="59"/>
                      <a:pt x="451" y="62"/>
                      <a:pt x="444" y="66"/>
                    </a:cubicBezTo>
                    <a:moveTo>
                      <a:pt x="360" y="151"/>
                    </a:moveTo>
                    <a:cubicBezTo>
                      <a:pt x="357" y="146"/>
                      <a:pt x="351" y="141"/>
                      <a:pt x="345" y="137"/>
                    </a:cubicBezTo>
                    <a:cubicBezTo>
                      <a:pt x="338" y="134"/>
                      <a:pt x="330" y="130"/>
                      <a:pt x="320" y="126"/>
                    </a:cubicBezTo>
                    <a:cubicBezTo>
                      <a:pt x="311" y="123"/>
                      <a:pt x="303" y="120"/>
                      <a:pt x="297" y="117"/>
                    </a:cubicBezTo>
                    <a:cubicBezTo>
                      <a:pt x="292" y="114"/>
                      <a:pt x="288" y="111"/>
                      <a:pt x="285" y="108"/>
                    </a:cubicBezTo>
                    <a:cubicBezTo>
                      <a:pt x="283" y="106"/>
                      <a:pt x="282" y="102"/>
                      <a:pt x="282" y="98"/>
                    </a:cubicBezTo>
                    <a:cubicBezTo>
                      <a:pt x="282" y="92"/>
                      <a:pt x="284" y="88"/>
                      <a:pt x="290" y="84"/>
                    </a:cubicBezTo>
                    <a:cubicBezTo>
                      <a:pt x="295" y="81"/>
                      <a:pt x="303" y="80"/>
                      <a:pt x="313" y="80"/>
                    </a:cubicBezTo>
                    <a:cubicBezTo>
                      <a:pt x="320" y="80"/>
                      <a:pt x="327" y="81"/>
                      <a:pt x="334" y="82"/>
                    </a:cubicBezTo>
                    <a:cubicBezTo>
                      <a:pt x="341" y="84"/>
                      <a:pt x="348" y="87"/>
                      <a:pt x="354" y="89"/>
                    </a:cubicBezTo>
                    <a:cubicBezTo>
                      <a:pt x="362" y="70"/>
                      <a:pt x="362" y="70"/>
                      <a:pt x="362" y="70"/>
                    </a:cubicBezTo>
                    <a:cubicBezTo>
                      <a:pt x="355" y="67"/>
                      <a:pt x="348" y="64"/>
                      <a:pt x="340" y="62"/>
                    </a:cubicBezTo>
                    <a:cubicBezTo>
                      <a:pt x="332" y="60"/>
                      <a:pt x="324" y="59"/>
                      <a:pt x="314" y="59"/>
                    </a:cubicBezTo>
                    <a:cubicBezTo>
                      <a:pt x="298" y="59"/>
                      <a:pt x="284" y="63"/>
                      <a:pt x="274" y="70"/>
                    </a:cubicBezTo>
                    <a:cubicBezTo>
                      <a:pt x="263" y="77"/>
                      <a:pt x="258" y="87"/>
                      <a:pt x="258" y="99"/>
                    </a:cubicBezTo>
                    <a:cubicBezTo>
                      <a:pt x="258" y="107"/>
                      <a:pt x="260" y="114"/>
                      <a:pt x="264" y="119"/>
                    </a:cubicBezTo>
                    <a:cubicBezTo>
                      <a:pt x="267" y="125"/>
                      <a:pt x="273" y="129"/>
                      <a:pt x="280" y="133"/>
                    </a:cubicBezTo>
                    <a:cubicBezTo>
                      <a:pt x="287" y="137"/>
                      <a:pt x="295" y="140"/>
                      <a:pt x="305" y="144"/>
                    </a:cubicBezTo>
                    <a:cubicBezTo>
                      <a:pt x="315" y="148"/>
                      <a:pt x="322" y="151"/>
                      <a:pt x="327" y="154"/>
                    </a:cubicBezTo>
                    <a:cubicBezTo>
                      <a:pt x="333" y="157"/>
                      <a:pt x="336" y="160"/>
                      <a:pt x="338" y="163"/>
                    </a:cubicBezTo>
                    <a:cubicBezTo>
                      <a:pt x="341" y="166"/>
                      <a:pt x="342" y="169"/>
                      <a:pt x="342" y="173"/>
                    </a:cubicBezTo>
                    <a:cubicBezTo>
                      <a:pt x="342" y="180"/>
                      <a:pt x="339" y="185"/>
                      <a:pt x="333" y="189"/>
                    </a:cubicBezTo>
                    <a:cubicBezTo>
                      <a:pt x="328" y="193"/>
                      <a:pt x="319" y="195"/>
                      <a:pt x="306" y="195"/>
                    </a:cubicBezTo>
                    <a:cubicBezTo>
                      <a:pt x="297" y="195"/>
                      <a:pt x="289" y="194"/>
                      <a:pt x="280" y="191"/>
                    </a:cubicBezTo>
                    <a:cubicBezTo>
                      <a:pt x="272" y="189"/>
                      <a:pt x="264" y="186"/>
                      <a:pt x="258" y="183"/>
                    </a:cubicBezTo>
                    <a:cubicBezTo>
                      <a:pt x="258" y="206"/>
                      <a:pt x="258" y="206"/>
                      <a:pt x="258" y="206"/>
                    </a:cubicBezTo>
                    <a:cubicBezTo>
                      <a:pt x="264" y="209"/>
                      <a:pt x="271" y="211"/>
                      <a:pt x="278" y="213"/>
                    </a:cubicBezTo>
                    <a:cubicBezTo>
                      <a:pt x="286" y="214"/>
                      <a:pt x="295" y="215"/>
                      <a:pt x="305" y="215"/>
                    </a:cubicBezTo>
                    <a:cubicBezTo>
                      <a:pt x="324" y="215"/>
                      <a:pt x="338" y="211"/>
                      <a:pt x="349" y="204"/>
                    </a:cubicBezTo>
                    <a:cubicBezTo>
                      <a:pt x="360" y="196"/>
                      <a:pt x="365" y="185"/>
                      <a:pt x="365" y="171"/>
                    </a:cubicBezTo>
                    <a:cubicBezTo>
                      <a:pt x="365" y="163"/>
                      <a:pt x="364" y="156"/>
                      <a:pt x="360" y="151"/>
                    </a:cubicBezTo>
                    <a:moveTo>
                      <a:pt x="195" y="91"/>
                    </a:moveTo>
                    <a:cubicBezTo>
                      <a:pt x="201" y="99"/>
                      <a:pt x="204" y="110"/>
                      <a:pt x="204" y="122"/>
                    </a:cubicBezTo>
                    <a:cubicBezTo>
                      <a:pt x="127" y="122"/>
                      <a:pt x="127" y="122"/>
                      <a:pt x="127" y="122"/>
                    </a:cubicBezTo>
                    <a:cubicBezTo>
                      <a:pt x="129" y="109"/>
                      <a:pt x="133" y="98"/>
                      <a:pt x="140" y="91"/>
                    </a:cubicBezTo>
                    <a:cubicBezTo>
                      <a:pt x="146" y="83"/>
                      <a:pt x="156" y="80"/>
                      <a:pt x="167" y="80"/>
                    </a:cubicBezTo>
                    <a:cubicBezTo>
                      <a:pt x="180" y="80"/>
                      <a:pt x="189" y="84"/>
                      <a:pt x="195" y="91"/>
                    </a:cubicBezTo>
                    <a:moveTo>
                      <a:pt x="133" y="69"/>
                    </a:moveTo>
                    <a:cubicBezTo>
                      <a:pt x="123" y="75"/>
                      <a:pt x="115" y="84"/>
                      <a:pt x="110" y="96"/>
                    </a:cubicBezTo>
                    <a:cubicBezTo>
                      <a:pt x="104" y="108"/>
                      <a:pt x="101" y="122"/>
                      <a:pt x="101" y="138"/>
                    </a:cubicBezTo>
                    <a:cubicBezTo>
                      <a:pt x="101" y="155"/>
                      <a:pt x="104" y="169"/>
                      <a:pt x="110" y="181"/>
                    </a:cubicBezTo>
                    <a:cubicBezTo>
                      <a:pt x="116" y="192"/>
                      <a:pt x="125" y="201"/>
                      <a:pt x="136" y="206"/>
                    </a:cubicBezTo>
                    <a:cubicBezTo>
                      <a:pt x="147" y="212"/>
                      <a:pt x="159" y="215"/>
                      <a:pt x="174" y="215"/>
                    </a:cubicBezTo>
                    <a:cubicBezTo>
                      <a:pt x="184" y="215"/>
                      <a:pt x="193" y="214"/>
                      <a:pt x="200" y="213"/>
                    </a:cubicBezTo>
                    <a:cubicBezTo>
                      <a:pt x="208" y="211"/>
                      <a:pt x="215" y="209"/>
                      <a:pt x="223" y="205"/>
                    </a:cubicBezTo>
                    <a:cubicBezTo>
                      <a:pt x="223" y="184"/>
                      <a:pt x="223" y="184"/>
                      <a:pt x="223" y="184"/>
                    </a:cubicBezTo>
                    <a:cubicBezTo>
                      <a:pt x="215" y="187"/>
                      <a:pt x="207" y="190"/>
                      <a:pt x="200" y="191"/>
                    </a:cubicBezTo>
                    <a:cubicBezTo>
                      <a:pt x="193" y="193"/>
                      <a:pt x="184" y="194"/>
                      <a:pt x="175" y="194"/>
                    </a:cubicBezTo>
                    <a:cubicBezTo>
                      <a:pt x="160" y="194"/>
                      <a:pt x="148" y="190"/>
                      <a:pt x="140" y="181"/>
                    </a:cubicBezTo>
                    <a:cubicBezTo>
                      <a:pt x="132" y="172"/>
                      <a:pt x="127" y="159"/>
                      <a:pt x="127" y="142"/>
                    </a:cubicBezTo>
                    <a:cubicBezTo>
                      <a:pt x="230" y="142"/>
                      <a:pt x="230" y="142"/>
                      <a:pt x="230" y="142"/>
                    </a:cubicBezTo>
                    <a:cubicBezTo>
                      <a:pt x="230" y="127"/>
                      <a:pt x="230" y="127"/>
                      <a:pt x="230" y="127"/>
                    </a:cubicBezTo>
                    <a:cubicBezTo>
                      <a:pt x="230" y="114"/>
                      <a:pt x="227" y="102"/>
                      <a:pt x="222" y="91"/>
                    </a:cubicBezTo>
                    <a:cubicBezTo>
                      <a:pt x="217" y="81"/>
                      <a:pt x="210" y="73"/>
                      <a:pt x="201" y="68"/>
                    </a:cubicBezTo>
                    <a:cubicBezTo>
                      <a:pt x="191" y="62"/>
                      <a:pt x="180" y="59"/>
                      <a:pt x="168" y="59"/>
                    </a:cubicBezTo>
                    <a:cubicBezTo>
                      <a:pt x="154" y="59"/>
                      <a:pt x="143" y="63"/>
                      <a:pt x="133" y="69"/>
                    </a:cubicBezTo>
                    <a:moveTo>
                      <a:pt x="42" y="68"/>
                    </a:moveTo>
                    <a:cubicBezTo>
                      <a:pt x="35" y="74"/>
                      <a:pt x="28" y="81"/>
                      <a:pt x="24" y="90"/>
                    </a:cubicBezTo>
                    <a:cubicBezTo>
                      <a:pt x="23" y="90"/>
                      <a:pt x="23" y="90"/>
                      <a:pt x="23" y="90"/>
                    </a:cubicBezTo>
                    <a:cubicBezTo>
                      <a:pt x="20" y="62"/>
                      <a:pt x="20" y="62"/>
                      <a:pt x="20" y="62"/>
                    </a:cubicBezTo>
                    <a:cubicBezTo>
                      <a:pt x="0" y="62"/>
                      <a:pt x="0" y="62"/>
                      <a:pt x="0" y="62"/>
                    </a:cubicBezTo>
                    <a:cubicBezTo>
                      <a:pt x="0" y="212"/>
                      <a:pt x="0" y="212"/>
                      <a:pt x="0" y="212"/>
                    </a:cubicBezTo>
                    <a:cubicBezTo>
                      <a:pt x="24" y="212"/>
                      <a:pt x="24" y="212"/>
                      <a:pt x="24" y="212"/>
                    </a:cubicBezTo>
                    <a:cubicBezTo>
                      <a:pt x="24" y="132"/>
                      <a:pt x="24" y="132"/>
                      <a:pt x="24" y="132"/>
                    </a:cubicBezTo>
                    <a:cubicBezTo>
                      <a:pt x="24" y="122"/>
                      <a:pt x="26" y="113"/>
                      <a:pt x="30" y="106"/>
                    </a:cubicBezTo>
                    <a:cubicBezTo>
                      <a:pt x="34" y="98"/>
                      <a:pt x="40" y="92"/>
                      <a:pt x="46" y="88"/>
                    </a:cubicBezTo>
                    <a:cubicBezTo>
                      <a:pt x="53" y="84"/>
                      <a:pt x="60" y="82"/>
                      <a:pt x="68" y="82"/>
                    </a:cubicBezTo>
                    <a:cubicBezTo>
                      <a:pt x="70" y="82"/>
                      <a:pt x="73" y="82"/>
                      <a:pt x="76" y="82"/>
                    </a:cubicBezTo>
                    <a:cubicBezTo>
                      <a:pt x="79" y="83"/>
                      <a:pt x="82" y="83"/>
                      <a:pt x="84" y="84"/>
                    </a:cubicBezTo>
                    <a:cubicBezTo>
                      <a:pt x="87" y="61"/>
                      <a:pt x="87" y="61"/>
                      <a:pt x="87" y="61"/>
                    </a:cubicBezTo>
                    <a:cubicBezTo>
                      <a:pt x="85" y="61"/>
                      <a:pt x="82" y="60"/>
                      <a:pt x="79" y="60"/>
                    </a:cubicBezTo>
                    <a:cubicBezTo>
                      <a:pt x="75" y="60"/>
                      <a:pt x="72" y="59"/>
                      <a:pt x="70" y="59"/>
                    </a:cubicBezTo>
                    <a:cubicBezTo>
                      <a:pt x="59" y="59"/>
                      <a:pt x="50" y="62"/>
                      <a:pt x="42" y="68"/>
                    </a:cubicBezTo>
                  </a:path>
                </a:pathLst>
              </a:custGeom>
              <a:solidFill>
                <a:srgbClr val="3B97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8">
                <a:extLst>
                  <a:ext uri="{FF2B5EF4-FFF2-40B4-BE49-F238E27FC236}">
                    <a16:creationId xmlns:a16="http://schemas.microsoft.com/office/drawing/2014/main" id="{30A1398F-A0E1-5C49-88C1-BF5812E466BA}"/>
                  </a:ext>
                </a:extLst>
              </p:cNvPr>
              <p:cNvSpPr>
                <a:spLocks noEditPoints="1"/>
              </p:cNvSpPr>
              <p:nvPr/>
            </p:nvSpPr>
            <p:spPr bwMode="auto">
              <a:xfrm>
                <a:off x="4219575" y="896938"/>
                <a:ext cx="720725" cy="211138"/>
              </a:xfrm>
              <a:custGeom>
                <a:avLst/>
                <a:gdLst>
                  <a:gd name="T0" fmla="*/ 857 w 960"/>
                  <a:gd name="T1" fmla="*/ 252 h 280"/>
                  <a:gd name="T2" fmla="*/ 820 w 960"/>
                  <a:gd name="T3" fmla="*/ 258 h 280"/>
                  <a:gd name="T4" fmla="*/ 840 w 960"/>
                  <a:gd name="T5" fmla="*/ 280 h 280"/>
                  <a:gd name="T6" fmla="*/ 960 w 960"/>
                  <a:gd name="T7" fmla="*/ 62 h 280"/>
                  <a:gd name="T8" fmla="*/ 895 w 960"/>
                  <a:gd name="T9" fmla="*/ 170 h 280"/>
                  <a:gd name="T10" fmla="*/ 883 w 960"/>
                  <a:gd name="T11" fmla="*/ 169 h 280"/>
                  <a:gd name="T12" fmla="*/ 817 w 960"/>
                  <a:gd name="T13" fmla="*/ 62 h 280"/>
                  <a:gd name="T14" fmla="*/ 768 w 960"/>
                  <a:gd name="T15" fmla="*/ 0 h 280"/>
                  <a:gd name="T16" fmla="*/ 793 w 960"/>
                  <a:gd name="T17" fmla="*/ 0 h 280"/>
                  <a:gd name="T18" fmla="*/ 696 w 960"/>
                  <a:gd name="T19" fmla="*/ 212 h 280"/>
                  <a:gd name="T20" fmla="*/ 625 w 960"/>
                  <a:gd name="T21" fmla="*/ 152 h 280"/>
                  <a:gd name="T22" fmla="*/ 561 w 960"/>
                  <a:gd name="T23" fmla="*/ 189 h 280"/>
                  <a:gd name="T24" fmla="*/ 603 w 960"/>
                  <a:gd name="T25" fmla="*/ 140 h 280"/>
                  <a:gd name="T26" fmla="*/ 568 w 960"/>
                  <a:gd name="T27" fmla="*/ 63 h 280"/>
                  <a:gd name="T28" fmla="*/ 572 w 960"/>
                  <a:gd name="T29" fmla="*/ 83 h 280"/>
                  <a:gd name="T30" fmla="*/ 626 w 960"/>
                  <a:gd name="T31" fmla="*/ 113 h 280"/>
                  <a:gd name="T32" fmla="*/ 546 w 960"/>
                  <a:gd name="T33" fmla="*/ 136 h 280"/>
                  <a:gd name="T34" fmla="*/ 576 w 960"/>
                  <a:gd name="T35" fmla="*/ 215 h 280"/>
                  <a:gd name="T36" fmla="*/ 627 w 960"/>
                  <a:gd name="T37" fmla="*/ 191 h 280"/>
                  <a:gd name="T38" fmla="*/ 650 w 960"/>
                  <a:gd name="T39" fmla="*/ 110 h 280"/>
                  <a:gd name="T40" fmla="*/ 568 w 960"/>
                  <a:gd name="T41" fmla="*/ 63 h 280"/>
                  <a:gd name="T42" fmla="*/ 492 w 960"/>
                  <a:gd name="T43" fmla="*/ 62 h 280"/>
                  <a:gd name="T44" fmla="*/ 469 w 960"/>
                  <a:gd name="T45" fmla="*/ 10 h 280"/>
                  <a:gd name="T46" fmla="*/ 479 w 960"/>
                  <a:gd name="T47" fmla="*/ 37 h 280"/>
                  <a:gd name="T48" fmla="*/ 489 w 960"/>
                  <a:gd name="T49" fmla="*/ 10 h 280"/>
                  <a:gd name="T50" fmla="*/ 415 w 960"/>
                  <a:gd name="T51" fmla="*/ 213 h 280"/>
                  <a:gd name="T52" fmla="*/ 414 w 960"/>
                  <a:gd name="T53" fmla="*/ 191 h 280"/>
                  <a:gd name="T54" fmla="*/ 350 w 960"/>
                  <a:gd name="T55" fmla="*/ 138 h 280"/>
                  <a:gd name="T56" fmla="*/ 426 w 960"/>
                  <a:gd name="T57" fmla="*/ 88 h 280"/>
                  <a:gd name="T58" fmla="*/ 394 w 960"/>
                  <a:gd name="T59" fmla="*/ 59 h 280"/>
                  <a:gd name="T60" fmla="*/ 324 w 960"/>
                  <a:gd name="T61" fmla="*/ 138 h 280"/>
                  <a:gd name="T62" fmla="*/ 393 w 960"/>
                  <a:gd name="T63" fmla="*/ 215 h 280"/>
                  <a:gd name="T64" fmla="*/ 224 w 960"/>
                  <a:gd name="T65" fmla="*/ 80 h 280"/>
                  <a:gd name="T66" fmla="*/ 257 w 960"/>
                  <a:gd name="T67" fmla="*/ 179 h 280"/>
                  <a:gd name="T68" fmla="*/ 180 w 960"/>
                  <a:gd name="T69" fmla="*/ 137 h 280"/>
                  <a:gd name="T70" fmla="*/ 260 w 960"/>
                  <a:gd name="T71" fmla="*/ 69 h 280"/>
                  <a:gd name="T72" fmla="*/ 155 w 960"/>
                  <a:gd name="T73" fmla="*/ 137 h 280"/>
                  <a:gd name="T74" fmla="*/ 224 w 960"/>
                  <a:gd name="T75" fmla="*/ 215 h 280"/>
                  <a:gd name="T76" fmla="*/ 285 w 960"/>
                  <a:gd name="T77" fmla="*/ 95 h 280"/>
                  <a:gd name="T78" fmla="*/ 72 w 960"/>
                  <a:gd name="T79" fmla="*/ 101 h 280"/>
                  <a:gd name="T80" fmla="*/ 28 w 960"/>
                  <a:gd name="T81" fmla="*/ 61 h 280"/>
                  <a:gd name="T82" fmla="*/ 91 w 960"/>
                  <a:gd name="T83" fmla="*/ 35 h 280"/>
                  <a:gd name="T84" fmla="*/ 96 w 960"/>
                  <a:gd name="T85" fmla="*/ 13 h 280"/>
                  <a:gd name="T86" fmla="*/ 10 w 960"/>
                  <a:gd name="T87" fmla="*/ 33 h 280"/>
                  <a:gd name="T88" fmla="*/ 54 w 960"/>
                  <a:gd name="T89" fmla="*/ 120 h 280"/>
                  <a:gd name="T90" fmla="*/ 101 w 960"/>
                  <a:gd name="T91" fmla="*/ 161 h 280"/>
                  <a:gd name="T92" fmla="*/ 25 w 960"/>
                  <a:gd name="T93" fmla="*/ 190 h 280"/>
                  <a:gd name="T94" fmla="*/ 24 w 960"/>
                  <a:gd name="T95" fmla="*/ 213 h 280"/>
                  <a:gd name="T96" fmla="*/ 126 w 960"/>
                  <a:gd name="T97" fmla="*/ 15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0" h="280">
                    <a:moveTo>
                      <a:pt x="878" y="213"/>
                    </a:moveTo>
                    <a:cubicBezTo>
                      <a:pt x="870" y="233"/>
                      <a:pt x="870" y="233"/>
                      <a:pt x="870" y="233"/>
                    </a:cubicBezTo>
                    <a:cubicBezTo>
                      <a:pt x="867" y="241"/>
                      <a:pt x="862" y="247"/>
                      <a:pt x="857" y="252"/>
                    </a:cubicBezTo>
                    <a:cubicBezTo>
                      <a:pt x="852" y="257"/>
                      <a:pt x="845" y="259"/>
                      <a:pt x="836" y="259"/>
                    </a:cubicBezTo>
                    <a:cubicBezTo>
                      <a:pt x="833" y="259"/>
                      <a:pt x="830" y="259"/>
                      <a:pt x="827" y="259"/>
                    </a:cubicBezTo>
                    <a:cubicBezTo>
                      <a:pt x="824" y="258"/>
                      <a:pt x="822" y="258"/>
                      <a:pt x="820" y="258"/>
                    </a:cubicBezTo>
                    <a:cubicBezTo>
                      <a:pt x="820" y="277"/>
                      <a:pt x="820" y="277"/>
                      <a:pt x="820" y="277"/>
                    </a:cubicBezTo>
                    <a:cubicBezTo>
                      <a:pt x="822" y="278"/>
                      <a:pt x="825" y="278"/>
                      <a:pt x="829" y="279"/>
                    </a:cubicBezTo>
                    <a:cubicBezTo>
                      <a:pt x="832" y="279"/>
                      <a:pt x="836" y="280"/>
                      <a:pt x="840" y="280"/>
                    </a:cubicBezTo>
                    <a:cubicBezTo>
                      <a:pt x="855" y="280"/>
                      <a:pt x="866" y="275"/>
                      <a:pt x="875" y="267"/>
                    </a:cubicBezTo>
                    <a:cubicBezTo>
                      <a:pt x="883" y="259"/>
                      <a:pt x="890" y="247"/>
                      <a:pt x="895" y="233"/>
                    </a:cubicBezTo>
                    <a:cubicBezTo>
                      <a:pt x="960" y="62"/>
                      <a:pt x="960" y="62"/>
                      <a:pt x="960" y="62"/>
                    </a:cubicBezTo>
                    <a:cubicBezTo>
                      <a:pt x="933" y="62"/>
                      <a:pt x="933" y="62"/>
                      <a:pt x="933" y="62"/>
                    </a:cubicBezTo>
                    <a:cubicBezTo>
                      <a:pt x="903" y="147"/>
                      <a:pt x="903" y="147"/>
                      <a:pt x="903" y="147"/>
                    </a:cubicBezTo>
                    <a:cubicBezTo>
                      <a:pt x="900" y="155"/>
                      <a:pt x="897" y="163"/>
                      <a:pt x="895" y="170"/>
                    </a:cubicBezTo>
                    <a:cubicBezTo>
                      <a:pt x="893" y="178"/>
                      <a:pt x="891" y="184"/>
                      <a:pt x="890" y="189"/>
                    </a:cubicBezTo>
                    <a:cubicBezTo>
                      <a:pt x="889" y="189"/>
                      <a:pt x="889" y="189"/>
                      <a:pt x="889" y="189"/>
                    </a:cubicBezTo>
                    <a:cubicBezTo>
                      <a:pt x="887" y="182"/>
                      <a:pt x="886" y="176"/>
                      <a:pt x="883" y="169"/>
                    </a:cubicBezTo>
                    <a:cubicBezTo>
                      <a:pt x="881" y="162"/>
                      <a:pt x="879" y="155"/>
                      <a:pt x="876" y="148"/>
                    </a:cubicBezTo>
                    <a:cubicBezTo>
                      <a:pt x="843" y="62"/>
                      <a:pt x="843" y="62"/>
                      <a:pt x="843" y="62"/>
                    </a:cubicBezTo>
                    <a:cubicBezTo>
                      <a:pt x="817" y="62"/>
                      <a:pt x="817" y="62"/>
                      <a:pt x="817" y="62"/>
                    </a:cubicBezTo>
                    <a:lnTo>
                      <a:pt x="878" y="213"/>
                    </a:lnTo>
                    <a:close/>
                    <a:moveTo>
                      <a:pt x="793" y="0"/>
                    </a:moveTo>
                    <a:cubicBezTo>
                      <a:pt x="768" y="0"/>
                      <a:pt x="768" y="0"/>
                      <a:pt x="768" y="0"/>
                    </a:cubicBezTo>
                    <a:cubicBezTo>
                      <a:pt x="768" y="212"/>
                      <a:pt x="768" y="212"/>
                      <a:pt x="768" y="212"/>
                    </a:cubicBezTo>
                    <a:cubicBezTo>
                      <a:pt x="793" y="212"/>
                      <a:pt x="793" y="212"/>
                      <a:pt x="793" y="212"/>
                    </a:cubicBezTo>
                    <a:lnTo>
                      <a:pt x="793" y="0"/>
                    </a:lnTo>
                    <a:close/>
                    <a:moveTo>
                      <a:pt x="721" y="0"/>
                    </a:moveTo>
                    <a:cubicBezTo>
                      <a:pt x="696" y="0"/>
                      <a:pt x="696" y="0"/>
                      <a:pt x="696" y="0"/>
                    </a:cubicBezTo>
                    <a:cubicBezTo>
                      <a:pt x="696" y="212"/>
                      <a:pt x="696" y="212"/>
                      <a:pt x="696" y="212"/>
                    </a:cubicBezTo>
                    <a:cubicBezTo>
                      <a:pt x="721" y="212"/>
                      <a:pt x="721" y="212"/>
                      <a:pt x="721" y="212"/>
                    </a:cubicBezTo>
                    <a:lnTo>
                      <a:pt x="721" y="0"/>
                    </a:lnTo>
                    <a:close/>
                    <a:moveTo>
                      <a:pt x="625" y="152"/>
                    </a:moveTo>
                    <a:cubicBezTo>
                      <a:pt x="625" y="167"/>
                      <a:pt x="621" y="178"/>
                      <a:pt x="613" y="185"/>
                    </a:cubicBezTo>
                    <a:cubicBezTo>
                      <a:pt x="604" y="192"/>
                      <a:pt x="594" y="195"/>
                      <a:pt x="581" y="195"/>
                    </a:cubicBezTo>
                    <a:cubicBezTo>
                      <a:pt x="573" y="195"/>
                      <a:pt x="566" y="193"/>
                      <a:pt x="561" y="189"/>
                    </a:cubicBezTo>
                    <a:cubicBezTo>
                      <a:pt x="556" y="185"/>
                      <a:pt x="554" y="179"/>
                      <a:pt x="554" y="171"/>
                    </a:cubicBezTo>
                    <a:cubicBezTo>
                      <a:pt x="554" y="161"/>
                      <a:pt x="557" y="154"/>
                      <a:pt x="564" y="149"/>
                    </a:cubicBezTo>
                    <a:cubicBezTo>
                      <a:pt x="572" y="144"/>
                      <a:pt x="585" y="141"/>
                      <a:pt x="603" y="140"/>
                    </a:cubicBezTo>
                    <a:cubicBezTo>
                      <a:pt x="625" y="139"/>
                      <a:pt x="625" y="139"/>
                      <a:pt x="625" y="139"/>
                    </a:cubicBezTo>
                    <a:lnTo>
                      <a:pt x="625" y="152"/>
                    </a:lnTo>
                    <a:close/>
                    <a:moveTo>
                      <a:pt x="568" y="63"/>
                    </a:moveTo>
                    <a:cubicBezTo>
                      <a:pt x="559" y="66"/>
                      <a:pt x="551" y="69"/>
                      <a:pt x="545" y="73"/>
                    </a:cubicBezTo>
                    <a:cubicBezTo>
                      <a:pt x="552" y="91"/>
                      <a:pt x="552" y="91"/>
                      <a:pt x="552" y="91"/>
                    </a:cubicBezTo>
                    <a:cubicBezTo>
                      <a:pt x="558" y="88"/>
                      <a:pt x="565" y="85"/>
                      <a:pt x="572" y="83"/>
                    </a:cubicBezTo>
                    <a:cubicBezTo>
                      <a:pt x="579" y="81"/>
                      <a:pt x="587" y="80"/>
                      <a:pt x="595" y="80"/>
                    </a:cubicBezTo>
                    <a:cubicBezTo>
                      <a:pt x="604" y="80"/>
                      <a:pt x="612" y="82"/>
                      <a:pt x="618" y="87"/>
                    </a:cubicBezTo>
                    <a:cubicBezTo>
                      <a:pt x="623" y="92"/>
                      <a:pt x="626" y="100"/>
                      <a:pt x="626" y="113"/>
                    </a:cubicBezTo>
                    <a:cubicBezTo>
                      <a:pt x="626" y="122"/>
                      <a:pt x="626" y="122"/>
                      <a:pt x="626" y="122"/>
                    </a:cubicBezTo>
                    <a:cubicBezTo>
                      <a:pt x="600" y="123"/>
                      <a:pt x="600" y="123"/>
                      <a:pt x="600" y="123"/>
                    </a:cubicBezTo>
                    <a:cubicBezTo>
                      <a:pt x="576" y="123"/>
                      <a:pt x="558" y="128"/>
                      <a:pt x="546" y="136"/>
                    </a:cubicBezTo>
                    <a:cubicBezTo>
                      <a:pt x="534" y="144"/>
                      <a:pt x="528" y="156"/>
                      <a:pt x="528" y="171"/>
                    </a:cubicBezTo>
                    <a:cubicBezTo>
                      <a:pt x="528" y="186"/>
                      <a:pt x="533" y="197"/>
                      <a:pt x="542" y="204"/>
                    </a:cubicBezTo>
                    <a:cubicBezTo>
                      <a:pt x="551" y="212"/>
                      <a:pt x="562" y="215"/>
                      <a:pt x="576" y="215"/>
                    </a:cubicBezTo>
                    <a:cubicBezTo>
                      <a:pt x="588" y="215"/>
                      <a:pt x="598" y="213"/>
                      <a:pt x="605" y="209"/>
                    </a:cubicBezTo>
                    <a:cubicBezTo>
                      <a:pt x="612" y="205"/>
                      <a:pt x="619" y="199"/>
                      <a:pt x="626" y="191"/>
                    </a:cubicBezTo>
                    <a:cubicBezTo>
                      <a:pt x="627" y="191"/>
                      <a:pt x="627" y="191"/>
                      <a:pt x="627" y="191"/>
                    </a:cubicBezTo>
                    <a:cubicBezTo>
                      <a:pt x="632" y="212"/>
                      <a:pt x="632" y="212"/>
                      <a:pt x="632" y="212"/>
                    </a:cubicBezTo>
                    <a:cubicBezTo>
                      <a:pt x="650" y="212"/>
                      <a:pt x="650" y="212"/>
                      <a:pt x="650" y="212"/>
                    </a:cubicBezTo>
                    <a:cubicBezTo>
                      <a:pt x="650" y="110"/>
                      <a:pt x="650" y="110"/>
                      <a:pt x="650" y="110"/>
                    </a:cubicBezTo>
                    <a:cubicBezTo>
                      <a:pt x="650" y="93"/>
                      <a:pt x="645" y="80"/>
                      <a:pt x="637" y="72"/>
                    </a:cubicBezTo>
                    <a:cubicBezTo>
                      <a:pt x="628" y="64"/>
                      <a:pt x="614" y="60"/>
                      <a:pt x="596" y="60"/>
                    </a:cubicBezTo>
                    <a:cubicBezTo>
                      <a:pt x="586" y="60"/>
                      <a:pt x="577" y="61"/>
                      <a:pt x="568" y="63"/>
                    </a:cubicBezTo>
                    <a:moveTo>
                      <a:pt x="467" y="212"/>
                    </a:moveTo>
                    <a:cubicBezTo>
                      <a:pt x="492" y="212"/>
                      <a:pt x="492" y="212"/>
                      <a:pt x="492" y="212"/>
                    </a:cubicBezTo>
                    <a:cubicBezTo>
                      <a:pt x="492" y="62"/>
                      <a:pt x="492" y="62"/>
                      <a:pt x="492" y="62"/>
                    </a:cubicBezTo>
                    <a:cubicBezTo>
                      <a:pt x="467" y="62"/>
                      <a:pt x="467" y="62"/>
                      <a:pt x="467" y="62"/>
                    </a:cubicBezTo>
                    <a:lnTo>
                      <a:pt x="467" y="212"/>
                    </a:lnTo>
                    <a:close/>
                    <a:moveTo>
                      <a:pt x="469" y="10"/>
                    </a:moveTo>
                    <a:cubicBezTo>
                      <a:pt x="466" y="12"/>
                      <a:pt x="465" y="16"/>
                      <a:pt x="465" y="22"/>
                    </a:cubicBezTo>
                    <a:cubicBezTo>
                      <a:pt x="465" y="27"/>
                      <a:pt x="466" y="31"/>
                      <a:pt x="469" y="34"/>
                    </a:cubicBezTo>
                    <a:cubicBezTo>
                      <a:pt x="472" y="36"/>
                      <a:pt x="475" y="37"/>
                      <a:pt x="479" y="37"/>
                    </a:cubicBezTo>
                    <a:cubicBezTo>
                      <a:pt x="483" y="37"/>
                      <a:pt x="487" y="36"/>
                      <a:pt x="489" y="34"/>
                    </a:cubicBezTo>
                    <a:cubicBezTo>
                      <a:pt x="492" y="31"/>
                      <a:pt x="494" y="27"/>
                      <a:pt x="494" y="22"/>
                    </a:cubicBezTo>
                    <a:cubicBezTo>
                      <a:pt x="494" y="16"/>
                      <a:pt x="492" y="12"/>
                      <a:pt x="489" y="10"/>
                    </a:cubicBezTo>
                    <a:cubicBezTo>
                      <a:pt x="487" y="7"/>
                      <a:pt x="483" y="6"/>
                      <a:pt x="479" y="6"/>
                    </a:cubicBezTo>
                    <a:cubicBezTo>
                      <a:pt x="475" y="6"/>
                      <a:pt x="472" y="7"/>
                      <a:pt x="469" y="10"/>
                    </a:cubicBezTo>
                    <a:moveTo>
                      <a:pt x="415" y="213"/>
                    </a:moveTo>
                    <a:cubicBezTo>
                      <a:pt x="421" y="212"/>
                      <a:pt x="426" y="210"/>
                      <a:pt x="431" y="207"/>
                    </a:cubicBezTo>
                    <a:cubicBezTo>
                      <a:pt x="431" y="185"/>
                      <a:pt x="431" y="185"/>
                      <a:pt x="431" y="185"/>
                    </a:cubicBezTo>
                    <a:cubicBezTo>
                      <a:pt x="426" y="188"/>
                      <a:pt x="420" y="190"/>
                      <a:pt x="414" y="191"/>
                    </a:cubicBezTo>
                    <a:cubicBezTo>
                      <a:pt x="408" y="193"/>
                      <a:pt x="400" y="194"/>
                      <a:pt x="392" y="194"/>
                    </a:cubicBezTo>
                    <a:cubicBezTo>
                      <a:pt x="378" y="194"/>
                      <a:pt x="368" y="189"/>
                      <a:pt x="360" y="179"/>
                    </a:cubicBezTo>
                    <a:cubicBezTo>
                      <a:pt x="353" y="170"/>
                      <a:pt x="350" y="156"/>
                      <a:pt x="350" y="138"/>
                    </a:cubicBezTo>
                    <a:cubicBezTo>
                      <a:pt x="350" y="100"/>
                      <a:pt x="364" y="81"/>
                      <a:pt x="394" y="81"/>
                    </a:cubicBezTo>
                    <a:cubicBezTo>
                      <a:pt x="399" y="81"/>
                      <a:pt x="405" y="82"/>
                      <a:pt x="411" y="83"/>
                    </a:cubicBezTo>
                    <a:cubicBezTo>
                      <a:pt x="417" y="85"/>
                      <a:pt x="422" y="86"/>
                      <a:pt x="426" y="88"/>
                    </a:cubicBezTo>
                    <a:cubicBezTo>
                      <a:pt x="434" y="68"/>
                      <a:pt x="434" y="68"/>
                      <a:pt x="434" y="68"/>
                    </a:cubicBezTo>
                    <a:cubicBezTo>
                      <a:pt x="429" y="65"/>
                      <a:pt x="424" y="63"/>
                      <a:pt x="416" y="62"/>
                    </a:cubicBezTo>
                    <a:cubicBezTo>
                      <a:pt x="409" y="60"/>
                      <a:pt x="402" y="59"/>
                      <a:pt x="394" y="59"/>
                    </a:cubicBezTo>
                    <a:cubicBezTo>
                      <a:pt x="381" y="59"/>
                      <a:pt x="369" y="62"/>
                      <a:pt x="358" y="68"/>
                    </a:cubicBezTo>
                    <a:cubicBezTo>
                      <a:pt x="348" y="73"/>
                      <a:pt x="339" y="81"/>
                      <a:pt x="333" y="93"/>
                    </a:cubicBezTo>
                    <a:cubicBezTo>
                      <a:pt x="327" y="105"/>
                      <a:pt x="324" y="120"/>
                      <a:pt x="324" y="138"/>
                    </a:cubicBezTo>
                    <a:cubicBezTo>
                      <a:pt x="324" y="156"/>
                      <a:pt x="327" y="170"/>
                      <a:pt x="333" y="182"/>
                    </a:cubicBezTo>
                    <a:cubicBezTo>
                      <a:pt x="339" y="193"/>
                      <a:pt x="347" y="202"/>
                      <a:pt x="357" y="207"/>
                    </a:cubicBezTo>
                    <a:cubicBezTo>
                      <a:pt x="367" y="212"/>
                      <a:pt x="379" y="215"/>
                      <a:pt x="393" y="215"/>
                    </a:cubicBezTo>
                    <a:cubicBezTo>
                      <a:pt x="401" y="215"/>
                      <a:pt x="409" y="214"/>
                      <a:pt x="415" y="213"/>
                    </a:cubicBezTo>
                    <a:moveTo>
                      <a:pt x="191" y="95"/>
                    </a:moveTo>
                    <a:cubicBezTo>
                      <a:pt x="197" y="85"/>
                      <a:pt x="209" y="80"/>
                      <a:pt x="224" y="80"/>
                    </a:cubicBezTo>
                    <a:cubicBezTo>
                      <a:pt x="239" y="80"/>
                      <a:pt x="250" y="85"/>
                      <a:pt x="257" y="95"/>
                    </a:cubicBezTo>
                    <a:cubicBezTo>
                      <a:pt x="265" y="105"/>
                      <a:pt x="268" y="119"/>
                      <a:pt x="268" y="137"/>
                    </a:cubicBezTo>
                    <a:cubicBezTo>
                      <a:pt x="268" y="155"/>
                      <a:pt x="265" y="169"/>
                      <a:pt x="257" y="179"/>
                    </a:cubicBezTo>
                    <a:cubicBezTo>
                      <a:pt x="250" y="189"/>
                      <a:pt x="239" y="195"/>
                      <a:pt x="224" y="195"/>
                    </a:cubicBezTo>
                    <a:cubicBezTo>
                      <a:pt x="209" y="195"/>
                      <a:pt x="198" y="189"/>
                      <a:pt x="191" y="179"/>
                    </a:cubicBezTo>
                    <a:cubicBezTo>
                      <a:pt x="184" y="169"/>
                      <a:pt x="180" y="155"/>
                      <a:pt x="180" y="137"/>
                    </a:cubicBezTo>
                    <a:cubicBezTo>
                      <a:pt x="180" y="119"/>
                      <a:pt x="184" y="105"/>
                      <a:pt x="191" y="95"/>
                    </a:cubicBezTo>
                    <a:moveTo>
                      <a:pt x="285" y="95"/>
                    </a:moveTo>
                    <a:cubicBezTo>
                      <a:pt x="279" y="83"/>
                      <a:pt x="271" y="75"/>
                      <a:pt x="260" y="69"/>
                    </a:cubicBezTo>
                    <a:cubicBezTo>
                      <a:pt x="250" y="62"/>
                      <a:pt x="238" y="59"/>
                      <a:pt x="224" y="59"/>
                    </a:cubicBezTo>
                    <a:cubicBezTo>
                      <a:pt x="203" y="59"/>
                      <a:pt x="186" y="66"/>
                      <a:pt x="173" y="80"/>
                    </a:cubicBezTo>
                    <a:cubicBezTo>
                      <a:pt x="161" y="93"/>
                      <a:pt x="155" y="112"/>
                      <a:pt x="155" y="137"/>
                    </a:cubicBezTo>
                    <a:cubicBezTo>
                      <a:pt x="155" y="154"/>
                      <a:pt x="158" y="168"/>
                      <a:pt x="164" y="179"/>
                    </a:cubicBezTo>
                    <a:cubicBezTo>
                      <a:pt x="170" y="191"/>
                      <a:pt x="178" y="200"/>
                      <a:pt x="188" y="206"/>
                    </a:cubicBezTo>
                    <a:cubicBezTo>
                      <a:pt x="198" y="212"/>
                      <a:pt x="210" y="215"/>
                      <a:pt x="224" y="215"/>
                    </a:cubicBezTo>
                    <a:cubicBezTo>
                      <a:pt x="245" y="215"/>
                      <a:pt x="262" y="208"/>
                      <a:pt x="275" y="195"/>
                    </a:cubicBezTo>
                    <a:cubicBezTo>
                      <a:pt x="287" y="181"/>
                      <a:pt x="294" y="162"/>
                      <a:pt x="294" y="137"/>
                    </a:cubicBezTo>
                    <a:cubicBezTo>
                      <a:pt x="294" y="120"/>
                      <a:pt x="291" y="106"/>
                      <a:pt x="285" y="95"/>
                    </a:cubicBezTo>
                    <a:moveTo>
                      <a:pt x="120" y="133"/>
                    </a:moveTo>
                    <a:cubicBezTo>
                      <a:pt x="116" y="126"/>
                      <a:pt x="109" y="120"/>
                      <a:pt x="101" y="115"/>
                    </a:cubicBezTo>
                    <a:cubicBezTo>
                      <a:pt x="93" y="110"/>
                      <a:pt x="83" y="105"/>
                      <a:pt x="72" y="101"/>
                    </a:cubicBezTo>
                    <a:cubicBezTo>
                      <a:pt x="61" y="97"/>
                      <a:pt x="52" y="93"/>
                      <a:pt x="46" y="90"/>
                    </a:cubicBezTo>
                    <a:cubicBezTo>
                      <a:pt x="39" y="86"/>
                      <a:pt x="35" y="82"/>
                      <a:pt x="32" y="78"/>
                    </a:cubicBezTo>
                    <a:cubicBezTo>
                      <a:pt x="29" y="73"/>
                      <a:pt x="28" y="68"/>
                      <a:pt x="28" y="61"/>
                    </a:cubicBezTo>
                    <a:cubicBezTo>
                      <a:pt x="28" y="52"/>
                      <a:pt x="31" y="45"/>
                      <a:pt x="37" y="40"/>
                    </a:cubicBezTo>
                    <a:cubicBezTo>
                      <a:pt x="44" y="34"/>
                      <a:pt x="53" y="32"/>
                      <a:pt x="66" y="32"/>
                    </a:cubicBezTo>
                    <a:cubicBezTo>
                      <a:pt x="74" y="32"/>
                      <a:pt x="83" y="33"/>
                      <a:pt x="91" y="35"/>
                    </a:cubicBezTo>
                    <a:cubicBezTo>
                      <a:pt x="99" y="37"/>
                      <a:pt x="107" y="39"/>
                      <a:pt x="114" y="42"/>
                    </a:cubicBezTo>
                    <a:cubicBezTo>
                      <a:pt x="121" y="21"/>
                      <a:pt x="121" y="21"/>
                      <a:pt x="121" y="21"/>
                    </a:cubicBezTo>
                    <a:cubicBezTo>
                      <a:pt x="114" y="17"/>
                      <a:pt x="105" y="15"/>
                      <a:pt x="96" y="13"/>
                    </a:cubicBezTo>
                    <a:cubicBezTo>
                      <a:pt x="87" y="11"/>
                      <a:pt x="77" y="10"/>
                      <a:pt x="66" y="10"/>
                    </a:cubicBezTo>
                    <a:cubicBezTo>
                      <a:pt x="53" y="10"/>
                      <a:pt x="42" y="12"/>
                      <a:pt x="33" y="16"/>
                    </a:cubicBezTo>
                    <a:cubicBezTo>
                      <a:pt x="23" y="20"/>
                      <a:pt x="16" y="26"/>
                      <a:pt x="10" y="33"/>
                    </a:cubicBezTo>
                    <a:cubicBezTo>
                      <a:pt x="5" y="41"/>
                      <a:pt x="2" y="50"/>
                      <a:pt x="2" y="61"/>
                    </a:cubicBezTo>
                    <a:cubicBezTo>
                      <a:pt x="2" y="76"/>
                      <a:pt x="7" y="88"/>
                      <a:pt x="15" y="97"/>
                    </a:cubicBezTo>
                    <a:cubicBezTo>
                      <a:pt x="24" y="106"/>
                      <a:pt x="37" y="114"/>
                      <a:pt x="54" y="120"/>
                    </a:cubicBezTo>
                    <a:cubicBezTo>
                      <a:pt x="66" y="124"/>
                      <a:pt x="75" y="129"/>
                      <a:pt x="82" y="132"/>
                    </a:cubicBezTo>
                    <a:cubicBezTo>
                      <a:pt x="89" y="136"/>
                      <a:pt x="94" y="140"/>
                      <a:pt x="97" y="145"/>
                    </a:cubicBezTo>
                    <a:cubicBezTo>
                      <a:pt x="100" y="149"/>
                      <a:pt x="101" y="155"/>
                      <a:pt x="101" y="161"/>
                    </a:cubicBezTo>
                    <a:cubicBezTo>
                      <a:pt x="101" y="171"/>
                      <a:pt x="97" y="179"/>
                      <a:pt x="89" y="185"/>
                    </a:cubicBezTo>
                    <a:cubicBezTo>
                      <a:pt x="82" y="190"/>
                      <a:pt x="71" y="193"/>
                      <a:pt x="56" y="193"/>
                    </a:cubicBezTo>
                    <a:cubicBezTo>
                      <a:pt x="45" y="193"/>
                      <a:pt x="35" y="192"/>
                      <a:pt x="25" y="190"/>
                    </a:cubicBezTo>
                    <a:cubicBezTo>
                      <a:pt x="15" y="187"/>
                      <a:pt x="7" y="185"/>
                      <a:pt x="0" y="182"/>
                    </a:cubicBezTo>
                    <a:cubicBezTo>
                      <a:pt x="0" y="206"/>
                      <a:pt x="0" y="206"/>
                      <a:pt x="0" y="206"/>
                    </a:cubicBezTo>
                    <a:cubicBezTo>
                      <a:pt x="6" y="209"/>
                      <a:pt x="14" y="211"/>
                      <a:pt x="24" y="213"/>
                    </a:cubicBezTo>
                    <a:cubicBezTo>
                      <a:pt x="33" y="214"/>
                      <a:pt x="44" y="215"/>
                      <a:pt x="55" y="215"/>
                    </a:cubicBezTo>
                    <a:cubicBezTo>
                      <a:pt x="77" y="215"/>
                      <a:pt x="94" y="210"/>
                      <a:pt x="107" y="200"/>
                    </a:cubicBezTo>
                    <a:cubicBezTo>
                      <a:pt x="120" y="190"/>
                      <a:pt x="126" y="177"/>
                      <a:pt x="126" y="159"/>
                    </a:cubicBezTo>
                    <a:cubicBezTo>
                      <a:pt x="126" y="148"/>
                      <a:pt x="124" y="140"/>
                      <a:pt x="120" y="133"/>
                    </a:cubicBezTo>
                  </a:path>
                </a:pathLst>
              </a:custGeom>
              <a:solidFill>
                <a:srgbClr val="3B97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 name="Group 7">
              <a:extLst>
                <a:ext uri="{FF2B5EF4-FFF2-40B4-BE49-F238E27FC236}">
                  <a16:creationId xmlns:a16="http://schemas.microsoft.com/office/drawing/2014/main" id="{3F5BAEE8-D2E1-E546-A812-579D09B5FB63}"/>
                </a:ext>
              </a:extLst>
            </p:cNvPr>
            <p:cNvGrpSpPr/>
            <p:nvPr/>
          </p:nvGrpSpPr>
          <p:grpSpPr>
            <a:xfrm>
              <a:off x="6062663" y="3609975"/>
              <a:ext cx="1114425" cy="466725"/>
              <a:chOff x="6062663" y="3609975"/>
              <a:chExt cx="1114425" cy="466725"/>
            </a:xfrm>
          </p:grpSpPr>
          <p:sp>
            <p:nvSpPr>
              <p:cNvPr id="25" name="Freeform 15">
                <a:extLst>
                  <a:ext uri="{FF2B5EF4-FFF2-40B4-BE49-F238E27FC236}">
                    <a16:creationId xmlns:a16="http://schemas.microsoft.com/office/drawing/2014/main" id="{4B73E59B-F025-FA4C-B9D9-7E33A03B13F1}"/>
                  </a:ext>
                </a:extLst>
              </p:cNvPr>
              <p:cNvSpPr>
                <a:spLocks noEditPoints="1"/>
              </p:cNvSpPr>
              <p:nvPr/>
            </p:nvSpPr>
            <p:spPr bwMode="auto">
              <a:xfrm>
                <a:off x="6062663" y="3863975"/>
                <a:ext cx="1114425" cy="212725"/>
              </a:xfrm>
              <a:custGeom>
                <a:avLst/>
                <a:gdLst>
                  <a:gd name="T0" fmla="*/ 1397 w 1487"/>
                  <a:gd name="T1" fmla="*/ 91 h 280"/>
                  <a:gd name="T2" fmla="*/ 1367 w 1487"/>
                  <a:gd name="T3" fmla="*/ 96 h 280"/>
                  <a:gd name="T4" fmla="*/ 1431 w 1487"/>
                  <a:gd name="T5" fmla="*/ 215 h 280"/>
                  <a:gd name="T6" fmla="*/ 1458 w 1487"/>
                  <a:gd name="T7" fmla="*/ 191 h 280"/>
                  <a:gd name="T8" fmla="*/ 1487 w 1487"/>
                  <a:gd name="T9" fmla="*/ 142 h 280"/>
                  <a:gd name="T10" fmla="*/ 1425 w 1487"/>
                  <a:gd name="T11" fmla="*/ 59 h 280"/>
                  <a:gd name="T12" fmla="*/ 1295 w 1487"/>
                  <a:gd name="T13" fmla="*/ 212 h 280"/>
                  <a:gd name="T14" fmla="*/ 1221 w 1487"/>
                  <a:gd name="T15" fmla="*/ 180 h 280"/>
                  <a:gd name="T16" fmla="*/ 1148 w 1487"/>
                  <a:gd name="T17" fmla="*/ 136 h 280"/>
                  <a:gd name="T18" fmla="*/ 1123 w 1487"/>
                  <a:gd name="T19" fmla="*/ 0 h 280"/>
                  <a:gd name="T20" fmla="*/ 1148 w 1487"/>
                  <a:gd name="T21" fmla="*/ 193 h 280"/>
                  <a:gd name="T22" fmla="*/ 1256 w 1487"/>
                  <a:gd name="T23" fmla="*/ 137 h 280"/>
                  <a:gd name="T24" fmla="*/ 1148 w 1487"/>
                  <a:gd name="T25" fmla="*/ 82 h 280"/>
                  <a:gd name="T26" fmla="*/ 1148 w 1487"/>
                  <a:gd name="T27" fmla="*/ 0 h 280"/>
                  <a:gd name="T28" fmla="*/ 1075 w 1487"/>
                  <a:gd name="T29" fmla="*/ 62 h 280"/>
                  <a:gd name="T30" fmla="*/ 1049 w 1487"/>
                  <a:gd name="T31" fmla="*/ 22 h 280"/>
                  <a:gd name="T32" fmla="*/ 1078 w 1487"/>
                  <a:gd name="T33" fmla="*/ 22 h 280"/>
                  <a:gd name="T34" fmla="*/ 1009 w 1487"/>
                  <a:gd name="T35" fmla="*/ 151 h 280"/>
                  <a:gd name="T36" fmla="*/ 934 w 1487"/>
                  <a:gd name="T37" fmla="*/ 108 h 280"/>
                  <a:gd name="T38" fmla="*/ 983 w 1487"/>
                  <a:gd name="T39" fmla="*/ 82 h 280"/>
                  <a:gd name="T40" fmla="*/ 963 w 1487"/>
                  <a:gd name="T41" fmla="*/ 59 h 280"/>
                  <a:gd name="T42" fmla="*/ 929 w 1487"/>
                  <a:gd name="T43" fmla="*/ 133 h 280"/>
                  <a:gd name="T44" fmla="*/ 991 w 1487"/>
                  <a:gd name="T45" fmla="*/ 173 h 280"/>
                  <a:gd name="T46" fmla="*/ 907 w 1487"/>
                  <a:gd name="T47" fmla="*/ 183 h 280"/>
                  <a:gd name="T48" fmla="*/ 998 w 1487"/>
                  <a:gd name="T49" fmla="*/ 204 h 280"/>
                  <a:gd name="T50" fmla="*/ 769 w 1487"/>
                  <a:gd name="T51" fmla="*/ 83 h 280"/>
                  <a:gd name="T52" fmla="*/ 744 w 1487"/>
                  <a:gd name="T53" fmla="*/ 212 h 280"/>
                  <a:gd name="T54" fmla="*/ 812 w 1487"/>
                  <a:gd name="T55" fmla="*/ 80 h 280"/>
                  <a:gd name="T56" fmla="*/ 870 w 1487"/>
                  <a:gd name="T57" fmla="*/ 115 h 280"/>
                  <a:gd name="T58" fmla="*/ 602 w 1487"/>
                  <a:gd name="T59" fmla="*/ 95 h 280"/>
                  <a:gd name="T60" fmla="*/ 669 w 1487"/>
                  <a:gd name="T61" fmla="*/ 179 h 280"/>
                  <a:gd name="T62" fmla="*/ 602 w 1487"/>
                  <a:gd name="T63" fmla="*/ 95 h 280"/>
                  <a:gd name="T64" fmla="*/ 584 w 1487"/>
                  <a:gd name="T65" fmla="*/ 80 h 280"/>
                  <a:gd name="T66" fmla="*/ 635 w 1487"/>
                  <a:gd name="T67" fmla="*/ 215 h 280"/>
                  <a:gd name="T68" fmla="*/ 500 w 1487"/>
                  <a:gd name="T69" fmla="*/ 96 h 280"/>
                  <a:gd name="T70" fmla="*/ 470 w 1487"/>
                  <a:gd name="T71" fmla="*/ 195 h 280"/>
                  <a:gd name="T72" fmla="*/ 437 w 1487"/>
                  <a:gd name="T73" fmla="*/ 93 h 280"/>
                  <a:gd name="T74" fmla="*/ 427 w 1487"/>
                  <a:gd name="T75" fmla="*/ 83 h 280"/>
                  <a:gd name="T76" fmla="*/ 402 w 1487"/>
                  <a:gd name="T77" fmla="*/ 280 h 280"/>
                  <a:gd name="T78" fmla="*/ 425 w 1487"/>
                  <a:gd name="T79" fmla="*/ 193 h 280"/>
                  <a:gd name="T80" fmla="*/ 518 w 1487"/>
                  <a:gd name="T81" fmla="*/ 195 h 280"/>
                  <a:gd name="T82" fmla="*/ 444 w 1487"/>
                  <a:gd name="T83" fmla="*/ 66 h 280"/>
                  <a:gd name="T84" fmla="*/ 298 w 1487"/>
                  <a:gd name="T85" fmla="*/ 117 h 280"/>
                  <a:gd name="T86" fmla="*/ 313 w 1487"/>
                  <a:gd name="T87" fmla="*/ 80 h 280"/>
                  <a:gd name="T88" fmla="*/ 340 w 1487"/>
                  <a:gd name="T89" fmla="*/ 62 h 280"/>
                  <a:gd name="T90" fmla="*/ 264 w 1487"/>
                  <a:gd name="T91" fmla="*/ 119 h 280"/>
                  <a:gd name="T92" fmla="*/ 339 w 1487"/>
                  <a:gd name="T93" fmla="*/ 163 h 280"/>
                  <a:gd name="T94" fmla="*/ 280 w 1487"/>
                  <a:gd name="T95" fmla="*/ 191 h 280"/>
                  <a:gd name="T96" fmla="*/ 306 w 1487"/>
                  <a:gd name="T97" fmla="*/ 215 h 280"/>
                  <a:gd name="T98" fmla="*/ 195 w 1487"/>
                  <a:gd name="T99" fmla="*/ 91 h 280"/>
                  <a:gd name="T100" fmla="*/ 168 w 1487"/>
                  <a:gd name="T101" fmla="*/ 80 h 280"/>
                  <a:gd name="T102" fmla="*/ 102 w 1487"/>
                  <a:gd name="T103" fmla="*/ 138 h 280"/>
                  <a:gd name="T104" fmla="*/ 200 w 1487"/>
                  <a:gd name="T105" fmla="*/ 213 h 280"/>
                  <a:gd name="T106" fmla="*/ 175 w 1487"/>
                  <a:gd name="T107" fmla="*/ 194 h 280"/>
                  <a:gd name="T108" fmla="*/ 230 w 1487"/>
                  <a:gd name="T109" fmla="*/ 127 h 280"/>
                  <a:gd name="T110" fmla="*/ 133 w 1487"/>
                  <a:gd name="T111" fmla="*/ 69 h 280"/>
                  <a:gd name="T112" fmla="*/ 20 w 1487"/>
                  <a:gd name="T113" fmla="*/ 62 h 280"/>
                  <a:gd name="T114" fmla="*/ 25 w 1487"/>
                  <a:gd name="T115" fmla="*/ 132 h 280"/>
                  <a:gd name="T116" fmla="*/ 76 w 1487"/>
                  <a:gd name="T117" fmla="*/ 82 h 280"/>
                  <a:gd name="T118" fmla="*/ 70 w 1487"/>
                  <a:gd name="T119" fmla="*/ 5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87" h="280">
                    <a:moveTo>
                      <a:pt x="1453" y="91"/>
                    </a:moveTo>
                    <a:cubicBezTo>
                      <a:pt x="1458" y="99"/>
                      <a:pt x="1461" y="110"/>
                      <a:pt x="1462" y="122"/>
                    </a:cubicBezTo>
                    <a:cubicBezTo>
                      <a:pt x="1385" y="122"/>
                      <a:pt x="1385" y="122"/>
                      <a:pt x="1385" y="122"/>
                    </a:cubicBezTo>
                    <a:cubicBezTo>
                      <a:pt x="1386" y="109"/>
                      <a:pt x="1391" y="98"/>
                      <a:pt x="1397" y="91"/>
                    </a:cubicBezTo>
                    <a:cubicBezTo>
                      <a:pt x="1404" y="83"/>
                      <a:pt x="1413" y="80"/>
                      <a:pt x="1425" y="80"/>
                    </a:cubicBezTo>
                    <a:cubicBezTo>
                      <a:pt x="1438" y="80"/>
                      <a:pt x="1447" y="84"/>
                      <a:pt x="1453" y="91"/>
                    </a:cubicBezTo>
                    <a:moveTo>
                      <a:pt x="1391" y="69"/>
                    </a:moveTo>
                    <a:cubicBezTo>
                      <a:pt x="1381" y="75"/>
                      <a:pt x="1373" y="84"/>
                      <a:pt x="1367" y="96"/>
                    </a:cubicBezTo>
                    <a:cubicBezTo>
                      <a:pt x="1362" y="108"/>
                      <a:pt x="1359" y="122"/>
                      <a:pt x="1359" y="138"/>
                    </a:cubicBezTo>
                    <a:cubicBezTo>
                      <a:pt x="1359" y="155"/>
                      <a:pt x="1362" y="169"/>
                      <a:pt x="1368" y="181"/>
                    </a:cubicBezTo>
                    <a:cubicBezTo>
                      <a:pt x="1374" y="192"/>
                      <a:pt x="1383" y="201"/>
                      <a:pt x="1394" y="206"/>
                    </a:cubicBezTo>
                    <a:cubicBezTo>
                      <a:pt x="1404" y="212"/>
                      <a:pt x="1417" y="215"/>
                      <a:pt x="1431" y="215"/>
                    </a:cubicBezTo>
                    <a:cubicBezTo>
                      <a:pt x="1442" y="215"/>
                      <a:pt x="1450" y="214"/>
                      <a:pt x="1458" y="213"/>
                    </a:cubicBezTo>
                    <a:cubicBezTo>
                      <a:pt x="1465" y="211"/>
                      <a:pt x="1473" y="209"/>
                      <a:pt x="1481" y="205"/>
                    </a:cubicBezTo>
                    <a:cubicBezTo>
                      <a:pt x="1481" y="184"/>
                      <a:pt x="1481" y="184"/>
                      <a:pt x="1481" y="184"/>
                    </a:cubicBezTo>
                    <a:cubicBezTo>
                      <a:pt x="1473" y="187"/>
                      <a:pt x="1465" y="190"/>
                      <a:pt x="1458" y="191"/>
                    </a:cubicBezTo>
                    <a:cubicBezTo>
                      <a:pt x="1450" y="193"/>
                      <a:pt x="1442" y="194"/>
                      <a:pt x="1432" y="194"/>
                    </a:cubicBezTo>
                    <a:cubicBezTo>
                      <a:pt x="1418" y="194"/>
                      <a:pt x="1406" y="190"/>
                      <a:pt x="1398" y="181"/>
                    </a:cubicBezTo>
                    <a:cubicBezTo>
                      <a:pt x="1389" y="172"/>
                      <a:pt x="1385" y="159"/>
                      <a:pt x="1385" y="142"/>
                    </a:cubicBezTo>
                    <a:cubicBezTo>
                      <a:pt x="1487" y="142"/>
                      <a:pt x="1487" y="142"/>
                      <a:pt x="1487" y="142"/>
                    </a:cubicBezTo>
                    <a:cubicBezTo>
                      <a:pt x="1487" y="127"/>
                      <a:pt x="1487" y="127"/>
                      <a:pt x="1487" y="127"/>
                    </a:cubicBezTo>
                    <a:cubicBezTo>
                      <a:pt x="1487" y="114"/>
                      <a:pt x="1485" y="102"/>
                      <a:pt x="1480" y="91"/>
                    </a:cubicBezTo>
                    <a:cubicBezTo>
                      <a:pt x="1475" y="81"/>
                      <a:pt x="1468" y="73"/>
                      <a:pt x="1459" y="68"/>
                    </a:cubicBezTo>
                    <a:cubicBezTo>
                      <a:pt x="1449" y="62"/>
                      <a:pt x="1438" y="59"/>
                      <a:pt x="1425" y="59"/>
                    </a:cubicBezTo>
                    <a:cubicBezTo>
                      <a:pt x="1412" y="59"/>
                      <a:pt x="1401" y="63"/>
                      <a:pt x="1391" y="69"/>
                    </a:cubicBezTo>
                    <a:moveTo>
                      <a:pt x="1320" y="0"/>
                    </a:moveTo>
                    <a:cubicBezTo>
                      <a:pt x="1295" y="0"/>
                      <a:pt x="1295" y="0"/>
                      <a:pt x="1295" y="0"/>
                    </a:cubicBezTo>
                    <a:cubicBezTo>
                      <a:pt x="1295" y="212"/>
                      <a:pt x="1295" y="212"/>
                      <a:pt x="1295" y="212"/>
                    </a:cubicBezTo>
                    <a:cubicBezTo>
                      <a:pt x="1320" y="212"/>
                      <a:pt x="1320" y="212"/>
                      <a:pt x="1320" y="212"/>
                    </a:cubicBezTo>
                    <a:lnTo>
                      <a:pt x="1320" y="0"/>
                    </a:lnTo>
                    <a:close/>
                    <a:moveTo>
                      <a:pt x="1231" y="137"/>
                    </a:moveTo>
                    <a:cubicBezTo>
                      <a:pt x="1231" y="156"/>
                      <a:pt x="1227" y="170"/>
                      <a:pt x="1221" y="180"/>
                    </a:cubicBezTo>
                    <a:cubicBezTo>
                      <a:pt x="1214" y="190"/>
                      <a:pt x="1204" y="195"/>
                      <a:pt x="1191" y="195"/>
                    </a:cubicBezTo>
                    <a:cubicBezTo>
                      <a:pt x="1174" y="195"/>
                      <a:pt x="1163" y="190"/>
                      <a:pt x="1157" y="180"/>
                    </a:cubicBezTo>
                    <a:cubicBezTo>
                      <a:pt x="1151" y="170"/>
                      <a:pt x="1148" y="156"/>
                      <a:pt x="1148" y="138"/>
                    </a:cubicBezTo>
                    <a:cubicBezTo>
                      <a:pt x="1148" y="136"/>
                      <a:pt x="1148" y="136"/>
                      <a:pt x="1148" y="136"/>
                    </a:cubicBezTo>
                    <a:cubicBezTo>
                      <a:pt x="1148" y="117"/>
                      <a:pt x="1151" y="103"/>
                      <a:pt x="1157" y="94"/>
                    </a:cubicBezTo>
                    <a:cubicBezTo>
                      <a:pt x="1163" y="85"/>
                      <a:pt x="1174" y="80"/>
                      <a:pt x="1190" y="80"/>
                    </a:cubicBezTo>
                    <a:cubicBezTo>
                      <a:pt x="1217" y="80"/>
                      <a:pt x="1231" y="99"/>
                      <a:pt x="1231" y="137"/>
                    </a:cubicBezTo>
                    <a:moveTo>
                      <a:pt x="1123" y="0"/>
                    </a:moveTo>
                    <a:cubicBezTo>
                      <a:pt x="1123" y="212"/>
                      <a:pt x="1123" y="212"/>
                      <a:pt x="1123" y="212"/>
                    </a:cubicBezTo>
                    <a:cubicBezTo>
                      <a:pt x="1141" y="212"/>
                      <a:pt x="1141" y="212"/>
                      <a:pt x="1141" y="212"/>
                    </a:cubicBezTo>
                    <a:cubicBezTo>
                      <a:pt x="1146" y="193"/>
                      <a:pt x="1146" y="193"/>
                      <a:pt x="1146" y="193"/>
                    </a:cubicBezTo>
                    <a:cubicBezTo>
                      <a:pt x="1148" y="193"/>
                      <a:pt x="1148" y="193"/>
                      <a:pt x="1148" y="193"/>
                    </a:cubicBezTo>
                    <a:cubicBezTo>
                      <a:pt x="1152" y="199"/>
                      <a:pt x="1158" y="204"/>
                      <a:pt x="1165" y="209"/>
                    </a:cubicBezTo>
                    <a:cubicBezTo>
                      <a:pt x="1173" y="213"/>
                      <a:pt x="1182" y="215"/>
                      <a:pt x="1194" y="215"/>
                    </a:cubicBezTo>
                    <a:cubicBezTo>
                      <a:pt x="1213" y="215"/>
                      <a:pt x="1228" y="209"/>
                      <a:pt x="1239" y="196"/>
                    </a:cubicBezTo>
                    <a:cubicBezTo>
                      <a:pt x="1250" y="182"/>
                      <a:pt x="1256" y="163"/>
                      <a:pt x="1256" y="137"/>
                    </a:cubicBezTo>
                    <a:cubicBezTo>
                      <a:pt x="1256" y="112"/>
                      <a:pt x="1250" y="92"/>
                      <a:pt x="1239" y="79"/>
                    </a:cubicBezTo>
                    <a:cubicBezTo>
                      <a:pt x="1228" y="66"/>
                      <a:pt x="1213" y="60"/>
                      <a:pt x="1194" y="60"/>
                    </a:cubicBezTo>
                    <a:cubicBezTo>
                      <a:pt x="1182" y="60"/>
                      <a:pt x="1173" y="62"/>
                      <a:pt x="1165" y="66"/>
                    </a:cubicBezTo>
                    <a:cubicBezTo>
                      <a:pt x="1158" y="70"/>
                      <a:pt x="1152" y="76"/>
                      <a:pt x="1148" y="82"/>
                    </a:cubicBezTo>
                    <a:cubicBezTo>
                      <a:pt x="1146" y="82"/>
                      <a:pt x="1146" y="82"/>
                      <a:pt x="1146" y="82"/>
                    </a:cubicBezTo>
                    <a:cubicBezTo>
                      <a:pt x="1147" y="79"/>
                      <a:pt x="1147" y="75"/>
                      <a:pt x="1147" y="69"/>
                    </a:cubicBezTo>
                    <a:cubicBezTo>
                      <a:pt x="1148" y="64"/>
                      <a:pt x="1148" y="58"/>
                      <a:pt x="1148" y="51"/>
                    </a:cubicBezTo>
                    <a:cubicBezTo>
                      <a:pt x="1148" y="0"/>
                      <a:pt x="1148" y="0"/>
                      <a:pt x="1148" y="0"/>
                    </a:cubicBezTo>
                    <a:lnTo>
                      <a:pt x="1123" y="0"/>
                    </a:lnTo>
                    <a:close/>
                    <a:moveTo>
                      <a:pt x="1051" y="212"/>
                    </a:moveTo>
                    <a:cubicBezTo>
                      <a:pt x="1075" y="212"/>
                      <a:pt x="1075" y="212"/>
                      <a:pt x="1075" y="212"/>
                    </a:cubicBezTo>
                    <a:cubicBezTo>
                      <a:pt x="1075" y="62"/>
                      <a:pt x="1075" y="62"/>
                      <a:pt x="1075" y="62"/>
                    </a:cubicBezTo>
                    <a:cubicBezTo>
                      <a:pt x="1051" y="62"/>
                      <a:pt x="1051" y="62"/>
                      <a:pt x="1051" y="62"/>
                    </a:cubicBezTo>
                    <a:lnTo>
                      <a:pt x="1051" y="212"/>
                    </a:lnTo>
                    <a:close/>
                    <a:moveTo>
                      <a:pt x="1053" y="10"/>
                    </a:moveTo>
                    <a:cubicBezTo>
                      <a:pt x="1050" y="12"/>
                      <a:pt x="1049" y="16"/>
                      <a:pt x="1049" y="22"/>
                    </a:cubicBezTo>
                    <a:cubicBezTo>
                      <a:pt x="1049" y="27"/>
                      <a:pt x="1050" y="31"/>
                      <a:pt x="1053" y="34"/>
                    </a:cubicBezTo>
                    <a:cubicBezTo>
                      <a:pt x="1056" y="36"/>
                      <a:pt x="1059" y="37"/>
                      <a:pt x="1063" y="37"/>
                    </a:cubicBezTo>
                    <a:cubicBezTo>
                      <a:pt x="1067" y="37"/>
                      <a:pt x="1070" y="36"/>
                      <a:pt x="1073" y="34"/>
                    </a:cubicBezTo>
                    <a:cubicBezTo>
                      <a:pt x="1076" y="31"/>
                      <a:pt x="1078" y="27"/>
                      <a:pt x="1078" y="22"/>
                    </a:cubicBezTo>
                    <a:cubicBezTo>
                      <a:pt x="1078" y="16"/>
                      <a:pt x="1076" y="12"/>
                      <a:pt x="1073" y="10"/>
                    </a:cubicBezTo>
                    <a:cubicBezTo>
                      <a:pt x="1070" y="7"/>
                      <a:pt x="1067" y="6"/>
                      <a:pt x="1063" y="6"/>
                    </a:cubicBezTo>
                    <a:cubicBezTo>
                      <a:pt x="1059" y="6"/>
                      <a:pt x="1056" y="7"/>
                      <a:pt x="1053" y="10"/>
                    </a:cubicBezTo>
                    <a:moveTo>
                      <a:pt x="1009" y="151"/>
                    </a:moveTo>
                    <a:cubicBezTo>
                      <a:pt x="1006" y="146"/>
                      <a:pt x="1000" y="141"/>
                      <a:pt x="994" y="137"/>
                    </a:cubicBezTo>
                    <a:cubicBezTo>
                      <a:pt x="987" y="134"/>
                      <a:pt x="979" y="130"/>
                      <a:pt x="969" y="126"/>
                    </a:cubicBezTo>
                    <a:cubicBezTo>
                      <a:pt x="960" y="123"/>
                      <a:pt x="952" y="120"/>
                      <a:pt x="947" y="117"/>
                    </a:cubicBezTo>
                    <a:cubicBezTo>
                      <a:pt x="941" y="114"/>
                      <a:pt x="937" y="111"/>
                      <a:pt x="934" y="108"/>
                    </a:cubicBezTo>
                    <a:cubicBezTo>
                      <a:pt x="932" y="106"/>
                      <a:pt x="931" y="102"/>
                      <a:pt x="931" y="98"/>
                    </a:cubicBezTo>
                    <a:cubicBezTo>
                      <a:pt x="931" y="92"/>
                      <a:pt x="933" y="88"/>
                      <a:pt x="939" y="84"/>
                    </a:cubicBezTo>
                    <a:cubicBezTo>
                      <a:pt x="944" y="81"/>
                      <a:pt x="952" y="80"/>
                      <a:pt x="962" y="80"/>
                    </a:cubicBezTo>
                    <a:cubicBezTo>
                      <a:pt x="969" y="80"/>
                      <a:pt x="976" y="81"/>
                      <a:pt x="983" y="82"/>
                    </a:cubicBezTo>
                    <a:cubicBezTo>
                      <a:pt x="990" y="84"/>
                      <a:pt x="997" y="87"/>
                      <a:pt x="1003" y="89"/>
                    </a:cubicBezTo>
                    <a:cubicBezTo>
                      <a:pt x="1011" y="70"/>
                      <a:pt x="1011" y="70"/>
                      <a:pt x="1011" y="70"/>
                    </a:cubicBezTo>
                    <a:cubicBezTo>
                      <a:pt x="1004" y="67"/>
                      <a:pt x="997" y="64"/>
                      <a:pt x="989" y="62"/>
                    </a:cubicBezTo>
                    <a:cubicBezTo>
                      <a:pt x="981" y="60"/>
                      <a:pt x="973" y="59"/>
                      <a:pt x="963" y="59"/>
                    </a:cubicBezTo>
                    <a:cubicBezTo>
                      <a:pt x="947" y="59"/>
                      <a:pt x="933" y="63"/>
                      <a:pt x="923" y="70"/>
                    </a:cubicBezTo>
                    <a:cubicBezTo>
                      <a:pt x="912" y="77"/>
                      <a:pt x="907" y="87"/>
                      <a:pt x="907" y="99"/>
                    </a:cubicBezTo>
                    <a:cubicBezTo>
                      <a:pt x="907" y="107"/>
                      <a:pt x="909" y="114"/>
                      <a:pt x="913" y="119"/>
                    </a:cubicBezTo>
                    <a:cubicBezTo>
                      <a:pt x="917" y="125"/>
                      <a:pt x="922" y="129"/>
                      <a:pt x="929" y="133"/>
                    </a:cubicBezTo>
                    <a:cubicBezTo>
                      <a:pt x="936" y="137"/>
                      <a:pt x="944" y="140"/>
                      <a:pt x="954" y="144"/>
                    </a:cubicBezTo>
                    <a:cubicBezTo>
                      <a:pt x="964" y="148"/>
                      <a:pt x="971" y="151"/>
                      <a:pt x="976" y="154"/>
                    </a:cubicBezTo>
                    <a:cubicBezTo>
                      <a:pt x="982" y="157"/>
                      <a:pt x="986" y="160"/>
                      <a:pt x="988" y="163"/>
                    </a:cubicBezTo>
                    <a:cubicBezTo>
                      <a:pt x="990" y="166"/>
                      <a:pt x="991" y="169"/>
                      <a:pt x="991" y="173"/>
                    </a:cubicBezTo>
                    <a:cubicBezTo>
                      <a:pt x="991" y="180"/>
                      <a:pt x="988" y="185"/>
                      <a:pt x="982" y="189"/>
                    </a:cubicBezTo>
                    <a:cubicBezTo>
                      <a:pt x="977" y="193"/>
                      <a:pt x="968" y="195"/>
                      <a:pt x="955" y="195"/>
                    </a:cubicBezTo>
                    <a:cubicBezTo>
                      <a:pt x="946" y="195"/>
                      <a:pt x="938" y="194"/>
                      <a:pt x="929" y="191"/>
                    </a:cubicBezTo>
                    <a:cubicBezTo>
                      <a:pt x="921" y="189"/>
                      <a:pt x="913" y="186"/>
                      <a:pt x="907" y="183"/>
                    </a:cubicBezTo>
                    <a:cubicBezTo>
                      <a:pt x="907" y="206"/>
                      <a:pt x="907" y="206"/>
                      <a:pt x="907" y="206"/>
                    </a:cubicBezTo>
                    <a:cubicBezTo>
                      <a:pt x="913" y="209"/>
                      <a:pt x="920" y="211"/>
                      <a:pt x="927" y="213"/>
                    </a:cubicBezTo>
                    <a:cubicBezTo>
                      <a:pt x="935" y="214"/>
                      <a:pt x="944" y="215"/>
                      <a:pt x="955" y="215"/>
                    </a:cubicBezTo>
                    <a:cubicBezTo>
                      <a:pt x="973" y="215"/>
                      <a:pt x="987" y="211"/>
                      <a:pt x="998" y="204"/>
                    </a:cubicBezTo>
                    <a:cubicBezTo>
                      <a:pt x="1009" y="196"/>
                      <a:pt x="1014" y="185"/>
                      <a:pt x="1014" y="171"/>
                    </a:cubicBezTo>
                    <a:cubicBezTo>
                      <a:pt x="1014" y="163"/>
                      <a:pt x="1013" y="156"/>
                      <a:pt x="1009" y="151"/>
                    </a:cubicBezTo>
                    <a:moveTo>
                      <a:pt x="789" y="65"/>
                    </a:moveTo>
                    <a:cubicBezTo>
                      <a:pt x="780" y="69"/>
                      <a:pt x="773" y="75"/>
                      <a:pt x="769" y="83"/>
                    </a:cubicBezTo>
                    <a:cubicBezTo>
                      <a:pt x="767" y="83"/>
                      <a:pt x="767" y="83"/>
                      <a:pt x="767" y="83"/>
                    </a:cubicBezTo>
                    <a:cubicBezTo>
                      <a:pt x="764" y="62"/>
                      <a:pt x="764" y="62"/>
                      <a:pt x="764" y="62"/>
                    </a:cubicBezTo>
                    <a:cubicBezTo>
                      <a:pt x="744" y="62"/>
                      <a:pt x="744" y="62"/>
                      <a:pt x="744" y="62"/>
                    </a:cubicBezTo>
                    <a:cubicBezTo>
                      <a:pt x="744" y="212"/>
                      <a:pt x="744" y="212"/>
                      <a:pt x="744" y="212"/>
                    </a:cubicBezTo>
                    <a:cubicBezTo>
                      <a:pt x="768" y="212"/>
                      <a:pt x="768" y="212"/>
                      <a:pt x="768" y="212"/>
                    </a:cubicBezTo>
                    <a:cubicBezTo>
                      <a:pt x="768" y="134"/>
                      <a:pt x="768" y="134"/>
                      <a:pt x="768" y="134"/>
                    </a:cubicBezTo>
                    <a:cubicBezTo>
                      <a:pt x="768" y="117"/>
                      <a:pt x="771" y="103"/>
                      <a:pt x="778" y="94"/>
                    </a:cubicBezTo>
                    <a:cubicBezTo>
                      <a:pt x="784" y="85"/>
                      <a:pt x="796" y="80"/>
                      <a:pt x="812" y="80"/>
                    </a:cubicBezTo>
                    <a:cubicBezTo>
                      <a:pt x="835" y="80"/>
                      <a:pt x="846" y="92"/>
                      <a:pt x="846" y="116"/>
                    </a:cubicBezTo>
                    <a:cubicBezTo>
                      <a:pt x="846" y="212"/>
                      <a:pt x="846" y="212"/>
                      <a:pt x="846" y="212"/>
                    </a:cubicBezTo>
                    <a:cubicBezTo>
                      <a:pt x="870" y="212"/>
                      <a:pt x="870" y="212"/>
                      <a:pt x="870" y="212"/>
                    </a:cubicBezTo>
                    <a:cubicBezTo>
                      <a:pt x="870" y="115"/>
                      <a:pt x="870" y="115"/>
                      <a:pt x="870" y="115"/>
                    </a:cubicBezTo>
                    <a:cubicBezTo>
                      <a:pt x="870" y="95"/>
                      <a:pt x="866" y="81"/>
                      <a:pt x="857" y="73"/>
                    </a:cubicBezTo>
                    <a:cubicBezTo>
                      <a:pt x="847" y="64"/>
                      <a:pt x="834" y="59"/>
                      <a:pt x="816" y="59"/>
                    </a:cubicBezTo>
                    <a:cubicBezTo>
                      <a:pt x="806" y="59"/>
                      <a:pt x="797" y="61"/>
                      <a:pt x="789" y="65"/>
                    </a:cubicBezTo>
                    <a:moveTo>
                      <a:pt x="602" y="95"/>
                    </a:moveTo>
                    <a:cubicBezTo>
                      <a:pt x="609" y="85"/>
                      <a:pt x="620" y="80"/>
                      <a:pt x="635" y="80"/>
                    </a:cubicBezTo>
                    <a:cubicBezTo>
                      <a:pt x="650" y="80"/>
                      <a:pt x="662" y="85"/>
                      <a:pt x="669" y="95"/>
                    </a:cubicBezTo>
                    <a:cubicBezTo>
                      <a:pt x="676" y="105"/>
                      <a:pt x="679" y="119"/>
                      <a:pt x="679" y="137"/>
                    </a:cubicBezTo>
                    <a:cubicBezTo>
                      <a:pt x="679" y="155"/>
                      <a:pt x="676" y="169"/>
                      <a:pt x="669" y="179"/>
                    </a:cubicBezTo>
                    <a:cubicBezTo>
                      <a:pt x="662" y="189"/>
                      <a:pt x="650" y="195"/>
                      <a:pt x="635" y="195"/>
                    </a:cubicBezTo>
                    <a:cubicBezTo>
                      <a:pt x="620" y="195"/>
                      <a:pt x="609" y="189"/>
                      <a:pt x="602" y="179"/>
                    </a:cubicBezTo>
                    <a:cubicBezTo>
                      <a:pt x="595" y="169"/>
                      <a:pt x="591" y="155"/>
                      <a:pt x="591" y="137"/>
                    </a:cubicBezTo>
                    <a:cubicBezTo>
                      <a:pt x="591" y="119"/>
                      <a:pt x="595" y="105"/>
                      <a:pt x="602" y="95"/>
                    </a:cubicBezTo>
                    <a:moveTo>
                      <a:pt x="696" y="95"/>
                    </a:moveTo>
                    <a:cubicBezTo>
                      <a:pt x="690" y="83"/>
                      <a:pt x="682" y="75"/>
                      <a:pt x="671" y="69"/>
                    </a:cubicBezTo>
                    <a:cubicBezTo>
                      <a:pt x="661" y="62"/>
                      <a:pt x="649" y="59"/>
                      <a:pt x="636" y="59"/>
                    </a:cubicBezTo>
                    <a:cubicBezTo>
                      <a:pt x="614" y="59"/>
                      <a:pt x="597" y="66"/>
                      <a:pt x="584" y="80"/>
                    </a:cubicBezTo>
                    <a:cubicBezTo>
                      <a:pt x="572" y="93"/>
                      <a:pt x="566" y="112"/>
                      <a:pt x="566" y="137"/>
                    </a:cubicBezTo>
                    <a:cubicBezTo>
                      <a:pt x="566" y="154"/>
                      <a:pt x="569" y="168"/>
                      <a:pt x="575" y="179"/>
                    </a:cubicBezTo>
                    <a:cubicBezTo>
                      <a:pt x="581" y="191"/>
                      <a:pt x="589" y="200"/>
                      <a:pt x="599" y="206"/>
                    </a:cubicBezTo>
                    <a:cubicBezTo>
                      <a:pt x="610" y="212"/>
                      <a:pt x="622" y="215"/>
                      <a:pt x="635" y="215"/>
                    </a:cubicBezTo>
                    <a:cubicBezTo>
                      <a:pt x="656" y="215"/>
                      <a:pt x="673" y="208"/>
                      <a:pt x="686" y="195"/>
                    </a:cubicBezTo>
                    <a:cubicBezTo>
                      <a:pt x="698" y="181"/>
                      <a:pt x="705" y="162"/>
                      <a:pt x="705" y="137"/>
                    </a:cubicBezTo>
                    <a:cubicBezTo>
                      <a:pt x="705" y="120"/>
                      <a:pt x="702" y="106"/>
                      <a:pt x="696" y="95"/>
                    </a:cubicBezTo>
                    <a:moveTo>
                      <a:pt x="500" y="96"/>
                    </a:moveTo>
                    <a:cubicBezTo>
                      <a:pt x="506" y="106"/>
                      <a:pt x="510" y="120"/>
                      <a:pt x="510" y="137"/>
                    </a:cubicBezTo>
                    <a:cubicBezTo>
                      <a:pt x="510" y="148"/>
                      <a:pt x="508" y="158"/>
                      <a:pt x="505" y="167"/>
                    </a:cubicBezTo>
                    <a:cubicBezTo>
                      <a:pt x="502" y="175"/>
                      <a:pt x="498" y="182"/>
                      <a:pt x="492" y="187"/>
                    </a:cubicBezTo>
                    <a:cubicBezTo>
                      <a:pt x="486" y="192"/>
                      <a:pt x="479" y="195"/>
                      <a:pt x="470" y="195"/>
                    </a:cubicBezTo>
                    <a:cubicBezTo>
                      <a:pt x="453" y="195"/>
                      <a:pt x="442" y="190"/>
                      <a:pt x="436" y="180"/>
                    </a:cubicBezTo>
                    <a:cubicBezTo>
                      <a:pt x="430" y="170"/>
                      <a:pt x="427" y="155"/>
                      <a:pt x="427" y="137"/>
                    </a:cubicBezTo>
                    <a:cubicBezTo>
                      <a:pt x="427" y="132"/>
                      <a:pt x="427" y="132"/>
                      <a:pt x="427" y="132"/>
                    </a:cubicBezTo>
                    <a:cubicBezTo>
                      <a:pt x="427" y="115"/>
                      <a:pt x="430" y="102"/>
                      <a:pt x="437" y="93"/>
                    </a:cubicBezTo>
                    <a:cubicBezTo>
                      <a:pt x="443" y="84"/>
                      <a:pt x="454" y="80"/>
                      <a:pt x="469" y="80"/>
                    </a:cubicBezTo>
                    <a:cubicBezTo>
                      <a:pt x="483" y="80"/>
                      <a:pt x="493" y="85"/>
                      <a:pt x="500" y="96"/>
                    </a:cubicBezTo>
                    <a:moveTo>
                      <a:pt x="444" y="66"/>
                    </a:moveTo>
                    <a:cubicBezTo>
                      <a:pt x="437" y="71"/>
                      <a:pt x="431" y="76"/>
                      <a:pt x="427" y="83"/>
                    </a:cubicBezTo>
                    <a:cubicBezTo>
                      <a:pt x="426" y="83"/>
                      <a:pt x="426" y="83"/>
                      <a:pt x="426" y="83"/>
                    </a:cubicBezTo>
                    <a:cubicBezTo>
                      <a:pt x="422" y="62"/>
                      <a:pt x="422" y="62"/>
                      <a:pt x="422" y="62"/>
                    </a:cubicBezTo>
                    <a:cubicBezTo>
                      <a:pt x="402" y="62"/>
                      <a:pt x="402" y="62"/>
                      <a:pt x="402" y="62"/>
                    </a:cubicBezTo>
                    <a:cubicBezTo>
                      <a:pt x="402" y="280"/>
                      <a:pt x="402" y="280"/>
                      <a:pt x="402" y="280"/>
                    </a:cubicBezTo>
                    <a:cubicBezTo>
                      <a:pt x="427" y="280"/>
                      <a:pt x="427" y="280"/>
                      <a:pt x="427" y="280"/>
                    </a:cubicBezTo>
                    <a:cubicBezTo>
                      <a:pt x="427" y="218"/>
                      <a:pt x="427" y="218"/>
                      <a:pt x="427" y="218"/>
                    </a:cubicBezTo>
                    <a:cubicBezTo>
                      <a:pt x="427" y="214"/>
                      <a:pt x="426" y="210"/>
                      <a:pt x="426" y="205"/>
                    </a:cubicBezTo>
                    <a:cubicBezTo>
                      <a:pt x="426" y="200"/>
                      <a:pt x="425" y="196"/>
                      <a:pt x="425" y="193"/>
                    </a:cubicBezTo>
                    <a:cubicBezTo>
                      <a:pt x="427" y="193"/>
                      <a:pt x="427" y="193"/>
                      <a:pt x="427" y="193"/>
                    </a:cubicBezTo>
                    <a:cubicBezTo>
                      <a:pt x="431" y="199"/>
                      <a:pt x="437" y="204"/>
                      <a:pt x="445" y="209"/>
                    </a:cubicBezTo>
                    <a:cubicBezTo>
                      <a:pt x="452" y="213"/>
                      <a:pt x="462" y="215"/>
                      <a:pt x="473" y="215"/>
                    </a:cubicBezTo>
                    <a:cubicBezTo>
                      <a:pt x="492" y="215"/>
                      <a:pt x="507" y="208"/>
                      <a:pt x="518" y="195"/>
                    </a:cubicBezTo>
                    <a:cubicBezTo>
                      <a:pt x="529" y="182"/>
                      <a:pt x="535" y="163"/>
                      <a:pt x="535" y="137"/>
                    </a:cubicBezTo>
                    <a:cubicBezTo>
                      <a:pt x="535" y="111"/>
                      <a:pt x="529" y="92"/>
                      <a:pt x="518" y="79"/>
                    </a:cubicBezTo>
                    <a:cubicBezTo>
                      <a:pt x="507" y="66"/>
                      <a:pt x="492" y="59"/>
                      <a:pt x="473" y="59"/>
                    </a:cubicBezTo>
                    <a:cubicBezTo>
                      <a:pt x="461" y="59"/>
                      <a:pt x="452" y="62"/>
                      <a:pt x="444" y="66"/>
                    </a:cubicBezTo>
                    <a:moveTo>
                      <a:pt x="360" y="151"/>
                    </a:moveTo>
                    <a:cubicBezTo>
                      <a:pt x="357" y="146"/>
                      <a:pt x="352" y="141"/>
                      <a:pt x="345" y="137"/>
                    </a:cubicBezTo>
                    <a:cubicBezTo>
                      <a:pt x="338" y="134"/>
                      <a:pt x="330" y="130"/>
                      <a:pt x="321" y="126"/>
                    </a:cubicBezTo>
                    <a:cubicBezTo>
                      <a:pt x="311" y="123"/>
                      <a:pt x="303" y="120"/>
                      <a:pt x="298" y="117"/>
                    </a:cubicBezTo>
                    <a:cubicBezTo>
                      <a:pt x="292" y="114"/>
                      <a:pt x="288" y="111"/>
                      <a:pt x="286" y="108"/>
                    </a:cubicBezTo>
                    <a:cubicBezTo>
                      <a:pt x="283" y="106"/>
                      <a:pt x="282" y="102"/>
                      <a:pt x="282" y="98"/>
                    </a:cubicBezTo>
                    <a:cubicBezTo>
                      <a:pt x="282" y="92"/>
                      <a:pt x="285" y="88"/>
                      <a:pt x="290" y="84"/>
                    </a:cubicBezTo>
                    <a:cubicBezTo>
                      <a:pt x="295" y="81"/>
                      <a:pt x="303" y="80"/>
                      <a:pt x="313" y="80"/>
                    </a:cubicBezTo>
                    <a:cubicBezTo>
                      <a:pt x="320" y="80"/>
                      <a:pt x="327" y="81"/>
                      <a:pt x="334" y="82"/>
                    </a:cubicBezTo>
                    <a:cubicBezTo>
                      <a:pt x="341" y="84"/>
                      <a:pt x="348" y="87"/>
                      <a:pt x="354" y="89"/>
                    </a:cubicBezTo>
                    <a:cubicBezTo>
                      <a:pt x="363" y="70"/>
                      <a:pt x="363" y="70"/>
                      <a:pt x="363" y="70"/>
                    </a:cubicBezTo>
                    <a:cubicBezTo>
                      <a:pt x="356" y="67"/>
                      <a:pt x="348" y="64"/>
                      <a:pt x="340" y="62"/>
                    </a:cubicBezTo>
                    <a:cubicBezTo>
                      <a:pt x="332" y="60"/>
                      <a:pt x="324" y="59"/>
                      <a:pt x="315" y="59"/>
                    </a:cubicBezTo>
                    <a:cubicBezTo>
                      <a:pt x="298" y="59"/>
                      <a:pt x="284" y="63"/>
                      <a:pt x="274" y="70"/>
                    </a:cubicBezTo>
                    <a:cubicBezTo>
                      <a:pt x="264" y="77"/>
                      <a:pt x="258" y="87"/>
                      <a:pt x="258" y="99"/>
                    </a:cubicBezTo>
                    <a:cubicBezTo>
                      <a:pt x="258" y="107"/>
                      <a:pt x="260" y="114"/>
                      <a:pt x="264" y="119"/>
                    </a:cubicBezTo>
                    <a:cubicBezTo>
                      <a:pt x="268" y="125"/>
                      <a:pt x="273" y="129"/>
                      <a:pt x="280" y="133"/>
                    </a:cubicBezTo>
                    <a:cubicBezTo>
                      <a:pt x="287" y="137"/>
                      <a:pt x="295" y="140"/>
                      <a:pt x="305" y="144"/>
                    </a:cubicBezTo>
                    <a:cubicBezTo>
                      <a:pt x="315" y="148"/>
                      <a:pt x="322" y="151"/>
                      <a:pt x="328" y="154"/>
                    </a:cubicBezTo>
                    <a:cubicBezTo>
                      <a:pt x="333" y="157"/>
                      <a:pt x="337" y="160"/>
                      <a:pt x="339" y="163"/>
                    </a:cubicBezTo>
                    <a:cubicBezTo>
                      <a:pt x="341" y="166"/>
                      <a:pt x="342" y="169"/>
                      <a:pt x="342" y="173"/>
                    </a:cubicBezTo>
                    <a:cubicBezTo>
                      <a:pt x="342" y="180"/>
                      <a:pt x="339" y="185"/>
                      <a:pt x="333" y="189"/>
                    </a:cubicBezTo>
                    <a:cubicBezTo>
                      <a:pt x="328" y="193"/>
                      <a:pt x="319" y="195"/>
                      <a:pt x="306" y="195"/>
                    </a:cubicBezTo>
                    <a:cubicBezTo>
                      <a:pt x="298" y="195"/>
                      <a:pt x="289" y="194"/>
                      <a:pt x="280" y="191"/>
                    </a:cubicBezTo>
                    <a:cubicBezTo>
                      <a:pt x="272" y="189"/>
                      <a:pt x="265" y="186"/>
                      <a:pt x="259" y="183"/>
                    </a:cubicBezTo>
                    <a:cubicBezTo>
                      <a:pt x="259" y="206"/>
                      <a:pt x="259" y="206"/>
                      <a:pt x="259" y="206"/>
                    </a:cubicBezTo>
                    <a:cubicBezTo>
                      <a:pt x="265" y="209"/>
                      <a:pt x="271" y="211"/>
                      <a:pt x="279" y="213"/>
                    </a:cubicBezTo>
                    <a:cubicBezTo>
                      <a:pt x="286" y="214"/>
                      <a:pt x="295" y="215"/>
                      <a:pt x="306" y="215"/>
                    </a:cubicBezTo>
                    <a:cubicBezTo>
                      <a:pt x="324" y="215"/>
                      <a:pt x="339" y="211"/>
                      <a:pt x="349" y="204"/>
                    </a:cubicBezTo>
                    <a:cubicBezTo>
                      <a:pt x="360" y="196"/>
                      <a:pt x="366" y="185"/>
                      <a:pt x="366" y="171"/>
                    </a:cubicBezTo>
                    <a:cubicBezTo>
                      <a:pt x="366" y="163"/>
                      <a:pt x="364" y="156"/>
                      <a:pt x="360" y="151"/>
                    </a:cubicBezTo>
                    <a:moveTo>
                      <a:pt x="195" y="91"/>
                    </a:moveTo>
                    <a:cubicBezTo>
                      <a:pt x="201" y="99"/>
                      <a:pt x="204" y="110"/>
                      <a:pt x="204" y="122"/>
                    </a:cubicBezTo>
                    <a:cubicBezTo>
                      <a:pt x="128" y="122"/>
                      <a:pt x="128" y="122"/>
                      <a:pt x="128" y="122"/>
                    </a:cubicBezTo>
                    <a:cubicBezTo>
                      <a:pt x="129" y="109"/>
                      <a:pt x="133" y="98"/>
                      <a:pt x="140" y="91"/>
                    </a:cubicBezTo>
                    <a:cubicBezTo>
                      <a:pt x="147" y="83"/>
                      <a:pt x="156" y="80"/>
                      <a:pt x="168" y="80"/>
                    </a:cubicBezTo>
                    <a:cubicBezTo>
                      <a:pt x="180" y="80"/>
                      <a:pt x="189" y="84"/>
                      <a:pt x="195" y="91"/>
                    </a:cubicBezTo>
                    <a:moveTo>
                      <a:pt x="133" y="69"/>
                    </a:moveTo>
                    <a:cubicBezTo>
                      <a:pt x="123" y="75"/>
                      <a:pt x="115" y="84"/>
                      <a:pt x="110" y="96"/>
                    </a:cubicBezTo>
                    <a:cubicBezTo>
                      <a:pt x="104" y="108"/>
                      <a:pt x="102" y="122"/>
                      <a:pt x="102" y="138"/>
                    </a:cubicBezTo>
                    <a:cubicBezTo>
                      <a:pt x="102" y="155"/>
                      <a:pt x="105" y="169"/>
                      <a:pt x="111" y="181"/>
                    </a:cubicBezTo>
                    <a:cubicBezTo>
                      <a:pt x="117" y="192"/>
                      <a:pt x="125" y="201"/>
                      <a:pt x="136" y="206"/>
                    </a:cubicBezTo>
                    <a:cubicBezTo>
                      <a:pt x="147" y="212"/>
                      <a:pt x="160" y="215"/>
                      <a:pt x="174" y="215"/>
                    </a:cubicBezTo>
                    <a:cubicBezTo>
                      <a:pt x="184" y="215"/>
                      <a:pt x="193" y="214"/>
                      <a:pt x="200" y="213"/>
                    </a:cubicBezTo>
                    <a:cubicBezTo>
                      <a:pt x="208" y="211"/>
                      <a:pt x="216" y="209"/>
                      <a:pt x="223" y="205"/>
                    </a:cubicBezTo>
                    <a:cubicBezTo>
                      <a:pt x="223" y="184"/>
                      <a:pt x="223" y="184"/>
                      <a:pt x="223" y="184"/>
                    </a:cubicBezTo>
                    <a:cubicBezTo>
                      <a:pt x="215" y="187"/>
                      <a:pt x="208" y="190"/>
                      <a:pt x="200" y="191"/>
                    </a:cubicBezTo>
                    <a:cubicBezTo>
                      <a:pt x="193" y="193"/>
                      <a:pt x="185" y="194"/>
                      <a:pt x="175" y="194"/>
                    </a:cubicBezTo>
                    <a:cubicBezTo>
                      <a:pt x="160" y="194"/>
                      <a:pt x="148" y="190"/>
                      <a:pt x="140" y="181"/>
                    </a:cubicBezTo>
                    <a:cubicBezTo>
                      <a:pt x="132" y="172"/>
                      <a:pt x="127" y="159"/>
                      <a:pt x="127" y="142"/>
                    </a:cubicBezTo>
                    <a:cubicBezTo>
                      <a:pt x="230" y="142"/>
                      <a:pt x="230" y="142"/>
                      <a:pt x="230" y="142"/>
                    </a:cubicBezTo>
                    <a:cubicBezTo>
                      <a:pt x="230" y="127"/>
                      <a:pt x="230" y="127"/>
                      <a:pt x="230" y="127"/>
                    </a:cubicBezTo>
                    <a:cubicBezTo>
                      <a:pt x="230" y="114"/>
                      <a:pt x="227" y="102"/>
                      <a:pt x="222" y="91"/>
                    </a:cubicBezTo>
                    <a:cubicBezTo>
                      <a:pt x="218" y="81"/>
                      <a:pt x="210" y="73"/>
                      <a:pt x="201" y="68"/>
                    </a:cubicBezTo>
                    <a:cubicBezTo>
                      <a:pt x="192" y="62"/>
                      <a:pt x="181" y="59"/>
                      <a:pt x="168" y="59"/>
                    </a:cubicBezTo>
                    <a:cubicBezTo>
                      <a:pt x="155" y="59"/>
                      <a:pt x="143" y="63"/>
                      <a:pt x="133" y="69"/>
                    </a:cubicBezTo>
                    <a:moveTo>
                      <a:pt x="43" y="68"/>
                    </a:moveTo>
                    <a:cubicBezTo>
                      <a:pt x="35" y="74"/>
                      <a:pt x="29" y="81"/>
                      <a:pt x="24" y="90"/>
                    </a:cubicBezTo>
                    <a:cubicBezTo>
                      <a:pt x="23" y="90"/>
                      <a:pt x="23" y="90"/>
                      <a:pt x="23" y="90"/>
                    </a:cubicBezTo>
                    <a:cubicBezTo>
                      <a:pt x="20" y="62"/>
                      <a:pt x="20" y="62"/>
                      <a:pt x="20" y="62"/>
                    </a:cubicBezTo>
                    <a:cubicBezTo>
                      <a:pt x="0" y="62"/>
                      <a:pt x="0" y="62"/>
                      <a:pt x="0" y="62"/>
                    </a:cubicBezTo>
                    <a:cubicBezTo>
                      <a:pt x="0" y="212"/>
                      <a:pt x="0" y="212"/>
                      <a:pt x="0" y="212"/>
                    </a:cubicBezTo>
                    <a:cubicBezTo>
                      <a:pt x="25" y="212"/>
                      <a:pt x="25" y="212"/>
                      <a:pt x="25" y="212"/>
                    </a:cubicBezTo>
                    <a:cubicBezTo>
                      <a:pt x="25" y="132"/>
                      <a:pt x="25" y="132"/>
                      <a:pt x="25" y="132"/>
                    </a:cubicBezTo>
                    <a:cubicBezTo>
                      <a:pt x="25" y="122"/>
                      <a:pt x="27" y="113"/>
                      <a:pt x="31" y="106"/>
                    </a:cubicBezTo>
                    <a:cubicBezTo>
                      <a:pt x="35" y="98"/>
                      <a:pt x="40" y="92"/>
                      <a:pt x="47" y="88"/>
                    </a:cubicBezTo>
                    <a:cubicBezTo>
                      <a:pt x="53" y="84"/>
                      <a:pt x="61" y="82"/>
                      <a:pt x="68" y="82"/>
                    </a:cubicBezTo>
                    <a:cubicBezTo>
                      <a:pt x="71" y="82"/>
                      <a:pt x="73" y="82"/>
                      <a:pt x="76" y="82"/>
                    </a:cubicBezTo>
                    <a:cubicBezTo>
                      <a:pt x="79" y="83"/>
                      <a:pt x="82" y="83"/>
                      <a:pt x="85" y="84"/>
                    </a:cubicBezTo>
                    <a:cubicBezTo>
                      <a:pt x="88" y="61"/>
                      <a:pt x="88" y="61"/>
                      <a:pt x="88" y="61"/>
                    </a:cubicBezTo>
                    <a:cubicBezTo>
                      <a:pt x="85" y="61"/>
                      <a:pt x="82" y="60"/>
                      <a:pt x="79" y="60"/>
                    </a:cubicBezTo>
                    <a:cubicBezTo>
                      <a:pt x="76" y="60"/>
                      <a:pt x="73" y="59"/>
                      <a:pt x="70" y="59"/>
                    </a:cubicBezTo>
                    <a:cubicBezTo>
                      <a:pt x="60" y="59"/>
                      <a:pt x="50" y="62"/>
                      <a:pt x="43" y="68"/>
                    </a:cubicBezTo>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6">
                <a:extLst>
                  <a:ext uri="{FF2B5EF4-FFF2-40B4-BE49-F238E27FC236}">
                    <a16:creationId xmlns:a16="http://schemas.microsoft.com/office/drawing/2014/main" id="{1625827E-65C7-DF49-9572-670B344AC48F}"/>
                  </a:ext>
                </a:extLst>
              </p:cNvPr>
              <p:cNvSpPr>
                <a:spLocks noEditPoints="1"/>
              </p:cNvSpPr>
              <p:nvPr/>
            </p:nvSpPr>
            <p:spPr bwMode="auto">
              <a:xfrm>
                <a:off x="6064250" y="3609975"/>
                <a:ext cx="1009650" cy="211138"/>
              </a:xfrm>
              <a:custGeom>
                <a:avLst/>
                <a:gdLst>
                  <a:gd name="T0" fmla="*/ 1242 w 1345"/>
                  <a:gd name="T1" fmla="*/ 252 h 280"/>
                  <a:gd name="T2" fmla="*/ 1205 w 1345"/>
                  <a:gd name="T3" fmla="*/ 258 h 280"/>
                  <a:gd name="T4" fmla="*/ 1226 w 1345"/>
                  <a:gd name="T5" fmla="*/ 280 h 280"/>
                  <a:gd name="T6" fmla="*/ 1345 w 1345"/>
                  <a:gd name="T7" fmla="*/ 62 h 280"/>
                  <a:gd name="T8" fmla="*/ 1280 w 1345"/>
                  <a:gd name="T9" fmla="*/ 170 h 280"/>
                  <a:gd name="T10" fmla="*/ 1269 w 1345"/>
                  <a:gd name="T11" fmla="*/ 169 h 280"/>
                  <a:gd name="T12" fmla="*/ 1202 w 1345"/>
                  <a:gd name="T13" fmla="*/ 62 h 280"/>
                  <a:gd name="T14" fmla="*/ 1154 w 1345"/>
                  <a:gd name="T15" fmla="*/ 0 h 280"/>
                  <a:gd name="T16" fmla="*/ 1178 w 1345"/>
                  <a:gd name="T17" fmla="*/ 0 h 280"/>
                  <a:gd name="T18" fmla="*/ 1081 w 1345"/>
                  <a:gd name="T19" fmla="*/ 212 h 280"/>
                  <a:gd name="T20" fmla="*/ 1011 w 1345"/>
                  <a:gd name="T21" fmla="*/ 152 h 280"/>
                  <a:gd name="T22" fmla="*/ 947 w 1345"/>
                  <a:gd name="T23" fmla="*/ 189 h 280"/>
                  <a:gd name="T24" fmla="*/ 988 w 1345"/>
                  <a:gd name="T25" fmla="*/ 140 h 280"/>
                  <a:gd name="T26" fmla="*/ 953 w 1345"/>
                  <a:gd name="T27" fmla="*/ 63 h 280"/>
                  <a:gd name="T28" fmla="*/ 957 w 1345"/>
                  <a:gd name="T29" fmla="*/ 83 h 280"/>
                  <a:gd name="T30" fmla="*/ 1011 w 1345"/>
                  <a:gd name="T31" fmla="*/ 113 h 280"/>
                  <a:gd name="T32" fmla="*/ 931 w 1345"/>
                  <a:gd name="T33" fmla="*/ 136 h 280"/>
                  <a:gd name="T34" fmla="*/ 961 w 1345"/>
                  <a:gd name="T35" fmla="*/ 215 h 280"/>
                  <a:gd name="T36" fmla="*/ 1012 w 1345"/>
                  <a:gd name="T37" fmla="*/ 191 h 280"/>
                  <a:gd name="T38" fmla="*/ 1035 w 1345"/>
                  <a:gd name="T39" fmla="*/ 110 h 280"/>
                  <a:gd name="T40" fmla="*/ 953 w 1345"/>
                  <a:gd name="T41" fmla="*/ 63 h 280"/>
                  <a:gd name="T42" fmla="*/ 877 w 1345"/>
                  <a:gd name="T43" fmla="*/ 62 h 280"/>
                  <a:gd name="T44" fmla="*/ 854 w 1345"/>
                  <a:gd name="T45" fmla="*/ 10 h 280"/>
                  <a:gd name="T46" fmla="*/ 865 w 1345"/>
                  <a:gd name="T47" fmla="*/ 37 h 280"/>
                  <a:gd name="T48" fmla="*/ 875 w 1345"/>
                  <a:gd name="T49" fmla="*/ 10 h 280"/>
                  <a:gd name="T50" fmla="*/ 800 w 1345"/>
                  <a:gd name="T51" fmla="*/ 213 h 280"/>
                  <a:gd name="T52" fmla="*/ 799 w 1345"/>
                  <a:gd name="T53" fmla="*/ 191 h 280"/>
                  <a:gd name="T54" fmla="*/ 735 w 1345"/>
                  <a:gd name="T55" fmla="*/ 138 h 280"/>
                  <a:gd name="T56" fmla="*/ 812 w 1345"/>
                  <a:gd name="T57" fmla="*/ 88 h 280"/>
                  <a:gd name="T58" fmla="*/ 780 w 1345"/>
                  <a:gd name="T59" fmla="*/ 59 h 280"/>
                  <a:gd name="T60" fmla="*/ 709 w 1345"/>
                  <a:gd name="T61" fmla="*/ 138 h 280"/>
                  <a:gd name="T62" fmla="*/ 778 w 1345"/>
                  <a:gd name="T63" fmla="*/ 215 h 280"/>
                  <a:gd name="T64" fmla="*/ 570 w 1345"/>
                  <a:gd name="T65" fmla="*/ 83 h 280"/>
                  <a:gd name="T66" fmla="*/ 545 w 1345"/>
                  <a:gd name="T67" fmla="*/ 62 h 280"/>
                  <a:gd name="T68" fmla="*/ 569 w 1345"/>
                  <a:gd name="T69" fmla="*/ 134 h 280"/>
                  <a:gd name="T70" fmla="*/ 647 w 1345"/>
                  <a:gd name="T71" fmla="*/ 116 h 280"/>
                  <a:gd name="T72" fmla="*/ 671 w 1345"/>
                  <a:gd name="T73" fmla="*/ 115 h 280"/>
                  <a:gd name="T74" fmla="*/ 590 w 1345"/>
                  <a:gd name="T75" fmla="*/ 65 h 280"/>
                  <a:gd name="T76" fmla="*/ 430 w 1345"/>
                  <a:gd name="T77" fmla="*/ 195 h 280"/>
                  <a:gd name="T78" fmla="*/ 413 w 1345"/>
                  <a:gd name="T79" fmla="*/ 149 h 280"/>
                  <a:gd name="T80" fmla="*/ 474 w 1345"/>
                  <a:gd name="T81" fmla="*/ 152 h 280"/>
                  <a:gd name="T82" fmla="*/ 401 w 1345"/>
                  <a:gd name="T83" fmla="*/ 91 h 280"/>
                  <a:gd name="T84" fmla="*/ 466 w 1345"/>
                  <a:gd name="T85" fmla="*/ 87 h 280"/>
                  <a:gd name="T86" fmla="*/ 449 w 1345"/>
                  <a:gd name="T87" fmla="*/ 123 h 280"/>
                  <a:gd name="T88" fmla="*/ 390 w 1345"/>
                  <a:gd name="T89" fmla="*/ 204 h 280"/>
                  <a:gd name="T90" fmla="*/ 474 w 1345"/>
                  <a:gd name="T91" fmla="*/ 191 h 280"/>
                  <a:gd name="T92" fmla="*/ 498 w 1345"/>
                  <a:gd name="T93" fmla="*/ 212 h 280"/>
                  <a:gd name="T94" fmla="*/ 444 w 1345"/>
                  <a:gd name="T95" fmla="*/ 60 h 280"/>
                  <a:gd name="T96" fmla="*/ 239 w 1345"/>
                  <a:gd name="T97" fmla="*/ 83 h 280"/>
                  <a:gd name="T98" fmla="*/ 215 w 1345"/>
                  <a:gd name="T99" fmla="*/ 62 h 280"/>
                  <a:gd name="T100" fmla="*/ 239 w 1345"/>
                  <a:gd name="T101" fmla="*/ 134 h 280"/>
                  <a:gd name="T102" fmla="*/ 317 w 1345"/>
                  <a:gd name="T103" fmla="*/ 116 h 280"/>
                  <a:gd name="T104" fmla="*/ 341 w 1345"/>
                  <a:gd name="T105" fmla="*/ 115 h 280"/>
                  <a:gd name="T106" fmla="*/ 260 w 1345"/>
                  <a:gd name="T107" fmla="*/ 65 h 280"/>
                  <a:gd name="T108" fmla="*/ 167 w 1345"/>
                  <a:gd name="T109" fmla="*/ 62 h 280"/>
                  <a:gd name="T110" fmla="*/ 145 w 1345"/>
                  <a:gd name="T111" fmla="*/ 10 h 280"/>
                  <a:gd name="T112" fmla="*/ 155 w 1345"/>
                  <a:gd name="T113" fmla="*/ 37 h 280"/>
                  <a:gd name="T114" fmla="*/ 165 w 1345"/>
                  <a:gd name="T115" fmla="*/ 10 h 280"/>
                  <a:gd name="T116" fmla="*/ 26 w 1345"/>
                  <a:gd name="T117" fmla="*/ 127 h 280"/>
                  <a:gd name="T118" fmla="*/ 26 w 1345"/>
                  <a:gd name="T119" fmla="*/ 105 h 280"/>
                  <a:gd name="T120" fmla="*/ 112 w 1345"/>
                  <a:gd name="T121" fmla="*/ 12 h 280"/>
                  <a:gd name="T122" fmla="*/ 26 w 1345"/>
                  <a:gd name="T123" fmla="*/ 2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45" h="280">
                    <a:moveTo>
                      <a:pt x="1263" y="213"/>
                    </a:moveTo>
                    <a:cubicBezTo>
                      <a:pt x="1255" y="233"/>
                      <a:pt x="1255" y="233"/>
                      <a:pt x="1255" y="233"/>
                    </a:cubicBezTo>
                    <a:cubicBezTo>
                      <a:pt x="1252" y="241"/>
                      <a:pt x="1248" y="247"/>
                      <a:pt x="1242" y="252"/>
                    </a:cubicBezTo>
                    <a:cubicBezTo>
                      <a:pt x="1237" y="257"/>
                      <a:pt x="1230" y="259"/>
                      <a:pt x="1222" y="259"/>
                    </a:cubicBezTo>
                    <a:cubicBezTo>
                      <a:pt x="1219" y="259"/>
                      <a:pt x="1216" y="259"/>
                      <a:pt x="1213" y="259"/>
                    </a:cubicBezTo>
                    <a:cubicBezTo>
                      <a:pt x="1210" y="258"/>
                      <a:pt x="1207" y="258"/>
                      <a:pt x="1205" y="258"/>
                    </a:cubicBezTo>
                    <a:cubicBezTo>
                      <a:pt x="1205" y="277"/>
                      <a:pt x="1205" y="277"/>
                      <a:pt x="1205" y="277"/>
                    </a:cubicBezTo>
                    <a:cubicBezTo>
                      <a:pt x="1208" y="278"/>
                      <a:pt x="1211" y="278"/>
                      <a:pt x="1214" y="279"/>
                    </a:cubicBezTo>
                    <a:cubicBezTo>
                      <a:pt x="1217" y="279"/>
                      <a:pt x="1221" y="280"/>
                      <a:pt x="1226" y="280"/>
                    </a:cubicBezTo>
                    <a:cubicBezTo>
                      <a:pt x="1240" y="280"/>
                      <a:pt x="1252" y="275"/>
                      <a:pt x="1260" y="267"/>
                    </a:cubicBezTo>
                    <a:cubicBezTo>
                      <a:pt x="1268" y="259"/>
                      <a:pt x="1275" y="247"/>
                      <a:pt x="1280" y="233"/>
                    </a:cubicBezTo>
                    <a:cubicBezTo>
                      <a:pt x="1345" y="62"/>
                      <a:pt x="1345" y="62"/>
                      <a:pt x="1345" y="62"/>
                    </a:cubicBezTo>
                    <a:cubicBezTo>
                      <a:pt x="1318" y="62"/>
                      <a:pt x="1318" y="62"/>
                      <a:pt x="1318" y="62"/>
                    </a:cubicBezTo>
                    <a:cubicBezTo>
                      <a:pt x="1288" y="147"/>
                      <a:pt x="1288" y="147"/>
                      <a:pt x="1288" y="147"/>
                    </a:cubicBezTo>
                    <a:cubicBezTo>
                      <a:pt x="1285" y="155"/>
                      <a:pt x="1283" y="163"/>
                      <a:pt x="1280" y="170"/>
                    </a:cubicBezTo>
                    <a:cubicBezTo>
                      <a:pt x="1278" y="178"/>
                      <a:pt x="1276" y="184"/>
                      <a:pt x="1275" y="189"/>
                    </a:cubicBezTo>
                    <a:cubicBezTo>
                      <a:pt x="1274" y="189"/>
                      <a:pt x="1274" y="189"/>
                      <a:pt x="1274" y="189"/>
                    </a:cubicBezTo>
                    <a:cubicBezTo>
                      <a:pt x="1273" y="182"/>
                      <a:pt x="1271" y="176"/>
                      <a:pt x="1269" y="169"/>
                    </a:cubicBezTo>
                    <a:cubicBezTo>
                      <a:pt x="1267" y="162"/>
                      <a:pt x="1264" y="155"/>
                      <a:pt x="1261" y="148"/>
                    </a:cubicBezTo>
                    <a:cubicBezTo>
                      <a:pt x="1229" y="62"/>
                      <a:pt x="1229" y="62"/>
                      <a:pt x="1229" y="62"/>
                    </a:cubicBezTo>
                    <a:cubicBezTo>
                      <a:pt x="1202" y="62"/>
                      <a:pt x="1202" y="62"/>
                      <a:pt x="1202" y="62"/>
                    </a:cubicBezTo>
                    <a:lnTo>
                      <a:pt x="1263" y="213"/>
                    </a:lnTo>
                    <a:close/>
                    <a:moveTo>
                      <a:pt x="1178" y="0"/>
                    </a:moveTo>
                    <a:cubicBezTo>
                      <a:pt x="1154" y="0"/>
                      <a:pt x="1154" y="0"/>
                      <a:pt x="1154" y="0"/>
                    </a:cubicBezTo>
                    <a:cubicBezTo>
                      <a:pt x="1154" y="212"/>
                      <a:pt x="1154" y="212"/>
                      <a:pt x="1154" y="212"/>
                    </a:cubicBezTo>
                    <a:cubicBezTo>
                      <a:pt x="1178" y="212"/>
                      <a:pt x="1178" y="212"/>
                      <a:pt x="1178" y="212"/>
                    </a:cubicBezTo>
                    <a:lnTo>
                      <a:pt x="1178" y="0"/>
                    </a:lnTo>
                    <a:close/>
                    <a:moveTo>
                      <a:pt x="1106" y="0"/>
                    </a:moveTo>
                    <a:cubicBezTo>
                      <a:pt x="1081" y="0"/>
                      <a:pt x="1081" y="0"/>
                      <a:pt x="1081" y="0"/>
                    </a:cubicBezTo>
                    <a:cubicBezTo>
                      <a:pt x="1081" y="212"/>
                      <a:pt x="1081" y="212"/>
                      <a:pt x="1081" y="212"/>
                    </a:cubicBezTo>
                    <a:cubicBezTo>
                      <a:pt x="1106" y="212"/>
                      <a:pt x="1106" y="212"/>
                      <a:pt x="1106" y="212"/>
                    </a:cubicBezTo>
                    <a:lnTo>
                      <a:pt x="1106" y="0"/>
                    </a:lnTo>
                    <a:close/>
                    <a:moveTo>
                      <a:pt x="1011" y="152"/>
                    </a:moveTo>
                    <a:cubicBezTo>
                      <a:pt x="1011" y="167"/>
                      <a:pt x="1006" y="178"/>
                      <a:pt x="998" y="185"/>
                    </a:cubicBezTo>
                    <a:cubicBezTo>
                      <a:pt x="989" y="192"/>
                      <a:pt x="979" y="195"/>
                      <a:pt x="966" y="195"/>
                    </a:cubicBezTo>
                    <a:cubicBezTo>
                      <a:pt x="958" y="195"/>
                      <a:pt x="952" y="193"/>
                      <a:pt x="947" y="189"/>
                    </a:cubicBezTo>
                    <a:cubicBezTo>
                      <a:pt x="941" y="185"/>
                      <a:pt x="939" y="179"/>
                      <a:pt x="939" y="171"/>
                    </a:cubicBezTo>
                    <a:cubicBezTo>
                      <a:pt x="939" y="161"/>
                      <a:pt x="943" y="154"/>
                      <a:pt x="950" y="149"/>
                    </a:cubicBezTo>
                    <a:cubicBezTo>
                      <a:pt x="957" y="144"/>
                      <a:pt x="970" y="141"/>
                      <a:pt x="988" y="140"/>
                    </a:cubicBezTo>
                    <a:cubicBezTo>
                      <a:pt x="1011" y="139"/>
                      <a:pt x="1011" y="139"/>
                      <a:pt x="1011" y="139"/>
                    </a:cubicBezTo>
                    <a:lnTo>
                      <a:pt x="1011" y="152"/>
                    </a:lnTo>
                    <a:close/>
                    <a:moveTo>
                      <a:pt x="953" y="63"/>
                    </a:moveTo>
                    <a:cubicBezTo>
                      <a:pt x="944" y="66"/>
                      <a:pt x="936" y="69"/>
                      <a:pt x="930" y="73"/>
                    </a:cubicBezTo>
                    <a:cubicBezTo>
                      <a:pt x="938" y="91"/>
                      <a:pt x="938" y="91"/>
                      <a:pt x="938" y="91"/>
                    </a:cubicBezTo>
                    <a:cubicBezTo>
                      <a:pt x="944" y="88"/>
                      <a:pt x="950" y="85"/>
                      <a:pt x="957" y="83"/>
                    </a:cubicBezTo>
                    <a:cubicBezTo>
                      <a:pt x="964" y="81"/>
                      <a:pt x="972" y="80"/>
                      <a:pt x="980" y="80"/>
                    </a:cubicBezTo>
                    <a:cubicBezTo>
                      <a:pt x="990" y="80"/>
                      <a:pt x="997" y="82"/>
                      <a:pt x="1003" y="87"/>
                    </a:cubicBezTo>
                    <a:cubicBezTo>
                      <a:pt x="1008" y="92"/>
                      <a:pt x="1011" y="100"/>
                      <a:pt x="1011" y="113"/>
                    </a:cubicBezTo>
                    <a:cubicBezTo>
                      <a:pt x="1011" y="122"/>
                      <a:pt x="1011" y="122"/>
                      <a:pt x="1011" y="122"/>
                    </a:cubicBezTo>
                    <a:cubicBezTo>
                      <a:pt x="985" y="123"/>
                      <a:pt x="985" y="123"/>
                      <a:pt x="985" y="123"/>
                    </a:cubicBezTo>
                    <a:cubicBezTo>
                      <a:pt x="961" y="123"/>
                      <a:pt x="943" y="128"/>
                      <a:pt x="931" y="136"/>
                    </a:cubicBezTo>
                    <a:cubicBezTo>
                      <a:pt x="919" y="144"/>
                      <a:pt x="913" y="156"/>
                      <a:pt x="913" y="171"/>
                    </a:cubicBezTo>
                    <a:cubicBezTo>
                      <a:pt x="913" y="186"/>
                      <a:pt x="918" y="197"/>
                      <a:pt x="927" y="204"/>
                    </a:cubicBezTo>
                    <a:cubicBezTo>
                      <a:pt x="936" y="212"/>
                      <a:pt x="947" y="215"/>
                      <a:pt x="961" y="215"/>
                    </a:cubicBezTo>
                    <a:cubicBezTo>
                      <a:pt x="973" y="215"/>
                      <a:pt x="983" y="213"/>
                      <a:pt x="990" y="209"/>
                    </a:cubicBezTo>
                    <a:cubicBezTo>
                      <a:pt x="998" y="205"/>
                      <a:pt x="1005" y="199"/>
                      <a:pt x="1011" y="191"/>
                    </a:cubicBezTo>
                    <a:cubicBezTo>
                      <a:pt x="1012" y="191"/>
                      <a:pt x="1012" y="191"/>
                      <a:pt x="1012" y="191"/>
                    </a:cubicBezTo>
                    <a:cubicBezTo>
                      <a:pt x="1017" y="212"/>
                      <a:pt x="1017" y="212"/>
                      <a:pt x="1017" y="212"/>
                    </a:cubicBezTo>
                    <a:cubicBezTo>
                      <a:pt x="1035" y="212"/>
                      <a:pt x="1035" y="212"/>
                      <a:pt x="1035" y="212"/>
                    </a:cubicBezTo>
                    <a:cubicBezTo>
                      <a:pt x="1035" y="110"/>
                      <a:pt x="1035" y="110"/>
                      <a:pt x="1035" y="110"/>
                    </a:cubicBezTo>
                    <a:cubicBezTo>
                      <a:pt x="1035" y="93"/>
                      <a:pt x="1031" y="80"/>
                      <a:pt x="1022" y="72"/>
                    </a:cubicBezTo>
                    <a:cubicBezTo>
                      <a:pt x="1013" y="64"/>
                      <a:pt x="999" y="60"/>
                      <a:pt x="981" y="60"/>
                    </a:cubicBezTo>
                    <a:cubicBezTo>
                      <a:pt x="971" y="60"/>
                      <a:pt x="962" y="61"/>
                      <a:pt x="953" y="63"/>
                    </a:cubicBezTo>
                    <a:moveTo>
                      <a:pt x="852" y="212"/>
                    </a:moveTo>
                    <a:cubicBezTo>
                      <a:pt x="877" y="212"/>
                      <a:pt x="877" y="212"/>
                      <a:pt x="877" y="212"/>
                    </a:cubicBezTo>
                    <a:cubicBezTo>
                      <a:pt x="877" y="62"/>
                      <a:pt x="877" y="62"/>
                      <a:pt x="877" y="62"/>
                    </a:cubicBezTo>
                    <a:cubicBezTo>
                      <a:pt x="852" y="62"/>
                      <a:pt x="852" y="62"/>
                      <a:pt x="852" y="62"/>
                    </a:cubicBezTo>
                    <a:lnTo>
                      <a:pt x="852" y="212"/>
                    </a:lnTo>
                    <a:close/>
                    <a:moveTo>
                      <a:pt x="854" y="10"/>
                    </a:moveTo>
                    <a:cubicBezTo>
                      <a:pt x="852" y="12"/>
                      <a:pt x="850" y="16"/>
                      <a:pt x="850" y="22"/>
                    </a:cubicBezTo>
                    <a:cubicBezTo>
                      <a:pt x="850" y="27"/>
                      <a:pt x="852" y="31"/>
                      <a:pt x="854" y="34"/>
                    </a:cubicBezTo>
                    <a:cubicBezTo>
                      <a:pt x="857" y="36"/>
                      <a:pt x="861" y="37"/>
                      <a:pt x="865" y="37"/>
                    </a:cubicBezTo>
                    <a:cubicBezTo>
                      <a:pt x="868" y="37"/>
                      <a:pt x="872" y="36"/>
                      <a:pt x="875" y="34"/>
                    </a:cubicBezTo>
                    <a:cubicBezTo>
                      <a:pt x="878" y="31"/>
                      <a:pt x="879" y="27"/>
                      <a:pt x="879" y="22"/>
                    </a:cubicBezTo>
                    <a:cubicBezTo>
                      <a:pt x="879" y="16"/>
                      <a:pt x="878" y="12"/>
                      <a:pt x="875" y="10"/>
                    </a:cubicBezTo>
                    <a:cubicBezTo>
                      <a:pt x="872" y="7"/>
                      <a:pt x="868" y="6"/>
                      <a:pt x="865" y="6"/>
                    </a:cubicBezTo>
                    <a:cubicBezTo>
                      <a:pt x="861" y="6"/>
                      <a:pt x="857" y="7"/>
                      <a:pt x="854" y="10"/>
                    </a:cubicBezTo>
                    <a:moveTo>
                      <a:pt x="800" y="213"/>
                    </a:moveTo>
                    <a:cubicBezTo>
                      <a:pt x="806" y="212"/>
                      <a:pt x="812" y="210"/>
                      <a:pt x="817" y="207"/>
                    </a:cubicBezTo>
                    <a:cubicBezTo>
                      <a:pt x="817" y="185"/>
                      <a:pt x="817" y="185"/>
                      <a:pt x="817" y="185"/>
                    </a:cubicBezTo>
                    <a:cubicBezTo>
                      <a:pt x="811" y="188"/>
                      <a:pt x="806" y="190"/>
                      <a:pt x="799" y="191"/>
                    </a:cubicBezTo>
                    <a:cubicBezTo>
                      <a:pt x="793" y="193"/>
                      <a:pt x="786" y="194"/>
                      <a:pt x="778" y="194"/>
                    </a:cubicBezTo>
                    <a:cubicBezTo>
                      <a:pt x="763" y="194"/>
                      <a:pt x="753" y="189"/>
                      <a:pt x="746" y="179"/>
                    </a:cubicBezTo>
                    <a:cubicBezTo>
                      <a:pt x="738" y="170"/>
                      <a:pt x="735" y="156"/>
                      <a:pt x="735" y="138"/>
                    </a:cubicBezTo>
                    <a:cubicBezTo>
                      <a:pt x="735" y="100"/>
                      <a:pt x="750" y="81"/>
                      <a:pt x="779" y="81"/>
                    </a:cubicBezTo>
                    <a:cubicBezTo>
                      <a:pt x="784" y="81"/>
                      <a:pt x="790" y="82"/>
                      <a:pt x="796" y="83"/>
                    </a:cubicBezTo>
                    <a:cubicBezTo>
                      <a:pt x="802" y="85"/>
                      <a:pt x="807" y="86"/>
                      <a:pt x="812" y="88"/>
                    </a:cubicBezTo>
                    <a:cubicBezTo>
                      <a:pt x="819" y="68"/>
                      <a:pt x="819" y="68"/>
                      <a:pt x="819" y="68"/>
                    </a:cubicBezTo>
                    <a:cubicBezTo>
                      <a:pt x="815" y="65"/>
                      <a:pt x="809" y="63"/>
                      <a:pt x="802" y="62"/>
                    </a:cubicBezTo>
                    <a:cubicBezTo>
                      <a:pt x="794" y="60"/>
                      <a:pt x="787" y="59"/>
                      <a:pt x="780" y="59"/>
                    </a:cubicBezTo>
                    <a:cubicBezTo>
                      <a:pt x="766" y="59"/>
                      <a:pt x="754" y="62"/>
                      <a:pt x="743" y="68"/>
                    </a:cubicBezTo>
                    <a:cubicBezTo>
                      <a:pt x="733" y="73"/>
                      <a:pt x="724" y="81"/>
                      <a:pt x="718" y="93"/>
                    </a:cubicBezTo>
                    <a:cubicBezTo>
                      <a:pt x="712" y="105"/>
                      <a:pt x="709" y="120"/>
                      <a:pt x="709" y="138"/>
                    </a:cubicBezTo>
                    <a:cubicBezTo>
                      <a:pt x="709" y="156"/>
                      <a:pt x="712" y="170"/>
                      <a:pt x="718" y="182"/>
                    </a:cubicBezTo>
                    <a:cubicBezTo>
                      <a:pt x="724" y="193"/>
                      <a:pt x="732" y="202"/>
                      <a:pt x="742" y="207"/>
                    </a:cubicBezTo>
                    <a:cubicBezTo>
                      <a:pt x="753" y="212"/>
                      <a:pt x="764" y="215"/>
                      <a:pt x="778" y="215"/>
                    </a:cubicBezTo>
                    <a:cubicBezTo>
                      <a:pt x="787" y="215"/>
                      <a:pt x="794" y="214"/>
                      <a:pt x="800" y="213"/>
                    </a:cubicBezTo>
                    <a:moveTo>
                      <a:pt x="590" y="65"/>
                    </a:moveTo>
                    <a:cubicBezTo>
                      <a:pt x="581" y="69"/>
                      <a:pt x="574" y="75"/>
                      <a:pt x="570" y="83"/>
                    </a:cubicBezTo>
                    <a:cubicBezTo>
                      <a:pt x="568" y="83"/>
                      <a:pt x="568" y="83"/>
                      <a:pt x="568" y="83"/>
                    </a:cubicBezTo>
                    <a:cubicBezTo>
                      <a:pt x="565" y="62"/>
                      <a:pt x="565" y="62"/>
                      <a:pt x="565" y="62"/>
                    </a:cubicBezTo>
                    <a:cubicBezTo>
                      <a:pt x="545" y="62"/>
                      <a:pt x="545" y="62"/>
                      <a:pt x="545" y="62"/>
                    </a:cubicBezTo>
                    <a:cubicBezTo>
                      <a:pt x="545" y="212"/>
                      <a:pt x="545" y="212"/>
                      <a:pt x="545" y="212"/>
                    </a:cubicBezTo>
                    <a:cubicBezTo>
                      <a:pt x="569" y="212"/>
                      <a:pt x="569" y="212"/>
                      <a:pt x="569" y="212"/>
                    </a:cubicBezTo>
                    <a:cubicBezTo>
                      <a:pt x="569" y="134"/>
                      <a:pt x="569" y="134"/>
                      <a:pt x="569" y="134"/>
                    </a:cubicBezTo>
                    <a:cubicBezTo>
                      <a:pt x="569" y="117"/>
                      <a:pt x="572" y="103"/>
                      <a:pt x="579" y="94"/>
                    </a:cubicBezTo>
                    <a:cubicBezTo>
                      <a:pt x="585" y="85"/>
                      <a:pt x="597" y="80"/>
                      <a:pt x="613" y="80"/>
                    </a:cubicBezTo>
                    <a:cubicBezTo>
                      <a:pt x="636" y="80"/>
                      <a:pt x="647" y="92"/>
                      <a:pt x="647" y="116"/>
                    </a:cubicBezTo>
                    <a:cubicBezTo>
                      <a:pt x="647" y="212"/>
                      <a:pt x="647" y="212"/>
                      <a:pt x="647" y="212"/>
                    </a:cubicBezTo>
                    <a:cubicBezTo>
                      <a:pt x="671" y="212"/>
                      <a:pt x="671" y="212"/>
                      <a:pt x="671" y="212"/>
                    </a:cubicBezTo>
                    <a:cubicBezTo>
                      <a:pt x="671" y="115"/>
                      <a:pt x="671" y="115"/>
                      <a:pt x="671" y="115"/>
                    </a:cubicBezTo>
                    <a:cubicBezTo>
                      <a:pt x="671" y="95"/>
                      <a:pt x="667" y="81"/>
                      <a:pt x="658" y="73"/>
                    </a:cubicBezTo>
                    <a:cubicBezTo>
                      <a:pt x="648" y="64"/>
                      <a:pt x="635" y="59"/>
                      <a:pt x="617" y="59"/>
                    </a:cubicBezTo>
                    <a:cubicBezTo>
                      <a:pt x="607" y="59"/>
                      <a:pt x="598" y="61"/>
                      <a:pt x="590" y="65"/>
                    </a:cubicBezTo>
                    <a:moveTo>
                      <a:pt x="474" y="152"/>
                    </a:moveTo>
                    <a:cubicBezTo>
                      <a:pt x="474" y="167"/>
                      <a:pt x="470" y="178"/>
                      <a:pt x="461" y="185"/>
                    </a:cubicBezTo>
                    <a:cubicBezTo>
                      <a:pt x="453" y="192"/>
                      <a:pt x="442" y="195"/>
                      <a:pt x="430" y="195"/>
                    </a:cubicBezTo>
                    <a:cubicBezTo>
                      <a:pt x="422" y="195"/>
                      <a:pt x="415" y="193"/>
                      <a:pt x="410" y="189"/>
                    </a:cubicBezTo>
                    <a:cubicBezTo>
                      <a:pt x="405" y="185"/>
                      <a:pt x="402" y="179"/>
                      <a:pt x="402" y="171"/>
                    </a:cubicBezTo>
                    <a:cubicBezTo>
                      <a:pt x="402" y="161"/>
                      <a:pt x="406" y="154"/>
                      <a:pt x="413" y="149"/>
                    </a:cubicBezTo>
                    <a:cubicBezTo>
                      <a:pt x="420" y="144"/>
                      <a:pt x="433" y="141"/>
                      <a:pt x="452" y="140"/>
                    </a:cubicBezTo>
                    <a:cubicBezTo>
                      <a:pt x="474" y="139"/>
                      <a:pt x="474" y="139"/>
                      <a:pt x="474" y="139"/>
                    </a:cubicBezTo>
                    <a:lnTo>
                      <a:pt x="474" y="152"/>
                    </a:lnTo>
                    <a:close/>
                    <a:moveTo>
                      <a:pt x="416" y="63"/>
                    </a:moveTo>
                    <a:cubicBezTo>
                      <a:pt x="407" y="66"/>
                      <a:pt x="400" y="69"/>
                      <a:pt x="393" y="73"/>
                    </a:cubicBezTo>
                    <a:cubicBezTo>
                      <a:pt x="401" y="91"/>
                      <a:pt x="401" y="91"/>
                      <a:pt x="401" y="91"/>
                    </a:cubicBezTo>
                    <a:cubicBezTo>
                      <a:pt x="407" y="88"/>
                      <a:pt x="414" y="85"/>
                      <a:pt x="421" y="83"/>
                    </a:cubicBezTo>
                    <a:cubicBezTo>
                      <a:pt x="428" y="81"/>
                      <a:pt x="435" y="80"/>
                      <a:pt x="443" y="80"/>
                    </a:cubicBezTo>
                    <a:cubicBezTo>
                      <a:pt x="453" y="80"/>
                      <a:pt x="461" y="82"/>
                      <a:pt x="466" y="87"/>
                    </a:cubicBezTo>
                    <a:cubicBezTo>
                      <a:pt x="471" y="92"/>
                      <a:pt x="474" y="100"/>
                      <a:pt x="474" y="113"/>
                    </a:cubicBezTo>
                    <a:cubicBezTo>
                      <a:pt x="474" y="122"/>
                      <a:pt x="474" y="122"/>
                      <a:pt x="474" y="122"/>
                    </a:cubicBezTo>
                    <a:cubicBezTo>
                      <a:pt x="449" y="123"/>
                      <a:pt x="449" y="123"/>
                      <a:pt x="449" y="123"/>
                    </a:cubicBezTo>
                    <a:cubicBezTo>
                      <a:pt x="424" y="123"/>
                      <a:pt x="406" y="128"/>
                      <a:pt x="394" y="136"/>
                    </a:cubicBezTo>
                    <a:cubicBezTo>
                      <a:pt x="383" y="144"/>
                      <a:pt x="377" y="156"/>
                      <a:pt x="377" y="171"/>
                    </a:cubicBezTo>
                    <a:cubicBezTo>
                      <a:pt x="377" y="186"/>
                      <a:pt x="381" y="197"/>
                      <a:pt x="390" y="204"/>
                    </a:cubicBezTo>
                    <a:cubicBezTo>
                      <a:pt x="399" y="212"/>
                      <a:pt x="410" y="215"/>
                      <a:pt x="424" y="215"/>
                    </a:cubicBezTo>
                    <a:cubicBezTo>
                      <a:pt x="437" y="215"/>
                      <a:pt x="446" y="213"/>
                      <a:pt x="454" y="209"/>
                    </a:cubicBezTo>
                    <a:cubicBezTo>
                      <a:pt x="461" y="205"/>
                      <a:pt x="468" y="199"/>
                      <a:pt x="474" y="191"/>
                    </a:cubicBezTo>
                    <a:cubicBezTo>
                      <a:pt x="476" y="191"/>
                      <a:pt x="476" y="191"/>
                      <a:pt x="476" y="191"/>
                    </a:cubicBezTo>
                    <a:cubicBezTo>
                      <a:pt x="480" y="212"/>
                      <a:pt x="480" y="212"/>
                      <a:pt x="480" y="212"/>
                    </a:cubicBezTo>
                    <a:cubicBezTo>
                      <a:pt x="498" y="212"/>
                      <a:pt x="498" y="212"/>
                      <a:pt x="498" y="212"/>
                    </a:cubicBezTo>
                    <a:cubicBezTo>
                      <a:pt x="498" y="110"/>
                      <a:pt x="498" y="110"/>
                      <a:pt x="498" y="110"/>
                    </a:cubicBezTo>
                    <a:cubicBezTo>
                      <a:pt x="498" y="93"/>
                      <a:pt x="494" y="80"/>
                      <a:pt x="485" y="72"/>
                    </a:cubicBezTo>
                    <a:cubicBezTo>
                      <a:pt x="476" y="64"/>
                      <a:pt x="463" y="60"/>
                      <a:pt x="444" y="60"/>
                    </a:cubicBezTo>
                    <a:cubicBezTo>
                      <a:pt x="435" y="60"/>
                      <a:pt x="425" y="61"/>
                      <a:pt x="416" y="63"/>
                    </a:cubicBezTo>
                    <a:moveTo>
                      <a:pt x="260" y="65"/>
                    </a:moveTo>
                    <a:cubicBezTo>
                      <a:pt x="251" y="69"/>
                      <a:pt x="244" y="75"/>
                      <a:pt x="239" y="83"/>
                    </a:cubicBezTo>
                    <a:cubicBezTo>
                      <a:pt x="238" y="83"/>
                      <a:pt x="238" y="83"/>
                      <a:pt x="238" y="83"/>
                    </a:cubicBezTo>
                    <a:cubicBezTo>
                      <a:pt x="234" y="62"/>
                      <a:pt x="234" y="62"/>
                      <a:pt x="234" y="62"/>
                    </a:cubicBezTo>
                    <a:cubicBezTo>
                      <a:pt x="215" y="62"/>
                      <a:pt x="215" y="62"/>
                      <a:pt x="215" y="62"/>
                    </a:cubicBezTo>
                    <a:cubicBezTo>
                      <a:pt x="215" y="212"/>
                      <a:pt x="215" y="212"/>
                      <a:pt x="215" y="212"/>
                    </a:cubicBezTo>
                    <a:cubicBezTo>
                      <a:pt x="239" y="212"/>
                      <a:pt x="239" y="212"/>
                      <a:pt x="239" y="212"/>
                    </a:cubicBezTo>
                    <a:cubicBezTo>
                      <a:pt x="239" y="134"/>
                      <a:pt x="239" y="134"/>
                      <a:pt x="239" y="134"/>
                    </a:cubicBezTo>
                    <a:cubicBezTo>
                      <a:pt x="239" y="117"/>
                      <a:pt x="242" y="103"/>
                      <a:pt x="249" y="94"/>
                    </a:cubicBezTo>
                    <a:cubicBezTo>
                      <a:pt x="255" y="85"/>
                      <a:pt x="267" y="80"/>
                      <a:pt x="283" y="80"/>
                    </a:cubicBezTo>
                    <a:cubicBezTo>
                      <a:pt x="306" y="80"/>
                      <a:pt x="317" y="92"/>
                      <a:pt x="317" y="116"/>
                    </a:cubicBezTo>
                    <a:cubicBezTo>
                      <a:pt x="317" y="212"/>
                      <a:pt x="317" y="212"/>
                      <a:pt x="317" y="212"/>
                    </a:cubicBezTo>
                    <a:cubicBezTo>
                      <a:pt x="341" y="212"/>
                      <a:pt x="341" y="212"/>
                      <a:pt x="341" y="212"/>
                    </a:cubicBezTo>
                    <a:cubicBezTo>
                      <a:pt x="341" y="115"/>
                      <a:pt x="341" y="115"/>
                      <a:pt x="341" y="115"/>
                    </a:cubicBezTo>
                    <a:cubicBezTo>
                      <a:pt x="341" y="95"/>
                      <a:pt x="337" y="81"/>
                      <a:pt x="327" y="73"/>
                    </a:cubicBezTo>
                    <a:cubicBezTo>
                      <a:pt x="318" y="64"/>
                      <a:pt x="305" y="59"/>
                      <a:pt x="287" y="59"/>
                    </a:cubicBezTo>
                    <a:cubicBezTo>
                      <a:pt x="277" y="59"/>
                      <a:pt x="268" y="61"/>
                      <a:pt x="260" y="65"/>
                    </a:cubicBezTo>
                    <a:moveTo>
                      <a:pt x="142" y="212"/>
                    </a:moveTo>
                    <a:cubicBezTo>
                      <a:pt x="167" y="212"/>
                      <a:pt x="167" y="212"/>
                      <a:pt x="167" y="212"/>
                    </a:cubicBezTo>
                    <a:cubicBezTo>
                      <a:pt x="167" y="62"/>
                      <a:pt x="167" y="62"/>
                      <a:pt x="167" y="62"/>
                    </a:cubicBezTo>
                    <a:cubicBezTo>
                      <a:pt x="142" y="62"/>
                      <a:pt x="142" y="62"/>
                      <a:pt x="142" y="62"/>
                    </a:cubicBezTo>
                    <a:lnTo>
                      <a:pt x="142" y="212"/>
                    </a:lnTo>
                    <a:close/>
                    <a:moveTo>
                      <a:pt x="145" y="10"/>
                    </a:moveTo>
                    <a:cubicBezTo>
                      <a:pt x="142" y="12"/>
                      <a:pt x="140" y="16"/>
                      <a:pt x="140" y="22"/>
                    </a:cubicBezTo>
                    <a:cubicBezTo>
                      <a:pt x="140" y="27"/>
                      <a:pt x="142" y="31"/>
                      <a:pt x="145" y="34"/>
                    </a:cubicBezTo>
                    <a:cubicBezTo>
                      <a:pt x="147" y="36"/>
                      <a:pt x="151" y="37"/>
                      <a:pt x="155" y="37"/>
                    </a:cubicBezTo>
                    <a:cubicBezTo>
                      <a:pt x="159" y="37"/>
                      <a:pt x="162" y="36"/>
                      <a:pt x="165" y="34"/>
                    </a:cubicBezTo>
                    <a:cubicBezTo>
                      <a:pt x="168" y="31"/>
                      <a:pt x="169" y="27"/>
                      <a:pt x="169" y="22"/>
                    </a:cubicBezTo>
                    <a:cubicBezTo>
                      <a:pt x="169" y="16"/>
                      <a:pt x="168" y="12"/>
                      <a:pt x="165" y="10"/>
                    </a:cubicBezTo>
                    <a:cubicBezTo>
                      <a:pt x="162" y="7"/>
                      <a:pt x="159" y="6"/>
                      <a:pt x="155" y="6"/>
                    </a:cubicBezTo>
                    <a:cubicBezTo>
                      <a:pt x="151" y="6"/>
                      <a:pt x="147" y="7"/>
                      <a:pt x="145" y="10"/>
                    </a:cubicBezTo>
                    <a:moveTo>
                      <a:pt x="26" y="127"/>
                    </a:moveTo>
                    <a:cubicBezTo>
                      <a:pt x="107" y="127"/>
                      <a:pt x="107" y="127"/>
                      <a:pt x="107" y="127"/>
                    </a:cubicBezTo>
                    <a:cubicBezTo>
                      <a:pt x="107" y="105"/>
                      <a:pt x="107" y="105"/>
                      <a:pt x="107" y="105"/>
                    </a:cubicBezTo>
                    <a:cubicBezTo>
                      <a:pt x="26" y="105"/>
                      <a:pt x="26" y="105"/>
                      <a:pt x="26" y="105"/>
                    </a:cubicBezTo>
                    <a:cubicBezTo>
                      <a:pt x="26" y="35"/>
                      <a:pt x="26" y="35"/>
                      <a:pt x="26" y="35"/>
                    </a:cubicBezTo>
                    <a:cubicBezTo>
                      <a:pt x="112" y="35"/>
                      <a:pt x="112" y="35"/>
                      <a:pt x="112" y="35"/>
                    </a:cubicBezTo>
                    <a:cubicBezTo>
                      <a:pt x="112" y="12"/>
                      <a:pt x="112" y="12"/>
                      <a:pt x="112" y="12"/>
                    </a:cubicBezTo>
                    <a:cubicBezTo>
                      <a:pt x="0" y="12"/>
                      <a:pt x="0" y="12"/>
                      <a:pt x="0" y="12"/>
                    </a:cubicBezTo>
                    <a:cubicBezTo>
                      <a:pt x="0" y="212"/>
                      <a:pt x="0" y="212"/>
                      <a:pt x="0" y="212"/>
                    </a:cubicBezTo>
                    <a:cubicBezTo>
                      <a:pt x="26" y="212"/>
                      <a:pt x="26" y="212"/>
                      <a:pt x="26" y="212"/>
                    </a:cubicBezTo>
                    <a:lnTo>
                      <a:pt x="26" y="127"/>
                    </a:lnTo>
                    <a:close/>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 name="Group 8">
              <a:extLst>
                <a:ext uri="{FF2B5EF4-FFF2-40B4-BE49-F238E27FC236}">
                  <a16:creationId xmlns:a16="http://schemas.microsoft.com/office/drawing/2014/main" id="{233359EC-32D8-824D-A27B-1E29F3018767}"/>
                </a:ext>
              </a:extLst>
            </p:cNvPr>
            <p:cNvGrpSpPr/>
            <p:nvPr/>
          </p:nvGrpSpPr>
          <p:grpSpPr>
            <a:xfrm>
              <a:off x="3467100" y="1609725"/>
              <a:ext cx="2209800" cy="2308226"/>
              <a:chOff x="3467100" y="1609725"/>
              <a:chExt cx="2209800" cy="2308226"/>
            </a:xfrm>
          </p:grpSpPr>
          <p:sp>
            <p:nvSpPr>
              <p:cNvPr id="22" name="Freeform 5">
                <a:extLst>
                  <a:ext uri="{FF2B5EF4-FFF2-40B4-BE49-F238E27FC236}">
                    <a16:creationId xmlns:a16="http://schemas.microsoft.com/office/drawing/2014/main" id="{8FE094DC-06AC-884C-8A14-467D395CA917}"/>
                  </a:ext>
                </a:extLst>
              </p:cNvPr>
              <p:cNvSpPr>
                <a:spLocks/>
              </p:cNvSpPr>
              <p:nvPr/>
            </p:nvSpPr>
            <p:spPr bwMode="auto">
              <a:xfrm>
                <a:off x="4151313" y="1609725"/>
                <a:ext cx="841375" cy="984250"/>
              </a:xfrm>
              <a:custGeom>
                <a:avLst/>
                <a:gdLst>
                  <a:gd name="T0" fmla="*/ 0 w 1122"/>
                  <a:gd name="T1" fmla="*/ 1299 h 1300"/>
                  <a:gd name="T2" fmla="*/ 460 w 1122"/>
                  <a:gd name="T3" fmla="*/ 81 h 1300"/>
                  <a:gd name="T4" fmla="*/ 645 w 1122"/>
                  <a:gd name="T5" fmla="*/ 59 h 1300"/>
                  <a:gd name="T6" fmla="*/ 663 w 1122"/>
                  <a:gd name="T7" fmla="*/ 91 h 1300"/>
                  <a:gd name="T8" fmla="*/ 1122 w 1122"/>
                  <a:gd name="T9" fmla="*/ 1300 h 1300"/>
                  <a:gd name="T10" fmla="*/ 0 w 1122"/>
                  <a:gd name="T11" fmla="*/ 1299 h 1300"/>
                </a:gdLst>
                <a:ahLst/>
                <a:cxnLst>
                  <a:cxn ang="0">
                    <a:pos x="T0" y="T1"/>
                  </a:cxn>
                  <a:cxn ang="0">
                    <a:pos x="T2" y="T3"/>
                  </a:cxn>
                  <a:cxn ang="0">
                    <a:pos x="T4" y="T5"/>
                  </a:cxn>
                  <a:cxn ang="0">
                    <a:pos x="T6" y="T7"/>
                  </a:cxn>
                  <a:cxn ang="0">
                    <a:pos x="T8" y="T9"/>
                  </a:cxn>
                  <a:cxn ang="0">
                    <a:pos x="T10" y="T11"/>
                  </a:cxn>
                </a:cxnLst>
                <a:rect l="0" t="0" r="r" b="b"/>
                <a:pathLst>
                  <a:path w="1122" h="1300">
                    <a:moveTo>
                      <a:pt x="0" y="1299"/>
                    </a:moveTo>
                    <a:cubicBezTo>
                      <a:pt x="460" y="81"/>
                      <a:pt x="460" y="81"/>
                      <a:pt x="460" y="81"/>
                    </a:cubicBezTo>
                    <a:cubicBezTo>
                      <a:pt x="497" y="8"/>
                      <a:pt x="595" y="0"/>
                      <a:pt x="645" y="59"/>
                    </a:cubicBezTo>
                    <a:cubicBezTo>
                      <a:pt x="653" y="68"/>
                      <a:pt x="659" y="79"/>
                      <a:pt x="663" y="91"/>
                    </a:cubicBezTo>
                    <a:cubicBezTo>
                      <a:pt x="1122" y="1300"/>
                      <a:pt x="1122" y="1300"/>
                      <a:pt x="1122" y="1300"/>
                    </a:cubicBezTo>
                    <a:cubicBezTo>
                      <a:pt x="0" y="1299"/>
                      <a:pt x="0" y="1299"/>
                      <a:pt x="0" y="1299"/>
                    </a:cubicBezTo>
                  </a:path>
                </a:pathLst>
              </a:custGeom>
              <a:solidFill>
                <a:srgbClr val="3B97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6">
                <a:extLst>
                  <a:ext uri="{FF2B5EF4-FFF2-40B4-BE49-F238E27FC236}">
                    <a16:creationId xmlns:a16="http://schemas.microsoft.com/office/drawing/2014/main" id="{D64FA89D-8F03-4D48-9424-F8B46B3D79A1}"/>
                  </a:ext>
                </a:extLst>
              </p:cNvPr>
              <p:cNvSpPr>
                <a:spLocks/>
              </p:cNvSpPr>
              <p:nvPr/>
            </p:nvSpPr>
            <p:spPr bwMode="auto">
              <a:xfrm>
                <a:off x="3467100" y="2989263"/>
                <a:ext cx="1069975" cy="928688"/>
              </a:xfrm>
              <a:custGeom>
                <a:avLst/>
                <a:gdLst>
                  <a:gd name="T0" fmla="*/ 1427 w 1427"/>
                  <a:gd name="T1" fmla="*/ 941 h 1228"/>
                  <a:gd name="T2" fmla="*/ 154 w 1427"/>
                  <a:gd name="T3" fmla="*/ 1218 h 1228"/>
                  <a:gd name="T4" fmla="*/ 46 w 1427"/>
                  <a:gd name="T5" fmla="*/ 1051 h 1228"/>
                  <a:gd name="T6" fmla="*/ 816 w 1427"/>
                  <a:gd name="T7" fmla="*/ 0 h 1228"/>
                  <a:gd name="T8" fmla="*/ 1427 w 1427"/>
                  <a:gd name="T9" fmla="*/ 941 h 1228"/>
                </a:gdLst>
                <a:ahLst/>
                <a:cxnLst>
                  <a:cxn ang="0">
                    <a:pos x="T0" y="T1"/>
                  </a:cxn>
                  <a:cxn ang="0">
                    <a:pos x="T2" y="T3"/>
                  </a:cxn>
                  <a:cxn ang="0">
                    <a:pos x="T4" y="T5"/>
                  </a:cxn>
                  <a:cxn ang="0">
                    <a:pos x="T6" y="T7"/>
                  </a:cxn>
                  <a:cxn ang="0">
                    <a:pos x="T8" y="T9"/>
                  </a:cxn>
                </a:cxnLst>
                <a:rect l="0" t="0" r="r" b="b"/>
                <a:pathLst>
                  <a:path w="1427" h="1228">
                    <a:moveTo>
                      <a:pt x="1427" y="941"/>
                    </a:moveTo>
                    <a:cubicBezTo>
                      <a:pt x="154" y="1218"/>
                      <a:pt x="154" y="1218"/>
                      <a:pt x="154" y="1218"/>
                    </a:cubicBezTo>
                    <a:cubicBezTo>
                      <a:pt x="64" y="1228"/>
                      <a:pt x="0" y="1130"/>
                      <a:pt x="46" y="1051"/>
                    </a:cubicBezTo>
                    <a:cubicBezTo>
                      <a:pt x="816" y="0"/>
                      <a:pt x="816" y="0"/>
                      <a:pt x="816" y="0"/>
                    </a:cubicBezTo>
                    <a:cubicBezTo>
                      <a:pt x="1427" y="941"/>
                      <a:pt x="1427" y="941"/>
                      <a:pt x="1427" y="941"/>
                    </a:cubicBezTo>
                  </a:path>
                </a:pathLst>
              </a:custGeom>
              <a:solidFill>
                <a:srgbClr val="2A91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7">
                <a:extLst>
                  <a:ext uri="{FF2B5EF4-FFF2-40B4-BE49-F238E27FC236}">
                    <a16:creationId xmlns:a16="http://schemas.microsoft.com/office/drawing/2014/main" id="{C8E83F4B-8425-FE47-B795-BB54C82028A1}"/>
                  </a:ext>
                </a:extLst>
              </p:cNvPr>
              <p:cNvSpPr>
                <a:spLocks/>
              </p:cNvSpPr>
              <p:nvPr/>
            </p:nvSpPr>
            <p:spPr bwMode="auto">
              <a:xfrm>
                <a:off x="4606925" y="2986088"/>
                <a:ext cx="1069975" cy="930275"/>
              </a:xfrm>
              <a:custGeom>
                <a:avLst/>
                <a:gdLst>
                  <a:gd name="T0" fmla="*/ 0 w 1427"/>
                  <a:gd name="T1" fmla="*/ 942 h 1229"/>
                  <a:gd name="T2" fmla="*/ 1272 w 1427"/>
                  <a:gd name="T3" fmla="*/ 1219 h 1229"/>
                  <a:gd name="T4" fmla="*/ 1381 w 1427"/>
                  <a:gd name="T5" fmla="*/ 1052 h 1229"/>
                  <a:gd name="T6" fmla="*/ 610 w 1427"/>
                  <a:gd name="T7" fmla="*/ 0 h 1229"/>
                  <a:gd name="T8" fmla="*/ 0 w 1427"/>
                  <a:gd name="T9" fmla="*/ 942 h 1229"/>
                </a:gdLst>
                <a:ahLst/>
                <a:cxnLst>
                  <a:cxn ang="0">
                    <a:pos x="T0" y="T1"/>
                  </a:cxn>
                  <a:cxn ang="0">
                    <a:pos x="T2" y="T3"/>
                  </a:cxn>
                  <a:cxn ang="0">
                    <a:pos x="T4" y="T5"/>
                  </a:cxn>
                  <a:cxn ang="0">
                    <a:pos x="T6" y="T7"/>
                  </a:cxn>
                  <a:cxn ang="0">
                    <a:pos x="T8" y="T9"/>
                  </a:cxn>
                </a:cxnLst>
                <a:rect l="0" t="0" r="r" b="b"/>
                <a:pathLst>
                  <a:path w="1427" h="1229">
                    <a:moveTo>
                      <a:pt x="0" y="942"/>
                    </a:moveTo>
                    <a:cubicBezTo>
                      <a:pt x="1272" y="1219"/>
                      <a:pt x="1272" y="1219"/>
                      <a:pt x="1272" y="1219"/>
                    </a:cubicBezTo>
                    <a:cubicBezTo>
                      <a:pt x="1363" y="1229"/>
                      <a:pt x="1427" y="1131"/>
                      <a:pt x="1381" y="1052"/>
                    </a:cubicBezTo>
                    <a:cubicBezTo>
                      <a:pt x="610" y="0"/>
                      <a:pt x="610" y="0"/>
                      <a:pt x="610" y="0"/>
                    </a:cubicBezTo>
                    <a:cubicBezTo>
                      <a:pt x="0" y="942"/>
                      <a:pt x="0" y="942"/>
                      <a:pt x="0" y="942"/>
                    </a:cubicBezTo>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 name="Oval 8">
              <a:extLst>
                <a:ext uri="{FF2B5EF4-FFF2-40B4-BE49-F238E27FC236}">
                  <a16:creationId xmlns:a16="http://schemas.microsoft.com/office/drawing/2014/main" id="{964A7F0F-9740-8A44-BC41-8D0A35D67104}"/>
                </a:ext>
              </a:extLst>
            </p:cNvPr>
            <p:cNvSpPr>
              <a:spLocks noChangeArrowheads="1"/>
            </p:cNvSpPr>
            <p:nvPr/>
          </p:nvSpPr>
          <p:spPr bwMode="auto">
            <a:xfrm>
              <a:off x="3524250" y="1941513"/>
              <a:ext cx="2100263" cy="21177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Oval 9">
              <a:extLst>
                <a:ext uri="{FF2B5EF4-FFF2-40B4-BE49-F238E27FC236}">
                  <a16:creationId xmlns:a16="http://schemas.microsoft.com/office/drawing/2014/main" id="{6D984B70-0650-BD42-8BCA-009A33468D0A}"/>
                </a:ext>
              </a:extLst>
            </p:cNvPr>
            <p:cNvSpPr>
              <a:spLocks noChangeArrowheads="1"/>
            </p:cNvSpPr>
            <p:nvPr/>
          </p:nvSpPr>
          <p:spPr bwMode="auto">
            <a:xfrm>
              <a:off x="3586163" y="2003425"/>
              <a:ext cx="1976438" cy="1992313"/>
            </a:xfrm>
            <a:prstGeom prst="ellipse">
              <a:avLst/>
            </a:prstGeom>
            <a:solidFill>
              <a:srgbClr val="E2F0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Oval 10">
              <a:extLst>
                <a:ext uri="{FF2B5EF4-FFF2-40B4-BE49-F238E27FC236}">
                  <a16:creationId xmlns:a16="http://schemas.microsoft.com/office/drawing/2014/main" id="{D1AD8C3D-3E41-534F-BE98-B14877184372}"/>
                </a:ext>
              </a:extLst>
            </p:cNvPr>
            <p:cNvSpPr>
              <a:spLocks noChangeArrowheads="1"/>
            </p:cNvSpPr>
            <p:nvPr/>
          </p:nvSpPr>
          <p:spPr bwMode="auto">
            <a:xfrm>
              <a:off x="3895725" y="2314575"/>
              <a:ext cx="1357313" cy="13700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22">
              <a:extLst>
                <a:ext uri="{FF2B5EF4-FFF2-40B4-BE49-F238E27FC236}">
                  <a16:creationId xmlns:a16="http://schemas.microsoft.com/office/drawing/2014/main" id="{382D1BDB-0CBA-C146-9E2F-DD55AAE48FE6}"/>
                </a:ext>
              </a:extLst>
            </p:cNvPr>
            <p:cNvSpPr>
              <a:spLocks noEditPoints="1"/>
            </p:cNvSpPr>
            <p:nvPr/>
          </p:nvSpPr>
          <p:spPr bwMode="auto">
            <a:xfrm>
              <a:off x="4051300" y="2111375"/>
              <a:ext cx="1036638" cy="252413"/>
            </a:xfrm>
            <a:custGeom>
              <a:avLst/>
              <a:gdLst>
                <a:gd name="T0" fmla="*/ 1254 w 1381"/>
                <a:gd name="T1" fmla="*/ 314 h 334"/>
                <a:gd name="T2" fmla="*/ 1273 w 1381"/>
                <a:gd name="T3" fmla="*/ 333 h 334"/>
                <a:gd name="T4" fmla="*/ 1315 w 1381"/>
                <a:gd name="T5" fmla="*/ 295 h 334"/>
                <a:gd name="T6" fmla="*/ 1327 w 1381"/>
                <a:gd name="T7" fmla="*/ 228 h 334"/>
                <a:gd name="T8" fmla="*/ 1225 w 1381"/>
                <a:gd name="T9" fmla="*/ 253 h 334"/>
                <a:gd name="T10" fmla="*/ 1263 w 1381"/>
                <a:gd name="T11" fmla="*/ 238 h 334"/>
                <a:gd name="T12" fmla="*/ 1254 w 1381"/>
                <a:gd name="T13" fmla="*/ 195 h 334"/>
                <a:gd name="T14" fmla="*/ 1256 w 1381"/>
                <a:gd name="T15" fmla="*/ 223 h 334"/>
                <a:gd name="T16" fmla="*/ 1233 w 1381"/>
                <a:gd name="T17" fmla="*/ 267 h 334"/>
                <a:gd name="T18" fmla="*/ 1284 w 1381"/>
                <a:gd name="T19" fmla="*/ 231 h 334"/>
                <a:gd name="T20" fmla="*/ 1179 w 1381"/>
                <a:gd name="T21" fmla="*/ 187 h 334"/>
                <a:gd name="T22" fmla="*/ 1178 w 1381"/>
                <a:gd name="T23" fmla="*/ 110 h 334"/>
                <a:gd name="T24" fmla="*/ 1104 w 1381"/>
                <a:gd name="T25" fmla="*/ 168 h 334"/>
                <a:gd name="T26" fmla="*/ 1099 w 1381"/>
                <a:gd name="T27" fmla="*/ 199 h 334"/>
                <a:gd name="T28" fmla="*/ 1161 w 1381"/>
                <a:gd name="T29" fmla="*/ 135 h 334"/>
                <a:gd name="T30" fmla="*/ 1224 w 1381"/>
                <a:gd name="T31" fmla="*/ 131 h 334"/>
                <a:gd name="T32" fmla="*/ 981 w 1381"/>
                <a:gd name="T33" fmla="*/ 116 h 334"/>
                <a:gd name="T34" fmla="*/ 1020 w 1381"/>
                <a:gd name="T35" fmla="*/ 79 h 334"/>
                <a:gd name="T36" fmla="*/ 972 w 1381"/>
                <a:gd name="T37" fmla="*/ 109 h 334"/>
                <a:gd name="T38" fmla="*/ 931 w 1381"/>
                <a:gd name="T39" fmla="*/ 108 h 334"/>
                <a:gd name="T40" fmla="*/ 893 w 1381"/>
                <a:gd name="T41" fmla="*/ 69 h 334"/>
                <a:gd name="T42" fmla="*/ 941 w 1381"/>
                <a:gd name="T43" fmla="*/ 62 h 334"/>
                <a:gd name="T44" fmla="*/ 880 w 1381"/>
                <a:gd name="T45" fmla="*/ 79 h 334"/>
                <a:gd name="T46" fmla="*/ 918 w 1381"/>
                <a:gd name="T47" fmla="*/ 118 h 334"/>
                <a:gd name="T48" fmla="*/ 868 w 1381"/>
                <a:gd name="T49" fmla="*/ 127 h 334"/>
                <a:gd name="T50" fmla="*/ 931 w 1381"/>
                <a:gd name="T51" fmla="*/ 108 h 334"/>
                <a:gd name="T52" fmla="*/ 843 w 1381"/>
                <a:gd name="T53" fmla="*/ 41 h 334"/>
                <a:gd name="T54" fmla="*/ 858 w 1381"/>
                <a:gd name="T55" fmla="*/ 27 h 334"/>
                <a:gd name="T56" fmla="*/ 750 w 1381"/>
                <a:gd name="T57" fmla="*/ 100 h 334"/>
                <a:gd name="T58" fmla="*/ 793 w 1381"/>
                <a:gd name="T59" fmla="*/ 79 h 334"/>
                <a:gd name="T60" fmla="*/ 780 w 1381"/>
                <a:gd name="T61" fmla="*/ 118 h 334"/>
                <a:gd name="T62" fmla="*/ 813 w 1381"/>
                <a:gd name="T63" fmla="*/ 1 h 334"/>
                <a:gd name="T64" fmla="*/ 796 w 1381"/>
                <a:gd name="T65" fmla="*/ 47 h 334"/>
                <a:gd name="T66" fmla="*/ 739 w 1381"/>
                <a:gd name="T67" fmla="*/ 108 h 334"/>
                <a:gd name="T68" fmla="*/ 683 w 1381"/>
                <a:gd name="T69" fmla="*/ 47 h 334"/>
                <a:gd name="T70" fmla="*/ 684 w 1381"/>
                <a:gd name="T71" fmla="*/ 72 h 334"/>
                <a:gd name="T72" fmla="*/ 718 w 1381"/>
                <a:gd name="T73" fmla="*/ 44 h 334"/>
                <a:gd name="T74" fmla="*/ 584 w 1381"/>
                <a:gd name="T75" fmla="*/ 56 h 334"/>
                <a:gd name="T76" fmla="*/ 608 w 1381"/>
                <a:gd name="T77" fmla="*/ 111 h 334"/>
                <a:gd name="T78" fmla="*/ 622 w 1381"/>
                <a:gd name="T79" fmla="*/ 37 h 334"/>
                <a:gd name="T80" fmla="*/ 588 w 1381"/>
                <a:gd name="T81" fmla="*/ 119 h 334"/>
                <a:gd name="T82" fmla="*/ 523 w 1381"/>
                <a:gd name="T83" fmla="*/ 15 h 334"/>
                <a:gd name="T84" fmla="*/ 529 w 1381"/>
                <a:gd name="T85" fmla="*/ 110 h 334"/>
                <a:gd name="T86" fmla="*/ 469 w 1381"/>
                <a:gd name="T87" fmla="*/ 142 h 334"/>
                <a:gd name="T88" fmla="*/ 528 w 1381"/>
                <a:gd name="T89" fmla="*/ 131 h 334"/>
                <a:gd name="T90" fmla="*/ 351 w 1381"/>
                <a:gd name="T91" fmla="*/ 106 h 334"/>
                <a:gd name="T92" fmla="*/ 317 w 1381"/>
                <a:gd name="T93" fmla="*/ 144 h 334"/>
                <a:gd name="T94" fmla="*/ 302 w 1381"/>
                <a:gd name="T95" fmla="*/ 114 h 334"/>
                <a:gd name="T96" fmla="*/ 379 w 1381"/>
                <a:gd name="T97" fmla="*/ 156 h 334"/>
                <a:gd name="T98" fmla="*/ 260 w 1381"/>
                <a:gd name="T99" fmla="*/ 120 h 334"/>
                <a:gd name="T100" fmla="*/ 267 w 1381"/>
                <a:gd name="T101" fmla="*/ 198 h 334"/>
                <a:gd name="T102" fmla="*/ 200 w 1381"/>
                <a:gd name="T103" fmla="*/ 148 h 334"/>
                <a:gd name="T104" fmla="*/ 180 w 1381"/>
                <a:gd name="T105" fmla="*/ 180 h 334"/>
                <a:gd name="T106" fmla="*/ 153 w 1381"/>
                <a:gd name="T107" fmla="*/ 223 h 334"/>
                <a:gd name="T108" fmla="*/ 133 w 1381"/>
                <a:gd name="T109" fmla="*/ 196 h 334"/>
                <a:gd name="T110" fmla="*/ 216 w 1381"/>
                <a:gd name="T111" fmla="*/ 225 h 334"/>
                <a:gd name="T112" fmla="*/ 101 w 1381"/>
                <a:gd name="T113" fmla="*/ 247 h 334"/>
                <a:gd name="T114" fmla="*/ 14 w 1381"/>
                <a:gd name="T115" fmla="*/ 230 h 334"/>
                <a:gd name="T116" fmla="*/ 30 w 1381"/>
                <a:gd name="T117" fmla="*/ 260 h 334"/>
                <a:gd name="T118" fmla="*/ 74 w 1381"/>
                <a:gd name="T119" fmla="*/ 187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81" h="334">
                  <a:moveTo>
                    <a:pt x="1293" y="309"/>
                  </a:moveTo>
                  <a:cubicBezTo>
                    <a:pt x="1282" y="316"/>
                    <a:pt x="1282" y="316"/>
                    <a:pt x="1282" y="316"/>
                  </a:cubicBezTo>
                  <a:cubicBezTo>
                    <a:pt x="1278" y="318"/>
                    <a:pt x="1274" y="320"/>
                    <a:pt x="1270" y="321"/>
                  </a:cubicBezTo>
                  <a:cubicBezTo>
                    <a:pt x="1266" y="321"/>
                    <a:pt x="1262" y="320"/>
                    <a:pt x="1258" y="317"/>
                  </a:cubicBezTo>
                  <a:cubicBezTo>
                    <a:pt x="1257" y="316"/>
                    <a:pt x="1255" y="315"/>
                    <a:pt x="1254" y="314"/>
                  </a:cubicBezTo>
                  <a:cubicBezTo>
                    <a:pt x="1253" y="313"/>
                    <a:pt x="1252" y="312"/>
                    <a:pt x="1251" y="311"/>
                  </a:cubicBezTo>
                  <a:cubicBezTo>
                    <a:pt x="1244" y="320"/>
                    <a:pt x="1244" y="320"/>
                    <a:pt x="1244" y="320"/>
                  </a:cubicBezTo>
                  <a:cubicBezTo>
                    <a:pt x="1245" y="321"/>
                    <a:pt x="1246" y="322"/>
                    <a:pt x="1248" y="323"/>
                  </a:cubicBezTo>
                  <a:cubicBezTo>
                    <a:pt x="1249" y="325"/>
                    <a:pt x="1251" y="326"/>
                    <a:pt x="1253" y="328"/>
                  </a:cubicBezTo>
                  <a:cubicBezTo>
                    <a:pt x="1260" y="333"/>
                    <a:pt x="1267" y="334"/>
                    <a:pt x="1273" y="333"/>
                  </a:cubicBezTo>
                  <a:cubicBezTo>
                    <a:pt x="1280" y="332"/>
                    <a:pt x="1287" y="329"/>
                    <a:pt x="1294" y="324"/>
                  </a:cubicBezTo>
                  <a:cubicBezTo>
                    <a:pt x="1381" y="267"/>
                    <a:pt x="1381" y="267"/>
                    <a:pt x="1381" y="267"/>
                  </a:cubicBezTo>
                  <a:cubicBezTo>
                    <a:pt x="1369" y="258"/>
                    <a:pt x="1369" y="258"/>
                    <a:pt x="1369" y="258"/>
                  </a:cubicBezTo>
                  <a:cubicBezTo>
                    <a:pt x="1326" y="287"/>
                    <a:pt x="1326" y="287"/>
                    <a:pt x="1326" y="287"/>
                  </a:cubicBezTo>
                  <a:cubicBezTo>
                    <a:pt x="1322" y="290"/>
                    <a:pt x="1319" y="293"/>
                    <a:pt x="1315" y="295"/>
                  </a:cubicBezTo>
                  <a:cubicBezTo>
                    <a:pt x="1311" y="298"/>
                    <a:pt x="1308" y="300"/>
                    <a:pt x="1306" y="302"/>
                  </a:cubicBezTo>
                  <a:cubicBezTo>
                    <a:pt x="1306" y="302"/>
                    <a:pt x="1306" y="302"/>
                    <a:pt x="1306" y="302"/>
                  </a:cubicBezTo>
                  <a:cubicBezTo>
                    <a:pt x="1307" y="298"/>
                    <a:pt x="1309" y="295"/>
                    <a:pt x="1310" y="291"/>
                  </a:cubicBezTo>
                  <a:cubicBezTo>
                    <a:pt x="1311" y="287"/>
                    <a:pt x="1312" y="283"/>
                    <a:pt x="1314" y="278"/>
                  </a:cubicBezTo>
                  <a:cubicBezTo>
                    <a:pt x="1327" y="228"/>
                    <a:pt x="1327" y="228"/>
                    <a:pt x="1327" y="228"/>
                  </a:cubicBezTo>
                  <a:cubicBezTo>
                    <a:pt x="1315" y="219"/>
                    <a:pt x="1315" y="219"/>
                    <a:pt x="1315" y="219"/>
                  </a:cubicBezTo>
                  <a:lnTo>
                    <a:pt x="1293" y="309"/>
                  </a:lnTo>
                  <a:close/>
                  <a:moveTo>
                    <a:pt x="1259" y="245"/>
                  </a:moveTo>
                  <a:cubicBezTo>
                    <a:pt x="1255" y="252"/>
                    <a:pt x="1250" y="256"/>
                    <a:pt x="1244" y="257"/>
                  </a:cubicBezTo>
                  <a:cubicBezTo>
                    <a:pt x="1238" y="258"/>
                    <a:pt x="1231" y="257"/>
                    <a:pt x="1225" y="253"/>
                  </a:cubicBezTo>
                  <a:cubicBezTo>
                    <a:pt x="1221" y="251"/>
                    <a:pt x="1219" y="248"/>
                    <a:pt x="1217" y="244"/>
                  </a:cubicBezTo>
                  <a:cubicBezTo>
                    <a:pt x="1216" y="241"/>
                    <a:pt x="1216" y="237"/>
                    <a:pt x="1219" y="233"/>
                  </a:cubicBezTo>
                  <a:cubicBezTo>
                    <a:pt x="1222" y="228"/>
                    <a:pt x="1226" y="226"/>
                    <a:pt x="1231" y="225"/>
                  </a:cubicBezTo>
                  <a:cubicBezTo>
                    <a:pt x="1236" y="225"/>
                    <a:pt x="1243" y="227"/>
                    <a:pt x="1252" y="232"/>
                  </a:cubicBezTo>
                  <a:cubicBezTo>
                    <a:pt x="1263" y="238"/>
                    <a:pt x="1263" y="238"/>
                    <a:pt x="1263" y="238"/>
                  </a:cubicBezTo>
                  <a:lnTo>
                    <a:pt x="1259" y="245"/>
                  </a:lnTo>
                  <a:close/>
                  <a:moveTo>
                    <a:pt x="1257" y="184"/>
                  </a:moveTo>
                  <a:cubicBezTo>
                    <a:pt x="1252" y="183"/>
                    <a:pt x="1248" y="182"/>
                    <a:pt x="1243" y="182"/>
                  </a:cubicBezTo>
                  <a:cubicBezTo>
                    <a:pt x="1242" y="193"/>
                    <a:pt x="1242" y="193"/>
                    <a:pt x="1242" y="193"/>
                  </a:cubicBezTo>
                  <a:cubicBezTo>
                    <a:pt x="1246" y="194"/>
                    <a:pt x="1250" y="194"/>
                    <a:pt x="1254" y="195"/>
                  </a:cubicBezTo>
                  <a:cubicBezTo>
                    <a:pt x="1258" y="196"/>
                    <a:pt x="1262" y="198"/>
                    <a:pt x="1266" y="200"/>
                  </a:cubicBezTo>
                  <a:cubicBezTo>
                    <a:pt x="1271" y="203"/>
                    <a:pt x="1274" y="207"/>
                    <a:pt x="1275" y="210"/>
                  </a:cubicBezTo>
                  <a:cubicBezTo>
                    <a:pt x="1276" y="214"/>
                    <a:pt x="1275" y="220"/>
                    <a:pt x="1271" y="226"/>
                  </a:cubicBezTo>
                  <a:cubicBezTo>
                    <a:pt x="1269" y="230"/>
                    <a:pt x="1269" y="230"/>
                    <a:pt x="1269" y="230"/>
                  </a:cubicBezTo>
                  <a:cubicBezTo>
                    <a:pt x="1256" y="223"/>
                    <a:pt x="1256" y="223"/>
                    <a:pt x="1256" y="223"/>
                  </a:cubicBezTo>
                  <a:cubicBezTo>
                    <a:pt x="1244" y="216"/>
                    <a:pt x="1233" y="213"/>
                    <a:pt x="1225" y="214"/>
                  </a:cubicBezTo>
                  <a:cubicBezTo>
                    <a:pt x="1217" y="214"/>
                    <a:pt x="1211" y="218"/>
                    <a:pt x="1207" y="225"/>
                  </a:cubicBezTo>
                  <a:cubicBezTo>
                    <a:pt x="1202" y="233"/>
                    <a:pt x="1201" y="240"/>
                    <a:pt x="1203" y="246"/>
                  </a:cubicBezTo>
                  <a:cubicBezTo>
                    <a:pt x="1205" y="252"/>
                    <a:pt x="1210" y="257"/>
                    <a:pt x="1217" y="261"/>
                  </a:cubicBezTo>
                  <a:cubicBezTo>
                    <a:pt x="1223" y="265"/>
                    <a:pt x="1228" y="267"/>
                    <a:pt x="1233" y="267"/>
                  </a:cubicBezTo>
                  <a:cubicBezTo>
                    <a:pt x="1238" y="267"/>
                    <a:pt x="1243" y="266"/>
                    <a:pt x="1248" y="264"/>
                  </a:cubicBezTo>
                  <a:cubicBezTo>
                    <a:pt x="1249" y="264"/>
                    <a:pt x="1249" y="264"/>
                    <a:pt x="1249" y="264"/>
                  </a:cubicBezTo>
                  <a:cubicBezTo>
                    <a:pt x="1245" y="276"/>
                    <a:pt x="1245" y="276"/>
                    <a:pt x="1245" y="276"/>
                  </a:cubicBezTo>
                  <a:cubicBezTo>
                    <a:pt x="1254" y="281"/>
                    <a:pt x="1254" y="281"/>
                    <a:pt x="1254" y="281"/>
                  </a:cubicBezTo>
                  <a:cubicBezTo>
                    <a:pt x="1284" y="231"/>
                    <a:pt x="1284" y="231"/>
                    <a:pt x="1284" y="231"/>
                  </a:cubicBezTo>
                  <a:cubicBezTo>
                    <a:pt x="1289" y="223"/>
                    <a:pt x="1291" y="215"/>
                    <a:pt x="1289" y="209"/>
                  </a:cubicBezTo>
                  <a:cubicBezTo>
                    <a:pt x="1287" y="202"/>
                    <a:pt x="1281" y="196"/>
                    <a:pt x="1272" y="191"/>
                  </a:cubicBezTo>
                  <a:cubicBezTo>
                    <a:pt x="1268" y="188"/>
                    <a:pt x="1263" y="186"/>
                    <a:pt x="1257" y="184"/>
                  </a:cubicBezTo>
                  <a:moveTo>
                    <a:pt x="1224" y="131"/>
                  </a:moveTo>
                  <a:cubicBezTo>
                    <a:pt x="1179" y="187"/>
                    <a:pt x="1179" y="187"/>
                    <a:pt x="1179" y="187"/>
                  </a:cubicBezTo>
                  <a:cubicBezTo>
                    <a:pt x="1175" y="191"/>
                    <a:pt x="1172" y="195"/>
                    <a:pt x="1170" y="198"/>
                  </a:cubicBezTo>
                  <a:cubicBezTo>
                    <a:pt x="1167" y="202"/>
                    <a:pt x="1164" y="206"/>
                    <a:pt x="1162" y="209"/>
                  </a:cubicBezTo>
                  <a:cubicBezTo>
                    <a:pt x="1163" y="206"/>
                    <a:pt x="1164" y="201"/>
                    <a:pt x="1165" y="196"/>
                  </a:cubicBezTo>
                  <a:cubicBezTo>
                    <a:pt x="1166" y="192"/>
                    <a:pt x="1167" y="187"/>
                    <a:pt x="1168" y="181"/>
                  </a:cubicBezTo>
                  <a:cubicBezTo>
                    <a:pt x="1178" y="110"/>
                    <a:pt x="1178" y="110"/>
                    <a:pt x="1178" y="110"/>
                  </a:cubicBezTo>
                  <a:cubicBezTo>
                    <a:pt x="1164" y="103"/>
                    <a:pt x="1164" y="103"/>
                    <a:pt x="1164" y="103"/>
                  </a:cubicBezTo>
                  <a:cubicBezTo>
                    <a:pt x="1117" y="158"/>
                    <a:pt x="1117" y="158"/>
                    <a:pt x="1117" y="158"/>
                  </a:cubicBezTo>
                  <a:cubicBezTo>
                    <a:pt x="1114" y="161"/>
                    <a:pt x="1111" y="165"/>
                    <a:pt x="1108" y="169"/>
                  </a:cubicBezTo>
                  <a:cubicBezTo>
                    <a:pt x="1105" y="173"/>
                    <a:pt x="1102" y="177"/>
                    <a:pt x="1100" y="181"/>
                  </a:cubicBezTo>
                  <a:cubicBezTo>
                    <a:pt x="1101" y="177"/>
                    <a:pt x="1102" y="172"/>
                    <a:pt x="1104" y="168"/>
                  </a:cubicBezTo>
                  <a:cubicBezTo>
                    <a:pt x="1105" y="163"/>
                    <a:pt x="1106" y="159"/>
                    <a:pt x="1107" y="154"/>
                  </a:cubicBezTo>
                  <a:cubicBezTo>
                    <a:pt x="1120" y="83"/>
                    <a:pt x="1120" y="83"/>
                    <a:pt x="1120" y="83"/>
                  </a:cubicBezTo>
                  <a:cubicBezTo>
                    <a:pt x="1106" y="77"/>
                    <a:pt x="1106" y="77"/>
                    <a:pt x="1106" y="77"/>
                  </a:cubicBezTo>
                  <a:cubicBezTo>
                    <a:pt x="1086" y="193"/>
                    <a:pt x="1086" y="193"/>
                    <a:pt x="1086" y="193"/>
                  </a:cubicBezTo>
                  <a:cubicBezTo>
                    <a:pt x="1099" y="199"/>
                    <a:pt x="1099" y="199"/>
                    <a:pt x="1099" y="199"/>
                  </a:cubicBezTo>
                  <a:cubicBezTo>
                    <a:pt x="1150" y="140"/>
                    <a:pt x="1150" y="140"/>
                    <a:pt x="1150" y="140"/>
                  </a:cubicBezTo>
                  <a:cubicBezTo>
                    <a:pt x="1153" y="137"/>
                    <a:pt x="1156" y="133"/>
                    <a:pt x="1159" y="129"/>
                  </a:cubicBezTo>
                  <a:cubicBezTo>
                    <a:pt x="1162" y="125"/>
                    <a:pt x="1163" y="123"/>
                    <a:pt x="1164" y="122"/>
                  </a:cubicBezTo>
                  <a:cubicBezTo>
                    <a:pt x="1164" y="123"/>
                    <a:pt x="1163" y="124"/>
                    <a:pt x="1163" y="127"/>
                  </a:cubicBezTo>
                  <a:cubicBezTo>
                    <a:pt x="1162" y="129"/>
                    <a:pt x="1162" y="132"/>
                    <a:pt x="1161" y="135"/>
                  </a:cubicBezTo>
                  <a:cubicBezTo>
                    <a:pt x="1161" y="138"/>
                    <a:pt x="1160" y="142"/>
                    <a:pt x="1160" y="145"/>
                  </a:cubicBezTo>
                  <a:cubicBezTo>
                    <a:pt x="1149" y="222"/>
                    <a:pt x="1149" y="222"/>
                    <a:pt x="1149" y="222"/>
                  </a:cubicBezTo>
                  <a:cubicBezTo>
                    <a:pt x="1162" y="228"/>
                    <a:pt x="1162" y="228"/>
                    <a:pt x="1162" y="228"/>
                  </a:cubicBezTo>
                  <a:cubicBezTo>
                    <a:pt x="1237" y="137"/>
                    <a:pt x="1237" y="137"/>
                    <a:pt x="1237" y="137"/>
                  </a:cubicBezTo>
                  <a:lnTo>
                    <a:pt x="1224" y="131"/>
                  </a:lnTo>
                  <a:close/>
                  <a:moveTo>
                    <a:pt x="980" y="31"/>
                  </a:moveTo>
                  <a:cubicBezTo>
                    <a:pt x="947" y="148"/>
                    <a:pt x="947" y="148"/>
                    <a:pt x="947" y="148"/>
                  </a:cubicBezTo>
                  <a:cubicBezTo>
                    <a:pt x="961" y="152"/>
                    <a:pt x="961" y="152"/>
                    <a:pt x="961" y="152"/>
                  </a:cubicBezTo>
                  <a:cubicBezTo>
                    <a:pt x="969" y="121"/>
                    <a:pt x="969" y="121"/>
                    <a:pt x="969" y="121"/>
                  </a:cubicBezTo>
                  <a:cubicBezTo>
                    <a:pt x="981" y="116"/>
                    <a:pt x="981" y="116"/>
                    <a:pt x="981" y="116"/>
                  </a:cubicBezTo>
                  <a:cubicBezTo>
                    <a:pt x="999" y="162"/>
                    <a:pt x="999" y="162"/>
                    <a:pt x="999" y="162"/>
                  </a:cubicBezTo>
                  <a:cubicBezTo>
                    <a:pt x="1015" y="167"/>
                    <a:pt x="1015" y="167"/>
                    <a:pt x="1015" y="167"/>
                  </a:cubicBezTo>
                  <a:cubicBezTo>
                    <a:pt x="992" y="109"/>
                    <a:pt x="992" y="109"/>
                    <a:pt x="992" y="109"/>
                  </a:cubicBezTo>
                  <a:cubicBezTo>
                    <a:pt x="1036" y="83"/>
                    <a:pt x="1036" y="83"/>
                    <a:pt x="1036" y="83"/>
                  </a:cubicBezTo>
                  <a:cubicBezTo>
                    <a:pt x="1020" y="79"/>
                    <a:pt x="1020" y="79"/>
                    <a:pt x="1020" y="79"/>
                  </a:cubicBezTo>
                  <a:cubicBezTo>
                    <a:pt x="986" y="100"/>
                    <a:pt x="986" y="100"/>
                    <a:pt x="986" y="100"/>
                  </a:cubicBezTo>
                  <a:cubicBezTo>
                    <a:pt x="984" y="100"/>
                    <a:pt x="983" y="101"/>
                    <a:pt x="981" y="103"/>
                  </a:cubicBezTo>
                  <a:cubicBezTo>
                    <a:pt x="980" y="104"/>
                    <a:pt x="978" y="105"/>
                    <a:pt x="976" y="106"/>
                  </a:cubicBezTo>
                  <a:cubicBezTo>
                    <a:pt x="975" y="107"/>
                    <a:pt x="973" y="108"/>
                    <a:pt x="972" y="109"/>
                  </a:cubicBezTo>
                  <a:cubicBezTo>
                    <a:pt x="972" y="109"/>
                    <a:pt x="972" y="109"/>
                    <a:pt x="972" y="109"/>
                  </a:cubicBezTo>
                  <a:cubicBezTo>
                    <a:pt x="972" y="107"/>
                    <a:pt x="973" y="105"/>
                    <a:pt x="974" y="102"/>
                  </a:cubicBezTo>
                  <a:cubicBezTo>
                    <a:pt x="975" y="99"/>
                    <a:pt x="976" y="97"/>
                    <a:pt x="976" y="96"/>
                  </a:cubicBezTo>
                  <a:cubicBezTo>
                    <a:pt x="993" y="34"/>
                    <a:pt x="993" y="34"/>
                    <a:pt x="993" y="34"/>
                  </a:cubicBezTo>
                  <a:lnTo>
                    <a:pt x="980" y="31"/>
                  </a:lnTo>
                  <a:close/>
                  <a:moveTo>
                    <a:pt x="931" y="108"/>
                  </a:moveTo>
                  <a:cubicBezTo>
                    <a:pt x="929" y="104"/>
                    <a:pt x="927" y="101"/>
                    <a:pt x="924" y="98"/>
                  </a:cubicBezTo>
                  <a:cubicBezTo>
                    <a:pt x="920" y="96"/>
                    <a:pt x="916" y="93"/>
                    <a:pt x="911" y="90"/>
                  </a:cubicBezTo>
                  <a:cubicBezTo>
                    <a:pt x="906" y="87"/>
                    <a:pt x="902" y="84"/>
                    <a:pt x="900" y="82"/>
                  </a:cubicBezTo>
                  <a:cubicBezTo>
                    <a:pt x="897" y="80"/>
                    <a:pt x="895" y="78"/>
                    <a:pt x="894" y="76"/>
                  </a:cubicBezTo>
                  <a:cubicBezTo>
                    <a:pt x="893" y="74"/>
                    <a:pt x="892" y="72"/>
                    <a:pt x="893" y="69"/>
                  </a:cubicBezTo>
                  <a:cubicBezTo>
                    <a:pt x="893" y="66"/>
                    <a:pt x="895" y="64"/>
                    <a:pt x="899" y="63"/>
                  </a:cubicBezTo>
                  <a:cubicBezTo>
                    <a:pt x="902" y="62"/>
                    <a:pt x="907" y="61"/>
                    <a:pt x="912" y="63"/>
                  </a:cubicBezTo>
                  <a:cubicBezTo>
                    <a:pt x="916" y="63"/>
                    <a:pt x="920" y="65"/>
                    <a:pt x="924" y="67"/>
                  </a:cubicBezTo>
                  <a:cubicBezTo>
                    <a:pt x="928" y="68"/>
                    <a:pt x="931" y="70"/>
                    <a:pt x="934" y="72"/>
                  </a:cubicBezTo>
                  <a:cubicBezTo>
                    <a:pt x="941" y="62"/>
                    <a:pt x="941" y="62"/>
                    <a:pt x="941" y="62"/>
                  </a:cubicBezTo>
                  <a:cubicBezTo>
                    <a:pt x="938" y="60"/>
                    <a:pt x="934" y="58"/>
                    <a:pt x="929" y="56"/>
                  </a:cubicBezTo>
                  <a:cubicBezTo>
                    <a:pt x="925" y="54"/>
                    <a:pt x="921" y="52"/>
                    <a:pt x="915" y="51"/>
                  </a:cubicBezTo>
                  <a:cubicBezTo>
                    <a:pt x="906" y="50"/>
                    <a:pt x="898" y="50"/>
                    <a:pt x="891" y="53"/>
                  </a:cubicBezTo>
                  <a:cubicBezTo>
                    <a:pt x="885" y="55"/>
                    <a:pt x="881" y="60"/>
                    <a:pt x="879" y="68"/>
                  </a:cubicBezTo>
                  <a:cubicBezTo>
                    <a:pt x="879" y="72"/>
                    <a:pt x="879" y="76"/>
                    <a:pt x="880" y="79"/>
                  </a:cubicBezTo>
                  <a:cubicBezTo>
                    <a:pt x="882" y="83"/>
                    <a:pt x="884" y="86"/>
                    <a:pt x="888" y="89"/>
                  </a:cubicBezTo>
                  <a:cubicBezTo>
                    <a:pt x="891" y="92"/>
                    <a:pt x="896" y="95"/>
                    <a:pt x="901" y="98"/>
                  </a:cubicBezTo>
                  <a:cubicBezTo>
                    <a:pt x="906" y="101"/>
                    <a:pt x="910" y="104"/>
                    <a:pt x="912" y="106"/>
                  </a:cubicBezTo>
                  <a:cubicBezTo>
                    <a:pt x="915" y="108"/>
                    <a:pt x="917" y="110"/>
                    <a:pt x="917" y="112"/>
                  </a:cubicBezTo>
                  <a:cubicBezTo>
                    <a:pt x="918" y="114"/>
                    <a:pt x="918" y="116"/>
                    <a:pt x="918" y="118"/>
                  </a:cubicBezTo>
                  <a:cubicBezTo>
                    <a:pt x="917" y="122"/>
                    <a:pt x="915" y="125"/>
                    <a:pt x="912" y="126"/>
                  </a:cubicBezTo>
                  <a:cubicBezTo>
                    <a:pt x="908" y="128"/>
                    <a:pt x="903" y="128"/>
                    <a:pt x="896" y="127"/>
                  </a:cubicBezTo>
                  <a:cubicBezTo>
                    <a:pt x="891" y="126"/>
                    <a:pt x="886" y="124"/>
                    <a:pt x="882" y="122"/>
                  </a:cubicBezTo>
                  <a:cubicBezTo>
                    <a:pt x="877" y="119"/>
                    <a:pt x="873" y="117"/>
                    <a:pt x="870" y="115"/>
                  </a:cubicBezTo>
                  <a:cubicBezTo>
                    <a:pt x="868" y="127"/>
                    <a:pt x="868" y="127"/>
                    <a:pt x="868" y="127"/>
                  </a:cubicBezTo>
                  <a:cubicBezTo>
                    <a:pt x="871" y="130"/>
                    <a:pt x="874" y="132"/>
                    <a:pt x="878" y="133"/>
                  </a:cubicBezTo>
                  <a:cubicBezTo>
                    <a:pt x="882" y="135"/>
                    <a:pt x="887" y="137"/>
                    <a:pt x="893" y="138"/>
                  </a:cubicBezTo>
                  <a:cubicBezTo>
                    <a:pt x="903" y="140"/>
                    <a:pt x="912" y="139"/>
                    <a:pt x="919" y="136"/>
                  </a:cubicBezTo>
                  <a:cubicBezTo>
                    <a:pt x="926" y="133"/>
                    <a:pt x="930" y="128"/>
                    <a:pt x="932" y="120"/>
                  </a:cubicBezTo>
                  <a:cubicBezTo>
                    <a:pt x="932" y="115"/>
                    <a:pt x="932" y="111"/>
                    <a:pt x="931" y="108"/>
                  </a:cubicBezTo>
                  <a:moveTo>
                    <a:pt x="843" y="41"/>
                  </a:moveTo>
                  <a:cubicBezTo>
                    <a:pt x="831" y="126"/>
                    <a:pt x="831" y="126"/>
                    <a:pt x="831" y="126"/>
                  </a:cubicBezTo>
                  <a:cubicBezTo>
                    <a:pt x="845" y="128"/>
                    <a:pt x="845" y="128"/>
                    <a:pt x="845" y="128"/>
                  </a:cubicBezTo>
                  <a:cubicBezTo>
                    <a:pt x="857" y="43"/>
                    <a:pt x="857" y="43"/>
                    <a:pt x="857" y="43"/>
                  </a:cubicBezTo>
                  <a:lnTo>
                    <a:pt x="843" y="41"/>
                  </a:lnTo>
                  <a:close/>
                  <a:moveTo>
                    <a:pt x="848" y="11"/>
                  </a:moveTo>
                  <a:cubicBezTo>
                    <a:pt x="846" y="13"/>
                    <a:pt x="845" y="15"/>
                    <a:pt x="845" y="18"/>
                  </a:cubicBezTo>
                  <a:cubicBezTo>
                    <a:pt x="844" y="21"/>
                    <a:pt x="845" y="23"/>
                    <a:pt x="846" y="25"/>
                  </a:cubicBezTo>
                  <a:cubicBezTo>
                    <a:pt x="848" y="27"/>
                    <a:pt x="849" y="28"/>
                    <a:pt x="852" y="28"/>
                  </a:cubicBezTo>
                  <a:cubicBezTo>
                    <a:pt x="854" y="28"/>
                    <a:pt x="856" y="28"/>
                    <a:pt x="858" y="27"/>
                  </a:cubicBezTo>
                  <a:cubicBezTo>
                    <a:pt x="859" y="25"/>
                    <a:pt x="861" y="23"/>
                    <a:pt x="861" y="20"/>
                  </a:cubicBezTo>
                  <a:cubicBezTo>
                    <a:pt x="861" y="17"/>
                    <a:pt x="861" y="15"/>
                    <a:pt x="859" y="13"/>
                  </a:cubicBezTo>
                  <a:cubicBezTo>
                    <a:pt x="858" y="11"/>
                    <a:pt x="856" y="10"/>
                    <a:pt x="854" y="10"/>
                  </a:cubicBezTo>
                  <a:cubicBezTo>
                    <a:pt x="852" y="10"/>
                    <a:pt x="850" y="10"/>
                    <a:pt x="848" y="11"/>
                  </a:cubicBezTo>
                  <a:moveTo>
                    <a:pt x="750" y="100"/>
                  </a:moveTo>
                  <a:cubicBezTo>
                    <a:pt x="747" y="94"/>
                    <a:pt x="745" y="86"/>
                    <a:pt x="746" y="76"/>
                  </a:cubicBezTo>
                  <a:cubicBezTo>
                    <a:pt x="747" y="66"/>
                    <a:pt x="749" y="58"/>
                    <a:pt x="753" y="52"/>
                  </a:cubicBezTo>
                  <a:cubicBezTo>
                    <a:pt x="758" y="46"/>
                    <a:pt x="763" y="44"/>
                    <a:pt x="771" y="44"/>
                  </a:cubicBezTo>
                  <a:cubicBezTo>
                    <a:pt x="781" y="45"/>
                    <a:pt x="787" y="48"/>
                    <a:pt x="790" y="54"/>
                  </a:cubicBezTo>
                  <a:cubicBezTo>
                    <a:pt x="793" y="60"/>
                    <a:pt x="794" y="68"/>
                    <a:pt x="793" y="79"/>
                  </a:cubicBezTo>
                  <a:cubicBezTo>
                    <a:pt x="793" y="81"/>
                    <a:pt x="793" y="81"/>
                    <a:pt x="793" y="81"/>
                  </a:cubicBezTo>
                  <a:cubicBezTo>
                    <a:pt x="793" y="91"/>
                    <a:pt x="790" y="99"/>
                    <a:pt x="786" y="103"/>
                  </a:cubicBezTo>
                  <a:cubicBezTo>
                    <a:pt x="782" y="108"/>
                    <a:pt x="776" y="110"/>
                    <a:pt x="767" y="110"/>
                  </a:cubicBezTo>
                  <a:cubicBezTo>
                    <a:pt x="759" y="109"/>
                    <a:pt x="753" y="106"/>
                    <a:pt x="750" y="100"/>
                  </a:cubicBezTo>
                  <a:moveTo>
                    <a:pt x="780" y="118"/>
                  </a:moveTo>
                  <a:cubicBezTo>
                    <a:pt x="785" y="116"/>
                    <a:pt x="788" y="113"/>
                    <a:pt x="791" y="110"/>
                  </a:cubicBezTo>
                  <a:cubicBezTo>
                    <a:pt x="792" y="110"/>
                    <a:pt x="792" y="110"/>
                    <a:pt x="792" y="110"/>
                  </a:cubicBezTo>
                  <a:cubicBezTo>
                    <a:pt x="793" y="121"/>
                    <a:pt x="793" y="121"/>
                    <a:pt x="793" y="121"/>
                  </a:cubicBezTo>
                  <a:cubicBezTo>
                    <a:pt x="804" y="122"/>
                    <a:pt x="804" y="122"/>
                    <a:pt x="804" y="122"/>
                  </a:cubicBezTo>
                  <a:cubicBezTo>
                    <a:pt x="813" y="1"/>
                    <a:pt x="813" y="1"/>
                    <a:pt x="813" y="1"/>
                  </a:cubicBezTo>
                  <a:cubicBezTo>
                    <a:pt x="799" y="0"/>
                    <a:pt x="799" y="0"/>
                    <a:pt x="799" y="0"/>
                  </a:cubicBezTo>
                  <a:cubicBezTo>
                    <a:pt x="796" y="34"/>
                    <a:pt x="796" y="34"/>
                    <a:pt x="796" y="34"/>
                  </a:cubicBezTo>
                  <a:cubicBezTo>
                    <a:pt x="796" y="36"/>
                    <a:pt x="796" y="38"/>
                    <a:pt x="796" y="41"/>
                  </a:cubicBezTo>
                  <a:cubicBezTo>
                    <a:pt x="796" y="43"/>
                    <a:pt x="796" y="45"/>
                    <a:pt x="797" y="47"/>
                  </a:cubicBezTo>
                  <a:cubicBezTo>
                    <a:pt x="796" y="47"/>
                    <a:pt x="796" y="47"/>
                    <a:pt x="796" y="47"/>
                  </a:cubicBezTo>
                  <a:cubicBezTo>
                    <a:pt x="793" y="43"/>
                    <a:pt x="790" y="40"/>
                    <a:pt x="786" y="37"/>
                  </a:cubicBezTo>
                  <a:cubicBezTo>
                    <a:pt x="782" y="34"/>
                    <a:pt x="777" y="33"/>
                    <a:pt x="770" y="32"/>
                  </a:cubicBezTo>
                  <a:cubicBezTo>
                    <a:pt x="759" y="32"/>
                    <a:pt x="750" y="35"/>
                    <a:pt x="744" y="42"/>
                  </a:cubicBezTo>
                  <a:cubicBezTo>
                    <a:pt x="737" y="49"/>
                    <a:pt x="733" y="60"/>
                    <a:pt x="732" y="74"/>
                  </a:cubicBezTo>
                  <a:cubicBezTo>
                    <a:pt x="731" y="89"/>
                    <a:pt x="733" y="100"/>
                    <a:pt x="739" y="108"/>
                  </a:cubicBezTo>
                  <a:cubicBezTo>
                    <a:pt x="745" y="116"/>
                    <a:pt x="753" y="120"/>
                    <a:pt x="764" y="121"/>
                  </a:cubicBezTo>
                  <a:cubicBezTo>
                    <a:pt x="770" y="121"/>
                    <a:pt x="776" y="121"/>
                    <a:pt x="780" y="118"/>
                  </a:cubicBezTo>
                  <a:moveTo>
                    <a:pt x="694" y="35"/>
                  </a:moveTo>
                  <a:cubicBezTo>
                    <a:pt x="690" y="38"/>
                    <a:pt x="686" y="43"/>
                    <a:pt x="684" y="47"/>
                  </a:cubicBezTo>
                  <a:cubicBezTo>
                    <a:pt x="683" y="47"/>
                    <a:pt x="683" y="47"/>
                    <a:pt x="683" y="47"/>
                  </a:cubicBezTo>
                  <a:cubicBezTo>
                    <a:pt x="681" y="32"/>
                    <a:pt x="681" y="32"/>
                    <a:pt x="681" y="32"/>
                  </a:cubicBezTo>
                  <a:cubicBezTo>
                    <a:pt x="670" y="32"/>
                    <a:pt x="670" y="32"/>
                    <a:pt x="670" y="32"/>
                  </a:cubicBezTo>
                  <a:cubicBezTo>
                    <a:pt x="670" y="117"/>
                    <a:pt x="670" y="117"/>
                    <a:pt x="670" y="117"/>
                  </a:cubicBezTo>
                  <a:cubicBezTo>
                    <a:pt x="685" y="117"/>
                    <a:pt x="685" y="117"/>
                    <a:pt x="685" y="117"/>
                  </a:cubicBezTo>
                  <a:cubicBezTo>
                    <a:pt x="684" y="72"/>
                    <a:pt x="684" y="72"/>
                    <a:pt x="684" y="72"/>
                  </a:cubicBezTo>
                  <a:cubicBezTo>
                    <a:pt x="684" y="66"/>
                    <a:pt x="685" y="61"/>
                    <a:pt x="688" y="56"/>
                  </a:cubicBezTo>
                  <a:cubicBezTo>
                    <a:pt x="690" y="52"/>
                    <a:pt x="693" y="49"/>
                    <a:pt x="697" y="46"/>
                  </a:cubicBezTo>
                  <a:cubicBezTo>
                    <a:pt x="701" y="44"/>
                    <a:pt x="705" y="43"/>
                    <a:pt x="709" y="43"/>
                  </a:cubicBezTo>
                  <a:cubicBezTo>
                    <a:pt x="710" y="43"/>
                    <a:pt x="712" y="43"/>
                    <a:pt x="714" y="43"/>
                  </a:cubicBezTo>
                  <a:cubicBezTo>
                    <a:pt x="715" y="43"/>
                    <a:pt x="717" y="43"/>
                    <a:pt x="718" y="44"/>
                  </a:cubicBezTo>
                  <a:cubicBezTo>
                    <a:pt x="720" y="31"/>
                    <a:pt x="720" y="31"/>
                    <a:pt x="720" y="31"/>
                  </a:cubicBezTo>
                  <a:cubicBezTo>
                    <a:pt x="719" y="30"/>
                    <a:pt x="717" y="30"/>
                    <a:pt x="715" y="30"/>
                  </a:cubicBezTo>
                  <a:cubicBezTo>
                    <a:pt x="713" y="30"/>
                    <a:pt x="712" y="30"/>
                    <a:pt x="710" y="30"/>
                  </a:cubicBezTo>
                  <a:cubicBezTo>
                    <a:pt x="704" y="30"/>
                    <a:pt x="699" y="32"/>
                    <a:pt x="694" y="35"/>
                  </a:cubicBezTo>
                  <a:moveTo>
                    <a:pt x="584" y="56"/>
                  </a:moveTo>
                  <a:cubicBezTo>
                    <a:pt x="587" y="50"/>
                    <a:pt x="594" y="46"/>
                    <a:pt x="602" y="46"/>
                  </a:cubicBezTo>
                  <a:cubicBezTo>
                    <a:pt x="611" y="45"/>
                    <a:pt x="618" y="47"/>
                    <a:pt x="622" y="53"/>
                  </a:cubicBezTo>
                  <a:cubicBezTo>
                    <a:pt x="627" y="58"/>
                    <a:pt x="629" y="66"/>
                    <a:pt x="630" y="76"/>
                  </a:cubicBezTo>
                  <a:cubicBezTo>
                    <a:pt x="631" y="86"/>
                    <a:pt x="630" y="94"/>
                    <a:pt x="626" y="101"/>
                  </a:cubicBezTo>
                  <a:cubicBezTo>
                    <a:pt x="623" y="107"/>
                    <a:pt x="616" y="110"/>
                    <a:pt x="608" y="111"/>
                  </a:cubicBezTo>
                  <a:cubicBezTo>
                    <a:pt x="599" y="112"/>
                    <a:pt x="593" y="109"/>
                    <a:pt x="588" y="104"/>
                  </a:cubicBezTo>
                  <a:cubicBezTo>
                    <a:pt x="584" y="98"/>
                    <a:pt x="581" y="90"/>
                    <a:pt x="580" y="80"/>
                  </a:cubicBezTo>
                  <a:cubicBezTo>
                    <a:pt x="579" y="70"/>
                    <a:pt x="581" y="62"/>
                    <a:pt x="584" y="56"/>
                  </a:cubicBezTo>
                  <a:moveTo>
                    <a:pt x="638" y="51"/>
                  </a:moveTo>
                  <a:cubicBezTo>
                    <a:pt x="634" y="45"/>
                    <a:pt x="629" y="40"/>
                    <a:pt x="622" y="37"/>
                  </a:cubicBezTo>
                  <a:cubicBezTo>
                    <a:pt x="616" y="34"/>
                    <a:pt x="609" y="33"/>
                    <a:pt x="602" y="34"/>
                  </a:cubicBezTo>
                  <a:cubicBezTo>
                    <a:pt x="589" y="35"/>
                    <a:pt x="580" y="40"/>
                    <a:pt x="573" y="48"/>
                  </a:cubicBezTo>
                  <a:cubicBezTo>
                    <a:pt x="567" y="56"/>
                    <a:pt x="564" y="67"/>
                    <a:pt x="566" y="81"/>
                  </a:cubicBezTo>
                  <a:cubicBezTo>
                    <a:pt x="566" y="91"/>
                    <a:pt x="569" y="99"/>
                    <a:pt x="573" y="105"/>
                  </a:cubicBezTo>
                  <a:cubicBezTo>
                    <a:pt x="577" y="111"/>
                    <a:pt x="582" y="116"/>
                    <a:pt x="588" y="119"/>
                  </a:cubicBezTo>
                  <a:cubicBezTo>
                    <a:pt x="594" y="122"/>
                    <a:pt x="601" y="123"/>
                    <a:pt x="608" y="123"/>
                  </a:cubicBezTo>
                  <a:cubicBezTo>
                    <a:pt x="621" y="122"/>
                    <a:pt x="630" y="117"/>
                    <a:pt x="637" y="109"/>
                  </a:cubicBezTo>
                  <a:cubicBezTo>
                    <a:pt x="643" y="100"/>
                    <a:pt x="646" y="89"/>
                    <a:pt x="645" y="75"/>
                  </a:cubicBezTo>
                  <a:cubicBezTo>
                    <a:pt x="644" y="65"/>
                    <a:pt x="642" y="58"/>
                    <a:pt x="638" y="51"/>
                  </a:cubicBezTo>
                  <a:moveTo>
                    <a:pt x="523" y="15"/>
                  </a:moveTo>
                  <a:cubicBezTo>
                    <a:pt x="510" y="18"/>
                    <a:pt x="510" y="18"/>
                    <a:pt x="510" y="18"/>
                  </a:cubicBezTo>
                  <a:cubicBezTo>
                    <a:pt x="522" y="81"/>
                    <a:pt x="522" y="81"/>
                    <a:pt x="522" y="81"/>
                  </a:cubicBezTo>
                  <a:cubicBezTo>
                    <a:pt x="523" y="84"/>
                    <a:pt x="524" y="88"/>
                    <a:pt x="524" y="92"/>
                  </a:cubicBezTo>
                  <a:cubicBezTo>
                    <a:pt x="525" y="96"/>
                    <a:pt x="526" y="100"/>
                    <a:pt x="527" y="103"/>
                  </a:cubicBezTo>
                  <a:cubicBezTo>
                    <a:pt x="528" y="106"/>
                    <a:pt x="529" y="109"/>
                    <a:pt x="529" y="110"/>
                  </a:cubicBezTo>
                  <a:cubicBezTo>
                    <a:pt x="528" y="110"/>
                    <a:pt x="528" y="110"/>
                    <a:pt x="528" y="110"/>
                  </a:cubicBezTo>
                  <a:cubicBezTo>
                    <a:pt x="450" y="30"/>
                    <a:pt x="450" y="30"/>
                    <a:pt x="450" y="30"/>
                  </a:cubicBezTo>
                  <a:cubicBezTo>
                    <a:pt x="434" y="33"/>
                    <a:pt x="434" y="33"/>
                    <a:pt x="434" y="33"/>
                  </a:cubicBezTo>
                  <a:cubicBezTo>
                    <a:pt x="456" y="145"/>
                    <a:pt x="456" y="145"/>
                    <a:pt x="456" y="145"/>
                  </a:cubicBezTo>
                  <a:cubicBezTo>
                    <a:pt x="469" y="142"/>
                    <a:pt x="469" y="142"/>
                    <a:pt x="469" y="142"/>
                  </a:cubicBezTo>
                  <a:cubicBezTo>
                    <a:pt x="457" y="80"/>
                    <a:pt x="457" y="80"/>
                    <a:pt x="457" y="80"/>
                  </a:cubicBezTo>
                  <a:cubicBezTo>
                    <a:pt x="456" y="74"/>
                    <a:pt x="454" y="68"/>
                    <a:pt x="453" y="63"/>
                  </a:cubicBezTo>
                  <a:cubicBezTo>
                    <a:pt x="451" y="58"/>
                    <a:pt x="450" y="53"/>
                    <a:pt x="449" y="49"/>
                  </a:cubicBezTo>
                  <a:cubicBezTo>
                    <a:pt x="450" y="49"/>
                    <a:pt x="450" y="49"/>
                    <a:pt x="450" y="49"/>
                  </a:cubicBezTo>
                  <a:cubicBezTo>
                    <a:pt x="528" y="131"/>
                    <a:pt x="528" y="131"/>
                    <a:pt x="528" y="131"/>
                  </a:cubicBezTo>
                  <a:cubicBezTo>
                    <a:pt x="545" y="127"/>
                    <a:pt x="545" y="127"/>
                    <a:pt x="545" y="127"/>
                  </a:cubicBezTo>
                  <a:lnTo>
                    <a:pt x="523" y="15"/>
                  </a:lnTo>
                  <a:close/>
                  <a:moveTo>
                    <a:pt x="315" y="119"/>
                  </a:moveTo>
                  <a:cubicBezTo>
                    <a:pt x="316" y="112"/>
                    <a:pt x="321" y="108"/>
                    <a:pt x="330" y="105"/>
                  </a:cubicBezTo>
                  <a:cubicBezTo>
                    <a:pt x="338" y="102"/>
                    <a:pt x="345" y="102"/>
                    <a:pt x="351" y="106"/>
                  </a:cubicBezTo>
                  <a:cubicBezTo>
                    <a:pt x="356" y="110"/>
                    <a:pt x="361" y="117"/>
                    <a:pt x="364" y="127"/>
                  </a:cubicBezTo>
                  <a:cubicBezTo>
                    <a:pt x="368" y="136"/>
                    <a:pt x="369" y="144"/>
                    <a:pt x="367" y="151"/>
                  </a:cubicBezTo>
                  <a:cubicBezTo>
                    <a:pt x="365" y="158"/>
                    <a:pt x="360" y="163"/>
                    <a:pt x="352" y="166"/>
                  </a:cubicBezTo>
                  <a:cubicBezTo>
                    <a:pt x="344" y="169"/>
                    <a:pt x="337" y="168"/>
                    <a:pt x="331" y="164"/>
                  </a:cubicBezTo>
                  <a:cubicBezTo>
                    <a:pt x="325" y="160"/>
                    <a:pt x="320" y="153"/>
                    <a:pt x="317" y="144"/>
                  </a:cubicBezTo>
                  <a:cubicBezTo>
                    <a:pt x="314" y="134"/>
                    <a:pt x="313" y="126"/>
                    <a:pt x="315" y="119"/>
                  </a:cubicBezTo>
                  <a:moveTo>
                    <a:pt x="365" y="101"/>
                  </a:moveTo>
                  <a:cubicBezTo>
                    <a:pt x="360" y="96"/>
                    <a:pt x="354" y="93"/>
                    <a:pt x="347" y="91"/>
                  </a:cubicBezTo>
                  <a:cubicBezTo>
                    <a:pt x="340" y="90"/>
                    <a:pt x="333" y="91"/>
                    <a:pt x="326" y="93"/>
                  </a:cubicBezTo>
                  <a:cubicBezTo>
                    <a:pt x="314" y="98"/>
                    <a:pt x="306" y="104"/>
                    <a:pt x="302" y="114"/>
                  </a:cubicBezTo>
                  <a:cubicBezTo>
                    <a:pt x="298" y="124"/>
                    <a:pt x="299" y="135"/>
                    <a:pt x="303" y="149"/>
                  </a:cubicBezTo>
                  <a:cubicBezTo>
                    <a:pt x="307" y="157"/>
                    <a:pt x="311" y="164"/>
                    <a:pt x="316" y="170"/>
                  </a:cubicBezTo>
                  <a:cubicBezTo>
                    <a:pt x="322" y="175"/>
                    <a:pt x="328" y="178"/>
                    <a:pt x="335" y="179"/>
                  </a:cubicBezTo>
                  <a:cubicBezTo>
                    <a:pt x="341" y="180"/>
                    <a:pt x="348" y="180"/>
                    <a:pt x="355" y="177"/>
                  </a:cubicBezTo>
                  <a:cubicBezTo>
                    <a:pt x="367" y="173"/>
                    <a:pt x="375" y="166"/>
                    <a:pt x="379" y="156"/>
                  </a:cubicBezTo>
                  <a:cubicBezTo>
                    <a:pt x="383" y="147"/>
                    <a:pt x="383" y="135"/>
                    <a:pt x="378" y="122"/>
                  </a:cubicBezTo>
                  <a:cubicBezTo>
                    <a:pt x="375" y="113"/>
                    <a:pt x="370" y="106"/>
                    <a:pt x="365" y="101"/>
                  </a:cubicBezTo>
                  <a:moveTo>
                    <a:pt x="280" y="206"/>
                  </a:moveTo>
                  <a:cubicBezTo>
                    <a:pt x="274" y="114"/>
                    <a:pt x="274" y="114"/>
                    <a:pt x="274" y="114"/>
                  </a:cubicBezTo>
                  <a:cubicBezTo>
                    <a:pt x="260" y="120"/>
                    <a:pt x="260" y="120"/>
                    <a:pt x="260" y="120"/>
                  </a:cubicBezTo>
                  <a:cubicBezTo>
                    <a:pt x="265" y="174"/>
                    <a:pt x="265" y="174"/>
                    <a:pt x="265" y="174"/>
                  </a:cubicBezTo>
                  <a:cubicBezTo>
                    <a:pt x="265" y="176"/>
                    <a:pt x="265" y="179"/>
                    <a:pt x="265" y="182"/>
                  </a:cubicBezTo>
                  <a:cubicBezTo>
                    <a:pt x="266" y="185"/>
                    <a:pt x="266" y="188"/>
                    <a:pt x="266" y="191"/>
                  </a:cubicBezTo>
                  <a:cubicBezTo>
                    <a:pt x="267" y="194"/>
                    <a:pt x="267" y="196"/>
                    <a:pt x="268" y="198"/>
                  </a:cubicBezTo>
                  <a:cubicBezTo>
                    <a:pt x="267" y="198"/>
                    <a:pt x="267" y="198"/>
                    <a:pt x="267" y="198"/>
                  </a:cubicBezTo>
                  <a:cubicBezTo>
                    <a:pt x="266" y="196"/>
                    <a:pt x="265" y="195"/>
                    <a:pt x="263" y="193"/>
                  </a:cubicBezTo>
                  <a:cubicBezTo>
                    <a:pt x="261" y="190"/>
                    <a:pt x="259" y="188"/>
                    <a:pt x="257" y="186"/>
                  </a:cubicBezTo>
                  <a:cubicBezTo>
                    <a:pt x="255" y="184"/>
                    <a:pt x="253" y="182"/>
                    <a:pt x="251" y="180"/>
                  </a:cubicBezTo>
                  <a:cubicBezTo>
                    <a:pt x="214" y="142"/>
                    <a:pt x="214" y="142"/>
                    <a:pt x="214" y="142"/>
                  </a:cubicBezTo>
                  <a:cubicBezTo>
                    <a:pt x="200" y="148"/>
                    <a:pt x="200" y="148"/>
                    <a:pt x="200" y="148"/>
                  </a:cubicBezTo>
                  <a:cubicBezTo>
                    <a:pt x="265" y="212"/>
                    <a:pt x="265" y="212"/>
                    <a:pt x="265" y="212"/>
                  </a:cubicBezTo>
                  <a:lnTo>
                    <a:pt x="280" y="206"/>
                  </a:lnTo>
                  <a:close/>
                  <a:moveTo>
                    <a:pt x="146" y="199"/>
                  </a:moveTo>
                  <a:cubicBezTo>
                    <a:pt x="147" y="192"/>
                    <a:pt x="151" y="187"/>
                    <a:pt x="159" y="182"/>
                  </a:cubicBezTo>
                  <a:cubicBezTo>
                    <a:pt x="166" y="178"/>
                    <a:pt x="173" y="177"/>
                    <a:pt x="180" y="180"/>
                  </a:cubicBezTo>
                  <a:cubicBezTo>
                    <a:pt x="186" y="183"/>
                    <a:pt x="192" y="189"/>
                    <a:pt x="197" y="198"/>
                  </a:cubicBezTo>
                  <a:cubicBezTo>
                    <a:pt x="202" y="207"/>
                    <a:pt x="204" y="215"/>
                    <a:pt x="203" y="222"/>
                  </a:cubicBezTo>
                  <a:cubicBezTo>
                    <a:pt x="203" y="229"/>
                    <a:pt x="199" y="235"/>
                    <a:pt x="191" y="239"/>
                  </a:cubicBezTo>
                  <a:cubicBezTo>
                    <a:pt x="184" y="243"/>
                    <a:pt x="177" y="244"/>
                    <a:pt x="170" y="241"/>
                  </a:cubicBezTo>
                  <a:cubicBezTo>
                    <a:pt x="164" y="238"/>
                    <a:pt x="158" y="232"/>
                    <a:pt x="153" y="223"/>
                  </a:cubicBezTo>
                  <a:cubicBezTo>
                    <a:pt x="148" y="214"/>
                    <a:pt x="146" y="206"/>
                    <a:pt x="146" y="199"/>
                  </a:cubicBezTo>
                  <a:moveTo>
                    <a:pt x="193" y="172"/>
                  </a:moveTo>
                  <a:cubicBezTo>
                    <a:pt x="187" y="168"/>
                    <a:pt x="180" y="166"/>
                    <a:pt x="174" y="166"/>
                  </a:cubicBezTo>
                  <a:cubicBezTo>
                    <a:pt x="167" y="166"/>
                    <a:pt x="160" y="168"/>
                    <a:pt x="153" y="172"/>
                  </a:cubicBezTo>
                  <a:cubicBezTo>
                    <a:pt x="142" y="178"/>
                    <a:pt x="136" y="186"/>
                    <a:pt x="133" y="196"/>
                  </a:cubicBezTo>
                  <a:cubicBezTo>
                    <a:pt x="131" y="206"/>
                    <a:pt x="133" y="218"/>
                    <a:pt x="140" y="230"/>
                  </a:cubicBezTo>
                  <a:cubicBezTo>
                    <a:pt x="145" y="238"/>
                    <a:pt x="151" y="244"/>
                    <a:pt x="157" y="249"/>
                  </a:cubicBezTo>
                  <a:cubicBezTo>
                    <a:pt x="163" y="253"/>
                    <a:pt x="170" y="255"/>
                    <a:pt x="176" y="255"/>
                  </a:cubicBezTo>
                  <a:cubicBezTo>
                    <a:pt x="183" y="255"/>
                    <a:pt x="190" y="253"/>
                    <a:pt x="197" y="249"/>
                  </a:cubicBezTo>
                  <a:cubicBezTo>
                    <a:pt x="207" y="243"/>
                    <a:pt x="214" y="235"/>
                    <a:pt x="216" y="225"/>
                  </a:cubicBezTo>
                  <a:cubicBezTo>
                    <a:pt x="219" y="215"/>
                    <a:pt x="216" y="203"/>
                    <a:pt x="209" y="191"/>
                  </a:cubicBezTo>
                  <a:cubicBezTo>
                    <a:pt x="205" y="183"/>
                    <a:pt x="199" y="176"/>
                    <a:pt x="193" y="172"/>
                  </a:cubicBezTo>
                  <a:moveTo>
                    <a:pt x="74" y="187"/>
                  </a:moveTo>
                  <a:cubicBezTo>
                    <a:pt x="63" y="195"/>
                    <a:pt x="63" y="195"/>
                    <a:pt x="63" y="195"/>
                  </a:cubicBezTo>
                  <a:cubicBezTo>
                    <a:pt x="101" y="247"/>
                    <a:pt x="101" y="247"/>
                    <a:pt x="101" y="247"/>
                  </a:cubicBezTo>
                  <a:cubicBezTo>
                    <a:pt x="103" y="250"/>
                    <a:pt x="105" y="253"/>
                    <a:pt x="107" y="256"/>
                  </a:cubicBezTo>
                  <a:cubicBezTo>
                    <a:pt x="110" y="260"/>
                    <a:pt x="112" y="262"/>
                    <a:pt x="114" y="265"/>
                  </a:cubicBezTo>
                  <a:cubicBezTo>
                    <a:pt x="116" y="268"/>
                    <a:pt x="118" y="270"/>
                    <a:pt x="119" y="271"/>
                  </a:cubicBezTo>
                  <a:cubicBezTo>
                    <a:pt x="119" y="272"/>
                    <a:pt x="119" y="272"/>
                    <a:pt x="119" y="272"/>
                  </a:cubicBezTo>
                  <a:cubicBezTo>
                    <a:pt x="14" y="230"/>
                    <a:pt x="14" y="230"/>
                    <a:pt x="14" y="230"/>
                  </a:cubicBezTo>
                  <a:cubicBezTo>
                    <a:pt x="0" y="240"/>
                    <a:pt x="0" y="240"/>
                    <a:pt x="0" y="240"/>
                  </a:cubicBezTo>
                  <a:cubicBezTo>
                    <a:pt x="67" y="333"/>
                    <a:pt x="67" y="333"/>
                    <a:pt x="67" y="333"/>
                  </a:cubicBezTo>
                  <a:cubicBezTo>
                    <a:pt x="78" y="325"/>
                    <a:pt x="78" y="325"/>
                    <a:pt x="78" y="325"/>
                  </a:cubicBezTo>
                  <a:cubicBezTo>
                    <a:pt x="41" y="273"/>
                    <a:pt x="41" y="273"/>
                    <a:pt x="41" y="273"/>
                  </a:cubicBezTo>
                  <a:cubicBezTo>
                    <a:pt x="37" y="269"/>
                    <a:pt x="34" y="264"/>
                    <a:pt x="30" y="260"/>
                  </a:cubicBezTo>
                  <a:cubicBezTo>
                    <a:pt x="27" y="255"/>
                    <a:pt x="24" y="252"/>
                    <a:pt x="21" y="249"/>
                  </a:cubicBezTo>
                  <a:cubicBezTo>
                    <a:pt x="22" y="248"/>
                    <a:pt x="22" y="248"/>
                    <a:pt x="22" y="248"/>
                  </a:cubicBezTo>
                  <a:cubicBezTo>
                    <a:pt x="127" y="290"/>
                    <a:pt x="127" y="290"/>
                    <a:pt x="127" y="290"/>
                  </a:cubicBezTo>
                  <a:cubicBezTo>
                    <a:pt x="141" y="280"/>
                    <a:pt x="141" y="280"/>
                    <a:pt x="141" y="280"/>
                  </a:cubicBezTo>
                  <a:lnTo>
                    <a:pt x="74" y="187"/>
                  </a:lnTo>
                  <a:close/>
                </a:path>
              </a:pathLst>
            </a:custGeom>
            <a:solidFill>
              <a:srgbClr val="222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6" name="Group 13">
              <a:extLst>
                <a:ext uri="{FF2B5EF4-FFF2-40B4-BE49-F238E27FC236}">
                  <a16:creationId xmlns:a16="http://schemas.microsoft.com/office/drawing/2014/main" id="{7ABC3130-B118-E64A-979A-99D2E62CCB29}"/>
                </a:ext>
              </a:extLst>
            </p:cNvPr>
            <p:cNvGrpSpPr/>
            <p:nvPr/>
          </p:nvGrpSpPr>
          <p:grpSpPr>
            <a:xfrm>
              <a:off x="4051300" y="2735263"/>
              <a:ext cx="1050925" cy="574675"/>
              <a:chOff x="4051300" y="2735263"/>
              <a:chExt cx="1050925" cy="574675"/>
            </a:xfrm>
          </p:grpSpPr>
          <p:sp>
            <p:nvSpPr>
              <p:cNvPr id="18" name="Freeform 11">
                <a:extLst>
                  <a:ext uri="{FF2B5EF4-FFF2-40B4-BE49-F238E27FC236}">
                    <a16:creationId xmlns:a16="http://schemas.microsoft.com/office/drawing/2014/main" id="{E6E8402E-240D-A542-B43E-04F1E45D4F1C}"/>
                  </a:ext>
                </a:extLst>
              </p:cNvPr>
              <p:cNvSpPr>
                <a:spLocks noEditPoints="1"/>
              </p:cNvSpPr>
              <p:nvPr/>
            </p:nvSpPr>
            <p:spPr bwMode="auto">
              <a:xfrm>
                <a:off x="4089400" y="3216275"/>
                <a:ext cx="971550" cy="93663"/>
              </a:xfrm>
              <a:custGeom>
                <a:avLst/>
                <a:gdLst>
                  <a:gd name="T0" fmla="*/ 1252 w 1295"/>
                  <a:gd name="T1" fmla="*/ 56 h 124"/>
                  <a:gd name="T2" fmla="*/ 1263 w 1295"/>
                  <a:gd name="T3" fmla="*/ 33 h 124"/>
                  <a:gd name="T4" fmla="*/ 1265 w 1295"/>
                  <a:gd name="T5" fmla="*/ 91 h 124"/>
                  <a:gd name="T6" fmla="*/ 1228 w 1295"/>
                  <a:gd name="T7" fmla="*/ 99 h 124"/>
                  <a:gd name="T8" fmla="*/ 1292 w 1295"/>
                  <a:gd name="T9" fmla="*/ 83 h 124"/>
                  <a:gd name="T10" fmla="*/ 1188 w 1295"/>
                  <a:gd name="T11" fmla="*/ 55 h 124"/>
                  <a:gd name="T12" fmla="*/ 1179 w 1295"/>
                  <a:gd name="T13" fmla="*/ 124 h 124"/>
                  <a:gd name="T14" fmla="*/ 1164 w 1295"/>
                  <a:gd name="T15" fmla="*/ 100 h 124"/>
                  <a:gd name="T16" fmla="*/ 1153 w 1295"/>
                  <a:gd name="T17" fmla="*/ 38 h 124"/>
                  <a:gd name="T18" fmla="*/ 1078 w 1295"/>
                  <a:gd name="T19" fmla="*/ 56 h 124"/>
                  <a:gd name="T20" fmla="*/ 1089 w 1295"/>
                  <a:gd name="T21" fmla="*/ 33 h 124"/>
                  <a:gd name="T22" fmla="*/ 1091 w 1295"/>
                  <a:gd name="T23" fmla="*/ 91 h 124"/>
                  <a:gd name="T24" fmla="*/ 1054 w 1295"/>
                  <a:gd name="T25" fmla="*/ 99 h 124"/>
                  <a:gd name="T26" fmla="*/ 1117 w 1295"/>
                  <a:gd name="T27" fmla="*/ 83 h 124"/>
                  <a:gd name="T28" fmla="*/ 986 w 1295"/>
                  <a:gd name="T29" fmla="*/ 86 h 124"/>
                  <a:gd name="T30" fmla="*/ 973 w 1295"/>
                  <a:gd name="T31" fmla="*/ 57 h 124"/>
                  <a:gd name="T32" fmla="*/ 996 w 1295"/>
                  <a:gd name="T33" fmla="*/ 68 h 124"/>
                  <a:gd name="T34" fmla="*/ 1013 w 1295"/>
                  <a:gd name="T35" fmla="*/ 110 h 124"/>
                  <a:gd name="T36" fmla="*/ 999 w 1295"/>
                  <a:gd name="T37" fmla="*/ 33 h 124"/>
                  <a:gd name="T38" fmla="*/ 904 w 1295"/>
                  <a:gd name="T39" fmla="*/ 50 h 124"/>
                  <a:gd name="T40" fmla="*/ 885 w 1295"/>
                  <a:gd name="T41" fmla="*/ 119 h 124"/>
                  <a:gd name="T42" fmla="*/ 909 w 1295"/>
                  <a:gd name="T43" fmla="*/ 106 h 124"/>
                  <a:gd name="T44" fmla="*/ 904 w 1295"/>
                  <a:gd name="T45" fmla="*/ 33 h 124"/>
                  <a:gd name="T46" fmla="*/ 809 w 1295"/>
                  <a:gd name="T47" fmla="*/ 60 h 124"/>
                  <a:gd name="T48" fmla="*/ 834 w 1295"/>
                  <a:gd name="T49" fmla="*/ 35 h 124"/>
                  <a:gd name="T50" fmla="*/ 807 w 1295"/>
                  <a:gd name="T51" fmla="*/ 85 h 124"/>
                  <a:gd name="T52" fmla="*/ 799 w 1295"/>
                  <a:gd name="T53" fmla="*/ 104 h 124"/>
                  <a:gd name="T54" fmla="*/ 850 w 1295"/>
                  <a:gd name="T55" fmla="*/ 96 h 124"/>
                  <a:gd name="T56" fmla="*/ 740 w 1295"/>
                  <a:gd name="T57" fmla="*/ 122 h 124"/>
                  <a:gd name="T58" fmla="*/ 765 w 1295"/>
                  <a:gd name="T59" fmla="*/ 12 h 124"/>
                  <a:gd name="T60" fmla="*/ 662 w 1295"/>
                  <a:gd name="T61" fmla="*/ 59 h 124"/>
                  <a:gd name="T62" fmla="*/ 675 w 1295"/>
                  <a:gd name="T63" fmla="*/ 105 h 124"/>
                  <a:gd name="T64" fmla="*/ 715 w 1295"/>
                  <a:gd name="T65" fmla="*/ 122 h 124"/>
                  <a:gd name="T66" fmla="*/ 692 w 1295"/>
                  <a:gd name="T67" fmla="*/ 46 h 124"/>
                  <a:gd name="T68" fmla="*/ 666 w 1295"/>
                  <a:gd name="T69" fmla="*/ 124 h 124"/>
                  <a:gd name="T70" fmla="*/ 552 w 1295"/>
                  <a:gd name="T71" fmla="*/ 104 h 124"/>
                  <a:gd name="T72" fmla="*/ 580 w 1295"/>
                  <a:gd name="T73" fmla="*/ 39 h 124"/>
                  <a:gd name="T74" fmla="*/ 520 w 1295"/>
                  <a:gd name="T75" fmla="*/ 113 h 124"/>
                  <a:gd name="T76" fmla="*/ 466 w 1295"/>
                  <a:gd name="T77" fmla="*/ 35 h 124"/>
                  <a:gd name="T78" fmla="*/ 487 w 1295"/>
                  <a:gd name="T79" fmla="*/ 21 h 124"/>
                  <a:gd name="T80" fmla="*/ 384 w 1295"/>
                  <a:gd name="T81" fmla="*/ 46 h 124"/>
                  <a:gd name="T82" fmla="*/ 385 w 1295"/>
                  <a:gd name="T83" fmla="*/ 81 h 124"/>
                  <a:gd name="T84" fmla="*/ 442 w 1295"/>
                  <a:gd name="T85" fmla="*/ 122 h 124"/>
                  <a:gd name="T86" fmla="*/ 299 w 1295"/>
                  <a:gd name="T87" fmla="*/ 52 h 124"/>
                  <a:gd name="T88" fmla="*/ 281 w 1295"/>
                  <a:gd name="T89" fmla="*/ 78 h 124"/>
                  <a:gd name="T90" fmla="*/ 257 w 1295"/>
                  <a:gd name="T91" fmla="*/ 78 h 124"/>
                  <a:gd name="T92" fmla="*/ 336 w 1295"/>
                  <a:gd name="T93" fmla="*/ 54 h 124"/>
                  <a:gd name="T94" fmla="*/ 192 w 1295"/>
                  <a:gd name="T95" fmla="*/ 122 h 124"/>
                  <a:gd name="T96" fmla="*/ 244 w 1295"/>
                  <a:gd name="T97" fmla="*/ 56 h 124"/>
                  <a:gd name="T98" fmla="*/ 87 w 1295"/>
                  <a:gd name="T99" fmla="*/ 0 h 124"/>
                  <a:gd name="T100" fmla="*/ 144 w 1295"/>
                  <a:gd name="T101" fmla="*/ 71 h 124"/>
                  <a:gd name="T102" fmla="*/ 122 w 1295"/>
                  <a:gd name="T103" fmla="*/ 36 h 124"/>
                  <a:gd name="T104" fmla="*/ 87 w 1295"/>
                  <a:gd name="T105" fmla="*/ 0 h 124"/>
                  <a:gd name="T106" fmla="*/ 29 w 1295"/>
                  <a:gd name="T107" fmla="*/ 98 h 124"/>
                  <a:gd name="T108" fmla="*/ 58 w 1295"/>
                  <a:gd name="T109" fmla="*/ 35 h 124"/>
                  <a:gd name="T110" fmla="*/ 41 w 1295"/>
                  <a:gd name="T11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95" h="124">
                    <a:moveTo>
                      <a:pt x="1292" y="83"/>
                    </a:moveTo>
                    <a:cubicBezTo>
                      <a:pt x="1290" y="80"/>
                      <a:pt x="1287" y="77"/>
                      <a:pt x="1283" y="75"/>
                    </a:cubicBezTo>
                    <a:cubicBezTo>
                      <a:pt x="1280" y="73"/>
                      <a:pt x="1275" y="71"/>
                      <a:pt x="1270" y="69"/>
                    </a:cubicBezTo>
                    <a:cubicBezTo>
                      <a:pt x="1265" y="67"/>
                      <a:pt x="1261" y="65"/>
                      <a:pt x="1259" y="64"/>
                    </a:cubicBezTo>
                    <a:cubicBezTo>
                      <a:pt x="1256" y="63"/>
                      <a:pt x="1254" y="61"/>
                      <a:pt x="1253" y="60"/>
                    </a:cubicBezTo>
                    <a:cubicBezTo>
                      <a:pt x="1252" y="59"/>
                      <a:pt x="1252" y="58"/>
                      <a:pt x="1252" y="56"/>
                    </a:cubicBezTo>
                    <a:cubicBezTo>
                      <a:pt x="1252" y="53"/>
                      <a:pt x="1255" y="51"/>
                      <a:pt x="1263" y="51"/>
                    </a:cubicBezTo>
                    <a:cubicBezTo>
                      <a:pt x="1266" y="51"/>
                      <a:pt x="1270" y="51"/>
                      <a:pt x="1274" y="53"/>
                    </a:cubicBezTo>
                    <a:cubicBezTo>
                      <a:pt x="1278" y="54"/>
                      <a:pt x="1282" y="55"/>
                      <a:pt x="1286" y="57"/>
                    </a:cubicBezTo>
                    <a:cubicBezTo>
                      <a:pt x="1294" y="40"/>
                      <a:pt x="1294" y="40"/>
                      <a:pt x="1294" y="40"/>
                    </a:cubicBezTo>
                    <a:cubicBezTo>
                      <a:pt x="1288" y="38"/>
                      <a:pt x="1283" y="36"/>
                      <a:pt x="1278" y="35"/>
                    </a:cubicBezTo>
                    <a:cubicBezTo>
                      <a:pt x="1273" y="34"/>
                      <a:pt x="1268" y="33"/>
                      <a:pt x="1263" y="33"/>
                    </a:cubicBezTo>
                    <a:cubicBezTo>
                      <a:pt x="1252" y="33"/>
                      <a:pt x="1244" y="35"/>
                      <a:pt x="1238" y="39"/>
                    </a:cubicBezTo>
                    <a:cubicBezTo>
                      <a:pt x="1231" y="43"/>
                      <a:pt x="1228" y="49"/>
                      <a:pt x="1228" y="57"/>
                    </a:cubicBezTo>
                    <a:cubicBezTo>
                      <a:pt x="1228" y="62"/>
                      <a:pt x="1229" y="66"/>
                      <a:pt x="1231" y="70"/>
                    </a:cubicBezTo>
                    <a:cubicBezTo>
                      <a:pt x="1233" y="73"/>
                      <a:pt x="1235" y="76"/>
                      <a:pt x="1239" y="78"/>
                    </a:cubicBezTo>
                    <a:cubicBezTo>
                      <a:pt x="1242" y="80"/>
                      <a:pt x="1247" y="83"/>
                      <a:pt x="1252" y="85"/>
                    </a:cubicBezTo>
                    <a:cubicBezTo>
                      <a:pt x="1258" y="87"/>
                      <a:pt x="1262" y="89"/>
                      <a:pt x="1265" y="91"/>
                    </a:cubicBezTo>
                    <a:cubicBezTo>
                      <a:pt x="1267" y="92"/>
                      <a:pt x="1269" y="94"/>
                      <a:pt x="1270" y="95"/>
                    </a:cubicBezTo>
                    <a:cubicBezTo>
                      <a:pt x="1271" y="96"/>
                      <a:pt x="1271" y="97"/>
                      <a:pt x="1271" y="99"/>
                    </a:cubicBezTo>
                    <a:cubicBezTo>
                      <a:pt x="1271" y="101"/>
                      <a:pt x="1270" y="103"/>
                      <a:pt x="1268" y="104"/>
                    </a:cubicBezTo>
                    <a:cubicBezTo>
                      <a:pt x="1266" y="106"/>
                      <a:pt x="1263" y="106"/>
                      <a:pt x="1258" y="106"/>
                    </a:cubicBezTo>
                    <a:cubicBezTo>
                      <a:pt x="1254" y="106"/>
                      <a:pt x="1249" y="106"/>
                      <a:pt x="1244" y="104"/>
                    </a:cubicBezTo>
                    <a:cubicBezTo>
                      <a:pt x="1238" y="103"/>
                      <a:pt x="1233" y="101"/>
                      <a:pt x="1228" y="99"/>
                    </a:cubicBezTo>
                    <a:cubicBezTo>
                      <a:pt x="1228" y="119"/>
                      <a:pt x="1228" y="119"/>
                      <a:pt x="1228" y="119"/>
                    </a:cubicBezTo>
                    <a:cubicBezTo>
                      <a:pt x="1233" y="120"/>
                      <a:pt x="1237" y="122"/>
                      <a:pt x="1242" y="122"/>
                    </a:cubicBezTo>
                    <a:cubicBezTo>
                      <a:pt x="1246" y="123"/>
                      <a:pt x="1251" y="124"/>
                      <a:pt x="1257" y="124"/>
                    </a:cubicBezTo>
                    <a:cubicBezTo>
                      <a:pt x="1270" y="124"/>
                      <a:pt x="1279" y="121"/>
                      <a:pt x="1285" y="117"/>
                    </a:cubicBezTo>
                    <a:cubicBezTo>
                      <a:pt x="1291" y="112"/>
                      <a:pt x="1295" y="105"/>
                      <a:pt x="1295" y="96"/>
                    </a:cubicBezTo>
                    <a:cubicBezTo>
                      <a:pt x="1295" y="91"/>
                      <a:pt x="1294" y="87"/>
                      <a:pt x="1292" y="83"/>
                    </a:cubicBezTo>
                    <a:moveTo>
                      <a:pt x="1188" y="55"/>
                    </a:moveTo>
                    <a:cubicBezTo>
                      <a:pt x="1190" y="59"/>
                      <a:pt x="1192" y="63"/>
                      <a:pt x="1192" y="68"/>
                    </a:cubicBezTo>
                    <a:cubicBezTo>
                      <a:pt x="1158" y="68"/>
                      <a:pt x="1158" y="68"/>
                      <a:pt x="1158" y="68"/>
                    </a:cubicBezTo>
                    <a:cubicBezTo>
                      <a:pt x="1159" y="62"/>
                      <a:pt x="1161" y="58"/>
                      <a:pt x="1164" y="55"/>
                    </a:cubicBezTo>
                    <a:cubicBezTo>
                      <a:pt x="1167" y="52"/>
                      <a:pt x="1170" y="50"/>
                      <a:pt x="1175" y="50"/>
                    </a:cubicBezTo>
                    <a:cubicBezTo>
                      <a:pt x="1181" y="50"/>
                      <a:pt x="1185" y="52"/>
                      <a:pt x="1188" y="55"/>
                    </a:cubicBezTo>
                    <a:moveTo>
                      <a:pt x="1153" y="38"/>
                    </a:moveTo>
                    <a:cubicBezTo>
                      <a:pt x="1147" y="42"/>
                      <a:pt x="1142" y="47"/>
                      <a:pt x="1139" y="54"/>
                    </a:cubicBezTo>
                    <a:cubicBezTo>
                      <a:pt x="1135" y="60"/>
                      <a:pt x="1134" y="69"/>
                      <a:pt x="1134" y="79"/>
                    </a:cubicBezTo>
                    <a:cubicBezTo>
                      <a:pt x="1134" y="89"/>
                      <a:pt x="1136" y="97"/>
                      <a:pt x="1139" y="104"/>
                    </a:cubicBezTo>
                    <a:cubicBezTo>
                      <a:pt x="1143" y="111"/>
                      <a:pt x="1149" y="116"/>
                      <a:pt x="1155" y="119"/>
                    </a:cubicBezTo>
                    <a:cubicBezTo>
                      <a:pt x="1162" y="122"/>
                      <a:pt x="1170" y="124"/>
                      <a:pt x="1179" y="124"/>
                    </a:cubicBezTo>
                    <a:cubicBezTo>
                      <a:pt x="1185" y="124"/>
                      <a:pt x="1191" y="123"/>
                      <a:pt x="1196" y="122"/>
                    </a:cubicBezTo>
                    <a:cubicBezTo>
                      <a:pt x="1200" y="121"/>
                      <a:pt x="1205" y="120"/>
                      <a:pt x="1209" y="117"/>
                    </a:cubicBezTo>
                    <a:cubicBezTo>
                      <a:pt x="1209" y="99"/>
                      <a:pt x="1209" y="99"/>
                      <a:pt x="1209" y="99"/>
                    </a:cubicBezTo>
                    <a:cubicBezTo>
                      <a:pt x="1204" y="101"/>
                      <a:pt x="1200" y="103"/>
                      <a:pt x="1195" y="104"/>
                    </a:cubicBezTo>
                    <a:cubicBezTo>
                      <a:pt x="1190" y="105"/>
                      <a:pt x="1185" y="106"/>
                      <a:pt x="1180" y="106"/>
                    </a:cubicBezTo>
                    <a:cubicBezTo>
                      <a:pt x="1173" y="106"/>
                      <a:pt x="1168" y="104"/>
                      <a:pt x="1164" y="100"/>
                    </a:cubicBezTo>
                    <a:cubicBezTo>
                      <a:pt x="1160" y="96"/>
                      <a:pt x="1158" y="91"/>
                      <a:pt x="1158" y="84"/>
                    </a:cubicBezTo>
                    <a:cubicBezTo>
                      <a:pt x="1214" y="84"/>
                      <a:pt x="1214" y="84"/>
                      <a:pt x="1214" y="84"/>
                    </a:cubicBezTo>
                    <a:cubicBezTo>
                      <a:pt x="1214" y="73"/>
                      <a:pt x="1214" y="73"/>
                      <a:pt x="1214" y="73"/>
                    </a:cubicBezTo>
                    <a:cubicBezTo>
                      <a:pt x="1214" y="60"/>
                      <a:pt x="1211" y="50"/>
                      <a:pt x="1204" y="43"/>
                    </a:cubicBezTo>
                    <a:cubicBezTo>
                      <a:pt x="1197" y="37"/>
                      <a:pt x="1187" y="33"/>
                      <a:pt x="1175" y="33"/>
                    </a:cubicBezTo>
                    <a:cubicBezTo>
                      <a:pt x="1167" y="33"/>
                      <a:pt x="1160" y="35"/>
                      <a:pt x="1153" y="38"/>
                    </a:cubicBezTo>
                    <a:moveTo>
                      <a:pt x="1117" y="83"/>
                    </a:moveTo>
                    <a:cubicBezTo>
                      <a:pt x="1116" y="80"/>
                      <a:pt x="1113" y="77"/>
                      <a:pt x="1109" y="75"/>
                    </a:cubicBezTo>
                    <a:cubicBezTo>
                      <a:pt x="1105" y="73"/>
                      <a:pt x="1101" y="71"/>
                      <a:pt x="1096" y="69"/>
                    </a:cubicBezTo>
                    <a:cubicBezTo>
                      <a:pt x="1091" y="67"/>
                      <a:pt x="1087" y="65"/>
                      <a:pt x="1085" y="64"/>
                    </a:cubicBezTo>
                    <a:cubicBezTo>
                      <a:pt x="1082" y="63"/>
                      <a:pt x="1080" y="61"/>
                      <a:pt x="1079" y="60"/>
                    </a:cubicBezTo>
                    <a:cubicBezTo>
                      <a:pt x="1078" y="59"/>
                      <a:pt x="1078" y="58"/>
                      <a:pt x="1078" y="56"/>
                    </a:cubicBezTo>
                    <a:cubicBezTo>
                      <a:pt x="1078" y="53"/>
                      <a:pt x="1081" y="51"/>
                      <a:pt x="1088" y="51"/>
                    </a:cubicBezTo>
                    <a:cubicBezTo>
                      <a:pt x="1092" y="51"/>
                      <a:pt x="1096" y="51"/>
                      <a:pt x="1100" y="53"/>
                    </a:cubicBezTo>
                    <a:cubicBezTo>
                      <a:pt x="1104" y="54"/>
                      <a:pt x="1108" y="55"/>
                      <a:pt x="1112" y="57"/>
                    </a:cubicBezTo>
                    <a:cubicBezTo>
                      <a:pt x="1119" y="40"/>
                      <a:pt x="1119" y="40"/>
                      <a:pt x="1119" y="40"/>
                    </a:cubicBezTo>
                    <a:cubicBezTo>
                      <a:pt x="1114" y="38"/>
                      <a:pt x="1109" y="36"/>
                      <a:pt x="1104" y="35"/>
                    </a:cubicBezTo>
                    <a:cubicBezTo>
                      <a:pt x="1099" y="34"/>
                      <a:pt x="1094" y="33"/>
                      <a:pt x="1089" y="33"/>
                    </a:cubicBezTo>
                    <a:cubicBezTo>
                      <a:pt x="1078" y="33"/>
                      <a:pt x="1070" y="35"/>
                      <a:pt x="1064" y="39"/>
                    </a:cubicBezTo>
                    <a:cubicBezTo>
                      <a:pt x="1057" y="43"/>
                      <a:pt x="1054" y="49"/>
                      <a:pt x="1054" y="57"/>
                    </a:cubicBezTo>
                    <a:cubicBezTo>
                      <a:pt x="1054" y="62"/>
                      <a:pt x="1055" y="66"/>
                      <a:pt x="1057" y="70"/>
                    </a:cubicBezTo>
                    <a:cubicBezTo>
                      <a:pt x="1058" y="73"/>
                      <a:pt x="1061" y="76"/>
                      <a:pt x="1065" y="78"/>
                    </a:cubicBezTo>
                    <a:cubicBezTo>
                      <a:pt x="1068" y="80"/>
                      <a:pt x="1072" y="83"/>
                      <a:pt x="1078" y="85"/>
                    </a:cubicBezTo>
                    <a:cubicBezTo>
                      <a:pt x="1084" y="87"/>
                      <a:pt x="1088" y="89"/>
                      <a:pt x="1091" y="91"/>
                    </a:cubicBezTo>
                    <a:cubicBezTo>
                      <a:pt x="1093" y="92"/>
                      <a:pt x="1095" y="94"/>
                      <a:pt x="1096" y="95"/>
                    </a:cubicBezTo>
                    <a:cubicBezTo>
                      <a:pt x="1097" y="96"/>
                      <a:pt x="1097" y="97"/>
                      <a:pt x="1097" y="99"/>
                    </a:cubicBezTo>
                    <a:cubicBezTo>
                      <a:pt x="1097" y="101"/>
                      <a:pt x="1096" y="103"/>
                      <a:pt x="1094" y="104"/>
                    </a:cubicBezTo>
                    <a:cubicBezTo>
                      <a:pt x="1092" y="106"/>
                      <a:pt x="1089" y="106"/>
                      <a:pt x="1084" y="106"/>
                    </a:cubicBezTo>
                    <a:cubicBezTo>
                      <a:pt x="1080" y="106"/>
                      <a:pt x="1075" y="106"/>
                      <a:pt x="1070" y="104"/>
                    </a:cubicBezTo>
                    <a:cubicBezTo>
                      <a:pt x="1064" y="103"/>
                      <a:pt x="1059" y="101"/>
                      <a:pt x="1054" y="99"/>
                    </a:cubicBezTo>
                    <a:cubicBezTo>
                      <a:pt x="1054" y="119"/>
                      <a:pt x="1054" y="119"/>
                      <a:pt x="1054" y="119"/>
                    </a:cubicBezTo>
                    <a:cubicBezTo>
                      <a:pt x="1059" y="120"/>
                      <a:pt x="1063" y="122"/>
                      <a:pt x="1067" y="122"/>
                    </a:cubicBezTo>
                    <a:cubicBezTo>
                      <a:pt x="1072" y="123"/>
                      <a:pt x="1077" y="124"/>
                      <a:pt x="1083" y="124"/>
                    </a:cubicBezTo>
                    <a:cubicBezTo>
                      <a:pt x="1096" y="124"/>
                      <a:pt x="1105" y="121"/>
                      <a:pt x="1111" y="117"/>
                    </a:cubicBezTo>
                    <a:cubicBezTo>
                      <a:pt x="1117" y="112"/>
                      <a:pt x="1120" y="105"/>
                      <a:pt x="1120" y="96"/>
                    </a:cubicBezTo>
                    <a:cubicBezTo>
                      <a:pt x="1120" y="91"/>
                      <a:pt x="1119" y="87"/>
                      <a:pt x="1117" y="83"/>
                    </a:cubicBezTo>
                    <a:moveTo>
                      <a:pt x="1011" y="89"/>
                    </a:moveTo>
                    <a:cubicBezTo>
                      <a:pt x="1011" y="94"/>
                      <a:pt x="1010" y="99"/>
                      <a:pt x="1006" y="102"/>
                    </a:cubicBezTo>
                    <a:cubicBezTo>
                      <a:pt x="1003" y="105"/>
                      <a:pt x="998" y="106"/>
                      <a:pt x="993" y="106"/>
                    </a:cubicBezTo>
                    <a:cubicBezTo>
                      <a:pt x="990" y="106"/>
                      <a:pt x="987" y="105"/>
                      <a:pt x="985" y="104"/>
                    </a:cubicBezTo>
                    <a:cubicBezTo>
                      <a:pt x="983" y="102"/>
                      <a:pt x="982" y="100"/>
                      <a:pt x="982" y="96"/>
                    </a:cubicBezTo>
                    <a:cubicBezTo>
                      <a:pt x="982" y="92"/>
                      <a:pt x="983" y="89"/>
                      <a:pt x="986" y="86"/>
                    </a:cubicBezTo>
                    <a:cubicBezTo>
                      <a:pt x="989" y="83"/>
                      <a:pt x="994" y="82"/>
                      <a:pt x="1002" y="82"/>
                    </a:cubicBezTo>
                    <a:cubicBezTo>
                      <a:pt x="1011" y="82"/>
                      <a:pt x="1011" y="82"/>
                      <a:pt x="1011" y="82"/>
                    </a:cubicBezTo>
                    <a:lnTo>
                      <a:pt x="1011" y="89"/>
                    </a:lnTo>
                    <a:close/>
                    <a:moveTo>
                      <a:pt x="981" y="35"/>
                    </a:moveTo>
                    <a:cubicBezTo>
                      <a:pt x="975" y="37"/>
                      <a:pt x="970" y="38"/>
                      <a:pt x="965" y="41"/>
                    </a:cubicBezTo>
                    <a:cubicBezTo>
                      <a:pt x="973" y="57"/>
                      <a:pt x="973" y="57"/>
                      <a:pt x="973" y="57"/>
                    </a:cubicBezTo>
                    <a:cubicBezTo>
                      <a:pt x="977" y="55"/>
                      <a:pt x="981" y="54"/>
                      <a:pt x="985" y="52"/>
                    </a:cubicBezTo>
                    <a:cubicBezTo>
                      <a:pt x="989" y="51"/>
                      <a:pt x="993" y="51"/>
                      <a:pt x="998" y="51"/>
                    </a:cubicBezTo>
                    <a:cubicBezTo>
                      <a:pt x="1002" y="51"/>
                      <a:pt x="1005" y="52"/>
                      <a:pt x="1008" y="54"/>
                    </a:cubicBezTo>
                    <a:cubicBezTo>
                      <a:pt x="1010" y="56"/>
                      <a:pt x="1011" y="59"/>
                      <a:pt x="1011" y="64"/>
                    </a:cubicBezTo>
                    <a:cubicBezTo>
                      <a:pt x="1011" y="68"/>
                      <a:pt x="1011" y="68"/>
                      <a:pt x="1011" y="68"/>
                    </a:cubicBezTo>
                    <a:cubicBezTo>
                      <a:pt x="996" y="68"/>
                      <a:pt x="996" y="68"/>
                      <a:pt x="996" y="68"/>
                    </a:cubicBezTo>
                    <a:cubicBezTo>
                      <a:pt x="983" y="69"/>
                      <a:pt x="973" y="71"/>
                      <a:pt x="967" y="75"/>
                    </a:cubicBezTo>
                    <a:cubicBezTo>
                      <a:pt x="960" y="80"/>
                      <a:pt x="957" y="87"/>
                      <a:pt x="957" y="96"/>
                    </a:cubicBezTo>
                    <a:cubicBezTo>
                      <a:pt x="957" y="105"/>
                      <a:pt x="960" y="112"/>
                      <a:pt x="965" y="117"/>
                    </a:cubicBezTo>
                    <a:cubicBezTo>
                      <a:pt x="970" y="121"/>
                      <a:pt x="976" y="124"/>
                      <a:pt x="984" y="124"/>
                    </a:cubicBezTo>
                    <a:cubicBezTo>
                      <a:pt x="991" y="124"/>
                      <a:pt x="997" y="123"/>
                      <a:pt x="1001" y="120"/>
                    </a:cubicBezTo>
                    <a:cubicBezTo>
                      <a:pt x="1005" y="118"/>
                      <a:pt x="1009" y="115"/>
                      <a:pt x="1013" y="110"/>
                    </a:cubicBezTo>
                    <a:cubicBezTo>
                      <a:pt x="1014" y="110"/>
                      <a:pt x="1014" y="110"/>
                      <a:pt x="1014" y="110"/>
                    </a:cubicBezTo>
                    <a:cubicBezTo>
                      <a:pt x="1018" y="122"/>
                      <a:pt x="1018" y="122"/>
                      <a:pt x="1018" y="122"/>
                    </a:cubicBezTo>
                    <a:cubicBezTo>
                      <a:pt x="1035" y="122"/>
                      <a:pt x="1035" y="122"/>
                      <a:pt x="1035" y="122"/>
                    </a:cubicBezTo>
                    <a:cubicBezTo>
                      <a:pt x="1035" y="64"/>
                      <a:pt x="1035" y="64"/>
                      <a:pt x="1035" y="64"/>
                    </a:cubicBezTo>
                    <a:cubicBezTo>
                      <a:pt x="1035" y="53"/>
                      <a:pt x="1032" y="46"/>
                      <a:pt x="1026" y="41"/>
                    </a:cubicBezTo>
                    <a:cubicBezTo>
                      <a:pt x="1019" y="35"/>
                      <a:pt x="1010" y="33"/>
                      <a:pt x="999" y="33"/>
                    </a:cubicBezTo>
                    <a:cubicBezTo>
                      <a:pt x="992" y="33"/>
                      <a:pt x="987" y="34"/>
                      <a:pt x="981" y="35"/>
                    </a:cubicBezTo>
                    <a:moveTo>
                      <a:pt x="917" y="55"/>
                    </a:moveTo>
                    <a:cubicBezTo>
                      <a:pt x="920" y="59"/>
                      <a:pt x="921" y="63"/>
                      <a:pt x="921" y="68"/>
                    </a:cubicBezTo>
                    <a:cubicBezTo>
                      <a:pt x="888" y="68"/>
                      <a:pt x="888" y="68"/>
                      <a:pt x="888" y="68"/>
                    </a:cubicBezTo>
                    <a:cubicBezTo>
                      <a:pt x="888" y="62"/>
                      <a:pt x="890" y="58"/>
                      <a:pt x="893" y="55"/>
                    </a:cubicBezTo>
                    <a:cubicBezTo>
                      <a:pt x="896" y="52"/>
                      <a:pt x="900" y="50"/>
                      <a:pt x="904" y="50"/>
                    </a:cubicBezTo>
                    <a:cubicBezTo>
                      <a:pt x="910" y="50"/>
                      <a:pt x="914" y="52"/>
                      <a:pt x="917" y="55"/>
                    </a:cubicBezTo>
                    <a:moveTo>
                      <a:pt x="883" y="38"/>
                    </a:moveTo>
                    <a:cubicBezTo>
                      <a:pt x="876" y="42"/>
                      <a:pt x="872" y="47"/>
                      <a:pt x="868" y="54"/>
                    </a:cubicBezTo>
                    <a:cubicBezTo>
                      <a:pt x="865" y="60"/>
                      <a:pt x="863" y="69"/>
                      <a:pt x="863" y="79"/>
                    </a:cubicBezTo>
                    <a:cubicBezTo>
                      <a:pt x="863" y="89"/>
                      <a:pt x="865" y="97"/>
                      <a:pt x="869" y="104"/>
                    </a:cubicBezTo>
                    <a:cubicBezTo>
                      <a:pt x="873" y="111"/>
                      <a:pt x="878" y="116"/>
                      <a:pt x="885" y="119"/>
                    </a:cubicBezTo>
                    <a:cubicBezTo>
                      <a:pt x="891" y="122"/>
                      <a:pt x="899" y="124"/>
                      <a:pt x="908" y="124"/>
                    </a:cubicBezTo>
                    <a:cubicBezTo>
                      <a:pt x="915" y="124"/>
                      <a:pt x="920" y="123"/>
                      <a:pt x="925" y="122"/>
                    </a:cubicBezTo>
                    <a:cubicBezTo>
                      <a:pt x="930" y="121"/>
                      <a:pt x="934" y="120"/>
                      <a:pt x="939" y="117"/>
                    </a:cubicBezTo>
                    <a:cubicBezTo>
                      <a:pt x="939" y="99"/>
                      <a:pt x="939" y="99"/>
                      <a:pt x="939" y="99"/>
                    </a:cubicBezTo>
                    <a:cubicBezTo>
                      <a:pt x="934" y="101"/>
                      <a:pt x="929" y="103"/>
                      <a:pt x="924" y="104"/>
                    </a:cubicBezTo>
                    <a:cubicBezTo>
                      <a:pt x="920" y="105"/>
                      <a:pt x="914" y="106"/>
                      <a:pt x="909" y="106"/>
                    </a:cubicBezTo>
                    <a:cubicBezTo>
                      <a:pt x="902" y="106"/>
                      <a:pt x="897" y="104"/>
                      <a:pt x="893" y="100"/>
                    </a:cubicBezTo>
                    <a:cubicBezTo>
                      <a:pt x="889" y="96"/>
                      <a:pt x="887" y="91"/>
                      <a:pt x="887" y="84"/>
                    </a:cubicBezTo>
                    <a:cubicBezTo>
                      <a:pt x="943" y="84"/>
                      <a:pt x="943" y="84"/>
                      <a:pt x="943" y="84"/>
                    </a:cubicBezTo>
                    <a:cubicBezTo>
                      <a:pt x="943" y="73"/>
                      <a:pt x="943" y="73"/>
                      <a:pt x="943" y="73"/>
                    </a:cubicBezTo>
                    <a:cubicBezTo>
                      <a:pt x="943" y="60"/>
                      <a:pt x="940" y="50"/>
                      <a:pt x="933" y="43"/>
                    </a:cubicBezTo>
                    <a:cubicBezTo>
                      <a:pt x="926" y="37"/>
                      <a:pt x="916" y="33"/>
                      <a:pt x="904" y="33"/>
                    </a:cubicBezTo>
                    <a:cubicBezTo>
                      <a:pt x="896" y="33"/>
                      <a:pt x="889" y="35"/>
                      <a:pt x="883" y="38"/>
                    </a:cubicBezTo>
                    <a:moveTo>
                      <a:pt x="847" y="83"/>
                    </a:moveTo>
                    <a:cubicBezTo>
                      <a:pt x="845" y="80"/>
                      <a:pt x="842" y="77"/>
                      <a:pt x="838" y="75"/>
                    </a:cubicBezTo>
                    <a:cubicBezTo>
                      <a:pt x="835" y="73"/>
                      <a:pt x="830" y="71"/>
                      <a:pt x="825" y="69"/>
                    </a:cubicBezTo>
                    <a:cubicBezTo>
                      <a:pt x="820" y="67"/>
                      <a:pt x="816" y="65"/>
                      <a:pt x="814" y="64"/>
                    </a:cubicBezTo>
                    <a:cubicBezTo>
                      <a:pt x="811" y="63"/>
                      <a:pt x="809" y="61"/>
                      <a:pt x="809" y="60"/>
                    </a:cubicBezTo>
                    <a:cubicBezTo>
                      <a:pt x="808" y="59"/>
                      <a:pt x="807" y="58"/>
                      <a:pt x="807" y="56"/>
                    </a:cubicBezTo>
                    <a:cubicBezTo>
                      <a:pt x="807" y="53"/>
                      <a:pt x="811" y="51"/>
                      <a:pt x="818" y="51"/>
                    </a:cubicBezTo>
                    <a:cubicBezTo>
                      <a:pt x="822" y="51"/>
                      <a:pt x="826" y="51"/>
                      <a:pt x="829" y="53"/>
                    </a:cubicBezTo>
                    <a:cubicBezTo>
                      <a:pt x="833" y="54"/>
                      <a:pt x="837" y="55"/>
                      <a:pt x="842" y="57"/>
                    </a:cubicBezTo>
                    <a:cubicBezTo>
                      <a:pt x="849" y="40"/>
                      <a:pt x="849" y="40"/>
                      <a:pt x="849" y="40"/>
                    </a:cubicBezTo>
                    <a:cubicBezTo>
                      <a:pt x="844" y="38"/>
                      <a:pt x="838" y="36"/>
                      <a:pt x="834" y="35"/>
                    </a:cubicBezTo>
                    <a:cubicBezTo>
                      <a:pt x="829" y="34"/>
                      <a:pt x="823" y="33"/>
                      <a:pt x="818" y="33"/>
                    </a:cubicBezTo>
                    <a:cubicBezTo>
                      <a:pt x="808" y="33"/>
                      <a:pt x="799" y="35"/>
                      <a:pt x="793" y="39"/>
                    </a:cubicBezTo>
                    <a:cubicBezTo>
                      <a:pt x="787" y="43"/>
                      <a:pt x="783" y="49"/>
                      <a:pt x="783" y="57"/>
                    </a:cubicBezTo>
                    <a:cubicBezTo>
                      <a:pt x="783" y="62"/>
                      <a:pt x="784" y="66"/>
                      <a:pt x="786" y="70"/>
                    </a:cubicBezTo>
                    <a:cubicBezTo>
                      <a:pt x="788" y="73"/>
                      <a:pt x="790" y="76"/>
                      <a:pt x="794" y="78"/>
                    </a:cubicBezTo>
                    <a:cubicBezTo>
                      <a:pt x="797" y="80"/>
                      <a:pt x="802" y="83"/>
                      <a:pt x="807" y="85"/>
                    </a:cubicBezTo>
                    <a:cubicBezTo>
                      <a:pt x="813" y="87"/>
                      <a:pt x="817" y="89"/>
                      <a:pt x="820" y="91"/>
                    </a:cubicBezTo>
                    <a:cubicBezTo>
                      <a:pt x="822" y="92"/>
                      <a:pt x="824" y="94"/>
                      <a:pt x="825" y="95"/>
                    </a:cubicBezTo>
                    <a:cubicBezTo>
                      <a:pt x="826" y="96"/>
                      <a:pt x="826" y="97"/>
                      <a:pt x="826" y="99"/>
                    </a:cubicBezTo>
                    <a:cubicBezTo>
                      <a:pt x="826" y="101"/>
                      <a:pt x="825" y="103"/>
                      <a:pt x="823" y="104"/>
                    </a:cubicBezTo>
                    <a:cubicBezTo>
                      <a:pt x="821" y="106"/>
                      <a:pt x="818" y="106"/>
                      <a:pt x="813" y="106"/>
                    </a:cubicBezTo>
                    <a:cubicBezTo>
                      <a:pt x="809" y="106"/>
                      <a:pt x="804" y="106"/>
                      <a:pt x="799" y="104"/>
                    </a:cubicBezTo>
                    <a:cubicBezTo>
                      <a:pt x="793" y="103"/>
                      <a:pt x="788" y="101"/>
                      <a:pt x="784" y="99"/>
                    </a:cubicBezTo>
                    <a:cubicBezTo>
                      <a:pt x="784" y="119"/>
                      <a:pt x="784" y="119"/>
                      <a:pt x="784" y="119"/>
                    </a:cubicBezTo>
                    <a:cubicBezTo>
                      <a:pt x="788" y="120"/>
                      <a:pt x="792" y="122"/>
                      <a:pt x="797" y="122"/>
                    </a:cubicBezTo>
                    <a:cubicBezTo>
                      <a:pt x="801" y="123"/>
                      <a:pt x="806" y="124"/>
                      <a:pt x="812" y="124"/>
                    </a:cubicBezTo>
                    <a:cubicBezTo>
                      <a:pt x="825" y="124"/>
                      <a:pt x="834" y="121"/>
                      <a:pt x="840" y="117"/>
                    </a:cubicBezTo>
                    <a:cubicBezTo>
                      <a:pt x="847" y="112"/>
                      <a:pt x="850" y="105"/>
                      <a:pt x="850" y="96"/>
                    </a:cubicBezTo>
                    <a:cubicBezTo>
                      <a:pt x="850" y="91"/>
                      <a:pt x="849" y="87"/>
                      <a:pt x="847" y="83"/>
                    </a:cubicBezTo>
                    <a:moveTo>
                      <a:pt x="740" y="122"/>
                    </a:moveTo>
                    <a:cubicBezTo>
                      <a:pt x="764" y="122"/>
                      <a:pt x="764" y="122"/>
                      <a:pt x="764" y="122"/>
                    </a:cubicBezTo>
                    <a:cubicBezTo>
                      <a:pt x="764" y="35"/>
                      <a:pt x="764" y="35"/>
                      <a:pt x="764" y="35"/>
                    </a:cubicBezTo>
                    <a:cubicBezTo>
                      <a:pt x="740" y="35"/>
                      <a:pt x="740" y="35"/>
                      <a:pt x="740" y="35"/>
                    </a:cubicBezTo>
                    <a:lnTo>
                      <a:pt x="740" y="122"/>
                    </a:lnTo>
                    <a:close/>
                    <a:moveTo>
                      <a:pt x="743" y="3"/>
                    </a:moveTo>
                    <a:cubicBezTo>
                      <a:pt x="740" y="5"/>
                      <a:pt x="739" y="8"/>
                      <a:pt x="739" y="12"/>
                    </a:cubicBezTo>
                    <a:cubicBezTo>
                      <a:pt x="739" y="16"/>
                      <a:pt x="740" y="20"/>
                      <a:pt x="743" y="21"/>
                    </a:cubicBezTo>
                    <a:cubicBezTo>
                      <a:pt x="745" y="23"/>
                      <a:pt x="748" y="24"/>
                      <a:pt x="752" y="24"/>
                    </a:cubicBezTo>
                    <a:cubicBezTo>
                      <a:pt x="755" y="24"/>
                      <a:pt x="759" y="23"/>
                      <a:pt x="761" y="21"/>
                    </a:cubicBezTo>
                    <a:cubicBezTo>
                      <a:pt x="764" y="20"/>
                      <a:pt x="765" y="16"/>
                      <a:pt x="765" y="12"/>
                    </a:cubicBezTo>
                    <a:cubicBezTo>
                      <a:pt x="765" y="8"/>
                      <a:pt x="764" y="5"/>
                      <a:pt x="761" y="3"/>
                    </a:cubicBezTo>
                    <a:cubicBezTo>
                      <a:pt x="759" y="1"/>
                      <a:pt x="755" y="0"/>
                      <a:pt x="752" y="0"/>
                    </a:cubicBezTo>
                    <a:cubicBezTo>
                      <a:pt x="748" y="0"/>
                      <a:pt x="745" y="1"/>
                      <a:pt x="743" y="3"/>
                    </a:cubicBezTo>
                    <a:moveTo>
                      <a:pt x="662" y="98"/>
                    </a:moveTo>
                    <a:cubicBezTo>
                      <a:pt x="659" y="94"/>
                      <a:pt x="658" y="87"/>
                      <a:pt x="658" y="79"/>
                    </a:cubicBezTo>
                    <a:cubicBezTo>
                      <a:pt x="658" y="70"/>
                      <a:pt x="659" y="64"/>
                      <a:pt x="662" y="59"/>
                    </a:cubicBezTo>
                    <a:cubicBezTo>
                      <a:pt x="665" y="55"/>
                      <a:pt x="669" y="52"/>
                      <a:pt x="674" y="52"/>
                    </a:cubicBezTo>
                    <a:cubicBezTo>
                      <a:pt x="681" y="52"/>
                      <a:pt x="686" y="55"/>
                      <a:pt x="689" y="59"/>
                    </a:cubicBezTo>
                    <a:cubicBezTo>
                      <a:pt x="691" y="64"/>
                      <a:pt x="693" y="70"/>
                      <a:pt x="693" y="79"/>
                    </a:cubicBezTo>
                    <a:cubicBezTo>
                      <a:pt x="693" y="81"/>
                      <a:pt x="693" y="81"/>
                      <a:pt x="693" y="81"/>
                    </a:cubicBezTo>
                    <a:cubicBezTo>
                      <a:pt x="693" y="89"/>
                      <a:pt x="691" y="95"/>
                      <a:pt x="688" y="99"/>
                    </a:cubicBezTo>
                    <a:cubicBezTo>
                      <a:pt x="686" y="103"/>
                      <a:pt x="681" y="105"/>
                      <a:pt x="675" y="105"/>
                    </a:cubicBezTo>
                    <a:cubicBezTo>
                      <a:pt x="669" y="105"/>
                      <a:pt x="665" y="102"/>
                      <a:pt x="662" y="98"/>
                    </a:cubicBezTo>
                    <a:moveTo>
                      <a:pt x="682" y="120"/>
                    </a:moveTo>
                    <a:cubicBezTo>
                      <a:pt x="686" y="117"/>
                      <a:pt x="689" y="114"/>
                      <a:pt x="691" y="111"/>
                    </a:cubicBezTo>
                    <a:cubicBezTo>
                      <a:pt x="692" y="111"/>
                      <a:pt x="692" y="111"/>
                      <a:pt x="692" y="111"/>
                    </a:cubicBezTo>
                    <a:cubicBezTo>
                      <a:pt x="697" y="122"/>
                      <a:pt x="697" y="122"/>
                      <a:pt x="697" y="122"/>
                    </a:cubicBezTo>
                    <a:cubicBezTo>
                      <a:pt x="715" y="122"/>
                      <a:pt x="715" y="122"/>
                      <a:pt x="715" y="122"/>
                    </a:cubicBezTo>
                    <a:cubicBezTo>
                      <a:pt x="715" y="0"/>
                      <a:pt x="715" y="0"/>
                      <a:pt x="715" y="0"/>
                    </a:cubicBezTo>
                    <a:cubicBezTo>
                      <a:pt x="691" y="0"/>
                      <a:pt x="691" y="0"/>
                      <a:pt x="691" y="0"/>
                    </a:cubicBezTo>
                    <a:cubicBezTo>
                      <a:pt x="691" y="28"/>
                      <a:pt x="691" y="28"/>
                      <a:pt x="691" y="28"/>
                    </a:cubicBezTo>
                    <a:cubicBezTo>
                      <a:pt x="691" y="32"/>
                      <a:pt x="691" y="35"/>
                      <a:pt x="692" y="38"/>
                    </a:cubicBezTo>
                    <a:cubicBezTo>
                      <a:pt x="692" y="42"/>
                      <a:pt x="693" y="44"/>
                      <a:pt x="693" y="46"/>
                    </a:cubicBezTo>
                    <a:cubicBezTo>
                      <a:pt x="692" y="46"/>
                      <a:pt x="692" y="46"/>
                      <a:pt x="692" y="46"/>
                    </a:cubicBezTo>
                    <a:cubicBezTo>
                      <a:pt x="690" y="42"/>
                      <a:pt x="687" y="39"/>
                      <a:pt x="683" y="37"/>
                    </a:cubicBezTo>
                    <a:cubicBezTo>
                      <a:pt x="678" y="34"/>
                      <a:pt x="673" y="33"/>
                      <a:pt x="667" y="33"/>
                    </a:cubicBezTo>
                    <a:cubicBezTo>
                      <a:pt x="657" y="33"/>
                      <a:pt x="649" y="37"/>
                      <a:pt x="643" y="45"/>
                    </a:cubicBezTo>
                    <a:cubicBezTo>
                      <a:pt x="637" y="52"/>
                      <a:pt x="633" y="64"/>
                      <a:pt x="633" y="79"/>
                    </a:cubicBezTo>
                    <a:cubicBezTo>
                      <a:pt x="633" y="93"/>
                      <a:pt x="636" y="105"/>
                      <a:pt x="643" y="112"/>
                    </a:cubicBezTo>
                    <a:cubicBezTo>
                      <a:pt x="649" y="120"/>
                      <a:pt x="657" y="124"/>
                      <a:pt x="666" y="124"/>
                    </a:cubicBezTo>
                    <a:cubicBezTo>
                      <a:pt x="673" y="124"/>
                      <a:pt x="678" y="122"/>
                      <a:pt x="682" y="120"/>
                    </a:cubicBezTo>
                    <a:moveTo>
                      <a:pt x="565" y="122"/>
                    </a:moveTo>
                    <a:cubicBezTo>
                      <a:pt x="569" y="121"/>
                      <a:pt x="573" y="119"/>
                      <a:pt x="577" y="117"/>
                    </a:cubicBezTo>
                    <a:cubicBezTo>
                      <a:pt x="577" y="97"/>
                      <a:pt x="577" y="97"/>
                      <a:pt x="577" y="97"/>
                    </a:cubicBezTo>
                    <a:cubicBezTo>
                      <a:pt x="573" y="99"/>
                      <a:pt x="570" y="101"/>
                      <a:pt x="566" y="102"/>
                    </a:cubicBezTo>
                    <a:cubicBezTo>
                      <a:pt x="562" y="104"/>
                      <a:pt x="557" y="104"/>
                      <a:pt x="552" y="104"/>
                    </a:cubicBezTo>
                    <a:cubicBezTo>
                      <a:pt x="547" y="104"/>
                      <a:pt x="542" y="102"/>
                      <a:pt x="539" y="98"/>
                    </a:cubicBezTo>
                    <a:cubicBezTo>
                      <a:pt x="536" y="94"/>
                      <a:pt x="534" y="87"/>
                      <a:pt x="534" y="79"/>
                    </a:cubicBezTo>
                    <a:cubicBezTo>
                      <a:pt x="534" y="61"/>
                      <a:pt x="540" y="52"/>
                      <a:pt x="552" y="52"/>
                    </a:cubicBezTo>
                    <a:cubicBezTo>
                      <a:pt x="556" y="52"/>
                      <a:pt x="559" y="53"/>
                      <a:pt x="562" y="54"/>
                    </a:cubicBezTo>
                    <a:cubicBezTo>
                      <a:pt x="565" y="55"/>
                      <a:pt x="569" y="56"/>
                      <a:pt x="573" y="57"/>
                    </a:cubicBezTo>
                    <a:cubicBezTo>
                      <a:pt x="580" y="39"/>
                      <a:pt x="580" y="39"/>
                      <a:pt x="580" y="39"/>
                    </a:cubicBezTo>
                    <a:cubicBezTo>
                      <a:pt x="576" y="37"/>
                      <a:pt x="572" y="36"/>
                      <a:pt x="568" y="35"/>
                    </a:cubicBezTo>
                    <a:cubicBezTo>
                      <a:pt x="564" y="34"/>
                      <a:pt x="558" y="33"/>
                      <a:pt x="552" y="33"/>
                    </a:cubicBezTo>
                    <a:cubicBezTo>
                      <a:pt x="544" y="33"/>
                      <a:pt x="537" y="35"/>
                      <a:pt x="530" y="38"/>
                    </a:cubicBezTo>
                    <a:cubicBezTo>
                      <a:pt x="524" y="41"/>
                      <a:pt x="519" y="46"/>
                      <a:pt x="515" y="53"/>
                    </a:cubicBezTo>
                    <a:cubicBezTo>
                      <a:pt x="511" y="59"/>
                      <a:pt x="510" y="68"/>
                      <a:pt x="510" y="79"/>
                    </a:cubicBezTo>
                    <a:cubicBezTo>
                      <a:pt x="510" y="94"/>
                      <a:pt x="513" y="106"/>
                      <a:pt x="520" y="113"/>
                    </a:cubicBezTo>
                    <a:cubicBezTo>
                      <a:pt x="527" y="120"/>
                      <a:pt x="537" y="124"/>
                      <a:pt x="550" y="124"/>
                    </a:cubicBezTo>
                    <a:cubicBezTo>
                      <a:pt x="556" y="124"/>
                      <a:pt x="561" y="123"/>
                      <a:pt x="565" y="122"/>
                    </a:cubicBezTo>
                    <a:moveTo>
                      <a:pt x="466" y="122"/>
                    </a:moveTo>
                    <a:cubicBezTo>
                      <a:pt x="490" y="122"/>
                      <a:pt x="490" y="122"/>
                      <a:pt x="490" y="122"/>
                    </a:cubicBezTo>
                    <a:cubicBezTo>
                      <a:pt x="490" y="35"/>
                      <a:pt x="490" y="35"/>
                      <a:pt x="490" y="35"/>
                    </a:cubicBezTo>
                    <a:cubicBezTo>
                      <a:pt x="466" y="35"/>
                      <a:pt x="466" y="35"/>
                      <a:pt x="466" y="35"/>
                    </a:cubicBezTo>
                    <a:lnTo>
                      <a:pt x="466" y="122"/>
                    </a:lnTo>
                    <a:close/>
                    <a:moveTo>
                      <a:pt x="469" y="3"/>
                    </a:moveTo>
                    <a:cubicBezTo>
                      <a:pt x="466" y="5"/>
                      <a:pt x="465" y="8"/>
                      <a:pt x="465" y="12"/>
                    </a:cubicBezTo>
                    <a:cubicBezTo>
                      <a:pt x="465" y="16"/>
                      <a:pt x="466" y="20"/>
                      <a:pt x="469" y="21"/>
                    </a:cubicBezTo>
                    <a:cubicBezTo>
                      <a:pt x="471" y="23"/>
                      <a:pt x="474" y="24"/>
                      <a:pt x="478" y="24"/>
                    </a:cubicBezTo>
                    <a:cubicBezTo>
                      <a:pt x="482" y="24"/>
                      <a:pt x="485" y="23"/>
                      <a:pt x="487" y="21"/>
                    </a:cubicBezTo>
                    <a:cubicBezTo>
                      <a:pt x="490" y="20"/>
                      <a:pt x="491" y="16"/>
                      <a:pt x="491" y="12"/>
                    </a:cubicBezTo>
                    <a:cubicBezTo>
                      <a:pt x="491" y="8"/>
                      <a:pt x="490" y="5"/>
                      <a:pt x="487" y="3"/>
                    </a:cubicBezTo>
                    <a:cubicBezTo>
                      <a:pt x="485" y="1"/>
                      <a:pt x="482" y="0"/>
                      <a:pt x="478" y="0"/>
                    </a:cubicBezTo>
                    <a:cubicBezTo>
                      <a:pt x="474" y="0"/>
                      <a:pt x="471" y="1"/>
                      <a:pt x="469" y="3"/>
                    </a:cubicBezTo>
                    <a:moveTo>
                      <a:pt x="395" y="36"/>
                    </a:moveTo>
                    <a:cubicBezTo>
                      <a:pt x="390" y="38"/>
                      <a:pt x="386" y="41"/>
                      <a:pt x="384" y="46"/>
                    </a:cubicBezTo>
                    <a:cubicBezTo>
                      <a:pt x="382" y="46"/>
                      <a:pt x="382" y="46"/>
                      <a:pt x="382" y="46"/>
                    </a:cubicBezTo>
                    <a:cubicBezTo>
                      <a:pt x="379" y="35"/>
                      <a:pt x="379" y="35"/>
                      <a:pt x="379" y="35"/>
                    </a:cubicBezTo>
                    <a:cubicBezTo>
                      <a:pt x="361" y="35"/>
                      <a:pt x="361" y="35"/>
                      <a:pt x="361" y="35"/>
                    </a:cubicBezTo>
                    <a:cubicBezTo>
                      <a:pt x="361" y="122"/>
                      <a:pt x="361" y="122"/>
                      <a:pt x="361" y="122"/>
                    </a:cubicBezTo>
                    <a:cubicBezTo>
                      <a:pt x="385" y="122"/>
                      <a:pt x="385" y="122"/>
                      <a:pt x="385" y="122"/>
                    </a:cubicBezTo>
                    <a:cubicBezTo>
                      <a:pt x="385" y="81"/>
                      <a:pt x="385" y="81"/>
                      <a:pt x="385" y="81"/>
                    </a:cubicBezTo>
                    <a:cubicBezTo>
                      <a:pt x="385" y="72"/>
                      <a:pt x="386" y="65"/>
                      <a:pt x="389" y="60"/>
                    </a:cubicBezTo>
                    <a:cubicBezTo>
                      <a:pt x="391" y="55"/>
                      <a:pt x="396" y="52"/>
                      <a:pt x="404" y="52"/>
                    </a:cubicBezTo>
                    <a:cubicBezTo>
                      <a:pt x="409" y="52"/>
                      <a:pt x="412" y="54"/>
                      <a:pt x="414" y="57"/>
                    </a:cubicBezTo>
                    <a:cubicBezTo>
                      <a:pt x="417" y="60"/>
                      <a:pt x="418" y="65"/>
                      <a:pt x="418" y="71"/>
                    </a:cubicBezTo>
                    <a:cubicBezTo>
                      <a:pt x="418" y="122"/>
                      <a:pt x="418" y="122"/>
                      <a:pt x="418" y="122"/>
                    </a:cubicBezTo>
                    <a:cubicBezTo>
                      <a:pt x="442" y="122"/>
                      <a:pt x="442" y="122"/>
                      <a:pt x="442" y="122"/>
                    </a:cubicBezTo>
                    <a:cubicBezTo>
                      <a:pt x="442" y="65"/>
                      <a:pt x="442" y="65"/>
                      <a:pt x="442" y="65"/>
                    </a:cubicBezTo>
                    <a:cubicBezTo>
                      <a:pt x="442" y="54"/>
                      <a:pt x="439" y="46"/>
                      <a:pt x="433" y="41"/>
                    </a:cubicBezTo>
                    <a:cubicBezTo>
                      <a:pt x="427" y="36"/>
                      <a:pt x="420" y="33"/>
                      <a:pt x="411" y="33"/>
                    </a:cubicBezTo>
                    <a:cubicBezTo>
                      <a:pt x="405" y="33"/>
                      <a:pt x="400" y="34"/>
                      <a:pt x="395" y="36"/>
                    </a:cubicBezTo>
                    <a:moveTo>
                      <a:pt x="285" y="59"/>
                    </a:moveTo>
                    <a:cubicBezTo>
                      <a:pt x="288" y="54"/>
                      <a:pt x="293" y="52"/>
                      <a:pt x="299" y="52"/>
                    </a:cubicBezTo>
                    <a:cubicBezTo>
                      <a:pt x="305" y="52"/>
                      <a:pt x="310" y="54"/>
                      <a:pt x="313" y="59"/>
                    </a:cubicBezTo>
                    <a:cubicBezTo>
                      <a:pt x="316" y="63"/>
                      <a:pt x="317" y="70"/>
                      <a:pt x="317" y="78"/>
                    </a:cubicBezTo>
                    <a:cubicBezTo>
                      <a:pt x="317" y="87"/>
                      <a:pt x="316" y="93"/>
                      <a:pt x="313" y="98"/>
                    </a:cubicBezTo>
                    <a:cubicBezTo>
                      <a:pt x="310" y="102"/>
                      <a:pt x="305" y="104"/>
                      <a:pt x="299" y="104"/>
                    </a:cubicBezTo>
                    <a:cubicBezTo>
                      <a:pt x="293" y="104"/>
                      <a:pt x="288" y="102"/>
                      <a:pt x="285" y="98"/>
                    </a:cubicBezTo>
                    <a:cubicBezTo>
                      <a:pt x="282" y="93"/>
                      <a:pt x="281" y="87"/>
                      <a:pt x="281" y="78"/>
                    </a:cubicBezTo>
                    <a:cubicBezTo>
                      <a:pt x="281" y="70"/>
                      <a:pt x="282" y="63"/>
                      <a:pt x="285" y="59"/>
                    </a:cubicBezTo>
                    <a:moveTo>
                      <a:pt x="336" y="54"/>
                    </a:moveTo>
                    <a:cubicBezTo>
                      <a:pt x="332" y="47"/>
                      <a:pt x="327" y="42"/>
                      <a:pt x="321" y="38"/>
                    </a:cubicBezTo>
                    <a:cubicBezTo>
                      <a:pt x="315" y="35"/>
                      <a:pt x="307" y="33"/>
                      <a:pt x="299" y="33"/>
                    </a:cubicBezTo>
                    <a:cubicBezTo>
                      <a:pt x="286" y="33"/>
                      <a:pt x="276" y="37"/>
                      <a:pt x="268" y="45"/>
                    </a:cubicBezTo>
                    <a:cubicBezTo>
                      <a:pt x="260" y="53"/>
                      <a:pt x="257" y="64"/>
                      <a:pt x="257" y="78"/>
                    </a:cubicBezTo>
                    <a:cubicBezTo>
                      <a:pt x="257" y="88"/>
                      <a:pt x="258" y="96"/>
                      <a:pt x="262" y="103"/>
                    </a:cubicBezTo>
                    <a:cubicBezTo>
                      <a:pt x="266" y="110"/>
                      <a:pt x="271" y="115"/>
                      <a:pt x="277" y="118"/>
                    </a:cubicBezTo>
                    <a:cubicBezTo>
                      <a:pt x="283" y="122"/>
                      <a:pt x="291" y="124"/>
                      <a:pt x="299" y="124"/>
                    </a:cubicBezTo>
                    <a:cubicBezTo>
                      <a:pt x="312" y="124"/>
                      <a:pt x="322" y="120"/>
                      <a:pt x="330" y="112"/>
                    </a:cubicBezTo>
                    <a:cubicBezTo>
                      <a:pt x="337" y="104"/>
                      <a:pt x="341" y="93"/>
                      <a:pt x="341" y="78"/>
                    </a:cubicBezTo>
                    <a:cubicBezTo>
                      <a:pt x="341" y="69"/>
                      <a:pt x="339" y="60"/>
                      <a:pt x="336" y="54"/>
                    </a:cubicBezTo>
                    <a:moveTo>
                      <a:pt x="226" y="38"/>
                    </a:moveTo>
                    <a:cubicBezTo>
                      <a:pt x="221" y="41"/>
                      <a:pt x="218" y="45"/>
                      <a:pt x="215" y="49"/>
                    </a:cubicBezTo>
                    <a:cubicBezTo>
                      <a:pt x="214" y="49"/>
                      <a:pt x="214" y="49"/>
                      <a:pt x="214" y="49"/>
                    </a:cubicBezTo>
                    <a:cubicBezTo>
                      <a:pt x="211" y="35"/>
                      <a:pt x="211" y="35"/>
                      <a:pt x="211" y="35"/>
                    </a:cubicBezTo>
                    <a:cubicBezTo>
                      <a:pt x="192" y="35"/>
                      <a:pt x="192" y="35"/>
                      <a:pt x="192" y="35"/>
                    </a:cubicBezTo>
                    <a:cubicBezTo>
                      <a:pt x="192" y="122"/>
                      <a:pt x="192" y="122"/>
                      <a:pt x="192" y="122"/>
                    </a:cubicBezTo>
                    <a:cubicBezTo>
                      <a:pt x="216" y="122"/>
                      <a:pt x="216" y="122"/>
                      <a:pt x="216" y="122"/>
                    </a:cubicBezTo>
                    <a:cubicBezTo>
                      <a:pt x="216" y="78"/>
                      <a:pt x="216" y="78"/>
                      <a:pt x="216" y="78"/>
                    </a:cubicBezTo>
                    <a:cubicBezTo>
                      <a:pt x="216" y="72"/>
                      <a:pt x="217" y="68"/>
                      <a:pt x="220" y="64"/>
                    </a:cubicBezTo>
                    <a:cubicBezTo>
                      <a:pt x="222" y="61"/>
                      <a:pt x="225" y="59"/>
                      <a:pt x="229" y="57"/>
                    </a:cubicBezTo>
                    <a:cubicBezTo>
                      <a:pt x="233" y="56"/>
                      <a:pt x="236" y="55"/>
                      <a:pt x="240" y="55"/>
                    </a:cubicBezTo>
                    <a:cubicBezTo>
                      <a:pt x="242" y="55"/>
                      <a:pt x="243" y="55"/>
                      <a:pt x="244" y="56"/>
                    </a:cubicBezTo>
                    <a:cubicBezTo>
                      <a:pt x="246" y="56"/>
                      <a:pt x="247" y="56"/>
                      <a:pt x="247" y="56"/>
                    </a:cubicBezTo>
                    <a:cubicBezTo>
                      <a:pt x="249" y="34"/>
                      <a:pt x="249" y="34"/>
                      <a:pt x="249" y="34"/>
                    </a:cubicBezTo>
                    <a:cubicBezTo>
                      <a:pt x="248" y="34"/>
                      <a:pt x="247" y="33"/>
                      <a:pt x="245" y="33"/>
                    </a:cubicBezTo>
                    <a:cubicBezTo>
                      <a:pt x="244" y="33"/>
                      <a:pt x="242" y="33"/>
                      <a:pt x="241" y="33"/>
                    </a:cubicBezTo>
                    <a:cubicBezTo>
                      <a:pt x="235" y="33"/>
                      <a:pt x="230" y="35"/>
                      <a:pt x="226" y="38"/>
                    </a:cubicBezTo>
                    <a:moveTo>
                      <a:pt x="87" y="0"/>
                    </a:moveTo>
                    <a:cubicBezTo>
                      <a:pt x="87" y="122"/>
                      <a:pt x="87" y="122"/>
                      <a:pt x="87" y="122"/>
                    </a:cubicBezTo>
                    <a:cubicBezTo>
                      <a:pt x="111" y="122"/>
                      <a:pt x="111" y="122"/>
                      <a:pt x="111" y="122"/>
                    </a:cubicBezTo>
                    <a:cubicBezTo>
                      <a:pt x="111" y="81"/>
                      <a:pt x="111" y="81"/>
                      <a:pt x="111" y="81"/>
                    </a:cubicBezTo>
                    <a:cubicBezTo>
                      <a:pt x="111" y="72"/>
                      <a:pt x="113" y="65"/>
                      <a:pt x="115" y="60"/>
                    </a:cubicBezTo>
                    <a:cubicBezTo>
                      <a:pt x="118" y="55"/>
                      <a:pt x="123" y="52"/>
                      <a:pt x="130" y="52"/>
                    </a:cubicBezTo>
                    <a:cubicBezTo>
                      <a:pt x="139" y="52"/>
                      <a:pt x="144" y="58"/>
                      <a:pt x="144" y="71"/>
                    </a:cubicBezTo>
                    <a:cubicBezTo>
                      <a:pt x="144" y="122"/>
                      <a:pt x="144" y="122"/>
                      <a:pt x="144" y="122"/>
                    </a:cubicBezTo>
                    <a:cubicBezTo>
                      <a:pt x="168" y="122"/>
                      <a:pt x="168" y="122"/>
                      <a:pt x="168" y="122"/>
                    </a:cubicBezTo>
                    <a:cubicBezTo>
                      <a:pt x="168" y="65"/>
                      <a:pt x="168" y="65"/>
                      <a:pt x="168" y="65"/>
                    </a:cubicBezTo>
                    <a:cubicBezTo>
                      <a:pt x="168" y="54"/>
                      <a:pt x="165" y="46"/>
                      <a:pt x="159" y="41"/>
                    </a:cubicBezTo>
                    <a:cubicBezTo>
                      <a:pt x="154" y="36"/>
                      <a:pt x="146" y="33"/>
                      <a:pt x="137" y="33"/>
                    </a:cubicBezTo>
                    <a:cubicBezTo>
                      <a:pt x="131" y="33"/>
                      <a:pt x="126" y="34"/>
                      <a:pt x="122" y="36"/>
                    </a:cubicBezTo>
                    <a:cubicBezTo>
                      <a:pt x="118" y="38"/>
                      <a:pt x="114" y="41"/>
                      <a:pt x="111" y="46"/>
                    </a:cubicBezTo>
                    <a:cubicBezTo>
                      <a:pt x="110" y="46"/>
                      <a:pt x="110" y="46"/>
                      <a:pt x="110" y="46"/>
                    </a:cubicBezTo>
                    <a:cubicBezTo>
                      <a:pt x="110" y="44"/>
                      <a:pt x="111" y="42"/>
                      <a:pt x="111" y="38"/>
                    </a:cubicBezTo>
                    <a:cubicBezTo>
                      <a:pt x="111" y="34"/>
                      <a:pt x="111" y="30"/>
                      <a:pt x="111" y="25"/>
                    </a:cubicBezTo>
                    <a:cubicBezTo>
                      <a:pt x="111" y="0"/>
                      <a:pt x="111" y="0"/>
                      <a:pt x="111" y="0"/>
                    </a:cubicBezTo>
                    <a:lnTo>
                      <a:pt x="87" y="0"/>
                    </a:lnTo>
                    <a:close/>
                    <a:moveTo>
                      <a:pt x="56" y="122"/>
                    </a:moveTo>
                    <a:cubicBezTo>
                      <a:pt x="60" y="121"/>
                      <a:pt x="64" y="119"/>
                      <a:pt x="67" y="117"/>
                    </a:cubicBezTo>
                    <a:cubicBezTo>
                      <a:pt x="67" y="97"/>
                      <a:pt x="67" y="97"/>
                      <a:pt x="67" y="97"/>
                    </a:cubicBezTo>
                    <a:cubicBezTo>
                      <a:pt x="64" y="99"/>
                      <a:pt x="60" y="101"/>
                      <a:pt x="56" y="102"/>
                    </a:cubicBezTo>
                    <a:cubicBezTo>
                      <a:pt x="52" y="104"/>
                      <a:pt x="48" y="104"/>
                      <a:pt x="43" y="104"/>
                    </a:cubicBezTo>
                    <a:cubicBezTo>
                      <a:pt x="37" y="104"/>
                      <a:pt x="32" y="102"/>
                      <a:pt x="29" y="98"/>
                    </a:cubicBezTo>
                    <a:cubicBezTo>
                      <a:pt x="26" y="94"/>
                      <a:pt x="24" y="87"/>
                      <a:pt x="24" y="79"/>
                    </a:cubicBezTo>
                    <a:cubicBezTo>
                      <a:pt x="24" y="61"/>
                      <a:pt x="30" y="52"/>
                      <a:pt x="43" y="52"/>
                    </a:cubicBezTo>
                    <a:cubicBezTo>
                      <a:pt x="46" y="52"/>
                      <a:pt x="49" y="53"/>
                      <a:pt x="52" y="54"/>
                    </a:cubicBezTo>
                    <a:cubicBezTo>
                      <a:pt x="56" y="55"/>
                      <a:pt x="59" y="56"/>
                      <a:pt x="63" y="57"/>
                    </a:cubicBezTo>
                    <a:cubicBezTo>
                      <a:pt x="70" y="39"/>
                      <a:pt x="70" y="39"/>
                      <a:pt x="70" y="39"/>
                    </a:cubicBezTo>
                    <a:cubicBezTo>
                      <a:pt x="67" y="37"/>
                      <a:pt x="63" y="36"/>
                      <a:pt x="58" y="35"/>
                    </a:cubicBezTo>
                    <a:cubicBezTo>
                      <a:pt x="54" y="34"/>
                      <a:pt x="49" y="33"/>
                      <a:pt x="43" y="33"/>
                    </a:cubicBezTo>
                    <a:cubicBezTo>
                      <a:pt x="34" y="33"/>
                      <a:pt x="27" y="35"/>
                      <a:pt x="20" y="38"/>
                    </a:cubicBezTo>
                    <a:cubicBezTo>
                      <a:pt x="14" y="41"/>
                      <a:pt x="9" y="46"/>
                      <a:pt x="5" y="53"/>
                    </a:cubicBezTo>
                    <a:cubicBezTo>
                      <a:pt x="2" y="59"/>
                      <a:pt x="0" y="68"/>
                      <a:pt x="0" y="79"/>
                    </a:cubicBezTo>
                    <a:cubicBezTo>
                      <a:pt x="0" y="94"/>
                      <a:pt x="3" y="106"/>
                      <a:pt x="10" y="113"/>
                    </a:cubicBezTo>
                    <a:cubicBezTo>
                      <a:pt x="18" y="120"/>
                      <a:pt x="28" y="124"/>
                      <a:pt x="41" y="124"/>
                    </a:cubicBezTo>
                    <a:cubicBezTo>
                      <a:pt x="47" y="124"/>
                      <a:pt x="52" y="123"/>
                      <a:pt x="56" y="122"/>
                    </a:cubicBezTo>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2">
                <a:extLst>
                  <a:ext uri="{FF2B5EF4-FFF2-40B4-BE49-F238E27FC236}">
                    <a16:creationId xmlns:a16="http://schemas.microsoft.com/office/drawing/2014/main" id="{7FE9434E-D394-4048-A29A-80E93385988F}"/>
                  </a:ext>
                </a:extLst>
              </p:cNvPr>
              <p:cNvSpPr>
                <a:spLocks noEditPoints="1"/>
              </p:cNvSpPr>
              <p:nvPr/>
            </p:nvSpPr>
            <p:spPr bwMode="auto">
              <a:xfrm>
                <a:off x="4051300" y="3055938"/>
                <a:ext cx="1046163" cy="93663"/>
              </a:xfrm>
              <a:custGeom>
                <a:avLst/>
                <a:gdLst>
                  <a:gd name="T0" fmla="*/ 1351 w 1394"/>
                  <a:gd name="T1" fmla="*/ 56 h 124"/>
                  <a:gd name="T2" fmla="*/ 1362 w 1394"/>
                  <a:gd name="T3" fmla="*/ 33 h 124"/>
                  <a:gd name="T4" fmla="*/ 1364 w 1394"/>
                  <a:gd name="T5" fmla="*/ 91 h 124"/>
                  <a:gd name="T6" fmla="*/ 1328 w 1394"/>
                  <a:gd name="T7" fmla="*/ 99 h 124"/>
                  <a:gd name="T8" fmla="*/ 1391 w 1394"/>
                  <a:gd name="T9" fmla="*/ 83 h 124"/>
                  <a:gd name="T10" fmla="*/ 1251 w 1394"/>
                  <a:gd name="T11" fmla="*/ 86 h 124"/>
                  <a:gd name="T12" fmla="*/ 1274 w 1394"/>
                  <a:gd name="T13" fmla="*/ 121 h 124"/>
                  <a:gd name="T14" fmla="*/ 1284 w 1394"/>
                  <a:gd name="T15" fmla="*/ 35 h 124"/>
                  <a:gd name="T16" fmla="*/ 1166 w 1394"/>
                  <a:gd name="T17" fmla="*/ 104 h 124"/>
                  <a:gd name="T18" fmla="*/ 1166 w 1394"/>
                  <a:gd name="T19" fmla="*/ 33 h 124"/>
                  <a:gd name="T20" fmla="*/ 1196 w 1394"/>
                  <a:gd name="T21" fmla="*/ 112 h 124"/>
                  <a:gd name="T22" fmla="*/ 1080 w 1394"/>
                  <a:gd name="T23" fmla="*/ 35 h 124"/>
                  <a:gd name="T24" fmla="*/ 1101 w 1394"/>
                  <a:gd name="T25" fmla="*/ 21 h 124"/>
                  <a:gd name="T26" fmla="*/ 1030 w 1394"/>
                  <a:gd name="T27" fmla="*/ 49 h 124"/>
                  <a:gd name="T28" fmla="*/ 1031 w 1394"/>
                  <a:gd name="T29" fmla="*/ 78 h 124"/>
                  <a:gd name="T30" fmla="*/ 1064 w 1394"/>
                  <a:gd name="T31" fmla="*/ 34 h 124"/>
                  <a:gd name="T32" fmla="*/ 932 w 1394"/>
                  <a:gd name="T33" fmla="*/ 68 h 124"/>
                  <a:gd name="T34" fmla="*/ 907 w 1394"/>
                  <a:gd name="T35" fmla="*/ 79 h 124"/>
                  <a:gd name="T36" fmla="*/ 983 w 1394"/>
                  <a:gd name="T37" fmla="*/ 99 h 124"/>
                  <a:gd name="T38" fmla="*/ 988 w 1394"/>
                  <a:gd name="T39" fmla="*/ 73 h 124"/>
                  <a:gd name="T40" fmla="*/ 870 w 1394"/>
                  <a:gd name="T41" fmla="*/ 69 h 124"/>
                  <a:gd name="T42" fmla="*/ 886 w 1394"/>
                  <a:gd name="T43" fmla="*/ 57 h 124"/>
                  <a:gd name="T44" fmla="*/ 830 w 1394"/>
                  <a:gd name="T45" fmla="*/ 70 h 124"/>
                  <a:gd name="T46" fmla="*/ 867 w 1394"/>
                  <a:gd name="T47" fmla="*/ 104 h 124"/>
                  <a:gd name="T48" fmla="*/ 857 w 1394"/>
                  <a:gd name="T49" fmla="*/ 124 h 124"/>
                  <a:gd name="T50" fmla="*/ 740 w 1394"/>
                  <a:gd name="T51" fmla="*/ 49 h 124"/>
                  <a:gd name="T52" fmla="*/ 746 w 1394"/>
                  <a:gd name="T53" fmla="*/ 64 h 124"/>
                  <a:gd name="T54" fmla="*/ 772 w 1394"/>
                  <a:gd name="T55" fmla="*/ 33 h 124"/>
                  <a:gd name="T56" fmla="*/ 649 w 1394"/>
                  <a:gd name="T57" fmla="*/ 55 h 124"/>
                  <a:gd name="T58" fmla="*/ 625 w 1394"/>
                  <a:gd name="T59" fmla="*/ 104 h 124"/>
                  <a:gd name="T60" fmla="*/ 680 w 1394"/>
                  <a:gd name="T61" fmla="*/ 104 h 124"/>
                  <a:gd name="T62" fmla="*/ 689 w 1394"/>
                  <a:gd name="T63" fmla="*/ 43 h 124"/>
                  <a:gd name="T64" fmla="*/ 543 w 1394"/>
                  <a:gd name="T65" fmla="*/ 81 h 124"/>
                  <a:gd name="T66" fmla="*/ 600 w 1394"/>
                  <a:gd name="T67" fmla="*/ 65 h 124"/>
                  <a:gd name="T68" fmla="*/ 543 w 1394"/>
                  <a:gd name="T69" fmla="*/ 38 h 124"/>
                  <a:gd name="T70" fmla="*/ 476 w 1394"/>
                  <a:gd name="T71" fmla="*/ 53 h 124"/>
                  <a:gd name="T72" fmla="*/ 454 w 1394"/>
                  <a:gd name="T73" fmla="*/ 35 h 124"/>
                  <a:gd name="T74" fmla="*/ 466 w 1394"/>
                  <a:gd name="T75" fmla="*/ 121 h 124"/>
                  <a:gd name="T76" fmla="*/ 486 w 1394"/>
                  <a:gd name="T77" fmla="*/ 105 h 124"/>
                  <a:gd name="T78" fmla="*/ 401 w 1394"/>
                  <a:gd name="T79" fmla="*/ 98 h 124"/>
                  <a:gd name="T80" fmla="*/ 410 w 1394"/>
                  <a:gd name="T81" fmla="*/ 38 h 124"/>
                  <a:gd name="T82" fmla="*/ 387 w 1394"/>
                  <a:gd name="T83" fmla="*/ 124 h 124"/>
                  <a:gd name="T84" fmla="*/ 231 w 1394"/>
                  <a:gd name="T85" fmla="*/ 59 h 124"/>
                  <a:gd name="T86" fmla="*/ 244 w 1394"/>
                  <a:gd name="T87" fmla="*/ 105 h 124"/>
                  <a:gd name="T88" fmla="*/ 284 w 1394"/>
                  <a:gd name="T89" fmla="*/ 122 h 124"/>
                  <a:gd name="T90" fmla="*/ 261 w 1394"/>
                  <a:gd name="T91" fmla="*/ 46 h 124"/>
                  <a:gd name="T92" fmla="*/ 235 w 1394"/>
                  <a:gd name="T93" fmla="*/ 124 h 124"/>
                  <a:gd name="T94" fmla="*/ 103 w 1394"/>
                  <a:gd name="T95" fmla="*/ 35 h 124"/>
                  <a:gd name="T96" fmla="*/ 156 w 1394"/>
                  <a:gd name="T97" fmla="*/ 57 h 124"/>
                  <a:gd name="T98" fmla="*/ 152 w 1394"/>
                  <a:gd name="T99" fmla="*/ 33 h 124"/>
                  <a:gd name="T100" fmla="*/ 25 w 1394"/>
                  <a:gd name="T101" fmla="*/ 96 h 124"/>
                  <a:gd name="T102" fmla="*/ 8 w 1394"/>
                  <a:gd name="T103" fmla="*/ 41 h 124"/>
                  <a:gd name="T104" fmla="*/ 54 w 1394"/>
                  <a:gd name="T105" fmla="*/ 68 h 124"/>
                  <a:gd name="T106" fmla="*/ 44 w 1394"/>
                  <a:gd name="T107" fmla="*/ 120 h 124"/>
                  <a:gd name="T108" fmla="*/ 69 w 1394"/>
                  <a:gd name="T109" fmla="*/ 4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94" h="124">
                    <a:moveTo>
                      <a:pt x="1391" y="83"/>
                    </a:moveTo>
                    <a:cubicBezTo>
                      <a:pt x="1389" y="80"/>
                      <a:pt x="1386" y="77"/>
                      <a:pt x="1382" y="75"/>
                    </a:cubicBezTo>
                    <a:cubicBezTo>
                      <a:pt x="1379" y="73"/>
                      <a:pt x="1374" y="71"/>
                      <a:pt x="1369" y="69"/>
                    </a:cubicBezTo>
                    <a:cubicBezTo>
                      <a:pt x="1364" y="67"/>
                      <a:pt x="1360" y="65"/>
                      <a:pt x="1358" y="64"/>
                    </a:cubicBezTo>
                    <a:cubicBezTo>
                      <a:pt x="1355" y="63"/>
                      <a:pt x="1353" y="61"/>
                      <a:pt x="1352" y="60"/>
                    </a:cubicBezTo>
                    <a:cubicBezTo>
                      <a:pt x="1352" y="59"/>
                      <a:pt x="1351" y="58"/>
                      <a:pt x="1351" y="56"/>
                    </a:cubicBezTo>
                    <a:cubicBezTo>
                      <a:pt x="1351" y="53"/>
                      <a:pt x="1355" y="51"/>
                      <a:pt x="1362" y="51"/>
                    </a:cubicBezTo>
                    <a:cubicBezTo>
                      <a:pt x="1366" y="51"/>
                      <a:pt x="1369" y="51"/>
                      <a:pt x="1373" y="53"/>
                    </a:cubicBezTo>
                    <a:cubicBezTo>
                      <a:pt x="1377" y="54"/>
                      <a:pt x="1381" y="55"/>
                      <a:pt x="1385" y="57"/>
                    </a:cubicBezTo>
                    <a:cubicBezTo>
                      <a:pt x="1393" y="40"/>
                      <a:pt x="1393" y="40"/>
                      <a:pt x="1393" y="40"/>
                    </a:cubicBezTo>
                    <a:cubicBezTo>
                      <a:pt x="1387" y="38"/>
                      <a:pt x="1382" y="36"/>
                      <a:pt x="1377" y="35"/>
                    </a:cubicBezTo>
                    <a:cubicBezTo>
                      <a:pt x="1373" y="34"/>
                      <a:pt x="1367" y="33"/>
                      <a:pt x="1362" y="33"/>
                    </a:cubicBezTo>
                    <a:cubicBezTo>
                      <a:pt x="1352" y="33"/>
                      <a:pt x="1343" y="35"/>
                      <a:pt x="1337" y="39"/>
                    </a:cubicBezTo>
                    <a:cubicBezTo>
                      <a:pt x="1331" y="43"/>
                      <a:pt x="1327" y="49"/>
                      <a:pt x="1327" y="57"/>
                    </a:cubicBezTo>
                    <a:cubicBezTo>
                      <a:pt x="1327" y="62"/>
                      <a:pt x="1328" y="66"/>
                      <a:pt x="1330" y="70"/>
                    </a:cubicBezTo>
                    <a:cubicBezTo>
                      <a:pt x="1332" y="73"/>
                      <a:pt x="1334" y="76"/>
                      <a:pt x="1338" y="78"/>
                    </a:cubicBezTo>
                    <a:cubicBezTo>
                      <a:pt x="1341" y="80"/>
                      <a:pt x="1346" y="83"/>
                      <a:pt x="1351" y="85"/>
                    </a:cubicBezTo>
                    <a:cubicBezTo>
                      <a:pt x="1357" y="87"/>
                      <a:pt x="1361" y="89"/>
                      <a:pt x="1364" y="91"/>
                    </a:cubicBezTo>
                    <a:cubicBezTo>
                      <a:pt x="1366" y="92"/>
                      <a:pt x="1368" y="94"/>
                      <a:pt x="1369" y="95"/>
                    </a:cubicBezTo>
                    <a:cubicBezTo>
                      <a:pt x="1370" y="96"/>
                      <a:pt x="1370" y="97"/>
                      <a:pt x="1370" y="99"/>
                    </a:cubicBezTo>
                    <a:cubicBezTo>
                      <a:pt x="1370" y="101"/>
                      <a:pt x="1369" y="103"/>
                      <a:pt x="1367" y="104"/>
                    </a:cubicBezTo>
                    <a:cubicBezTo>
                      <a:pt x="1365" y="106"/>
                      <a:pt x="1362" y="106"/>
                      <a:pt x="1357" y="106"/>
                    </a:cubicBezTo>
                    <a:cubicBezTo>
                      <a:pt x="1353" y="106"/>
                      <a:pt x="1348" y="106"/>
                      <a:pt x="1343" y="104"/>
                    </a:cubicBezTo>
                    <a:cubicBezTo>
                      <a:pt x="1337" y="103"/>
                      <a:pt x="1332" y="101"/>
                      <a:pt x="1328" y="99"/>
                    </a:cubicBezTo>
                    <a:cubicBezTo>
                      <a:pt x="1328" y="119"/>
                      <a:pt x="1328" y="119"/>
                      <a:pt x="1328" y="119"/>
                    </a:cubicBezTo>
                    <a:cubicBezTo>
                      <a:pt x="1332" y="120"/>
                      <a:pt x="1336" y="122"/>
                      <a:pt x="1341" y="122"/>
                    </a:cubicBezTo>
                    <a:cubicBezTo>
                      <a:pt x="1345" y="123"/>
                      <a:pt x="1350" y="124"/>
                      <a:pt x="1356" y="124"/>
                    </a:cubicBezTo>
                    <a:cubicBezTo>
                      <a:pt x="1369" y="124"/>
                      <a:pt x="1378" y="121"/>
                      <a:pt x="1384" y="117"/>
                    </a:cubicBezTo>
                    <a:cubicBezTo>
                      <a:pt x="1391" y="112"/>
                      <a:pt x="1394" y="105"/>
                      <a:pt x="1394" y="96"/>
                    </a:cubicBezTo>
                    <a:cubicBezTo>
                      <a:pt x="1394" y="91"/>
                      <a:pt x="1393" y="87"/>
                      <a:pt x="1391" y="83"/>
                    </a:cubicBezTo>
                    <a:moveTo>
                      <a:pt x="1284" y="35"/>
                    </a:moveTo>
                    <a:cubicBezTo>
                      <a:pt x="1284" y="76"/>
                      <a:pt x="1284" y="76"/>
                      <a:pt x="1284" y="76"/>
                    </a:cubicBezTo>
                    <a:cubicBezTo>
                      <a:pt x="1284" y="85"/>
                      <a:pt x="1283" y="92"/>
                      <a:pt x="1280" y="97"/>
                    </a:cubicBezTo>
                    <a:cubicBezTo>
                      <a:pt x="1277" y="102"/>
                      <a:pt x="1272" y="105"/>
                      <a:pt x="1265" y="105"/>
                    </a:cubicBezTo>
                    <a:cubicBezTo>
                      <a:pt x="1260" y="105"/>
                      <a:pt x="1257" y="103"/>
                      <a:pt x="1254" y="100"/>
                    </a:cubicBezTo>
                    <a:cubicBezTo>
                      <a:pt x="1252" y="97"/>
                      <a:pt x="1251" y="92"/>
                      <a:pt x="1251" y="86"/>
                    </a:cubicBezTo>
                    <a:cubicBezTo>
                      <a:pt x="1251" y="35"/>
                      <a:pt x="1251" y="35"/>
                      <a:pt x="1251" y="35"/>
                    </a:cubicBezTo>
                    <a:cubicBezTo>
                      <a:pt x="1227" y="35"/>
                      <a:pt x="1227" y="35"/>
                      <a:pt x="1227" y="35"/>
                    </a:cubicBezTo>
                    <a:cubicBezTo>
                      <a:pt x="1227" y="92"/>
                      <a:pt x="1227" y="92"/>
                      <a:pt x="1227" y="92"/>
                    </a:cubicBezTo>
                    <a:cubicBezTo>
                      <a:pt x="1227" y="103"/>
                      <a:pt x="1230" y="111"/>
                      <a:pt x="1236" y="116"/>
                    </a:cubicBezTo>
                    <a:cubicBezTo>
                      <a:pt x="1241" y="121"/>
                      <a:pt x="1249" y="124"/>
                      <a:pt x="1258" y="124"/>
                    </a:cubicBezTo>
                    <a:cubicBezTo>
                      <a:pt x="1264" y="124"/>
                      <a:pt x="1269" y="123"/>
                      <a:pt x="1274" y="121"/>
                    </a:cubicBezTo>
                    <a:cubicBezTo>
                      <a:pt x="1278" y="119"/>
                      <a:pt x="1282" y="115"/>
                      <a:pt x="1285" y="111"/>
                    </a:cubicBezTo>
                    <a:cubicBezTo>
                      <a:pt x="1286" y="111"/>
                      <a:pt x="1286" y="111"/>
                      <a:pt x="1286" y="111"/>
                    </a:cubicBezTo>
                    <a:cubicBezTo>
                      <a:pt x="1289" y="122"/>
                      <a:pt x="1289" y="122"/>
                      <a:pt x="1289" y="122"/>
                    </a:cubicBezTo>
                    <a:cubicBezTo>
                      <a:pt x="1308" y="122"/>
                      <a:pt x="1308" y="122"/>
                      <a:pt x="1308" y="122"/>
                    </a:cubicBezTo>
                    <a:cubicBezTo>
                      <a:pt x="1308" y="35"/>
                      <a:pt x="1308" y="35"/>
                      <a:pt x="1308" y="35"/>
                    </a:cubicBezTo>
                    <a:lnTo>
                      <a:pt x="1284" y="35"/>
                    </a:lnTo>
                    <a:close/>
                    <a:moveTo>
                      <a:pt x="1152" y="59"/>
                    </a:moveTo>
                    <a:cubicBezTo>
                      <a:pt x="1155" y="54"/>
                      <a:pt x="1159" y="52"/>
                      <a:pt x="1165" y="52"/>
                    </a:cubicBezTo>
                    <a:cubicBezTo>
                      <a:pt x="1172" y="52"/>
                      <a:pt x="1176" y="54"/>
                      <a:pt x="1179" y="59"/>
                    </a:cubicBezTo>
                    <a:cubicBezTo>
                      <a:pt x="1182" y="63"/>
                      <a:pt x="1184" y="70"/>
                      <a:pt x="1184" y="78"/>
                    </a:cubicBezTo>
                    <a:cubicBezTo>
                      <a:pt x="1184" y="87"/>
                      <a:pt x="1182" y="93"/>
                      <a:pt x="1179" y="98"/>
                    </a:cubicBezTo>
                    <a:cubicBezTo>
                      <a:pt x="1176" y="102"/>
                      <a:pt x="1172" y="104"/>
                      <a:pt x="1166" y="104"/>
                    </a:cubicBezTo>
                    <a:cubicBezTo>
                      <a:pt x="1159" y="104"/>
                      <a:pt x="1155" y="102"/>
                      <a:pt x="1152" y="98"/>
                    </a:cubicBezTo>
                    <a:cubicBezTo>
                      <a:pt x="1149" y="93"/>
                      <a:pt x="1148" y="87"/>
                      <a:pt x="1148" y="78"/>
                    </a:cubicBezTo>
                    <a:cubicBezTo>
                      <a:pt x="1148" y="70"/>
                      <a:pt x="1149" y="63"/>
                      <a:pt x="1152" y="59"/>
                    </a:cubicBezTo>
                    <a:moveTo>
                      <a:pt x="1202" y="54"/>
                    </a:moveTo>
                    <a:cubicBezTo>
                      <a:pt x="1199" y="47"/>
                      <a:pt x="1194" y="42"/>
                      <a:pt x="1188" y="38"/>
                    </a:cubicBezTo>
                    <a:cubicBezTo>
                      <a:pt x="1181" y="35"/>
                      <a:pt x="1174" y="33"/>
                      <a:pt x="1166" y="33"/>
                    </a:cubicBezTo>
                    <a:cubicBezTo>
                      <a:pt x="1153" y="33"/>
                      <a:pt x="1142" y="37"/>
                      <a:pt x="1135" y="45"/>
                    </a:cubicBezTo>
                    <a:cubicBezTo>
                      <a:pt x="1127" y="53"/>
                      <a:pt x="1123" y="64"/>
                      <a:pt x="1123" y="78"/>
                    </a:cubicBezTo>
                    <a:cubicBezTo>
                      <a:pt x="1123" y="88"/>
                      <a:pt x="1125" y="96"/>
                      <a:pt x="1129" y="103"/>
                    </a:cubicBezTo>
                    <a:cubicBezTo>
                      <a:pt x="1132" y="110"/>
                      <a:pt x="1137" y="115"/>
                      <a:pt x="1144" y="118"/>
                    </a:cubicBezTo>
                    <a:cubicBezTo>
                      <a:pt x="1150" y="122"/>
                      <a:pt x="1157" y="124"/>
                      <a:pt x="1165" y="124"/>
                    </a:cubicBezTo>
                    <a:cubicBezTo>
                      <a:pt x="1178" y="124"/>
                      <a:pt x="1189" y="120"/>
                      <a:pt x="1196" y="112"/>
                    </a:cubicBezTo>
                    <a:cubicBezTo>
                      <a:pt x="1204" y="104"/>
                      <a:pt x="1208" y="93"/>
                      <a:pt x="1208" y="78"/>
                    </a:cubicBezTo>
                    <a:cubicBezTo>
                      <a:pt x="1208" y="69"/>
                      <a:pt x="1206" y="60"/>
                      <a:pt x="1202" y="54"/>
                    </a:cubicBezTo>
                    <a:moveTo>
                      <a:pt x="1080" y="122"/>
                    </a:moveTo>
                    <a:cubicBezTo>
                      <a:pt x="1104" y="122"/>
                      <a:pt x="1104" y="122"/>
                      <a:pt x="1104" y="122"/>
                    </a:cubicBezTo>
                    <a:cubicBezTo>
                      <a:pt x="1104" y="35"/>
                      <a:pt x="1104" y="35"/>
                      <a:pt x="1104" y="35"/>
                    </a:cubicBezTo>
                    <a:cubicBezTo>
                      <a:pt x="1080" y="35"/>
                      <a:pt x="1080" y="35"/>
                      <a:pt x="1080" y="35"/>
                    </a:cubicBezTo>
                    <a:lnTo>
                      <a:pt x="1080" y="122"/>
                    </a:lnTo>
                    <a:close/>
                    <a:moveTo>
                      <a:pt x="1083" y="3"/>
                    </a:moveTo>
                    <a:cubicBezTo>
                      <a:pt x="1080" y="5"/>
                      <a:pt x="1079" y="8"/>
                      <a:pt x="1079" y="12"/>
                    </a:cubicBezTo>
                    <a:cubicBezTo>
                      <a:pt x="1079" y="16"/>
                      <a:pt x="1080" y="20"/>
                      <a:pt x="1083" y="21"/>
                    </a:cubicBezTo>
                    <a:cubicBezTo>
                      <a:pt x="1085" y="23"/>
                      <a:pt x="1088" y="24"/>
                      <a:pt x="1092" y="24"/>
                    </a:cubicBezTo>
                    <a:cubicBezTo>
                      <a:pt x="1095" y="24"/>
                      <a:pt x="1098" y="23"/>
                      <a:pt x="1101" y="21"/>
                    </a:cubicBezTo>
                    <a:cubicBezTo>
                      <a:pt x="1103" y="20"/>
                      <a:pt x="1105" y="16"/>
                      <a:pt x="1105" y="12"/>
                    </a:cubicBezTo>
                    <a:cubicBezTo>
                      <a:pt x="1105" y="8"/>
                      <a:pt x="1103" y="5"/>
                      <a:pt x="1101" y="3"/>
                    </a:cubicBezTo>
                    <a:cubicBezTo>
                      <a:pt x="1098" y="1"/>
                      <a:pt x="1095" y="0"/>
                      <a:pt x="1092" y="0"/>
                    </a:cubicBezTo>
                    <a:cubicBezTo>
                      <a:pt x="1088" y="0"/>
                      <a:pt x="1085" y="1"/>
                      <a:pt x="1083" y="3"/>
                    </a:cubicBezTo>
                    <a:moveTo>
                      <a:pt x="1040" y="38"/>
                    </a:moveTo>
                    <a:cubicBezTo>
                      <a:pt x="1036" y="41"/>
                      <a:pt x="1032" y="45"/>
                      <a:pt x="1030" y="49"/>
                    </a:cubicBezTo>
                    <a:cubicBezTo>
                      <a:pt x="1029" y="49"/>
                      <a:pt x="1029" y="49"/>
                      <a:pt x="1029" y="49"/>
                    </a:cubicBezTo>
                    <a:cubicBezTo>
                      <a:pt x="1025" y="35"/>
                      <a:pt x="1025" y="35"/>
                      <a:pt x="1025" y="35"/>
                    </a:cubicBezTo>
                    <a:cubicBezTo>
                      <a:pt x="1007" y="35"/>
                      <a:pt x="1007" y="35"/>
                      <a:pt x="1007" y="35"/>
                    </a:cubicBezTo>
                    <a:cubicBezTo>
                      <a:pt x="1007" y="122"/>
                      <a:pt x="1007" y="122"/>
                      <a:pt x="1007" y="122"/>
                    </a:cubicBezTo>
                    <a:cubicBezTo>
                      <a:pt x="1031" y="122"/>
                      <a:pt x="1031" y="122"/>
                      <a:pt x="1031" y="122"/>
                    </a:cubicBezTo>
                    <a:cubicBezTo>
                      <a:pt x="1031" y="78"/>
                      <a:pt x="1031" y="78"/>
                      <a:pt x="1031" y="78"/>
                    </a:cubicBezTo>
                    <a:cubicBezTo>
                      <a:pt x="1031" y="72"/>
                      <a:pt x="1032" y="68"/>
                      <a:pt x="1034" y="64"/>
                    </a:cubicBezTo>
                    <a:cubicBezTo>
                      <a:pt x="1037" y="61"/>
                      <a:pt x="1040" y="59"/>
                      <a:pt x="1043" y="57"/>
                    </a:cubicBezTo>
                    <a:cubicBezTo>
                      <a:pt x="1047" y="56"/>
                      <a:pt x="1051" y="55"/>
                      <a:pt x="1055" y="55"/>
                    </a:cubicBezTo>
                    <a:cubicBezTo>
                      <a:pt x="1056" y="55"/>
                      <a:pt x="1057" y="55"/>
                      <a:pt x="1059" y="56"/>
                    </a:cubicBezTo>
                    <a:cubicBezTo>
                      <a:pt x="1060" y="56"/>
                      <a:pt x="1061" y="56"/>
                      <a:pt x="1062" y="56"/>
                    </a:cubicBezTo>
                    <a:cubicBezTo>
                      <a:pt x="1064" y="34"/>
                      <a:pt x="1064" y="34"/>
                      <a:pt x="1064" y="34"/>
                    </a:cubicBezTo>
                    <a:cubicBezTo>
                      <a:pt x="1063" y="34"/>
                      <a:pt x="1062" y="33"/>
                      <a:pt x="1060" y="33"/>
                    </a:cubicBezTo>
                    <a:cubicBezTo>
                      <a:pt x="1058" y="33"/>
                      <a:pt x="1057" y="33"/>
                      <a:pt x="1056" y="33"/>
                    </a:cubicBezTo>
                    <a:cubicBezTo>
                      <a:pt x="1050" y="33"/>
                      <a:pt x="1045" y="35"/>
                      <a:pt x="1040" y="38"/>
                    </a:cubicBezTo>
                    <a:moveTo>
                      <a:pt x="961" y="55"/>
                    </a:moveTo>
                    <a:cubicBezTo>
                      <a:pt x="964" y="59"/>
                      <a:pt x="965" y="63"/>
                      <a:pt x="965" y="68"/>
                    </a:cubicBezTo>
                    <a:cubicBezTo>
                      <a:pt x="932" y="68"/>
                      <a:pt x="932" y="68"/>
                      <a:pt x="932" y="68"/>
                    </a:cubicBezTo>
                    <a:cubicBezTo>
                      <a:pt x="932" y="62"/>
                      <a:pt x="934" y="58"/>
                      <a:pt x="937" y="55"/>
                    </a:cubicBezTo>
                    <a:cubicBezTo>
                      <a:pt x="940" y="52"/>
                      <a:pt x="944" y="50"/>
                      <a:pt x="949" y="50"/>
                    </a:cubicBezTo>
                    <a:cubicBezTo>
                      <a:pt x="954" y="50"/>
                      <a:pt x="958" y="52"/>
                      <a:pt x="961" y="55"/>
                    </a:cubicBezTo>
                    <a:moveTo>
                      <a:pt x="927" y="38"/>
                    </a:moveTo>
                    <a:cubicBezTo>
                      <a:pt x="921" y="42"/>
                      <a:pt x="916" y="47"/>
                      <a:pt x="912" y="54"/>
                    </a:cubicBezTo>
                    <a:cubicBezTo>
                      <a:pt x="909" y="60"/>
                      <a:pt x="907" y="69"/>
                      <a:pt x="907" y="79"/>
                    </a:cubicBezTo>
                    <a:cubicBezTo>
                      <a:pt x="907" y="89"/>
                      <a:pt x="909" y="97"/>
                      <a:pt x="913" y="104"/>
                    </a:cubicBezTo>
                    <a:cubicBezTo>
                      <a:pt x="917" y="111"/>
                      <a:pt x="922" y="116"/>
                      <a:pt x="929" y="119"/>
                    </a:cubicBezTo>
                    <a:cubicBezTo>
                      <a:pt x="936" y="122"/>
                      <a:pt x="943" y="124"/>
                      <a:pt x="952" y="124"/>
                    </a:cubicBezTo>
                    <a:cubicBezTo>
                      <a:pt x="959" y="124"/>
                      <a:pt x="964" y="123"/>
                      <a:pt x="969" y="122"/>
                    </a:cubicBezTo>
                    <a:cubicBezTo>
                      <a:pt x="974" y="121"/>
                      <a:pt x="978" y="120"/>
                      <a:pt x="983" y="117"/>
                    </a:cubicBezTo>
                    <a:cubicBezTo>
                      <a:pt x="983" y="99"/>
                      <a:pt x="983" y="99"/>
                      <a:pt x="983" y="99"/>
                    </a:cubicBezTo>
                    <a:cubicBezTo>
                      <a:pt x="978" y="101"/>
                      <a:pt x="973" y="103"/>
                      <a:pt x="968" y="104"/>
                    </a:cubicBezTo>
                    <a:cubicBezTo>
                      <a:pt x="964" y="105"/>
                      <a:pt x="959" y="106"/>
                      <a:pt x="953" y="106"/>
                    </a:cubicBezTo>
                    <a:cubicBezTo>
                      <a:pt x="946" y="106"/>
                      <a:pt x="941" y="104"/>
                      <a:pt x="937" y="100"/>
                    </a:cubicBezTo>
                    <a:cubicBezTo>
                      <a:pt x="934" y="96"/>
                      <a:pt x="932" y="91"/>
                      <a:pt x="931" y="84"/>
                    </a:cubicBezTo>
                    <a:cubicBezTo>
                      <a:pt x="988" y="84"/>
                      <a:pt x="988" y="84"/>
                      <a:pt x="988" y="84"/>
                    </a:cubicBezTo>
                    <a:cubicBezTo>
                      <a:pt x="988" y="73"/>
                      <a:pt x="988" y="73"/>
                      <a:pt x="988" y="73"/>
                    </a:cubicBezTo>
                    <a:cubicBezTo>
                      <a:pt x="988" y="60"/>
                      <a:pt x="984" y="50"/>
                      <a:pt x="977" y="43"/>
                    </a:cubicBezTo>
                    <a:cubicBezTo>
                      <a:pt x="970" y="37"/>
                      <a:pt x="961" y="33"/>
                      <a:pt x="949" y="33"/>
                    </a:cubicBezTo>
                    <a:cubicBezTo>
                      <a:pt x="940" y="33"/>
                      <a:pt x="933" y="35"/>
                      <a:pt x="927" y="38"/>
                    </a:cubicBezTo>
                    <a:moveTo>
                      <a:pt x="891" y="83"/>
                    </a:moveTo>
                    <a:cubicBezTo>
                      <a:pt x="889" y="80"/>
                      <a:pt x="886" y="77"/>
                      <a:pt x="883" y="75"/>
                    </a:cubicBezTo>
                    <a:cubicBezTo>
                      <a:pt x="879" y="73"/>
                      <a:pt x="875" y="71"/>
                      <a:pt x="870" y="69"/>
                    </a:cubicBezTo>
                    <a:cubicBezTo>
                      <a:pt x="865" y="67"/>
                      <a:pt x="861" y="65"/>
                      <a:pt x="858" y="64"/>
                    </a:cubicBezTo>
                    <a:cubicBezTo>
                      <a:pt x="855" y="63"/>
                      <a:pt x="854" y="61"/>
                      <a:pt x="853" y="60"/>
                    </a:cubicBezTo>
                    <a:cubicBezTo>
                      <a:pt x="852" y="59"/>
                      <a:pt x="851" y="58"/>
                      <a:pt x="851" y="56"/>
                    </a:cubicBezTo>
                    <a:cubicBezTo>
                      <a:pt x="851" y="53"/>
                      <a:pt x="855" y="51"/>
                      <a:pt x="862" y="51"/>
                    </a:cubicBezTo>
                    <a:cubicBezTo>
                      <a:pt x="866" y="51"/>
                      <a:pt x="870" y="51"/>
                      <a:pt x="874" y="53"/>
                    </a:cubicBezTo>
                    <a:cubicBezTo>
                      <a:pt x="877" y="54"/>
                      <a:pt x="882" y="55"/>
                      <a:pt x="886" y="57"/>
                    </a:cubicBezTo>
                    <a:cubicBezTo>
                      <a:pt x="893" y="40"/>
                      <a:pt x="893" y="40"/>
                      <a:pt x="893" y="40"/>
                    </a:cubicBezTo>
                    <a:cubicBezTo>
                      <a:pt x="888" y="38"/>
                      <a:pt x="883" y="36"/>
                      <a:pt x="878" y="35"/>
                    </a:cubicBezTo>
                    <a:cubicBezTo>
                      <a:pt x="873" y="34"/>
                      <a:pt x="868" y="33"/>
                      <a:pt x="862" y="33"/>
                    </a:cubicBezTo>
                    <a:cubicBezTo>
                      <a:pt x="852" y="33"/>
                      <a:pt x="843" y="35"/>
                      <a:pt x="837" y="39"/>
                    </a:cubicBezTo>
                    <a:cubicBezTo>
                      <a:pt x="831" y="43"/>
                      <a:pt x="828" y="49"/>
                      <a:pt x="828" y="57"/>
                    </a:cubicBezTo>
                    <a:cubicBezTo>
                      <a:pt x="828" y="62"/>
                      <a:pt x="829" y="66"/>
                      <a:pt x="830" y="70"/>
                    </a:cubicBezTo>
                    <a:cubicBezTo>
                      <a:pt x="832" y="73"/>
                      <a:pt x="835" y="76"/>
                      <a:pt x="838" y="78"/>
                    </a:cubicBezTo>
                    <a:cubicBezTo>
                      <a:pt x="842" y="80"/>
                      <a:pt x="846" y="83"/>
                      <a:pt x="852" y="85"/>
                    </a:cubicBezTo>
                    <a:cubicBezTo>
                      <a:pt x="857" y="87"/>
                      <a:pt x="861" y="89"/>
                      <a:pt x="864" y="91"/>
                    </a:cubicBezTo>
                    <a:cubicBezTo>
                      <a:pt x="867" y="92"/>
                      <a:pt x="868" y="94"/>
                      <a:pt x="869" y="95"/>
                    </a:cubicBezTo>
                    <a:cubicBezTo>
                      <a:pt x="870" y="96"/>
                      <a:pt x="870" y="97"/>
                      <a:pt x="870" y="99"/>
                    </a:cubicBezTo>
                    <a:cubicBezTo>
                      <a:pt x="870" y="101"/>
                      <a:pt x="869" y="103"/>
                      <a:pt x="867" y="104"/>
                    </a:cubicBezTo>
                    <a:cubicBezTo>
                      <a:pt x="865" y="106"/>
                      <a:pt x="862" y="106"/>
                      <a:pt x="857" y="106"/>
                    </a:cubicBezTo>
                    <a:cubicBezTo>
                      <a:pt x="853" y="106"/>
                      <a:pt x="849" y="106"/>
                      <a:pt x="843" y="104"/>
                    </a:cubicBezTo>
                    <a:cubicBezTo>
                      <a:pt x="838" y="103"/>
                      <a:pt x="833" y="101"/>
                      <a:pt x="828" y="99"/>
                    </a:cubicBezTo>
                    <a:cubicBezTo>
                      <a:pt x="828" y="119"/>
                      <a:pt x="828" y="119"/>
                      <a:pt x="828" y="119"/>
                    </a:cubicBezTo>
                    <a:cubicBezTo>
                      <a:pt x="832" y="120"/>
                      <a:pt x="837" y="122"/>
                      <a:pt x="841" y="122"/>
                    </a:cubicBezTo>
                    <a:cubicBezTo>
                      <a:pt x="845" y="123"/>
                      <a:pt x="851" y="124"/>
                      <a:pt x="857" y="124"/>
                    </a:cubicBezTo>
                    <a:cubicBezTo>
                      <a:pt x="869" y="124"/>
                      <a:pt x="878" y="121"/>
                      <a:pt x="885" y="117"/>
                    </a:cubicBezTo>
                    <a:cubicBezTo>
                      <a:pt x="891" y="112"/>
                      <a:pt x="894" y="105"/>
                      <a:pt x="894" y="96"/>
                    </a:cubicBezTo>
                    <a:cubicBezTo>
                      <a:pt x="894" y="91"/>
                      <a:pt x="893" y="87"/>
                      <a:pt x="891" y="83"/>
                    </a:cubicBezTo>
                    <a:moveTo>
                      <a:pt x="752" y="38"/>
                    </a:moveTo>
                    <a:cubicBezTo>
                      <a:pt x="748" y="41"/>
                      <a:pt x="744" y="45"/>
                      <a:pt x="741" y="49"/>
                    </a:cubicBezTo>
                    <a:cubicBezTo>
                      <a:pt x="740" y="49"/>
                      <a:pt x="740" y="49"/>
                      <a:pt x="740" y="49"/>
                    </a:cubicBezTo>
                    <a:cubicBezTo>
                      <a:pt x="737" y="35"/>
                      <a:pt x="737" y="35"/>
                      <a:pt x="737" y="35"/>
                    </a:cubicBezTo>
                    <a:cubicBezTo>
                      <a:pt x="719" y="35"/>
                      <a:pt x="719" y="35"/>
                      <a:pt x="719" y="35"/>
                    </a:cubicBezTo>
                    <a:cubicBezTo>
                      <a:pt x="719" y="122"/>
                      <a:pt x="719" y="122"/>
                      <a:pt x="719" y="122"/>
                    </a:cubicBezTo>
                    <a:cubicBezTo>
                      <a:pt x="743" y="122"/>
                      <a:pt x="743" y="122"/>
                      <a:pt x="743" y="122"/>
                    </a:cubicBezTo>
                    <a:cubicBezTo>
                      <a:pt x="743" y="78"/>
                      <a:pt x="743" y="78"/>
                      <a:pt x="743" y="78"/>
                    </a:cubicBezTo>
                    <a:cubicBezTo>
                      <a:pt x="743" y="72"/>
                      <a:pt x="744" y="68"/>
                      <a:pt x="746" y="64"/>
                    </a:cubicBezTo>
                    <a:cubicBezTo>
                      <a:pt x="748" y="61"/>
                      <a:pt x="751" y="59"/>
                      <a:pt x="755" y="57"/>
                    </a:cubicBezTo>
                    <a:cubicBezTo>
                      <a:pt x="759" y="56"/>
                      <a:pt x="763" y="55"/>
                      <a:pt x="767" y="55"/>
                    </a:cubicBezTo>
                    <a:cubicBezTo>
                      <a:pt x="768" y="55"/>
                      <a:pt x="769" y="55"/>
                      <a:pt x="770" y="56"/>
                    </a:cubicBezTo>
                    <a:cubicBezTo>
                      <a:pt x="772" y="56"/>
                      <a:pt x="773" y="56"/>
                      <a:pt x="774" y="56"/>
                    </a:cubicBezTo>
                    <a:cubicBezTo>
                      <a:pt x="776" y="34"/>
                      <a:pt x="776" y="34"/>
                      <a:pt x="776" y="34"/>
                    </a:cubicBezTo>
                    <a:cubicBezTo>
                      <a:pt x="775" y="34"/>
                      <a:pt x="773" y="33"/>
                      <a:pt x="772" y="33"/>
                    </a:cubicBezTo>
                    <a:cubicBezTo>
                      <a:pt x="770" y="33"/>
                      <a:pt x="769" y="33"/>
                      <a:pt x="768" y="33"/>
                    </a:cubicBezTo>
                    <a:cubicBezTo>
                      <a:pt x="762" y="33"/>
                      <a:pt x="757" y="35"/>
                      <a:pt x="752" y="38"/>
                    </a:cubicBezTo>
                    <a:moveTo>
                      <a:pt x="673" y="55"/>
                    </a:moveTo>
                    <a:cubicBezTo>
                      <a:pt x="675" y="59"/>
                      <a:pt x="677" y="63"/>
                      <a:pt x="677" y="68"/>
                    </a:cubicBezTo>
                    <a:cubicBezTo>
                      <a:pt x="644" y="68"/>
                      <a:pt x="644" y="68"/>
                      <a:pt x="644" y="68"/>
                    </a:cubicBezTo>
                    <a:cubicBezTo>
                      <a:pt x="644" y="62"/>
                      <a:pt x="646" y="58"/>
                      <a:pt x="649" y="55"/>
                    </a:cubicBezTo>
                    <a:cubicBezTo>
                      <a:pt x="652" y="52"/>
                      <a:pt x="656" y="50"/>
                      <a:pt x="660" y="50"/>
                    </a:cubicBezTo>
                    <a:cubicBezTo>
                      <a:pt x="666" y="50"/>
                      <a:pt x="670" y="52"/>
                      <a:pt x="673" y="55"/>
                    </a:cubicBezTo>
                    <a:moveTo>
                      <a:pt x="639" y="38"/>
                    </a:moveTo>
                    <a:cubicBezTo>
                      <a:pt x="632" y="42"/>
                      <a:pt x="628" y="47"/>
                      <a:pt x="624" y="54"/>
                    </a:cubicBezTo>
                    <a:cubicBezTo>
                      <a:pt x="621" y="60"/>
                      <a:pt x="619" y="69"/>
                      <a:pt x="619" y="79"/>
                    </a:cubicBezTo>
                    <a:cubicBezTo>
                      <a:pt x="619" y="89"/>
                      <a:pt x="621" y="97"/>
                      <a:pt x="625" y="104"/>
                    </a:cubicBezTo>
                    <a:cubicBezTo>
                      <a:pt x="629" y="111"/>
                      <a:pt x="634" y="116"/>
                      <a:pt x="641" y="119"/>
                    </a:cubicBezTo>
                    <a:cubicBezTo>
                      <a:pt x="647" y="122"/>
                      <a:pt x="655" y="124"/>
                      <a:pt x="664" y="124"/>
                    </a:cubicBezTo>
                    <a:cubicBezTo>
                      <a:pt x="670" y="124"/>
                      <a:pt x="676" y="123"/>
                      <a:pt x="681" y="122"/>
                    </a:cubicBezTo>
                    <a:cubicBezTo>
                      <a:pt x="686" y="121"/>
                      <a:pt x="690" y="120"/>
                      <a:pt x="694" y="117"/>
                    </a:cubicBezTo>
                    <a:cubicBezTo>
                      <a:pt x="694" y="99"/>
                      <a:pt x="694" y="99"/>
                      <a:pt x="694" y="99"/>
                    </a:cubicBezTo>
                    <a:cubicBezTo>
                      <a:pt x="690" y="101"/>
                      <a:pt x="685" y="103"/>
                      <a:pt x="680" y="104"/>
                    </a:cubicBezTo>
                    <a:cubicBezTo>
                      <a:pt x="675" y="105"/>
                      <a:pt x="670" y="106"/>
                      <a:pt x="665" y="106"/>
                    </a:cubicBezTo>
                    <a:cubicBezTo>
                      <a:pt x="658" y="106"/>
                      <a:pt x="653" y="104"/>
                      <a:pt x="649" y="100"/>
                    </a:cubicBezTo>
                    <a:cubicBezTo>
                      <a:pt x="645" y="96"/>
                      <a:pt x="643" y="91"/>
                      <a:pt x="643" y="84"/>
                    </a:cubicBezTo>
                    <a:cubicBezTo>
                      <a:pt x="699" y="84"/>
                      <a:pt x="699" y="84"/>
                      <a:pt x="699" y="84"/>
                    </a:cubicBezTo>
                    <a:cubicBezTo>
                      <a:pt x="699" y="73"/>
                      <a:pt x="699" y="73"/>
                      <a:pt x="699" y="73"/>
                    </a:cubicBezTo>
                    <a:cubicBezTo>
                      <a:pt x="699" y="60"/>
                      <a:pt x="696" y="50"/>
                      <a:pt x="689" y="43"/>
                    </a:cubicBezTo>
                    <a:cubicBezTo>
                      <a:pt x="682" y="37"/>
                      <a:pt x="672" y="33"/>
                      <a:pt x="660" y="33"/>
                    </a:cubicBezTo>
                    <a:cubicBezTo>
                      <a:pt x="652" y="33"/>
                      <a:pt x="645" y="35"/>
                      <a:pt x="639" y="38"/>
                    </a:cubicBezTo>
                    <a:moveTo>
                      <a:pt x="519" y="0"/>
                    </a:moveTo>
                    <a:cubicBezTo>
                      <a:pt x="519" y="122"/>
                      <a:pt x="519" y="122"/>
                      <a:pt x="519" y="122"/>
                    </a:cubicBezTo>
                    <a:cubicBezTo>
                      <a:pt x="543" y="122"/>
                      <a:pt x="543" y="122"/>
                      <a:pt x="543" y="122"/>
                    </a:cubicBezTo>
                    <a:cubicBezTo>
                      <a:pt x="543" y="81"/>
                      <a:pt x="543" y="81"/>
                      <a:pt x="543" y="81"/>
                    </a:cubicBezTo>
                    <a:cubicBezTo>
                      <a:pt x="543" y="72"/>
                      <a:pt x="544" y="65"/>
                      <a:pt x="547" y="60"/>
                    </a:cubicBezTo>
                    <a:cubicBezTo>
                      <a:pt x="550" y="55"/>
                      <a:pt x="555" y="52"/>
                      <a:pt x="562" y="52"/>
                    </a:cubicBezTo>
                    <a:cubicBezTo>
                      <a:pt x="571" y="52"/>
                      <a:pt x="576" y="58"/>
                      <a:pt x="576" y="71"/>
                    </a:cubicBezTo>
                    <a:cubicBezTo>
                      <a:pt x="576" y="122"/>
                      <a:pt x="576" y="122"/>
                      <a:pt x="576" y="122"/>
                    </a:cubicBezTo>
                    <a:cubicBezTo>
                      <a:pt x="600" y="122"/>
                      <a:pt x="600" y="122"/>
                      <a:pt x="600" y="122"/>
                    </a:cubicBezTo>
                    <a:cubicBezTo>
                      <a:pt x="600" y="65"/>
                      <a:pt x="600" y="65"/>
                      <a:pt x="600" y="65"/>
                    </a:cubicBezTo>
                    <a:cubicBezTo>
                      <a:pt x="600" y="54"/>
                      <a:pt x="597" y="46"/>
                      <a:pt x="591" y="41"/>
                    </a:cubicBezTo>
                    <a:cubicBezTo>
                      <a:pt x="585" y="36"/>
                      <a:pt x="578" y="33"/>
                      <a:pt x="568" y="33"/>
                    </a:cubicBezTo>
                    <a:cubicBezTo>
                      <a:pt x="563" y="33"/>
                      <a:pt x="558" y="34"/>
                      <a:pt x="554" y="36"/>
                    </a:cubicBezTo>
                    <a:cubicBezTo>
                      <a:pt x="549" y="38"/>
                      <a:pt x="546" y="41"/>
                      <a:pt x="543" y="46"/>
                    </a:cubicBezTo>
                    <a:cubicBezTo>
                      <a:pt x="542" y="46"/>
                      <a:pt x="542" y="46"/>
                      <a:pt x="542" y="46"/>
                    </a:cubicBezTo>
                    <a:cubicBezTo>
                      <a:pt x="542" y="44"/>
                      <a:pt x="542" y="42"/>
                      <a:pt x="543" y="38"/>
                    </a:cubicBezTo>
                    <a:cubicBezTo>
                      <a:pt x="543" y="34"/>
                      <a:pt x="543" y="30"/>
                      <a:pt x="543" y="25"/>
                    </a:cubicBezTo>
                    <a:cubicBezTo>
                      <a:pt x="543" y="0"/>
                      <a:pt x="543" y="0"/>
                      <a:pt x="543" y="0"/>
                    </a:cubicBezTo>
                    <a:lnTo>
                      <a:pt x="519" y="0"/>
                    </a:lnTo>
                    <a:close/>
                    <a:moveTo>
                      <a:pt x="479" y="102"/>
                    </a:moveTo>
                    <a:cubicBezTo>
                      <a:pt x="477" y="100"/>
                      <a:pt x="476" y="98"/>
                      <a:pt x="476" y="95"/>
                    </a:cubicBezTo>
                    <a:cubicBezTo>
                      <a:pt x="476" y="53"/>
                      <a:pt x="476" y="53"/>
                      <a:pt x="476" y="53"/>
                    </a:cubicBezTo>
                    <a:cubicBezTo>
                      <a:pt x="501" y="53"/>
                      <a:pt x="501" y="53"/>
                      <a:pt x="501" y="53"/>
                    </a:cubicBezTo>
                    <a:cubicBezTo>
                      <a:pt x="501" y="35"/>
                      <a:pt x="501" y="35"/>
                      <a:pt x="501" y="35"/>
                    </a:cubicBezTo>
                    <a:cubicBezTo>
                      <a:pt x="476" y="35"/>
                      <a:pt x="476" y="35"/>
                      <a:pt x="476" y="35"/>
                    </a:cubicBezTo>
                    <a:cubicBezTo>
                      <a:pt x="476" y="16"/>
                      <a:pt x="476" y="16"/>
                      <a:pt x="476" y="16"/>
                    </a:cubicBezTo>
                    <a:cubicBezTo>
                      <a:pt x="461" y="16"/>
                      <a:pt x="461" y="16"/>
                      <a:pt x="461" y="16"/>
                    </a:cubicBezTo>
                    <a:cubicBezTo>
                      <a:pt x="454" y="35"/>
                      <a:pt x="454" y="35"/>
                      <a:pt x="454" y="35"/>
                    </a:cubicBezTo>
                    <a:cubicBezTo>
                      <a:pt x="441" y="43"/>
                      <a:pt x="441" y="43"/>
                      <a:pt x="441" y="43"/>
                    </a:cubicBezTo>
                    <a:cubicBezTo>
                      <a:pt x="441" y="53"/>
                      <a:pt x="441" y="53"/>
                      <a:pt x="441" y="53"/>
                    </a:cubicBezTo>
                    <a:cubicBezTo>
                      <a:pt x="452" y="53"/>
                      <a:pt x="452" y="53"/>
                      <a:pt x="452" y="53"/>
                    </a:cubicBezTo>
                    <a:cubicBezTo>
                      <a:pt x="452" y="95"/>
                      <a:pt x="452" y="95"/>
                      <a:pt x="452" y="95"/>
                    </a:cubicBezTo>
                    <a:cubicBezTo>
                      <a:pt x="452" y="102"/>
                      <a:pt x="453" y="108"/>
                      <a:pt x="456" y="112"/>
                    </a:cubicBezTo>
                    <a:cubicBezTo>
                      <a:pt x="458" y="116"/>
                      <a:pt x="461" y="119"/>
                      <a:pt x="466" y="121"/>
                    </a:cubicBezTo>
                    <a:cubicBezTo>
                      <a:pt x="470" y="123"/>
                      <a:pt x="474" y="124"/>
                      <a:pt x="480" y="124"/>
                    </a:cubicBezTo>
                    <a:cubicBezTo>
                      <a:pt x="484" y="124"/>
                      <a:pt x="488" y="123"/>
                      <a:pt x="492" y="123"/>
                    </a:cubicBezTo>
                    <a:cubicBezTo>
                      <a:pt x="496" y="122"/>
                      <a:pt x="499" y="121"/>
                      <a:pt x="501" y="120"/>
                    </a:cubicBezTo>
                    <a:cubicBezTo>
                      <a:pt x="501" y="102"/>
                      <a:pt x="501" y="102"/>
                      <a:pt x="501" y="102"/>
                    </a:cubicBezTo>
                    <a:cubicBezTo>
                      <a:pt x="499" y="103"/>
                      <a:pt x="497" y="103"/>
                      <a:pt x="494" y="104"/>
                    </a:cubicBezTo>
                    <a:cubicBezTo>
                      <a:pt x="492" y="104"/>
                      <a:pt x="489" y="105"/>
                      <a:pt x="486" y="105"/>
                    </a:cubicBezTo>
                    <a:cubicBezTo>
                      <a:pt x="483" y="105"/>
                      <a:pt x="481" y="104"/>
                      <a:pt x="479" y="102"/>
                    </a:cubicBezTo>
                    <a:moveTo>
                      <a:pt x="374" y="59"/>
                    </a:moveTo>
                    <a:cubicBezTo>
                      <a:pt x="377" y="54"/>
                      <a:pt x="381" y="52"/>
                      <a:pt x="388" y="52"/>
                    </a:cubicBezTo>
                    <a:cubicBezTo>
                      <a:pt x="394" y="52"/>
                      <a:pt x="399" y="54"/>
                      <a:pt x="401" y="59"/>
                    </a:cubicBezTo>
                    <a:cubicBezTo>
                      <a:pt x="404" y="63"/>
                      <a:pt x="406" y="70"/>
                      <a:pt x="406" y="78"/>
                    </a:cubicBezTo>
                    <a:cubicBezTo>
                      <a:pt x="406" y="87"/>
                      <a:pt x="404" y="93"/>
                      <a:pt x="401" y="98"/>
                    </a:cubicBezTo>
                    <a:cubicBezTo>
                      <a:pt x="399" y="102"/>
                      <a:pt x="394" y="104"/>
                      <a:pt x="388" y="104"/>
                    </a:cubicBezTo>
                    <a:cubicBezTo>
                      <a:pt x="381" y="104"/>
                      <a:pt x="377" y="102"/>
                      <a:pt x="374" y="98"/>
                    </a:cubicBezTo>
                    <a:cubicBezTo>
                      <a:pt x="371" y="93"/>
                      <a:pt x="370" y="87"/>
                      <a:pt x="370" y="78"/>
                    </a:cubicBezTo>
                    <a:cubicBezTo>
                      <a:pt x="370" y="70"/>
                      <a:pt x="371" y="63"/>
                      <a:pt x="374" y="59"/>
                    </a:cubicBezTo>
                    <a:moveTo>
                      <a:pt x="425" y="54"/>
                    </a:moveTo>
                    <a:cubicBezTo>
                      <a:pt x="421" y="47"/>
                      <a:pt x="416" y="42"/>
                      <a:pt x="410" y="38"/>
                    </a:cubicBezTo>
                    <a:cubicBezTo>
                      <a:pt x="403" y="35"/>
                      <a:pt x="396" y="33"/>
                      <a:pt x="388" y="33"/>
                    </a:cubicBezTo>
                    <a:cubicBezTo>
                      <a:pt x="375" y="33"/>
                      <a:pt x="364" y="37"/>
                      <a:pt x="357" y="45"/>
                    </a:cubicBezTo>
                    <a:cubicBezTo>
                      <a:pt x="349" y="53"/>
                      <a:pt x="345" y="64"/>
                      <a:pt x="345" y="78"/>
                    </a:cubicBezTo>
                    <a:cubicBezTo>
                      <a:pt x="345" y="88"/>
                      <a:pt x="347" y="96"/>
                      <a:pt x="351" y="103"/>
                    </a:cubicBezTo>
                    <a:cubicBezTo>
                      <a:pt x="354" y="110"/>
                      <a:pt x="359" y="115"/>
                      <a:pt x="366" y="118"/>
                    </a:cubicBezTo>
                    <a:cubicBezTo>
                      <a:pt x="372" y="122"/>
                      <a:pt x="379" y="124"/>
                      <a:pt x="387" y="124"/>
                    </a:cubicBezTo>
                    <a:cubicBezTo>
                      <a:pt x="401" y="124"/>
                      <a:pt x="411" y="120"/>
                      <a:pt x="419" y="112"/>
                    </a:cubicBezTo>
                    <a:cubicBezTo>
                      <a:pt x="426" y="104"/>
                      <a:pt x="430" y="93"/>
                      <a:pt x="430" y="78"/>
                    </a:cubicBezTo>
                    <a:cubicBezTo>
                      <a:pt x="430" y="69"/>
                      <a:pt x="428" y="60"/>
                      <a:pt x="425" y="54"/>
                    </a:cubicBezTo>
                    <a:moveTo>
                      <a:pt x="231" y="98"/>
                    </a:moveTo>
                    <a:cubicBezTo>
                      <a:pt x="228" y="94"/>
                      <a:pt x="227" y="87"/>
                      <a:pt x="227" y="79"/>
                    </a:cubicBezTo>
                    <a:cubicBezTo>
                      <a:pt x="227" y="70"/>
                      <a:pt x="228" y="64"/>
                      <a:pt x="231" y="59"/>
                    </a:cubicBezTo>
                    <a:cubicBezTo>
                      <a:pt x="234" y="55"/>
                      <a:pt x="238" y="52"/>
                      <a:pt x="243" y="52"/>
                    </a:cubicBezTo>
                    <a:cubicBezTo>
                      <a:pt x="250" y="52"/>
                      <a:pt x="255" y="55"/>
                      <a:pt x="258" y="59"/>
                    </a:cubicBezTo>
                    <a:cubicBezTo>
                      <a:pt x="261" y="64"/>
                      <a:pt x="262" y="70"/>
                      <a:pt x="262" y="79"/>
                    </a:cubicBezTo>
                    <a:cubicBezTo>
                      <a:pt x="262" y="81"/>
                      <a:pt x="262" y="81"/>
                      <a:pt x="262" y="81"/>
                    </a:cubicBezTo>
                    <a:cubicBezTo>
                      <a:pt x="262" y="89"/>
                      <a:pt x="260" y="95"/>
                      <a:pt x="257" y="99"/>
                    </a:cubicBezTo>
                    <a:cubicBezTo>
                      <a:pt x="255" y="103"/>
                      <a:pt x="250" y="105"/>
                      <a:pt x="244" y="105"/>
                    </a:cubicBezTo>
                    <a:cubicBezTo>
                      <a:pt x="238" y="105"/>
                      <a:pt x="234" y="102"/>
                      <a:pt x="231" y="98"/>
                    </a:cubicBezTo>
                    <a:moveTo>
                      <a:pt x="251" y="120"/>
                    </a:moveTo>
                    <a:cubicBezTo>
                      <a:pt x="255" y="117"/>
                      <a:pt x="258" y="114"/>
                      <a:pt x="260" y="111"/>
                    </a:cubicBezTo>
                    <a:cubicBezTo>
                      <a:pt x="261" y="111"/>
                      <a:pt x="261" y="111"/>
                      <a:pt x="261" y="111"/>
                    </a:cubicBezTo>
                    <a:cubicBezTo>
                      <a:pt x="266" y="122"/>
                      <a:pt x="266" y="122"/>
                      <a:pt x="266" y="122"/>
                    </a:cubicBezTo>
                    <a:cubicBezTo>
                      <a:pt x="284" y="122"/>
                      <a:pt x="284" y="122"/>
                      <a:pt x="284" y="122"/>
                    </a:cubicBezTo>
                    <a:cubicBezTo>
                      <a:pt x="284" y="0"/>
                      <a:pt x="284" y="0"/>
                      <a:pt x="284" y="0"/>
                    </a:cubicBezTo>
                    <a:cubicBezTo>
                      <a:pt x="260" y="0"/>
                      <a:pt x="260" y="0"/>
                      <a:pt x="260" y="0"/>
                    </a:cubicBezTo>
                    <a:cubicBezTo>
                      <a:pt x="260" y="28"/>
                      <a:pt x="260" y="28"/>
                      <a:pt x="260" y="28"/>
                    </a:cubicBezTo>
                    <a:cubicBezTo>
                      <a:pt x="260" y="32"/>
                      <a:pt x="260" y="35"/>
                      <a:pt x="261" y="38"/>
                    </a:cubicBezTo>
                    <a:cubicBezTo>
                      <a:pt x="261" y="42"/>
                      <a:pt x="262" y="44"/>
                      <a:pt x="262" y="46"/>
                    </a:cubicBezTo>
                    <a:cubicBezTo>
                      <a:pt x="261" y="46"/>
                      <a:pt x="261" y="46"/>
                      <a:pt x="261" y="46"/>
                    </a:cubicBezTo>
                    <a:cubicBezTo>
                      <a:pt x="259" y="42"/>
                      <a:pt x="256" y="39"/>
                      <a:pt x="252" y="37"/>
                    </a:cubicBezTo>
                    <a:cubicBezTo>
                      <a:pt x="248" y="34"/>
                      <a:pt x="242" y="33"/>
                      <a:pt x="236" y="33"/>
                    </a:cubicBezTo>
                    <a:cubicBezTo>
                      <a:pt x="226" y="33"/>
                      <a:pt x="218" y="37"/>
                      <a:pt x="212" y="45"/>
                    </a:cubicBezTo>
                    <a:cubicBezTo>
                      <a:pt x="206" y="52"/>
                      <a:pt x="202" y="64"/>
                      <a:pt x="202" y="79"/>
                    </a:cubicBezTo>
                    <a:cubicBezTo>
                      <a:pt x="202" y="93"/>
                      <a:pt x="206" y="105"/>
                      <a:pt x="212" y="112"/>
                    </a:cubicBezTo>
                    <a:cubicBezTo>
                      <a:pt x="218" y="120"/>
                      <a:pt x="226" y="124"/>
                      <a:pt x="235" y="124"/>
                    </a:cubicBezTo>
                    <a:cubicBezTo>
                      <a:pt x="242" y="124"/>
                      <a:pt x="247" y="122"/>
                      <a:pt x="251" y="120"/>
                    </a:cubicBezTo>
                    <a:moveTo>
                      <a:pt x="137" y="36"/>
                    </a:moveTo>
                    <a:cubicBezTo>
                      <a:pt x="132" y="38"/>
                      <a:pt x="128" y="41"/>
                      <a:pt x="125" y="46"/>
                    </a:cubicBezTo>
                    <a:cubicBezTo>
                      <a:pt x="124" y="46"/>
                      <a:pt x="124" y="46"/>
                      <a:pt x="124" y="46"/>
                    </a:cubicBezTo>
                    <a:cubicBezTo>
                      <a:pt x="121" y="35"/>
                      <a:pt x="121" y="35"/>
                      <a:pt x="121" y="35"/>
                    </a:cubicBezTo>
                    <a:cubicBezTo>
                      <a:pt x="103" y="35"/>
                      <a:pt x="103" y="35"/>
                      <a:pt x="103" y="35"/>
                    </a:cubicBezTo>
                    <a:cubicBezTo>
                      <a:pt x="103" y="122"/>
                      <a:pt x="103" y="122"/>
                      <a:pt x="103" y="122"/>
                    </a:cubicBezTo>
                    <a:cubicBezTo>
                      <a:pt x="126" y="122"/>
                      <a:pt x="126" y="122"/>
                      <a:pt x="126" y="122"/>
                    </a:cubicBezTo>
                    <a:cubicBezTo>
                      <a:pt x="126" y="81"/>
                      <a:pt x="126" y="81"/>
                      <a:pt x="126" y="81"/>
                    </a:cubicBezTo>
                    <a:cubicBezTo>
                      <a:pt x="126" y="72"/>
                      <a:pt x="128" y="65"/>
                      <a:pt x="130" y="60"/>
                    </a:cubicBezTo>
                    <a:cubicBezTo>
                      <a:pt x="133" y="55"/>
                      <a:pt x="138" y="52"/>
                      <a:pt x="145" y="52"/>
                    </a:cubicBezTo>
                    <a:cubicBezTo>
                      <a:pt x="150" y="52"/>
                      <a:pt x="154" y="54"/>
                      <a:pt x="156" y="57"/>
                    </a:cubicBezTo>
                    <a:cubicBezTo>
                      <a:pt x="158" y="60"/>
                      <a:pt x="159" y="65"/>
                      <a:pt x="159" y="71"/>
                    </a:cubicBezTo>
                    <a:cubicBezTo>
                      <a:pt x="159" y="122"/>
                      <a:pt x="159" y="122"/>
                      <a:pt x="159" y="122"/>
                    </a:cubicBezTo>
                    <a:cubicBezTo>
                      <a:pt x="183" y="122"/>
                      <a:pt x="183" y="122"/>
                      <a:pt x="183" y="122"/>
                    </a:cubicBezTo>
                    <a:cubicBezTo>
                      <a:pt x="183" y="65"/>
                      <a:pt x="183" y="65"/>
                      <a:pt x="183" y="65"/>
                    </a:cubicBezTo>
                    <a:cubicBezTo>
                      <a:pt x="183" y="54"/>
                      <a:pt x="180" y="46"/>
                      <a:pt x="175" y="41"/>
                    </a:cubicBezTo>
                    <a:cubicBezTo>
                      <a:pt x="169" y="36"/>
                      <a:pt x="162" y="33"/>
                      <a:pt x="152" y="33"/>
                    </a:cubicBezTo>
                    <a:cubicBezTo>
                      <a:pt x="147" y="33"/>
                      <a:pt x="142" y="34"/>
                      <a:pt x="137" y="36"/>
                    </a:cubicBezTo>
                    <a:moveTo>
                      <a:pt x="54" y="89"/>
                    </a:moveTo>
                    <a:cubicBezTo>
                      <a:pt x="54" y="94"/>
                      <a:pt x="53" y="99"/>
                      <a:pt x="49" y="102"/>
                    </a:cubicBezTo>
                    <a:cubicBezTo>
                      <a:pt x="46" y="105"/>
                      <a:pt x="41" y="106"/>
                      <a:pt x="36" y="106"/>
                    </a:cubicBezTo>
                    <a:cubicBezTo>
                      <a:pt x="33" y="106"/>
                      <a:pt x="30" y="105"/>
                      <a:pt x="28" y="104"/>
                    </a:cubicBezTo>
                    <a:cubicBezTo>
                      <a:pt x="26" y="102"/>
                      <a:pt x="25" y="100"/>
                      <a:pt x="25" y="96"/>
                    </a:cubicBezTo>
                    <a:cubicBezTo>
                      <a:pt x="25" y="92"/>
                      <a:pt x="26" y="89"/>
                      <a:pt x="29" y="86"/>
                    </a:cubicBezTo>
                    <a:cubicBezTo>
                      <a:pt x="32" y="83"/>
                      <a:pt x="37" y="82"/>
                      <a:pt x="45" y="82"/>
                    </a:cubicBezTo>
                    <a:cubicBezTo>
                      <a:pt x="54" y="82"/>
                      <a:pt x="54" y="82"/>
                      <a:pt x="54" y="82"/>
                    </a:cubicBezTo>
                    <a:lnTo>
                      <a:pt x="54" y="89"/>
                    </a:lnTo>
                    <a:close/>
                    <a:moveTo>
                      <a:pt x="24" y="35"/>
                    </a:moveTo>
                    <a:cubicBezTo>
                      <a:pt x="18" y="37"/>
                      <a:pt x="13" y="38"/>
                      <a:pt x="8" y="41"/>
                    </a:cubicBezTo>
                    <a:cubicBezTo>
                      <a:pt x="16" y="57"/>
                      <a:pt x="16" y="57"/>
                      <a:pt x="16" y="57"/>
                    </a:cubicBezTo>
                    <a:cubicBezTo>
                      <a:pt x="20" y="55"/>
                      <a:pt x="24" y="54"/>
                      <a:pt x="28" y="52"/>
                    </a:cubicBezTo>
                    <a:cubicBezTo>
                      <a:pt x="32" y="51"/>
                      <a:pt x="37" y="51"/>
                      <a:pt x="41" y="51"/>
                    </a:cubicBezTo>
                    <a:cubicBezTo>
                      <a:pt x="45" y="51"/>
                      <a:pt x="48" y="52"/>
                      <a:pt x="51" y="54"/>
                    </a:cubicBezTo>
                    <a:cubicBezTo>
                      <a:pt x="53" y="56"/>
                      <a:pt x="54" y="59"/>
                      <a:pt x="54" y="64"/>
                    </a:cubicBezTo>
                    <a:cubicBezTo>
                      <a:pt x="54" y="68"/>
                      <a:pt x="54" y="68"/>
                      <a:pt x="54" y="68"/>
                    </a:cubicBezTo>
                    <a:cubicBezTo>
                      <a:pt x="39" y="68"/>
                      <a:pt x="39" y="68"/>
                      <a:pt x="39" y="68"/>
                    </a:cubicBezTo>
                    <a:cubicBezTo>
                      <a:pt x="26" y="69"/>
                      <a:pt x="16" y="71"/>
                      <a:pt x="10" y="75"/>
                    </a:cubicBezTo>
                    <a:cubicBezTo>
                      <a:pt x="3" y="80"/>
                      <a:pt x="0" y="87"/>
                      <a:pt x="0" y="96"/>
                    </a:cubicBezTo>
                    <a:cubicBezTo>
                      <a:pt x="0" y="105"/>
                      <a:pt x="3" y="112"/>
                      <a:pt x="8" y="117"/>
                    </a:cubicBezTo>
                    <a:cubicBezTo>
                      <a:pt x="13" y="121"/>
                      <a:pt x="19" y="124"/>
                      <a:pt x="27" y="124"/>
                    </a:cubicBezTo>
                    <a:cubicBezTo>
                      <a:pt x="35" y="124"/>
                      <a:pt x="40" y="123"/>
                      <a:pt x="44" y="120"/>
                    </a:cubicBezTo>
                    <a:cubicBezTo>
                      <a:pt x="49" y="118"/>
                      <a:pt x="52" y="115"/>
                      <a:pt x="56" y="110"/>
                    </a:cubicBezTo>
                    <a:cubicBezTo>
                      <a:pt x="57" y="110"/>
                      <a:pt x="57" y="110"/>
                      <a:pt x="57" y="110"/>
                    </a:cubicBezTo>
                    <a:cubicBezTo>
                      <a:pt x="61" y="122"/>
                      <a:pt x="61" y="122"/>
                      <a:pt x="61" y="122"/>
                    </a:cubicBezTo>
                    <a:cubicBezTo>
                      <a:pt x="78" y="122"/>
                      <a:pt x="78" y="122"/>
                      <a:pt x="78" y="122"/>
                    </a:cubicBezTo>
                    <a:cubicBezTo>
                      <a:pt x="78" y="64"/>
                      <a:pt x="78" y="64"/>
                      <a:pt x="78" y="64"/>
                    </a:cubicBezTo>
                    <a:cubicBezTo>
                      <a:pt x="78" y="53"/>
                      <a:pt x="75" y="46"/>
                      <a:pt x="69" y="41"/>
                    </a:cubicBezTo>
                    <a:cubicBezTo>
                      <a:pt x="63" y="35"/>
                      <a:pt x="54" y="33"/>
                      <a:pt x="42" y="33"/>
                    </a:cubicBezTo>
                    <a:cubicBezTo>
                      <a:pt x="36" y="33"/>
                      <a:pt x="30" y="34"/>
                      <a:pt x="24" y="35"/>
                    </a:cubicBezTo>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3">
                <a:extLst>
                  <a:ext uri="{FF2B5EF4-FFF2-40B4-BE49-F238E27FC236}">
                    <a16:creationId xmlns:a16="http://schemas.microsoft.com/office/drawing/2014/main" id="{53A3626B-A88B-1F43-A4B1-E15BEFEA4D05}"/>
                  </a:ext>
                </a:extLst>
              </p:cNvPr>
              <p:cNvSpPr>
                <a:spLocks noEditPoints="1"/>
              </p:cNvSpPr>
              <p:nvPr/>
            </p:nvSpPr>
            <p:spPr bwMode="auto">
              <a:xfrm>
                <a:off x="4113213" y="2895600"/>
                <a:ext cx="923925" cy="93663"/>
              </a:xfrm>
              <a:custGeom>
                <a:avLst/>
                <a:gdLst>
                  <a:gd name="T0" fmla="*/ 1190 w 1233"/>
                  <a:gd name="T1" fmla="*/ 56 h 124"/>
                  <a:gd name="T2" fmla="*/ 1201 w 1233"/>
                  <a:gd name="T3" fmla="*/ 33 h 124"/>
                  <a:gd name="T4" fmla="*/ 1203 w 1233"/>
                  <a:gd name="T5" fmla="*/ 91 h 124"/>
                  <a:gd name="T6" fmla="*/ 1166 w 1233"/>
                  <a:gd name="T7" fmla="*/ 99 h 124"/>
                  <a:gd name="T8" fmla="*/ 1230 w 1233"/>
                  <a:gd name="T9" fmla="*/ 83 h 124"/>
                  <a:gd name="T10" fmla="*/ 1126 w 1233"/>
                  <a:gd name="T11" fmla="*/ 55 h 124"/>
                  <a:gd name="T12" fmla="*/ 1117 w 1233"/>
                  <a:gd name="T13" fmla="*/ 124 h 124"/>
                  <a:gd name="T14" fmla="*/ 1102 w 1233"/>
                  <a:gd name="T15" fmla="*/ 100 h 124"/>
                  <a:gd name="T16" fmla="*/ 1091 w 1233"/>
                  <a:gd name="T17" fmla="*/ 38 h 124"/>
                  <a:gd name="T18" fmla="*/ 1034 w 1233"/>
                  <a:gd name="T19" fmla="*/ 35 h 124"/>
                  <a:gd name="T20" fmla="*/ 1010 w 1233"/>
                  <a:gd name="T21" fmla="*/ 53 h 124"/>
                  <a:gd name="T22" fmla="*/ 1059 w 1233"/>
                  <a:gd name="T23" fmla="*/ 120 h 124"/>
                  <a:gd name="T24" fmla="*/ 966 w 1233"/>
                  <a:gd name="T25" fmla="*/ 68 h 124"/>
                  <a:gd name="T26" fmla="*/ 913 w 1233"/>
                  <a:gd name="T27" fmla="*/ 54 h 124"/>
                  <a:gd name="T28" fmla="*/ 983 w 1233"/>
                  <a:gd name="T29" fmla="*/ 117 h 124"/>
                  <a:gd name="T30" fmla="*/ 988 w 1233"/>
                  <a:gd name="T31" fmla="*/ 84 h 124"/>
                  <a:gd name="T32" fmla="*/ 869 w 1233"/>
                  <a:gd name="T33" fmla="*/ 78 h 124"/>
                  <a:gd name="T34" fmla="*/ 840 w 1233"/>
                  <a:gd name="T35" fmla="*/ 58 h 124"/>
                  <a:gd name="T36" fmla="*/ 834 w 1233"/>
                  <a:gd name="T37" fmla="*/ 112 h 124"/>
                  <a:gd name="T38" fmla="*/ 884 w 1233"/>
                  <a:gd name="T39" fmla="*/ 45 h 124"/>
                  <a:gd name="T40" fmla="*/ 836 w 1233"/>
                  <a:gd name="T41" fmla="*/ 29 h 124"/>
                  <a:gd name="T42" fmla="*/ 737 w 1233"/>
                  <a:gd name="T43" fmla="*/ 104 h 124"/>
                  <a:gd name="T44" fmla="*/ 733 w 1233"/>
                  <a:gd name="T45" fmla="*/ 35 h 124"/>
                  <a:gd name="T46" fmla="*/ 764 w 1233"/>
                  <a:gd name="T47" fmla="*/ 64 h 124"/>
                  <a:gd name="T48" fmla="*/ 736 w 1233"/>
                  <a:gd name="T49" fmla="*/ 124 h 124"/>
                  <a:gd name="T50" fmla="*/ 787 w 1233"/>
                  <a:gd name="T51" fmla="*/ 64 h 124"/>
                  <a:gd name="T52" fmla="*/ 690 w 1233"/>
                  <a:gd name="T53" fmla="*/ 35 h 124"/>
                  <a:gd name="T54" fmla="*/ 678 w 1233"/>
                  <a:gd name="T55" fmla="*/ 24 h 124"/>
                  <a:gd name="T56" fmla="*/ 588 w 1233"/>
                  <a:gd name="T57" fmla="*/ 98 h 124"/>
                  <a:gd name="T58" fmla="*/ 619 w 1233"/>
                  <a:gd name="T59" fmla="*/ 81 h 124"/>
                  <a:gd name="T60" fmla="*/ 618 w 1233"/>
                  <a:gd name="T61" fmla="*/ 111 h 124"/>
                  <a:gd name="T62" fmla="*/ 618 w 1233"/>
                  <a:gd name="T63" fmla="*/ 38 h 124"/>
                  <a:gd name="T64" fmla="*/ 560 w 1233"/>
                  <a:gd name="T65" fmla="*/ 79 h 124"/>
                  <a:gd name="T66" fmla="*/ 480 w 1233"/>
                  <a:gd name="T67" fmla="*/ 53 h 124"/>
                  <a:gd name="T68" fmla="*/ 458 w 1233"/>
                  <a:gd name="T69" fmla="*/ 35 h 124"/>
                  <a:gd name="T70" fmla="*/ 470 w 1233"/>
                  <a:gd name="T71" fmla="*/ 121 h 124"/>
                  <a:gd name="T72" fmla="*/ 491 w 1233"/>
                  <a:gd name="T73" fmla="*/ 105 h 124"/>
                  <a:gd name="T74" fmla="*/ 376 w 1233"/>
                  <a:gd name="T75" fmla="*/ 96 h 124"/>
                  <a:gd name="T76" fmla="*/ 360 w 1233"/>
                  <a:gd name="T77" fmla="*/ 41 h 124"/>
                  <a:gd name="T78" fmla="*/ 406 w 1233"/>
                  <a:gd name="T79" fmla="*/ 68 h 124"/>
                  <a:gd name="T80" fmla="*/ 396 w 1233"/>
                  <a:gd name="T81" fmla="*/ 120 h 124"/>
                  <a:gd name="T82" fmla="*/ 420 w 1233"/>
                  <a:gd name="T83" fmla="*/ 41 h 124"/>
                  <a:gd name="T84" fmla="*/ 287 w 1233"/>
                  <a:gd name="T85" fmla="*/ 55 h 124"/>
                  <a:gd name="T86" fmla="*/ 263 w 1233"/>
                  <a:gd name="T87" fmla="*/ 104 h 124"/>
                  <a:gd name="T88" fmla="*/ 319 w 1233"/>
                  <a:gd name="T89" fmla="*/ 104 h 124"/>
                  <a:gd name="T90" fmla="*/ 327 w 1233"/>
                  <a:gd name="T91" fmla="*/ 43 h 124"/>
                  <a:gd name="T92" fmla="*/ 231 w 1233"/>
                  <a:gd name="T93" fmla="*/ 22 h 124"/>
                  <a:gd name="T94" fmla="*/ 236 w 1233"/>
                  <a:gd name="T95" fmla="*/ 0 h 124"/>
                  <a:gd name="T96" fmla="*/ 192 w 1233"/>
                  <a:gd name="T97" fmla="*/ 53 h 124"/>
                  <a:gd name="T98" fmla="*/ 249 w 1233"/>
                  <a:gd name="T99" fmla="*/ 35 h 124"/>
                  <a:gd name="T100" fmla="*/ 155 w 1233"/>
                  <a:gd name="T101" fmla="*/ 55 h 124"/>
                  <a:gd name="T102" fmla="*/ 146 w 1233"/>
                  <a:gd name="T103" fmla="*/ 124 h 124"/>
                  <a:gd name="T104" fmla="*/ 131 w 1233"/>
                  <a:gd name="T105" fmla="*/ 100 h 124"/>
                  <a:gd name="T106" fmla="*/ 121 w 1233"/>
                  <a:gd name="T107" fmla="*/ 38 h 124"/>
                  <a:gd name="T108" fmla="*/ 59 w 1233"/>
                  <a:gd name="T109" fmla="*/ 79 h 124"/>
                  <a:gd name="T110" fmla="*/ 58 w 1233"/>
                  <a:gd name="T111" fmla="*/ 111 h 124"/>
                  <a:gd name="T112" fmla="*/ 58 w 1233"/>
                  <a:gd name="T113" fmla="*/ 28 h 124"/>
                  <a:gd name="T114" fmla="*/ 9 w 1233"/>
                  <a:gd name="T115" fmla="*/ 4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3" h="124">
                    <a:moveTo>
                      <a:pt x="1230" y="83"/>
                    </a:moveTo>
                    <a:cubicBezTo>
                      <a:pt x="1228" y="80"/>
                      <a:pt x="1225" y="77"/>
                      <a:pt x="1221" y="75"/>
                    </a:cubicBezTo>
                    <a:cubicBezTo>
                      <a:pt x="1218" y="73"/>
                      <a:pt x="1213" y="71"/>
                      <a:pt x="1208" y="69"/>
                    </a:cubicBezTo>
                    <a:cubicBezTo>
                      <a:pt x="1203" y="67"/>
                      <a:pt x="1199" y="65"/>
                      <a:pt x="1197" y="64"/>
                    </a:cubicBezTo>
                    <a:cubicBezTo>
                      <a:pt x="1194" y="63"/>
                      <a:pt x="1192" y="61"/>
                      <a:pt x="1191" y="60"/>
                    </a:cubicBezTo>
                    <a:cubicBezTo>
                      <a:pt x="1190" y="59"/>
                      <a:pt x="1190" y="58"/>
                      <a:pt x="1190" y="56"/>
                    </a:cubicBezTo>
                    <a:cubicBezTo>
                      <a:pt x="1190" y="53"/>
                      <a:pt x="1194" y="51"/>
                      <a:pt x="1201" y="51"/>
                    </a:cubicBezTo>
                    <a:cubicBezTo>
                      <a:pt x="1204" y="51"/>
                      <a:pt x="1208" y="51"/>
                      <a:pt x="1212" y="53"/>
                    </a:cubicBezTo>
                    <a:cubicBezTo>
                      <a:pt x="1216" y="54"/>
                      <a:pt x="1220" y="55"/>
                      <a:pt x="1224" y="57"/>
                    </a:cubicBezTo>
                    <a:cubicBezTo>
                      <a:pt x="1232" y="40"/>
                      <a:pt x="1232" y="40"/>
                      <a:pt x="1232" y="40"/>
                    </a:cubicBezTo>
                    <a:cubicBezTo>
                      <a:pt x="1226" y="38"/>
                      <a:pt x="1221" y="36"/>
                      <a:pt x="1216" y="35"/>
                    </a:cubicBezTo>
                    <a:cubicBezTo>
                      <a:pt x="1211" y="34"/>
                      <a:pt x="1206" y="33"/>
                      <a:pt x="1201" y="33"/>
                    </a:cubicBezTo>
                    <a:cubicBezTo>
                      <a:pt x="1190" y="33"/>
                      <a:pt x="1182" y="35"/>
                      <a:pt x="1176" y="39"/>
                    </a:cubicBezTo>
                    <a:cubicBezTo>
                      <a:pt x="1169" y="43"/>
                      <a:pt x="1166" y="49"/>
                      <a:pt x="1166" y="57"/>
                    </a:cubicBezTo>
                    <a:cubicBezTo>
                      <a:pt x="1166" y="62"/>
                      <a:pt x="1167" y="66"/>
                      <a:pt x="1169" y="70"/>
                    </a:cubicBezTo>
                    <a:cubicBezTo>
                      <a:pt x="1171" y="73"/>
                      <a:pt x="1173" y="76"/>
                      <a:pt x="1177" y="78"/>
                    </a:cubicBezTo>
                    <a:cubicBezTo>
                      <a:pt x="1180" y="80"/>
                      <a:pt x="1185" y="83"/>
                      <a:pt x="1190" y="85"/>
                    </a:cubicBezTo>
                    <a:cubicBezTo>
                      <a:pt x="1196" y="87"/>
                      <a:pt x="1200" y="89"/>
                      <a:pt x="1203" y="91"/>
                    </a:cubicBezTo>
                    <a:cubicBezTo>
                      <a:pt x="1205" y="92"/>
                      <a:pt x="1207" y="94"/>
                      <a:pt x="1208" y="95"/>
                    </a:cubicBezTo>
                    <a:cubicBezTo>
                      <a:pt x="1209" y="96"/>
                      <a:pt x="1209" y="97"/>
                      <a:pt x="1209" y="99"/>
                    </a:cubicBezTo>
                    <a:cubicBezTo>
                      <a:pt x="1209" y="101"/>
                      <a:pt x="1208" y="103"/>
                      <a:pt x="1206" y="104"/>
                    </a:cubicBezTo>
                    <a:cubicBezTo>
                      <a:pt x="1204" y="106"/>
                      <a:pt x="1201" y="106"/>
                      <a:pt x="1196" y="106"/>
                    </a:cubicBezTo>
                    <a:cubicBezTo>
                      <a:pt x="1192" y="106"/>
                      <a:pt x="1187" y="106"/>
                      <a:pt x="1182" y="104"/>
                    </a:cubicBezTo>
                    <a:cubicBezTo>
                      <a:pt x="1176" y="103"/>
                      <a:pt x="1171" y="101"/>
                      <a:pt x="1166" y="99"/>
                    </a:cubicBezTo>
                    <a:cubicBezTo>
                      <a:pt x="1166" y="119"/>
                      <a:pt x="1166" y="119"/>
                      <a:pt x="1166" y="119"/>
                    </a:cubicBezTo>
                    <a:cubicBezTo>
                      <a:pt x="1171" y="120"/>
                      <a:pt x="1175" y="122"/>
                      <a:pt x="1180" y="122"/>
                    </a:cubicBezTo>
                    <a:cubicBezTo>
                      <a:pt x="1184" y="123"/>
                      <a:pt x="1189" y="124"/>
                      <a:pt x="1195" y="124"/>
                    </a:cubicBezTo>
                    <a:cubicBezTo>
                      <a:pt x="1208" y="124"/>
                      <a:pt x="1217" y="121"/>
                      <a:pt x="1223" y="117"/>
                    </a:cubicBezTo>
                    <a:cubicBezTo>
                      <a:pt x="1229" y="112"/>
                      <a:pt x="1233" y="105"/>
                      <a:pt x="1233" y="96"/>
                    </a:cubicBezTo>
                    <a:cubicBezTo>
                      <a:pt x="1233" y="91"/>
                      <a:pt x="1232" y="87"/>
                      <a:pt x="1230" y="83"/>
                    </a:cubicBezTo>
                    <a:moveTo>
                      <a:pt x="1126" y="55"/>
                    </a:moveTo>
                    <a:cubicBezTo>
                      <a:pt x="1128" y="59"/>
                      <a:pt x="1130" y="63"/>
                      <a:pt x="1130" y="68"/>
                    </a:cubicBezTo>
                    <a:cubicBezTo>
                      <a:pt x="1096" y="68"/>
                      <a:pt x="1096" y="68"/>
                      <a:pt x="1096" y="68"/>
                    </a:cubicBezTo>
                    <a:cubicBezTo>
                      <a:pt x="1097" y="62"/>
                      <a:pt x="1099" y="58"/>
                      <a:pt x="1102" y="55"/>
                    </a:cubicBezTo>
                    <a:cubicBezTo>
                      <a:pt x="1105" y="52"/>
                      <a:pt x="1109" y="50"/>
                      <a:pt x="1113" y="50"/>
                    </a:cubicBezTo>
                    <a:cubicBezTo>
                      <a:pt x="1119" y="50"/>
                      <a:pt x="1123" y="52"/>
                      <a:pt x="1126" y="55"/>
                    </a:cubicBezTo>
                    <a:moveTo>
                      <a:pt x="1091" y="38"/>
                    </a:moveTo>
                    <a:cubicBezTo>
                      <a:pt x="1085" y="42"/>
                      <a:pt x="1080" y="47"/>
                      <a:pt x="1077" y="54"/>
                    </a:cubicBezTo>
                    <a:cubicBezTo>
                      <a:pt x="1073" y="60"/>
                      <a:pt x="1072" y="69"/>
                      <a:pt x="1072" y="79"/>
                    </a:cubicBezTo>
                    <a:cubicBezTo>
                      <a:pt x="1072" y="89"/>
                      <a:pt x="1074" y="97"/>
                      <a:pt x="1078" y="104"/>
                    </a:cubicBezTo>
                    <a:cubicBezTo>
                      <a:pt x="1081" y="111"/>
                      <a:pt x="1087" y="116"/>
                      <a:pt x="1093" y="119"/>
                    </a:cubicBezTo>
                    <a:cubicBezTo>
                      <a:pt x="1100" y="122"/>
                      <a:pt x="1108" y="124"/>
                      <a:pt x="1117" y="124"/>
                    </a:cubicBezTo>
                    <a:cubicBezTo>
                      <a:pt x="1123" y="124"/>
                      <a:pt x="1129" y="123"/>
                      <a:pt x="1134" y="122"/>
                    </a:cubicBezTo>
                    <a:cubicBezTo>
                      <a:pt x="1138" y="121"/>
                      <a:pt x="1143" y="120"/>
                      <a:pt x="1147" y="117"/>
                    </a:cubicBezTo>
                    <a:cubicBezTo>
                      <a:pt x="1147" y="99"/>
                      <a:pt x="1147" y="99"/>
                      <a:pt x="1147" y="99"/>
                    </a:cubicBezTo>
                    <a:cubicBezTo>
                      <a:pt x="1142" y="101"/>
                      <a:pt x="1138" y="103"/>
                      <a:pt x="1133" y="104"/>
                    </a:cubicBezTo>
                    <a:cubicBezTo>
                      <a:pt x="1128" y="105"/>
                      <a:pt x="1123" y="106"/>
                      <a:pt x="1118" y="106"/>
                    </a:cubicBezTo>
                    <a:cubicBezTo>
                      <a:pt x="1111" y="106"/>
                      <a:pt x="1106" y="104"/>
                      <a:pt x="1102" y="100"/>
                    </a:cubicBezTo>
                    <a:cubicBezTo>
                      <a:pt x="1098" y="96"/>
                      <a:pt x="1096" y="91"/>
                      <a:pt x="1096" y="84"/>
                    </a:cubicBezTo>
                    <a:cubicBezTo>
                      <a:pt x="1152" y="84"/>
                      <a:pt x="1152" y="84"/>
                      <a:pt x="1152" y="84"/>
                    </a:cubicBezTo>
                    <a:cubicBezTo>
                      <a:pt x="1152" y="73"/>
                      <a:pt x="1152" y="73"/>
                      <a:pt x="1152" y="73"/>
                    </a:cubicBezTo>
                    <a:cubicBezTo>
                      <a:pt x="1152" y="60"/>
                      <a:pt x="1149" y="50"/>
                      <a:pt x="1142" y="43"/>
                    </a:cubicBezTo>
                    <a:cubicBezTo>
                      <a:pt x="1135" y="37"/>
                      <a:pt x="1125" y="33"/>
                      <a:pt x="1113" y="33"/>
                    </a:cubicBezTo>
                    <a:cubicBezTo>
                      <a:pt x="1105" y="33"/>
                      <a:pt x="1098" y="35"/>
                      <a:pt x="1091" y="38"/>
                    </a:cubicBezTo>
                    <a:moveTo>
                      <a:pt x="1037" y="102"/>
                    </a:moveTo>
                    <a:cubicBezTo>
                      <a:pt x="1035" y="100"/>
                      <a:pt x="1034" y="98"/>
                      <a:pt x="1034" y="95"/>
                    </a:cubicBezTo>
                    <a:cubicBezTo>
                      <a:pt x="1034" y="53"/>
                      <a:pt x="1034" y="53"/>
                      <a:pt x="1034" y="53"/>
                    </a:cubicBezTo>
                    <a:cubicBezTo>
                      <a:pt x="1058" y="53"/>
                      <a:pt x="1058" y="53"/>
                      <a:pt x="1058" y="53"/>
                    </a:cubicBezTo>
                    <a:cubicBezTo>
                      <a:pt x="1058" y="35"/>
                      <a:pt x="1058" y="35"/>
                      <a:pt x="1058" y="35"/>
                    </a:cubicBezTo>
                    <a:cubicBezTo>
                      <a:pt x="1034" y="35"/>
                      <a:pt x="1034" y="35"/>
                      <a:pt x="1034" y="35"/>
                    </a:cubicBezTo>
                    <a:cubicBezTo>
                      <a:pt x="1034" y="16"/>
                      <a:pt x="1034" y="16"/>
                      <a:pt x="1034" y="16"/>
                    </a:cubicBezTo>
                    <a:cubicBezTo>
                      <a:pt x="1019" y="16"/>
                      <a:pt x="1019" y="16"/>
                      <a:pt x="1019" y="16"/>
                    </a:cubicBezTo>
                    <a:cubicBezTo>
                      <a:pt x="1012" y="35"/>
                      <a:pt x="1012" y="35"/>
                      <a:pt x="1012" y="35"/>
                    </a:cubicBezTo>
                    <a:cubicBezTo>
                      <a:pt x="999" y="43"/>
                      <a:pt x="999" y="43"/>
                      <a:pt x="999" y="43"/>
                    </a:cubicBezTo>
                    <a:cubicBezTo>
                      <a:pt x="999" y="53"/>
                      <a:pt x="999" y="53"/>
                      <a:pt x="999" y="53"/>
                    </a:cubicBezTo>
                    <a:cubicBezTo>
                      <a:pt x="1010" y="53"/>
                      <a:pt x="1010" y="53"/>
                      <a:pt x="1010" y="53"/>
                    </a:cubicBezTo>
                    <a:cubicBezTo>
                      <a:pt x="1010" y="95"/>
                      <a:pt x="1010" y="95"/>
                      <a:pt x="1010" y="95"/>
                    </a:cubicBezTo>
                    <a:cubicBezTo>
                      <a:pt x="1010" y="102"/>
                      <a:pt x="1011" y="108"/>
                      <a:pt x="1014" y="112"/>
                    </a:cubicBezTo>
                    <a:cubicBezTo>
                      <a:pt x="1016" y="116"/>
                      <a:pt x="1019" y="119"/>
                      <a:pt x="1024" y="121"/>
                    </a:cubicBezTo>
                    <a:cubicBezTo>
                      <a:pt x="1028" y="123"/>
                      <a:pt x="1032" y="124"/>
                      <a:pt x="1038" y="124"/>
                    </a:cubicBezTo>
                    <a:cubicBezTo>
                      <a:pt x="1042" y="124"/>
                      <a:pt x="1046" y="123"/>
                      <a:pt x="1050" y="123"/>
                    </a:cubicBezTo>
                    <a:cubicBezTo>
                      <a:pt x="1054" y="122"/>
                      <a:pt x="1057" y="121"/>
                      <a:pt x="1059" y="120"/>
                    </a:cubicBezTo>
                    <a:cubicBezTo>
                      <a:pt x="1059" y="102"/>
                      <a:pt x="1059" y="102"/>
                      <a:pt x="1059" y="102"/>
                    </a:cubicBezTo>
                    <a:cubicBezTo>
                      <a:pt x="1057" y="103"/>
                      <a:pt x="1055" y="103"/>
                      <a:pt x="1052" y="104"/>
                    </a:cubicBezTo>
                    <a:cubicBezTo>
                      <a:pt x="1050" y="104"/>
                      <a:pt x="1047" y="105"/>
                      <a:pt x="1044" y="105"/>
                    </a:cubicBezTo>
                    <a:cubicBezTo>
                      <a:pt x="1041" y="105"/>
                      <a:pt x="1039" y="104"/>
                      <a:pt x="1037" y="102"/>
                    </a:cubicBezTo>
                    <a:moveTo>
                      <a:pt x="962" y="55"/>
                    </a:moveTo>
                    <a:cubicBezTo>
                      <a:pt x="964" y="59"/>
                      <a:pt x="966" y="63"/>
                      <a:pt x="966" y="68"/>
                    </a:cubicBezTo>
                    <a:cubicBezTo>
                      <a:pt x="932" y="68"/>
                      <a:pt x="932" y="68"/>
                      <a:pt x="932" y="68"/>
                    </a:cubicBezTo>
                    <a:cubicBezTo>
                      <a:pt x="933" y="62"/>
                      <a:pt x="935" y="58"/>
                      <a:pt x="938" y="55"/>
                    </a:cubicBezTo>
                    <a:cubicBezTo>
                      <a:pt x="941" y="52"/>
                      <a:pt x="945" y="50"/>
                      <a:pt x="949" y="50"/>
                    </a:cubicBezTo>
                    <a:cubicBezTo>
                      <a:pt x="955" y="50"/>
                      <a:pt x="959" y="52"/>
                      <a:pt x="962" y="55"/>
                    </a:cubicBezTo>
                    <a:moveTo>
                      <a:pt x="927" y="38"/>
                    </a:moveTo>
                    <a:cubicBezTo>
                      <a:pt x="921" y="42"/>
                      <a:pt x="916" y="47"/>
                      <a:pt x="913" y="54"/>
                    </a:cubicBezTo>
                    <a:cubicBezTo>
                      <a:pt x="909" y="60"/>
                      <a:pt x="908" y="69"/>
                      <a:pt x="908" y="79"/>
                    </a:cubicBezTo>
                    <a:cubicBezTo>
                      <a:pt x="908" y="89"/>
                      <a:pt x="910" y="97"/>
                      <a:pt x="914" y="104"/>
                    </a:cubicBezTo>
                    <a:cubicBezTo>
                      <a:pt x="917" y="111"/>
                      <a:pt x="923" y="116"/>
                      <a:pt x="929" y="119"/>
                    </a:cubicBezTo>
                    <a:cubicBezTo>
                      <a:pt x="936" y="122"/>
                      <a:pt x="944" y="124"/>
                      <a:pt x="953" y="124"/>
                    </a:cubicBezTo>
                    <a:cubicBezTo>
                      <a:pt x="959" y="124"/>
                      <a:pt x="965" y="123"/>
                      <a:pt x="970" y="122"/>
                    </a:cubicBezTo>
                    <a:cubicBezTo>
                      <a:pt x="974" y="121"/>
                      <a:pt x="979" y="120"/>
                      <a:pt x="983" y="117"/>
                    </a:cubicBezTo>
                    <a:cubicBezTo>
                      <a:pt x="983" y="99"/>
                      <a:pt x="983" y="99"/>
                      <a:pt x="983" y="99"/>
                    </a:cubicBezTo>
                    <a:cubicBezTo>
                      <a:pt x="978" y="101"/>
                      <a:pt x="974" y="103"/>
                      <a:pt x="969" y="104"/>
                    </a:cubicBezTo>
                    <a:cubicBezTo>
                      <a:pt x="964" y="105"/>
                      <a:pt x="959" y="106"/>
                      <a:pt x="954" y="106"/>
                    </a:cubicBezTo>
                    <a:cubicBezTo>
                      <a:pt x="947" y="106"/>
                      <a:pt x="942" y="104"/>
                      <a:pt x="938" y="100"/>
                    </a:cubicBezTo>
                    <a:cubicBezTo>
                      <a:pt x="934" y="96"/>
                      <a:pt x="932" y="91"/>
                      <a:pt x="932" y="84"/>
                    </a:cubicBezTo>
                    <a:cubicBezTo>
                      <a:pt x="988" y="84"/>
                      <a:pt x="988" y="84"/>
                      <a:pt x="988" y="84"/>
                    </a:cubicBezTo>
                    <a:cubicBezTo>
                      <a:pt x="988" y="73"/>
                      <a:pt x="988" y="73"/>
                      <a:pt x="988" y="73"/>
                    </a:cubicBezTo>
                    <a:cubicBezTo>
                      <a:pt x="988" y="60"/>
                      <a:pt x="985" y="50"/>
                      <a:pt x="978" y="43"/>
                    </a:cubicBezTo>
                    <a:cubicBezTo>
                      <a:pt x="971" y="37"/>
                      <a:pt x="961" y="33"/>
                      <a:pt x="949" y="33"/>
                    </a:cubicBezTo>
                    <a:cubicBezTo>
                      <a:pt x="941" y="33"/>
                      <a:pt x="934" y="35"/>
                      <a:pt x="927" y="38"/>
                    </a:cubicBezTo>
                    <a:moveTo>
                      <a:pt x="865" y="59"/>
                    </a:moveTo>
                    <a:cubicBezTo>
                      <a:pt x="868" y="63"/>
                      <a:pt x="869" y="69"/>
                      <a:pt x="869" y="78"/>
                    </a:cubicBezTo>
                    <a:cubicBezTo>
                      <a:pt x="869" y="86"/>
                      <a:pt x="868" y="93"/>
                      <a:pt x="865" y="97"/>
                    </a:cubicBezTo>
                    <a:cubicBezTo>
                      <a:pt x="862" y="102"/>
                      <a:pt x="858" y="104"/>
                      <a:pt x="853" y="104"/>
                    </a:cubicBezTo>
                    <a:cubicBezTo>
                      <a:pt x="846" y="104"/>
                      <a:pt x="842" y="102"/>
                      <a:pt x="839" y="97"/>
                    </a:cubicBezTo>
                    <a:cubicBezTo>
                      <a:pt x="837" y="93"/>
                      <a:pt x="836" y="86"/>
                      <a:pt x="836" y="78"/>
                    </a:cubicBezTo>
                    <a:cubicBezTo>
                      <a:pt x="836" y="75"/>
                      <a:pt x="836" y="75"/>
                      <a:pt x="836" y="75"/>
                    </a:cubicBezTo>
                    <a:cubicBezTo>
                      <a:pt x="836" y="68"/>
                      <a:pt x="837" y="62"/>
                      <a:pt x="840" y="58"/>
                    </a:cubicBezTo>
                    <a:cubicBezTo>
                      <a:pt x="842" y="54"/>
                      <a:pt x="847" y="52"/>
                      <a:pt x="853" y="52"/>
                    </a:cubicBezTo>
                    <a:cubicBezTo>
                      <a:pt x="858" y="52"/>
                      <a:pt x="862" y="54"/>
                      <a:pt x="865" y="59"/>
                    </a:cubicBezTo>
                    <a:moveTo>
                      <a:pt x="812" y="0"/>
                    </a:moveTo>
                    <a:cubicBezTo>
                      <a:pt x="812" y="122"/>
                      <a:pt x="812" y="122"/>
                      <a:pt x="812" y="122"/>
                    </a:cubicBezTo>
                    <a:cubicBezTo>
                      <a:pt x="830" y="122"/>
                      <a:pt x="830" y="122"/>
                      <a:pt x="830" y="122"/>
                    </a:cubicBezTo>
                    <a:cubicBezTo>
                      <a:pt x="834" y="112"/>
                      <a:pt x="834" y="112"/>
                      <a:pt x="834" y="112"/>
                    </a:cubicBezTo>
                    <a:cubicBezTo>
                      <a:pt x="836" y="112"/>
                      <a:pt x="836" y="112"/>
                      <a:pt x="836" y="112"/>
                    </a:cubicBezTo>
                    <a:cubicBezTo>
                      <a:pt x="838" y="115"/>
                      <a:pt x="841" y="118"/>
                      <a:pt x="845" y="120"/>
                    </a:cubicBezTo>
                    <a:cubicBezTo>
                      <a:pt x="848" y="122"/>
                      <a:pt x="853" y="124"/>
                      <a:pt x="860" y="124"/>
                    </a:cubicBezTo>
                    <a:cubicBezTo>
                      <a:pt x="870" y="124"/>
                      <a:pt x="878" y="120"/>
                      <a:pt x="884" y="112"/>
                    </a:cubicBezTo>
                    <a:cubicBezTo>
                      <a:pt x="890" y="104"/>
                      <a:pt x="893" y="93"/>
                      <a:pt x="893" y="78"/>
                    </a:cubicBezTo>
                    <a:cubicBezTo>
                      <a:pt x="893" y="63"/>
                      <a:pt x="890" y="52"/>
                      <a:pt x="884" y="45"/>
                    </a:cubicBezTo>
                    <a:cubicBezTo>
                      <a:pt x="878" y="37"/>
                      <a:pt x="870" y="33"/>
                      <a:pt x="860" y="33"/>
                    </a:cubicBezTo>
                    <a:cubicBezTo>
                      <a:pt x="854" y="33"/>
                      <a:pt x="849" y="34"/>
                      <a:pt x="845" y="37"/>
                    </a:cubicBezTo>
                    <a:cubicBezTo>
                      <a:pt x="841" y="39"/>
                      <a:pt x="838" y="42"/>
                      <a:pt x="836" y="46"/>
                    </a:cubicBezTo>
                    <a:cubicBezTo>
                      <a:pt x="835" y="46"/>
                      <a:pt x="835" y="46"/>
                      <a:pt x="835" y="46"/>
                    </a:cubicBezTo>
                    <a:cubicBezTo>
                      <a:pt x="835" y="44"/>
                      <a:pt x="835" y="42"/>
                      <a:pt x="835" y="39"/>
                    </a:cubicBezTo>
                    <a:cubicBezTo>
                      <a:pt x="835" y="35"/>
                      <a:pt x="836" y="32"/>
                      <a:pt x="836" y="29"/>
                    </a:cubicBezTo>
                    <a:cubicBezTo>
                      <a:pt x="836" y="0"/>
                      <a:pt x="836" y="0"/>
                      <a:pt x="836" y="0"/>
                    </a:cubicBezTo>
                    <a:lnTo>
                      <a:pt x="812" y="0"/>
                    </a:lnTo>
                    <a:close/>
                    <a:moveTo>
                      <a:pt x="764" y="89"/>
                    </a:moveTo>
                    <a:cubicBezTo>
                      <a:pt x="764" y="94"/>
                      <a:pt x="762" y="99"/>
                      <a:pt x="758" y="102"/>
                    </a:cubicBezTo>
                    <a:cubicBezTo>
                      <a:pt x="755" y="105"/>
                      <a:pt x="750" y="106"/>
                      <a:pt x="745" y="106"/>
                    </a:cubicBezTo>
                    <a:cubicBezTo>
                      <a:pt x="742" y="106"/>
                      <a:pt x="739" y="105"/>
                      <a:pt x="737" y="104"/>
                    </a:cubicBezTo>
                    <a:cubicBezTo>
                      <a:pt x="735" y="102"/>
                      <a:pt x="734" y="100"/>
                      <a:pt x="734" y="96"/>
                    </a:cubicBezTo>
                    <a:cubicBezTo>
                      <a:pt x="734" y="92"/>
                      <a:pt x="735" y="89"/>
                      <a:pt x="738" y="86"/>
                    </a:cubicBezTo>
                    <a:cubicBezTo>
                      <a:pt x="741" y="83"/>
                      <a:pt x="747" y="82"/>
                      <a:pt x="754" y="82"/>
                    </a:cubicBezTo>
                    <a:cubicBezTo>
                      <a:pt x="764" y="82"/>
                      <a:pt x="764" y="82"/>
                      <a:pt x="764" y="82"/>
                    </a:cubicBezTo>
                    <a:lnTo>
                      <a:pt x="764" y="89"/>
                    </a:lnTo>
                    <a:close/>
                    <a:moveTo>
                      <a:pt x="733" y="35"/>
                    </a:moveTo>
                    <a:cubicBezTo>
                      <a:pt x="727" y="37"/>
                      <a:pt x="722" y="38"/>
                      <a:pt x="718" y="41"/>
                    </a:cubicBezTo>
                    <a:cubicBezTo>
                      <a:pt x="725" y="57"/>
                      <a:pt x="725" y="57"/>
                      <a:pt x="725" y="57"/>
                    </a:cubicBezTo>
                    <a:cubicBezTo>
                      <a:pt x="729" y="55"/>
                      <a:pt x="733" y="54"/>
                      <a:pt x="738" y="52"/>
                    </a:cubicBezTo>
                    <a:cubicBezTo>
                      <a:pt x="742" y="51"/>
                      <a:pt x="746" y="51"/>
                      <a:pt x="750" y="51"/>
                    </a:cubicBezTo>
                    <a:cubicBezTo>
                      <a:pt x="754" y="51"/>
                      <a:pt x="758" y="52"/>
                      <a:pt x="760" y="54"/>
                    </a:cubicBezTo>
                    <a:cubicBezTo>
                      <a:pt x="762" y="56"/>
                      <a:pt x="764" y="59"/>
                      <a:pt x="764" y="64"/>
                    </a:cubicBezTo>
                    <a:cubicBezTo>
                      <a:pt x="764" y="68"/>
                      <a:pt x="764" y="68"/>
                      <a:pt x="764" y="68"/>
                    </a:cubicBezTo>
                    <a:cubicBezTo>
                      <a:pt x="748" y="68"/>
                      <a:pt x="748" y="68"/>
                      <a:pt x="748" y="68"/>
                    </a:cubicBezTo>
                    <a:cubicBezTo>
                      <a:pt x="735" y="69"/>
                      <a:pt x="726" y="71"/>
                      <a:pt x="719" y="75"/>
                    </a:cubicBezTo>
                    <a:cubicBezTo>
                      <a:pt x="713" y="80"/>
                      <a:pt x="709" y="87"/>
                      <a:pt x="709" y="96"/>
                    </a:cubicBezTo>
                    <a:cubicBezTo>
                      <a:pt x="709" y="105"/>
                      <a:pt x="712" y="112"/>
                      <a:pt x="717" y="117"/>
                    </a:cubicBezTo>
                    <a:cubicBezTo>
                      <a:pt x="722" y="121"/>
                      <a:pt x="729" y="124"/>
                      <a:pt x="736" y="124"/>
                    </a:cubicBezTo>
                    <a:cubicBezTo>
                      <a:pt x="744" y="124"/>
                      <a:pt x="749" y="123"/>
                      <a:pt x="754" y="120"/>
                    </a:cubicBezTo>
                    <a:cubicBezTo>
                      <a:pt x="758" y="118"/>
                      <a:pt x="762" y="115"/>
                      <a:pt x="765" y="110"/>
                    </a:cubicBezTo>
                    <a:cubicBezTo>
                      <a:pt x="766" y="110"/>
                      <a:pt x="766" y="110"/>
                      <a:pt x="766" y="110"/>
                    </a:cubicBezTo>
                    <a:cubicBezTo>
                      <a:pt x="771" y="122"/>
                      <a:pt x="771" y="122"/>
                      <a:pt x="771" y="122"/>
                    </a:cubicBezTo>
                    <a:cubicBezTo>
                      <a:pt x="787" y="122"/>
                      <a:pt x="787" y="122"/>
                      <a:pt x="787" y="122"/>
                    </a:cubicBezTo>
                    <a:cubicBezTo>
                      <a:pt x="787" y="64"/>
                      <a:pt x="787" y="64"/>
                      <a:pt x="787" y="64"/>
                    </a:cubicBezTo>
                    <a:cubicBezTo>
                      <a:pt x="787" y="53"/>
                      <a:pt x="784" y="46"/>
                      <a:pt x="778" y="41"/>
                    </a:cubicBezTo>
                    <a:cubicBezTo>
                      <a:pt x="772" y="35"/>
                      <a:pt x="763" y="33"/>
                      <a:pt x="751" y="33"/>
                    </a:cubicBezTo>
                    <a:cubicBezTo>
                      <a:pt x="745" y="33"/>
                      <a:pt x="739" y="34"/>
                      <a:pt x="733" y="35"/>
                    </a:cubicBezTo>
                    <a:moveTo>
                      <a:pt x="666" y="122"/>
                    </a:moveTo>
                    <a:cubicBezTo>
                      <a:pt x="690" y="122"/>
                      <a:pt x="690" y="122"/>
                      <a:pt x="690" y="122"/>
                    </a:cubicBezTo>
                    <a:cubicBezTo>
                      <a:pt x="690" y="35"/>
                      <a:pt x="690" y="35"/>
                      <a:pt x="690" y="35"/>
                    </a:cubicBezTo>
                    <a:cubicBezTo>
                      <a:pt x="666" y="35"/>
                      <a:pt x="666" y="35"/>
                      <a:pt x="666" y="35"/>
                    </a:cubicBezTo>
                    <a:lnTo>
                      <a:pt x="666" y="122"/>
                    </a:lnTo>
                    <a:close/>
                    <a:moveTo>
                      <a:pt x="669" y="3"/>
                    </a:moveTo>
                    <a:cubicBezTo>
                      <a:pt x="667" y="5"/>
                      <a:pt x="665" y="8"/>
                      <a:pt x="665" y="12"/>
                    </a:cubicBezTo>
                    <a:cubicBezTo>
                      <a:pt x="665" y="16"/>
                      <a:pt x="667" y="20"/>
                      <a:pt x="669" y="21"/>
                    </a:cubicBezTo>
                    <a:cubicBezTo>
                      <a:pt x="672" y="23"/>
                      <a:pt x="675" y="24"/>
                      <a:pt x="678" y="24"/>
                    </a:cubicBezTo>
                    <a:cubicBezTo>
                      <a:pt x="682" y="24"/>
                      <a:pt x="685" y="23"/>
                      <a:pt x="687" y="21"/>
                    </a:cubicBezTo>
                    <a:cubicBezTo>
                      <a:pt x="690" y="20"/>
                      <a:pt x="691" y="16"/>
                      <a:pt x="691" y="12"/>
                    </a:cubicBezTo>
                    <a:cubicBezTo>
                      <a:pt x="691" y="8"/>
                      <a:pt x="690" y="5"/>
                      <a:pt x="687" y="3"/>
                    </a:cubicBezTo>
                    <a:cubicBezTo>
                      <a:pt x="685" y="1"/>
                      <a:pt x="682" y="0"/>
                      <a:pt x="678" y="0"/>
                    </a:cubicBezTo>
                    <a:cubicBezTo>
                      <a:pt x="675" y="0"/>
                      <a:pt x="672" y="1"/>
                      <a:pt x="669" y="3"/>
                    </a:cubicBezTo>
                    <a:moveTo>
                      <a:pt x="588" y="98"/>
                    </a:moveTo>
                    <a:cubicBezTo>
                      <a:pt x="585" y="94"/>
                      <a:pt x="584" y="87"/>
                      <a:pt x="584" y="79"/>
                    </a:cubicBezTo>
                    <a:cubicBezTo>
                      <a:pt x="584" y="70"/>
                      <a:pt x="585" y="64"/>
                      <a:pt x="588" y="59"/>
                    </a:cubicBezTo>
                    <a:cubicBezTo>
                      <a:pt x="591" y="55"/>
                      <a:pt x="595" y="52"/>
                      <a:pt x="601" y="52"/>
                    </a:cubicBezTo>
                    <a:cubicBezTo>
                      <a:pt x="608" y="52"/>
                      <a:pt x="613" y="55"/>
                      <a:pt x="615" y="59"/>
                    </a:cubicBezTo>
                    <a:cubicBezTo>
                      <a:pt x="618" y="64"/>
                      <a:pt x="619" y="70"/>
                      <a:pt x="619" y="79"/>
                    </a:cubicBezTo>
                    <a:cubicBezTo>
                      <a:pt x="619" y="81"/>
                      <a:pt x="619" y="81"/>
                      <a:pt x="619" y="81"/>
                    </a:cubicBezTo>
                    <a:cubicBezTo>
                      <a:pt x="619" y="89"/>
                      <a:pt x="617" y="95"/>
                      <a:pt x="615" y="99"/>
                    </a:cubicBezTo>
                    <a:cubicBezTo>
                      <a:pt x="612" y="103"/>
                      <a:pt x="608" y="105"/>
                      <a:pt x="601" y="105"/>
                    </a:cubicBezTo>
                    <a:cubicBezTo>
                      <a:pt x="596" y="105"/>
                      <a:pt x="591" y="102"/>
                      <a:pt x="588" y="98"/>
                    </a:cubicBezTo>
                    <a:moveTo>
                      <a:pt x="608" y="120"/>
                    </a:moveTo>
                    <a:cubicBezTo>
                      <a:pt x="612" y="117"/>
                      <a:pt x="615" y="114"/>
                      <a:pt x="618" y="111"/>
                    </a:cubicBezTo>
                    <a:cubicBezTo>
                      <a:pt x="618" y="111"/>
                      <a:pt x="618" y="111"/>
                      <a:pt x="618" y="111"/>
                    </a:cubicBezTo>
                    <a:cubicBezTo>
                      <a:pt x="623" y="122"/>
                      <a:pt x="623" y="122"/>
                      <a:pt x="623" y="122"/>
                    </a:cubicBezTo>
                    <a:cubicBezTo>
                      <a:pt x="641" y="122"/>
                      <a:pt x="641" y="122"/>
                      <a:pt x="641" y="122"/>
                    </a:cubicBezTo>
                    <a:cubicBezTo>
                      <a:pt x="641" y="0"/>
                      <a:pt x="641" y="0"/>
                      <a:pt x="641" y="0"/>
                    </a:cubicBezTo>
                    <a:cubicBezTo>
                      <a:pt x="618" y="0"/>
                      <a:pt x="618" y="0"/>
                      <a:pt x="618" y="0"/>
                    </a:cubicBezTo>
                    <a:cubicBezTo>
                      <a:pt x="618" y="28"/>
                      <a:pt x="618" y="28"/>
                      <a:pt x="618" y="28"/>
                    </a:cubicBezTo>
                    <a:cubicBezTo>
                      <a:pt x="618" y="32"/>
                      <a:pt x="618" y="35"/>
                      <a:pt x="618" y="38"/>
                    </a:cubicBezTo>
                    <a:cubicBezTo>
                      <a:pt x="619" y="42"/>
                      <a:pt x="619" y="44"/>
                      <a:pt x="619" y="46"/>
                    </a:cubicBezTo>
                    <a:cubicBezTo>
                      <a:pt x="618" y="46"/>
                      <a:pt x="618" y="46"/>
                      <a:pt x="618" y="46"/>
                    </a:cubicBezTo>
                    <a:cubicBezTo>
                      <a:pt x="616" y="42"/>
                      <a:pt x="613" y="39"/>
                      <a:pt x="609" y="37"/>
                    </a:cubicBezTo>
                    <a:cubicBezTo>
                      <a:pt x="605" y="34"/>
                      <a:pt x="600" y="33"/>
                      <a:pt x="593" y="33"/>
                    </a:cubicBezTo>
                    <a:cubicBezTo>
                      <a:pt x="583" y="33"/>
                      <a:pt x="575" y="37"/>
                      <a:pt x="569" y="45"/>
                    </a:cubicBezTo>
                    <a:cubicBezTo>
                      <a:pt x="563" y="52"/>
                      <a:pt x="560" y="64"/>
                      <a:pt x="560" y="79"/>
                    </a:cubicBezTo>
                    <a:cubicBezTo>
                      <a:pt x="560" y="93"/>
                      <a:pt x="563" y="105"/>
                      <a:pt x="569" y="112"/>
                    </a:cubicBezTo>
                    <a:cubicBezTo>
                      <a:pt x="575" y="120"/>
                      <a:pt x="583" y="124"/>
                      <a:pt x="593" y="124"/>
                    </a:cubicBezTo>
                    <a:cubicBezTo>
                      <a:pt x="599" y="124"/>
                      <a:pt x="604" y="122"/>
                      <a:pt x="608" y="120"/>
                    </a:cubicBezTo>
                    <a:moveTo>
                      <a:pt x="483" y="102"/>
                    </a:moveTo>
                    <a:cubicBezTo>
                      <a:pt x="481" y="100"/>
                      <a:pt x="480" y="98"/>
                      <a:pt x="480" y="95"/>
                    </a:cubicBezTo>
                    <a:cubicBezTo>
                      <a:pt x="480" y="53"/>
                      <a:pt x="480" y="53"/>
                      <a:pt x="480" y="53"/>
                    </a:cubicBezTo>
                    <a:cubicBezTo>
                      <a:pt x="505" y="53"/>
                      <a:pt x="505" y="53"/>
                      <a:pt x="505" y="53"/>
                    </a:cubicBezTo>
                    <a:cubicBezTo>
                      <a:pt x="505" y="35"/>
                      <a:pt x="505" y="35"/>
                      <a:pt x="505" y="35"/>
                    </a:cubicBezTo>
                    <a:cubicBezTo>
                      <a:pt x="480" y="35"/>
                      <a:pt x="480" y="35"/>
                      <a:pt x="480" y="35"/>
                    </a:cubicBezTo>
                    <a:cubicBezTo>
                      <a:pt x="480" y="16"/>
                      <a:pt x="480" y="16"/>
                      <a:pt x="480" y="16"/>
                    </a:cubicBezTo>
                    <a:cubicBezTo>
                      <a:pt x="465" y="16"/>
                      <a:pt x="465" y="16"/>
                      <a:pt x="465" y="16"/>
                    </a:cubicBezTo>
                    <a:cubicBezTo>
                      <a:pt x="458" y="35"/>
                      <a:pt x="458" y="35"/>
                      <a:pt x="458" y="35"/>
                    </a:cubicBezTo>
                    <a:cubicBezTo>
                      <a:pt x="445" y="43"/>
                      <a:pt x="445" y="43"/>
                      <a:pt x="445" y="43"/>
                    </a:cubicBezTo>
                    <a:cubicBezTo>
                      <a:pt x="445" y="53"/>
                      <a:pt x="445" y="53"/>
                      <a:pt x="445" y="53"/>
                    </a:cubicBezTo>
                    <a:cubicBezTo>
                      <a:pt x="457" y="53"/>
                      <a:pt x="457" y="53"/>
                      <a:pt x="457" y="53"/>
                    </a:cubicBezTo>
                    <a:cubicBezTo>
                      <a:pt x="457" y="95"/>
                      <a:pt x="457" y="95"/>
                      <a:pt x="457" y="95"/>
                    </a:cubicBezTo>
                    <a:cubicBezTo>
                      <a:pt x="457" y="102"/>
                      <a:pt x="458" y="108"/>
                      <a:pt x="460" y="112"/>
                    </a:cubicBezTo>
                    <a:cubicBezTo>
                      <a:pt x="463" y="116"/>
                      <a:pt x="466" y="119"/>
                      <a:pt x="470" y="121"/>
                    </a:cubicBezTo>
                    <a:cubicBezTo>
                      <a:pt x="474" y="123"/>
                      <a:pt x="479" y="124"/>
                      <a:pt x="484" y="124"/>
                    </a:cubicBezTo>
                    <a:cubicBezTo>
                      <a:pt x="488" y="124"/>
                      <a:pt x="493" y="123"/>
                      <a:pt x="496" y="123"/>
                    </a:cubicBezTo>
                    <a:cubicBezTo>
                      <a:pt x="500" y="122"/>
                      <a:pt x="503" y="121"/>
                      <a:pt x="506" y="120"/>
                    </a:cubicBezTo>
                    <a:cubicBezTo>
                      <a:pt x="506" y="102"/>
                      <a:pt x="506" y="102"/>
                      <a:pt x="506" y="102"/>
                    </a:cubicBezTo>
                    <a:cubicBezTo>
                      <a:pt x="503" y="103"/>
                      <a:pt x="501" y="103"/>
                      <a:pt x="498" y="104"/>
                    </a:cubicBezTo>
                    <a:cubicBezTo>
                      <a:pt x="496" y="104"/>
                      <a:pt x="493" y="105"/>
                      <a:pt x="491" y="105"/>
                    </a:cubicBezTo>
                    <a:cubicBezTo>
                      <a:pt x="488" y="105"/>
                      <a:pt x="485" y="104"/>
                      <a:pt x="483" y="102"/>
                    </a:cubicBezTo>
                    <a:moveTo>
                      <a:pt x="406" y="89"/>
                    </a:moveTo>
                    <a:cubicBezTo>
                      <a:pt x="406" y="94"/>
                      <a:pt x="404" y="99"/>
                      <a:pt x="401" y="102"/>
                    </a:cubicBezTo>
                    <a:cubicBezTo>
                      <a:pt x="397" y="105"/>
                      <a:pt x="393" y="106"/>
                      <a:pt x="388" y="106"/>
                    </a:cubicBezTo>
                    <a:cubicBezTo>
                      <a:pt x="384" y="106"/>
                      <a:pt x="381" y="105"/>
                      <a:pt x="379" y="104"/>
                    </a:cubicBezTo>
                    <a:cubicBezTo>
                      <a:pt x="377" y="102"/>
                      <a:pt x="376" y="100"/>
                      <a:pt x="376" y="96"/>
                    </a:cubicBezTo>
                    <a:cubicBezTo>
                      <a:pt x="376" y="92"/>
                      <a:pt x="378" y="89"/>
                      <a:pt x="381" y="86"/>
                    </a:cubicBezTo>
                    <a:cubicBezTo>
                      <a:pt x="384" y="83"/>
                      <a:pt x="389" y="82"/>
                      <a:pt x="397" y="82"/>
                    </a:cubicBezTo>
                    <a:cubicBezTo>
                      <a:pt x="406" y="82"/>
                      <a:pt x="406" y="82"/>
                      <a:pt x="406" y="82"/>
                    </a:cubicBezTo>
                    <a:lnTo>
                      <a:pt x="406" y="89"/>
                    </a:lnTo>
                    <a:close/>
                    <a:moveTo>
                      <a:pt x="375" y="35"/>
                    </a:moveTo>
                    <a:cubicBezTo>
                      <a:pt x="370" y="37"/>
                      <a:pt x="364" y="38"/>
                      <a:pt x="360" y="41"/>
                    </a:cubicBezTo>
                    <a:cubicBezTo>
                      <a:pt x="368" y="57"/>
                      <a:pt x="368" y="57"/>
                      <a:pt x="368" y="57"/>
                    </a:cubicBezTo>
                    <a:cubicBezTo>
                      <a:pt x="372" y="55"/>
                      <a:pt x="376" y="54"/>
                      <a:pt x="380" y="52"/>
                    </a:cubicBezTo>
                    <a:cubicBezTo>
                      <a:pt x="384" y="51"/>
                      <a:pt x="388" y="51"/>
                      <a:pt x="392" y="51"/>
                    </a:cubicBezTo>
                    <a:cubicBezTo>
                      <a:pt x="397" y="51"/>
                      <a:pt x="400" y="52"/>
                      <a:pt x="402" y="54"/>
                    </a:cubicBezTo>
                    <a:cubicBezTo>
                      <a:pt x="405" y="56"/>
                      <a:pt x="406" y="59"/>
                      <a:pt x="406" y="64"/>
                    </a:cubicBezTo>
                    <a:cubicBezTo>
                      <a:pt x="406" y="68"/>
                      <a:pt x="406" y="68"/>
                      <a:pt x="406" y="68"/>
                    </a:cubicBezTo>
                    <a:cubicBezTo>
                      <a:pt x="391" y="68"/>
                      <a:pt x="391" y="68"/>
                      <a:pt x="391" y="68"/>
                    </a:cubicBezTo>
                    <a:cubicBezTo>
                      <a:pt x="378" y="69"/>
                      <a:pt x="368" y="71"/>
                      <a:pt x="361" y="75"/>
                    </a:cubicBezTo>
                    <a:cubicBezTo>
                      <a:pt x="355" y="80"/>
                      <a:pt x="352" y="87"/>
                      <a:pt x="352" y="96"/>
                    </a:cubicBezTo>
                    <a:cubicBezTo>
                      <a:pt x="352" y="105"/>
                      <a:pt x="354" y="112"/>
                      <a:pt x="359" y="117"/>
                    </a:cubicBezTo>
                    <a:cubicBezTo>
                      <a:pt x="364" y="121"/>
                      <a:pt x="371" y="124"/>
                      <a:pt x="379" y="124"/>
                    </a:cubicBezTo>
                    <a:cubicBezTo>
                      <a:pt x="386" y="124"/>
                      <a:pt x="392" y="123"/>
                      <a:pt x="396" y="120"/>
                    </a:cubicBezTo>
                    <a:cubicBezTo>
                      <a:pt x="400" y="118"/>
                      <a:pt x="404" y="115"/>
                      <a:pt x="408" y="110"/>
                    </a:cubicBezTo>
                    <a:cubicBezTo>
                      <a:pt x="408" y="110"/>
                      <a:pt x="408" y="110"/>
                      <a:pt x="408" y="110"/>
                    </a:cubicBezTo>
                    <a:cubicBezTo>
                      <a:pt x="413" y="122"/>
                      <a:pt x="413" y="122"/>
                      <a:pt x="413" y="122"/>
                    </a:cubicBezTo>
                    <a:cubicBezTo>
                      <a:pt x="430" y="122"/>
                      <a:pt x="430" y="122"/>
                      <a:pt x="430" y="122"/>
                    </a:cubicBezTo>
                    <a:cubicBezTo>
                      <a:pt x="430" y="64"/>
                      <a:pt x="430" y="64"/>
                      <a:pt x="430" y="64"/>
                    </a:cubicBezTo>
                    <a:cubicBezTo>
                      <a:pt x="430" y="53"/>
                      <a:pt x="426" y="46"/>
                      <a:pt x="420" y="41"/>
                    </a:cubicBezTo>
                    <a:cubicBezTo>
                      <a:pt x="414" y="35"/>
                      <a:pt x="405" y="33"/>
                      <a:pt x="393" y="33"/>
                    </a:cubicBezTo>
                    <a:cubicBezTo>
                      <a:pt x="387" y="33"/>
                      <a:pt x="381" y="34"/>
                      <a:pt x="375" y="35"/>
                    </a:cubicBezTo>
                    <a:moveTo>
                      <a:pt x="311" y="55"/>
                    </a:moveTo>
                    <a:cubicBezTo>
                      <a:pt x="314" y="59"/>
                      <a:pt x="316" y="63"/>
                      <a:pt x="316" y="68"/>
                    </a:cubicBezTo>
                    <a:cubicBezTo>
                      <a:pt x="282" y="68"/>
                      <a:pt x="282" y="68"/>
                      <a:pt x="282" y="68"/>
                    </a:cubicBezTo>
                    <a:cubicBezTo>
                      <a:pt x="283" y="62"/>
                      <a:pt x="284" y="58"/>
                      <a:pt x="287" y="55"/>
                    </a:cubicBezTo>
                    <a:cubicBezTo>
                      <a:pt x="290" y="52"/>
                      <a:pt x="294" y="50"/>
                      <a:pt x="299" y="50"/>
                    </a:cubicBezTo>
                    <a:cubicBezTo>
                      <a:pt x="305" y="50"/>
                      <a:pt x="309" y="52"/>
                      <a:pt x="311" y="55"/>
                    </a:cubicBezTo>
                    <a:moveTo>
                      <a:pt x="277" y="38"/>
                    </a:moveTo>
                    <a:cubicBezTo>
                      <a:pt x="271" y="42"/>
                      <a:pt x="266" y="47"/>
                      <a:pt x="263" y="54"/>
                    </a:cubicBezTo>
                    <a:cubicBezTo>
                      <a:pt x="259" y="60"/>
                      <a:pt x="258" y="69"/>
                      <a:pt x="258" y="79"/>
                    </a:cubicBezTo>
                    <a:cubicBezTo>
                      <a:pt x="258" y="89"/>
                      <a:pt x="259" y="97"/>
                      <a:pt x="263" y="104"/>
                    </a:cubicBezTo>
                    <a:cubicBezTo>
                      <a:pt x="267" y="111"/>
                      <a:pt x="272" y="116"/>
                      <a:pt x="279" y="119"/>
                    </a:cubicBezTo>
                    <a:cubicBezTo>
                      <a:pt x="286" y="122"/>
                      <a:pt x="294" y="124"/>
                      <a:pt x="302" y="124"/>
                    </a:cubicBezTo>
                    <a:cubicBezTo>
                      <a:pt x="309" y="124"/>
                      <a:pt x="315" y="123"/>
                      <a:pt x="319" y="122"/>
                    </a:cubicBezTo>
                    <a:cubicBezTo>
                      <a:pt x="324" y="121"/>
                      <a:pt x="329" y="120"/>
                      <a:pt x="333" y="117"/>
                    </a:cubicBezTo>
                    <a:cubicBezTo>
                      <a:pt x="333" y="99"/>
                      <a:pt x="333" y="99"/>
                      <a:pt x="333" y="99"/>
                    </a:cubicBezTo>
                    <a:cubicBezTo>
                      <a:pt x="328" y="101"/>
                      <a:pt x="323" y="103"/>
                      <a:pt x="319" y="104"/>
                    </a:cubicBezTo>
                    <a:cubicBezTo>
                      <a:pt x="314" y="105"/>
                      <a:pt x="309" y="106"/>
                      <a:pt x="303" y="106"/>
                    </a:cubicBezTo>
                    <a:cubicBezTo>
                      <a:pt x="297" y="106"/>
                      <a:pt x="291" y="104"/>
                      <a:pt x="288" y="100"/>
                    </a:cubicBezTo>
                    <a:cubicBezTo>
                      <a:pt x="284" y="96"/>
                      <a:pt x="282" y="91"/>
                      <a:pt x="282" y="84"/>
                    </a:cubicBezTo>
                    <a:cubicBezTo>
                      <a:pt x="338" y="84"/>
                      <a:pt x="338" y="84"/>
                      <a:pt x="338" y="84"/>
                    </a:cubicBezTo>
                    <a:cubicBezTo>
                      <a:pt x="338" y="73"/>
                      <a:pt x="338" y="73"/>
                      <a:pt x="338" y="73"/>
                    </a:cubicBezTo>
                    <a:cubicBezTo>
                      <a:pt x="338" y="60"/>
                      <a:pt x="334" y="50"/>
                      <a:pt x="327" y="43"/>
                    </a:cubicBezTo>
                    <a:cubicBezTo>
                      <a:pt x="320" y="37"/>
                      <a:pt x="311" y="33"/>
                      <a:pt x="299" y="33"/>
                    </a:cubicBezTo>
                    <a:cubicBezTo>
                      <a:pt x="291" y="33"/>
                      <a:pt x="283" y="35"/>
                      <a:pt x="277" y="38"/>
                    </a:cubicBezTo>
                    <a:moveTo>
                      <a:pt x="249" y="35"/>
                    </a:moveTo>
                    <a:cubicBezTo>
                      <a:pt x="229" y="35"/>
                      <a:pt x="229" y="35"/>
                      <a:pt x="229" y="35"/>
                    </a:cubicBezTo>
                    <a:cubicBezTo>
                      <a:pt x="229" y="29"/>
                      <a:pt x="229" y="29"/>
                      <a:pt x="229" y="29"/>
                    </a:cubicBezTo>
                    <a:cubicBezTo>
                      <a:pt x="229" y="26"/>
                      <a:pt x="229" y="24"/>
                      <a:pt x="231" y="22"/>
                    </a:cubicBezTo>
                    <a:cubicBezTo>
                      <a:pt x="232" y="20"/>
                      <a:pt x="235" y="19"/>
                      <a:pt x="238" y="19"/>
                    </a:cubicBezTo>
                    <a:cubicBezTo>
                      <a:pt x="241" y="19"/>
                      <a:pt x="243" y="19"/>
                      <a:pt x="245" y="19"/>
                    </a:cubicBezTo>
                    <a:cubicBezTo>
                      <a:pt x="248" y="20"/>
                      <a:pt x="250" y="20"/>
                      <a:pt x="251" y="21"/>
                    </a:cubicBezTo>
                    <a:cubicBezTo>
                      <a:pt x="258" y="3"/>
                      <a:pt x="258" y="3"/>
                      <a:pt x="258" y="3"/>
                    </a:cubicBezTo>
                    <a:cubicBezTo>
                      <a:pt x="255" y="2"/>
                      <a:pt x="252" y="2"/>
                      <a:pt x="248" y="1"/>
                    </a:cubicBezTo>
                    <a:cubicBezTo>
                      <a:pt x="244" y="0"/>
                      <a:pt x="240" y="0"/>
                      <a:pt x="236" y="0"/>
                    </a:cubicBezTo>
                    <a:cubicBezTo>
                      <a:pt x="229" y="0"/>
                      <a:pt x="224" y="0"/>
                      <a:pt x="219" y="2"/>
                    </a:cubicBezTo>
                    <a:cubicBezTo>
                      <a:pt x="215" y="4"/>
                      <a:pt x="211" y="7"/>
                      <a:pt x="208" y="11"/>
                    </a:cubicBezTo>
                    <a:cubicBezTo>
                      <a:pt x="206" y="15"/>
                      <a:pt x="205" y="21"/>
                      <a:pt x="205" y="28"/>
                    </a:cubicBezTo>
                    <a:cubicBezTo>
                      <a:pt x="205" y="35"/>
                      <a:pt x="205" y="35"/>
                      <a:pt x="205" y="35"/>
                    </a:cubicBezTo>
                    <a:cubicBezTo>
                      <a:pt x="192" y="41"/>
                      <a:pt x="192" y="41"/>
                      <a:pt x="192" y="41"/>
                    </a:cubicBezTo>
                    <a:cubicBezTo>
                      <a:pt x="192" y="53"/>
                      <a:pt x="192" y="53"/>
                      <a:pt x="192" y="53"/>
                    </a:cubicBezTo>
                    <a:cubicBezTo>
                      <a:pt x="205" y="53"/>
                      <a:pt x="205" y="53"/>
                      <a:pt x="205" y="53"/>
                    </a:cubicBezTo>
                    <a:cubicBezTo>
                      <a:pt x="205" y="122"/>
                      <a:pt x="205" y="122"/>
                      <a:pt x="205" y="122"/>
                    </a:cubicBezTo>
                    <a:cubicBezTo>
                      <a:pt x="229" y="122"/>
                      <a:pt x="229" y="122"/>
                      <a:pt x="229" y="122"/>
                    </a:cubicBezTo>
                    <a:cubicBezTo>
                      <a:pt x="229" y="53"/>
                      <a:pt x="229" y="53"/>
                      <a:pt x="229" y="53"/>
                    </a:cubicBezTo>
                    <a:cubicBezTo>
                      <a:pt x="249" y="53"/>
                      <a:pt x="249" y="53"/>
                      <a:pt x="249" y="53"/>
                    </a:cubicBezTo>
                    <a:lnTo>
                      <a:pt x="249" y="35"/>
                    </a:lnTo>
                    <a:close/>
                    <a:moveTo>
                      <a:pt x="155" y="55"/>
                    </a:moveTo>
                    <a:cubicBezTo>
                      <a:pt x="158" y="59"/>
                      <a:pt x="159" y="63"/>
                      <a:pt x="159" y="68"/>
                    </a:cubicBezTo>
                    <a:cubicBezTo>
                      <a:pt x="126" y="68"/>
                      <a:pt x="126" y="68"/>
                      <a:pt x="126" y="68"/>
                    </a:cubicBezTo>
                    <a:cubicBezTo>
                      <a:pt x="126" y="62"/>
                      <a:pt x="128" y="58"/>
                      <a:pt x="131" y="55"/>
                    </a:cubicBezTo>
                    <a:cubicBezTo>
                      <a:pt x="134" y="52"/>
                      <a:pt x="138" y="50"/>
                      <a:pt x="142" y="50"/>
                    </a:cubicBezTo>
                    <a:cubicBezTo>
                      <a:pt x="148" y="50"/>
                      <a:pt x="152" y="52"/>
                      <a:pt x="155" y="55"/>
                    </a:cubicBezTo>
                    <a:moveTo>
                      <a:pt x="121" y="38"/>
                    </a:moveTo>
                    <a:cubicBezTo>
                      <a:pt x="115" y="42"/>
                      <a:pt x="110" y="47"/>
                      <a:pt x="106" y="54"/>
                    </a:cubicBezTo>
                    <a:cubicBezTo>
                      <a:pt x="103" y="60"/>
                      <a:pt x="101" y="69"/>
                      <a:pt x="101" y="79"/>
                    </a:cubicBezTo>
                    <a:cubicBezTo>
                      <a:pt x="101" y="89"/>
                      <a:pt x="103" y="97"/>
                      <a:pt x="107" y="104"/>
                    </a:cubicBezTo>
                    <a:cubicBezTo>
                      <a:pt x="111" y="111"/>
                      <a:pt x="116" y="116"/>
                      <a:pt x="123" y="119"/>
                    </a:cubicBezTo>
                    <a:cubicBezTo>
                      <a:pt x="129" y="122"/>
                      <a:pt x="137" y="124"/>
                      <a:pt x="146" y="124"/>
                    </a:cubicBezTo>
                    <a:cubicBezTo>
                      <a:pt x="153" y="124"/>
                      <a:pt x="158" y="123"/>
                      <a:pt x="163" y="122"/>
                    </a:cubicBezTo>
                    <a:cubicBezTo>
                      <a:pt x="168" y="121"/>
                      <a:pt x="172" y="120"/>
                      <a:pt x="177" y="117"/>
                    </a:cubicBezTo>
                    <a:cubicBezTo>
                      <a:pt x="177" y="99"/>
                      <a:pt x="177" y="99"/>
                      <a:pt x="177" y="99"/>
                    </a:cubicBezTo>
                    <a:cubicBezTo>
                      <a:pt x="172" y="101"/>
                      <a:pt x="167" y="103"/>
                      <a:pt x="162" y="104"/>
                    </a:cubicBezTo>
                    <a:cubicBezTo>
                      <a:pt x="158" y="105"/>
                      <a:pt x="153" y="106"/>
                      <a:pt x="147" y="106"/>
                    </a:cubicBezTo>
                    <a:cubicBezTo>
                      <a:pt x="140" y="106"/>
                      <a:pt x="135" y="104"/>
                      <a:pt x="131" y="100"/>
                    </a:cubicBezTo>
                    <a:cubicBezTo>
                      <a:pt x="127" y="96"/>
                      <a:pt x="125" y="91"/>
                      <a:pt x="125" y="84"/>
                    </a:cubicBezTo>
                    <a:cubicBezTo>
                      <a:pt x="182" y="84"/>
                      <a:pt x="182" y="84"/>
                      <a:pt x="182" y="84"/>
                    </a:cubicBezTo>
                    <a:cubicBezTo>
                      <a:pt x="182" y="73"/>
                      <a:pt x="182" y="73"/>
                      <a:pt x="182" y="73"/>
                    </a:cubicBezTo>
                    <a:cubicBezTo>
                      <a:pt x="182" y="60"/>
                      <a:pt x="178" y="50"/>
                      <a:pt x="171" y="43"/>
                    </a:cubicBezTo>
                    <a:cubicBezTo>
                      <a:pt x="164" y="37"/>
                      <a:pt x="154" y="33"/>
                      <a:pt x="142" y="33"/>
                    </a:cubicBezTo>
                    <a:cubicBezTo>
                      <a:pt x="134" y="33"/>
                      <a:pt x="127" y="35"/>
                      <a:pt x="121" y="38"/>
                    </a:cubicBezTo>
                    <a:moveTo>
                      <a:pt x="28" y="98"/>
                    </a:moveTo>
                    <a:cubicBezTo>
                      <a:pt x="25" y="94"/>
                      <a:pt x="24" y="87"/>
                      <a:pt x="24" y="79"/>
                    </a:cubicBezTo>
                    <a:cubicBezTo>
                      <a:pt x="24" y="70"/>
                      <a:pt x="25" y="64"/>
                      <a:pt x="28" y="59"/>
                    </a:cubicBezTo>
                    <a:cubicBezTo>
                      <a:pt x="31" y="55"/>
                      <a:pt x="36" y="52"/>
                      <a:pt x="41" y="52"/>
                    </a:cubicBezTo>
                    <a:cubicBezTo>
                      <a:pt x="48" y="52"/>
                      <a:pt x="53" y="55"/>
                      <a:pt x="55" y="59"/>
                    </a:cubicBezTo>
                    <a:cubicBezTo>
                      <a:pt x="58" y="64"/>
                      <a:pt x="59" y="70"/>
                      <a:pt x="59" y="79"/>
                    </a:cubicBezTo>
                    <a:cubicBezTo>
                      <a:pt x="59" y="81"/>
                      <a:pt x="59" y="81"/>
                      <a:pt x="59" y="81"/>
                    </a:cubicBezTo>
                    <a:cubicBezTo>
                      <a:pt x="59" y="89"/>
                      <a:pt x="57" y="95"/>
                      <a:pt x="55" y="99"/>
                    </a:cubicBezTo>
                    <a:cubicBezTo>
                      <a:pt x="52" y="103"/>
                      <a:pt x="48" y="105"/>
                      <a:pt x="41" y="105"/>
                    </a:cubicBezTo>
                    <a:cubicBezTo>
                      <a:pt x="36" y="105"/>
                      <a:pt x="31" y="102"/>
                      <a:pt x="28" y="98"/>
                    </a:cubicBezTo>
                    <a:moveTo>
                      <a:pt x="48" y="120"/>
                    </a:moveTo>
                    <a:cubicBezTo>
                      <a:pt x="52" y="117"/>
                      <a:pt x="55" y="114"/>
                      <a:pt x="58" y="111"/>
                    </a:cubicBezTo>
                    <a:cubicBezTo>
                      <a:pt x="58" y="111"/>
                      <a:pt x="58" y="111"/>
                      <a:pt x="58" y="111"/>
                    </a:cubicBezTo>
                    <a:cubicBezTo>
                      <a:pt x="63" y="122"/>
                      <a:pt x="63" y="122"/>
                      <a:pt x="63" y="122"/>
                    </a:cubicBezTo>
                    <a:cubicBezTo>
                      <a:pt x="81" y="122"/>
                      <a:pt x="81" y="122"/>
                      <a:pt x="81" y="122"/>
                    </a:cubicBezTo>
                    <a:cubicBezTo>
                      <a:pt x="81" y="0"/>
                      <a:pt x="81" y="0"/>
                      <a:pt x="81" y="0"/>
                    </a:cubicBezTo>
                    <a:cubicBezTo>
                      <a:pt x="58" y="0"/>
                      <a:pt x="58" y="0"/>
                      <a:pt x="58" y="0"/>
                    </a:cubicBezTo>
                    <a:cubicBezTo>
                      <a:pt x="58" y="28"/>
                      <a:pt x="58" y="28"/>
                      <a:pt x="58" y="28"/>
                    </a:cubicBezTo>
                    <a:cubicBezTo>
                      <a:pt x="58" y="32"/>
                      <a:pt x="58" y="35"/>
                      <a:pt x="58" y="38"/>
                    </a:cubicBezTo>
                    <a:cubicBezTo>
                      <a:pt x="59" y="42"/>
                      <a:pt x="59" y="44"/>
                      <a:pt x="59" y="46"/>
                    </a:cubicBezTo>
                    <a:cubicBezTo>
                      <a:pt x="58" y="46"/>
                      <a:pt x="58" y="46"/>
                      <a:pt x="58" y="46"/>
                    </a:cubicBezTo>
                    <a:cubicBezTo>
                      <a:pt x="56" y="42"/>
                      <a:pt x="53" y="39"/>
                      <a:pt x="49" y="37"/>
                    </a:cubicBezTo>
                    <a:cubicBezTo>
                      <a:pt x="45" y="34"/>
                      <a:pt x="40" y="33"/>
                      <a:pt x="33" y="33"/>
                    </a:cubicBezTo>
                    <a:cubicBezTo>
                      <a:pt x="23" y="33"/>
                      <a:pt x="15" y="37"/>
                      <a:pt x="9" y="45"/>
                    </a:cubicBezTo>
                    <a:cubicBezTo>
                      <a:pt x="3" y="52"/>
                      <a:pt x="0" y="64"/>
                      <a:pt x="0" y="79"/>
                    </a:cubicBezTo>
                    <a:cubicBezTo>
                      <a:pt x="0" y="93"/>
                      <a:pt x="3" y="105"/>
                      <a:pt x="9" y="112"/>
                    </a:cubicBezTo>
                    <a:cubicBezTo>
                      <a:pt x="15" y="120"/>
                      <a:pt x="23" y="124"/>
                      <a:pt x="33" y="124"/>
                    </a:cubicBezTo>
                    <a:cubicBezTo>
                      <a:pt x="39" y="124"/>
                      <a:pt x="44" y="122"/>
                      <a:pt x="48" y="120"/>
                    </a:cubicBezTo>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4">
                <a:extLst>
                  <a:ext uri="{FF2B5EF4-FFF2-40B4-BE49-F238E27FC236}">
                    <a16:creationId xmlns:a16="http://schemas.microsoft.com/office/drawing/2014/main" id="{CA6D4F45-ADBA-A24E-A306-D60A0818CDCF}"/>
                  </a:ext>
                </a:extLst>
              </p:cNvPr>
              <p:cNvSpPr>
                <a:spLocks noEditPoints="1"/>
              </p:cNvSpPr>
              <p:nvPr/>
            </p:nvSpPr>
            <p:spPr bwMode="auto">
              <a:xfrm>
                <a:off x="4051300" y="2735263"/>
                <a:ext cx="1050925" cy="122238"/>
              </a:xfrm>
              <a:custGeom>
                <a:avLst/>
                <a:gdLst>
                  <a:gd name="T0" fmla="*/ 1372 w 1401"/>
                  <a:gd name="T1" fmla="*/ 98 h 160"/>
                  <a:gd name="T2" fmla="*/ 1395 w 1401"/>
                  <a:gd name="T3" fmla="*/ 54 h 160"/>
                  <a:gd name="T4" fmla="*/ 1322 w 1401"/>
                  <a:gd name="T5" fmla="*/ 103 h 160"/>
                  <a:gd name="T6" fmla="*/ 1395 w 1401"/>
                  <a:gd name="T7" fmla="*/ 54 h 160"/>
                  <a:gd name="T8" fmla="*/ 1303 w 1401"/>
                  <a:gd name="T9" fmla="*/ 35 h 160"/>
                  <a:gd name="T10" fmla="*/ 1243 w 1401"/>
                  <a:gd name="T11" fmla="*/ 43 h 160"/>
                  <a:gd name="T12" fmla="*/ 1268 w 1401"/>
                  <a:gd name="T13" fmla="*/ 121 h 160"/>
                  <a:gd name="T14" fmla="*/ 1296 w 1401"/>
                  <a:gd name="T15" fmla="*/ 104 h 160"/>
                  <a:gd name="T16" fmla="*/ 1135 w 1401"/>
                  <a:gd name="T17" fmla="*/ 68 h 160"/>
                  <a:gd name="T18" fmla="*/ 1116 w 1401"/>
                  <a:gd name="T19" fmla="*/ 54 h 160"/>
                  <a:gd name="T20" fmla="*/ 1172 w 1401"/>
                  <a:gd name="T21" fmla="*/ 122 h 160"/>
                  <a:gd name="T22" fmla="*/ 1141 w 1401"/>
                  <a:gd name="T23" fmla="*/ 100 h 160"/>
                  <a:gd name="T24" fmla="*/ 1152 w 1401"/>
                  <a:gd name="T25" fmla="*/ 33 h 160"/>
                  <a:gd name="T26" fmla="*/ 1064 w 1401"/>
                  <a:gd name="T27" fmla="*/ 100 h 160"/>
                  <a:gd name="T28" fmla="*/ 1018 w 1401"/>
                  <a:gd name="T29" fmla="*/ 45 h 160"/>
                  <a:gd name="T30" fmla="*/ 1067 w 1401"/>
                  <a:gd name="T31" fmla="*/ 111 h 160"/>
                  <a:gd name="T32" fmla="*/ 1049 w 1401"/>
                  <a:gd name="T33" fmla="*/ 143 h 160"/>
                  <a:gd name="T34" fmla="*/ 1080 w 1401"/>
                  <a:gd name="T35" fmla="*/ 151 h 160"/>
                  <a:gd name="T36" fmla="*/ 1068 w 1401"/>
                  <a:gd name="T37" fmla="*/ 46 h 160"/>
                  <a:gd name="T38" fmla="*/ 931 w 1401"/>
                  <a:gd name="T39" fmla="*/ 46 h 160"/>
                  <a:gd name="T40" fmla="*/ 933 w 1401"/>
                  <a:gd name="T41" fmla="*/ 81 h 160"/>
                  <a:gd name="T42" fmla="*/ 966 w 1401"/>
                  <a:gd name="T43" fmla="*/ 122 h 160"/>
                  <a:gd name="T44" fmla="*/ 944 w 1401"/>
                  <a:gd name="T45" fmla="*/ 36 h 160"/>
                  <a:gd name="T46" fmla="*/ 831 w 1401"/>
                  <a:gd name="T47" fmla="*/ 96 h 160"/>
                  <a:gd name="T48" fmla="*/ 831 w 1401"/>
                  <a:gd name="T49" fmla="*/ 35 h 160"/>
                  <a:gd name="T50" fmla="*/ 858 w 1401"/>
                  <a:gd name="T51" fmla="*/ 54 h 160"/>
                  <a:gd name="T52" fmla="*/ 807 w 1401"/>
                  <a:gd name="T53" fmla="*/ 96 h 160"/>
                  <a:gd name="T54" fmla="*/ 864 w 1401"/>
                  <a:gd name="T55" fmla="*/ 110 h 160"/>
                  <a:gd name="T56" fmla="*/ 849 w 1401"/>
                  <a:gd name="T57" fmla="*/ 33 h 160"/>
                  <a:gd name="T58" fmla="*/ 731 w 1401"/>
                  <a:gd name="T59" fmla="*/ 81 h 160"/>
                  <a:gd name="T60" fmla="*/ 788 w 1401"/>
                  <a:gd name="T61" fmla="*/ 122 h 160"/>
                  <a:gd name="T62" fmla="*/ 732 w 1401"/>
                  <a:gd name="T63" fmla="*/ 46 h 160"/>
                  <a:gd name="T64" fmla="*/ 708 w 1401"/>
                  <a:gd name="T65" fmla="*/ 0 h 160"/>
                  <a:gd name="T66" fmla="*/ 663 w 1401"/>
                  <a:gd name="T67" fmla="*/ 104 h 160"/>
                  <a:gd name="T68" fmla="*/ 683 w 1401"/>
                  <a:gd name="T69" fmla="*/ 57 h 160"/>
                  <a:gd name="T70" fmla="*/ 626 w 1401"/>
                  <a:gd name="T71" fmla="*/ 53 h 160"/>
                  <a:gd name="T72" fmla="*/ 532 w 1401"/>
                  <a:gd name="T73" fmla="*/ 59 h 160"/>
                  <a:gd name="T74" fmla="*/ 502 w 1401"/>
                  <a:gd name="T75" fmla="*/ 79 h 160"/>
                  <a:gd name="T76" fmla="*/ 486 w 1401"/>
                  <a:gd name="T77" fmla="*/ 112 h 160"/>
                  <a:gd name="T78" fmla="*/ 535 w 1401"/>
                  <a:gd name="T79" fmla="*/ 116 h 160"/>
                  <a:gd name="T80" fmla="*/ 483 w 1401"/>
                  <a:gd name="T81" fmla="*/ 155 h 160"/>
                  <a:gd name="T82" fmla="*/ 559 w 1401"/>
                  <a:gd name="T83" fmla="*/ 35 h 160"/>
                  <a:gd name="T84" fmla="*/ 486 w 1401"/>
                  <a:gd name="T85" fmla="*/ 45 h 160"/>
                  <a:gd name="T86" fmla="*/ 377 w 1401"/>
                  <a:gd name="T87" fmla="*/ 35 h 160"/>
                  <a:gd name="T88" fmla="*/ 420 w 1401"/>
                  <a:gd name="T89" fmla="*/ 52 h 160"/>
                  <a:gd name="T90" fmla="*/ 458 w 1401"/>
                  <a:gd name="T91" fmla="*/ 65 h 160"/>
                  <a:gd name="T92" fmla="*/ 352 w 1401"/>
                  <a:gd name="T93" fmla="*/ 122 h 160"/>
                  <a:gd name="T94" fmla="*/ 328 w 1401"/>
                  <a:gd name="T95" fmla="*/ 12 h 160"/>
                  <a:gd name="T96" fmla="*/ 350 w 1401"/>
                  <a:gd name="T97" fmla="*/ 3 h 160"/>
                  <a:gd name="T98" fmla="*/ 291 w 1401"/>
                  <a:gd name="T99" fmla="*/ 35 h 160"/>
                  <a:gd name="T100" fmla="*/ 267 w 1401"/>
                  <a:gd name="T101" fmla="*/ 84 h 160"/>
                  <a:gd name="T102" fmla="*/ 189 w 1401"/>
                  <a:gd name="T103" fmla="*/ 122 h 160"/>
                  <a:gd name="T104" fmla="*/ 192 w 1401"/>
                  <a:gd name="T105" fmla="*/ 3 h 160"/>
                  <a:gd name="T106" fmla="*/ 214 w 1401"/>
                  <a:gd name="T107" fmla="*/ 12 h 160"/>
                  <a:gd name="T108" fmla="*/ 139 w 1401"/>
                  <a:gd name="T109" fmla="*/ 49 h 160"/>
                  <a:gd name="T110" fmla="*/ 140 w 1401"/>
                  <a:gd name="T111" fmla="*/ 122 h 160"/>
                  <a:gd name="T112" fmla="*/ 168 w 1401"/>
                  <a:gd name="T113" fmla="*/ 56 h 160"/>
                  <a:gd name="T114" fmla="*/ 149 w 1401"/>
                  <a:gd name="T115" fmla="*/ 38 h 160"/>
                  <a:gd name="T116" fmla="*/ 61 w 1401"/>
                  <a:gd name="T117" fmla="*/ 37 h 160"/>
                  <a:gd name="T118" fmla="*/ 35 w 1401"/>
                  <a:gd name="T119" fmla="*/ 8 h 160"/>
                  <a:gd name="T120" fmla="*/ 94 w 1401"/>
                  <a:gd name="T121"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01" h="160">
                    <a:moveTo>
                      <a:pt x="1345" y="59"/>
                    </a:moveTo>
                    <a:cubicBezTo>
                      <a:pt x="1348" y="54"/>
                      <a:pt x="1352" y="52"/>
                      <a:pt x="1358" y="52"/>
                    </a:cubicBezTo>
                    <a:cubicBezTo>
                      <a:pt x="1365" y="52"/>
                      <a:pt x="1369" y="54"/>
                      <a:pt x="1372" y="59"/>
                    </a:cubicBezTo>
                    <a:cubicBezTo>
                      <a:pt x="1375" y="63"/>
                      <a:pt x="1376" y="70"/>
                      <a:pt x="1376" y="78"/>
                    </a:cubicBezTo>
                    <a:cubicBezTo>
                      <a:pt x="1376" y="87"/>
                      <a:pt x="1375" y="93"/>
                      <a:pt x="1372" y="98"/>
                    </a:cubicBezTo>
                    <a:cubicBezTo>
                      <a:pt x="1369" y="102"/>
                      <a:pt x="1365" y="104"/>
                      <a:pt x="1359" y="104"/>
                    </a:cubicBezTo>
                    <a:cubicBezTo>
                      <a:pt x="1352" y="104"/>
                      <a:pt x="1348" y="102"/>
                      <a:pt x="1345" y="98"/>
                    </a:cubicBezTo>
                    <a:cubicBezTo>
                      <a:pt x="1342" y="93"/>
                      <a:pt x="1340" y="87"/>
                      <a:pt x="1340" y="78"/>
                    </a:cubicBezTo>
                    <a:cubicBezTo>
                      <a:pt x="1340" y="70"/>
                      <a:pt x="1342" y="63"/>
                      <a:pt x="1345" y="59"/>
                    </a:cubicBezTo>
                    <a:moveTo>
                      <a:pt x="1395" y="54"/>
                    </a:moveTo>
                    <a:cubicBezTo>
                      <a:pt x="1392" y="47"/>
                      <a:pt x="1387" y="42"/>
                      <a:pt x="1380" y="38"/>
                    </a:cubicBezTo>
                    <a:cubicBezTo>
                      <a:pt x="1374" y="35"/>
                      <a:pt x="1367" y="33"/>
                      <a:pt x="1359" y="33"/>
                    </a:cubicBezTo>
                    <a:cubicBezTo>
                      <a:pt x="1345" y="33"/>
                      <a:pt x="1335" y="37"/>
                      <a:pt x="1327" y="45"/>
                    </a:cubicBezTo>
                    <a:cubicBezTo>
                      <a:pt x="1320" y="53"/>
                      <a:pt x="1316" y="64"/>
                      <a:pt x="1316" y="78"/>
                    </a:cubicBezTo>
                    <a:cubicBezTo>
                      <a:pt x="1316" y="88"/>
                      <a:pt x="1318" y="96"/>
                      <a:pt x="1322" y="103"/>
                    </a:cubicBezTo>
                    <a:cubicBezTo>
                      <a:pt x="1325" y="110"/>
                      <a:pt x="1330" y="115"/>
                      <a:pt x="1337" y="118"/>
                    </a:cubicBezTo>
                    <a:cubicBezTo>
                      <a:pt x="1343" y="122"/>
                      <a:pt x="1350" y="124"/>
                      <a:pt x="1358" y="124"/>
                    </a:cubicBezTo>
                    <a:cubicBezTo>
                      <a:pt x="1371" y="124"/>
                      <a:pt x="1382" y="120"/>
                      <a:pt x="1389" y="112"/>
                    </a:cubicBezTo>
                    <a:cubicBezTo>
                      <a:pt x="1397" y="104"/>
                      <a:pt x="1401" y="93"/>
                      <a:pt x="1401" y="78"/>
                    </a:cubicBezTo>
                    <a:cubicBezTo>
                      <a:pt x="1401" y="69"/>
                      <a:pt x="1399" y="60"/>
                      <a:pt x="1395" y="54"/>
                    </a:cubicBezTo>
                    <a:moveTo>
                      <a:pt x="1281" y="102"/>
                    </a:moveTo>
                    <a:cubicBezTo>
                      <a:pt x="1279" y="100"/>
                      <a:pt x="1278" y="98"/>
                      <a:pt x="1278" y="95"/>
                    </a:cubicBezTo>
                    <a:cubicBezTo>
                      <a:pt x="1278" y="53"/>
                      <a:pt x="1278" y="53"/>
                      <a:pt x="1278" y="53"/>
                    </a:cubicBezTo>
                    <a:cubicBezTo>
                      <a:pt x="1303" y="53"/>
                      <a:pt x="1303" y="53"/>
                      <a:pt x="1303" y="53"/>
                    </a:cubicBezTo>
                    <a:cubicBezTo>
                      <a:pt x="1303" y="35"/>
                      <a:pt x="1303" y="35"/>
                      <a:pt x="1303" y="35"/>
                    </a:cubicBezTo>
                    <a:cubicBezTo>
                      <a:pt x="1278" y="35"/>
                      <a:pt x="1278" y="35"/>
                      <a:pt x="1278" y="35"/>
                    </a:cubicBezTo>
                    <a:cubicBezTo>
                      <a:pt x="1278" y="16"/>
                      <a:pt x="1278" y="16"/>
                      <a:pt x="1278" y="16"/>
                    </a:cubicBezTo>
                    <a:cubicBezTo>
                      <a:pt x="1263" y="16"/>
                      <a:pt x="1263" y="16"/>
                      <a:pt x="1263" y="16"/>
                    </a:cubicBezTo>
                    <a:cubicBezTo>
                      <a:pt x="1256" y="35"/>
                      <a:pt x="1256" y="35"/>
                      <a:pt x="1256" y="35"/>
                    </a:cubicBezTo>
                    <a:cubicBezTo>
                      <a:pt x="1243" y="43"/>
                      <a:pt x="1243" y="43"/>
                      <a:pt x="1243" y="43"/>
                    </a:cubicBezTo>
                    <a:cubicBezTo>
                      <a:pt x="1243" y="53"/>
                      <a:pt x="1243" y="53"/>
                      <a:pt x="1243" y="53"/>
                    </a:cubicBezTo>
                    <a:cubicBezTo>
                      <a:pt x="1255" y="53"/>
                      <a:pt x="1255" y="53"/>
                      <a:pt x="1255" y="53"/>
                    </a:cubicBezTo>
                    <a:cubicBezTo>
                      <a:pt x="1255" y="95"/>
                      <a:pt x="1255" y="95"/>
                      <a:pt x="1255" y="95"/>
                    </a:cubicBezTo>
                    <a:cubicBezTo>
                      <a:pt x="1255" y="102"/>
                      <a:pt x="1256" y="108"/>
                      <a:pt x="1258" y="112"/>
                    </a:cubicBezTo>
                    <a:cubicBezTo>
                      <a:pt x="1261" y="116"/>
                      <a:pt x="1264" y="119"/>
                      <a:pt x="1268" y="121"/>
                    </a:cubicBezTo>
                    <a:cubicBezTo>
                      <a:pt x="1272" y="123"/>
                      <a:pt x="1277" y="124"/>
                      <a:pt x="1282" y="124"/>
                    </a:cubicBezTo>
                    <a:cubicBezTo>
                      <a:pt x="1286" y="124"/>
                      <a:pt x="1290" y="123"/>
                      <a:pt x="1294" y="123"/>
                    </a:cubicBezTo>
                    <a:cubicBezTo>
                      <a:pt x="1298" y="122"/>
                      <a:pt x="1301" y="121"/>
                      <a:pt x="1304" y="120"/>
                    </a:cubicBezTo>
                    <a:cubicBezTo>
                      <a:pt x="1304" y="102"/>
                      <a:pt x="1304" y="102"/>
                      <a:pt x="1304" y="102"/>
                    </a:cubicBezTo>
                    <a:cubicBezTo>
                      <a:pt x="1301" y="103"/>
                      <a:pt x="1299" y="103"/>
                      <a:pt x="1296" y="104"/>
                    </a:cubicBezTo>
                    <a:cubicBezTo>
                      <a:pt x="1294" y="104"/>
                      <a:pt x="1291" y="105"/>
                      <a:pt x="1289" y="105"/>
                    </a:cubicBezTo>
                    <a:cubicBezTo>
                      <a:pt x="1286" y="105"/>
                      <a:pt x="1283" y="104"/>
                      <a:pt x="1281" y="102"/>
                    </a:cubicBezTo>
                    <a:moveTo>
                      <a:pt x="1164" y="55"/>
                    </a:moveTo>
                    <a:cubicBezTo>
                      <a:pt x="1167" y="59"/>
                      <a:pt x="1168" y="63"/>
                      <a:pt x="1169" y="68"/>
                    </a:cubicBezTo>
                    <a:cubicBezTo>
                      <a:pt x="1135" y="68"/>
                      <a:pt x="1135" y="68"/>
                      <a:pt x="1135" y="68"/>
                    </a:cubicBezTo>
                    <a:cubicBezTo>
                      <a:pt x="1136" y="62"/>
                      <a:pt x="1137" y="58"/>
                      <a:pt x="1140" y="55"/>
                    </a:cubicBezTo>
                    <a:cubicBezTo>
                      <a:pt x="1143" y="52"/>
                      <a:pt x="1147" y="50"/>
                      <a:pt x="1152" y="50"/>
                    </a:cubicBezTo>
                    <a:cubicBezTo>
                      <a:pt x="1158" y="50"/>
                      <a:pt x="1162" y="52"/>
                      <a:pt x="1164" y="55"/>
                    </a:cubicBezTo>
                    <a:moveTo>
                      <a:pt x="1130" y="38"/>
                    </a:moveTo>
                    <a:cubicBezTo>
                      <a:pt x="1124" y="42"/>
                      <a:pt x="1119" y="47"/>
                      <a:pt x="1116" y="54"/>
                    </a:cubicBezTo>
                    <a:cubicBezTo>
                      <a:pt x="1112" y="60"/>
                      <a:pt x="1111" y="69"/>
                      <a:pt x="1111" y="79"/>
                    </a:cubicBezTo>
                    <a:cubicBezTo>
                      <a:pt x="1111" y="89"/>
                      <a:pt x="1112" y="97"/>
                      <a:pt x="1116" y="104"/>
                    </a:cubicBezTo>
                    <a:cubicBezTo>
                      <a:pt x="1120" y="111"/>
                      <a:pt x="1125" y="116"/>
                      <a:pt x="1132" y="119"/>
                    </a:cubicBezTo>
                    <a:cubicBezTo>
                      <a:pt x="1139" y="122"/>
                      <a:pt x="1147" y="124"/>
                      <a:pt x="1155" y="124"/>
                    </a:cubicBezTo>
                    <a:cubicBezTo>
                      <a:pt x="1162" y="124"/>
                      <a:pt x="1168" y="123"/>
                      <a:pt x="1172" y="122"/>
                    </a:cubicBezTo>
                    <a:cubicBezTo>
                      <a:pt x="1177" y="121"/>
                      <a:pt x="1182" y="120"/>
                      <a:pt x="1186" y="117"/>
                    </a:cubicBezTo>
                    <a:cubicBezTo>
                      <a:pt x="1186" y="99"/>
                      <a:pt x="1186" y="99"/>
                      <a:pt x="1186" y="99"/>
                    </a:cubicBezTo>
                    <a:cubicBezTo>
                      <a:pt x="1181" y="101"/>
                      <a:pt x="1176" y="103"/>
                      <a:pt x="1172" y="104"/>
                    </a:cubicBezTo>
                    <a:cubicBezTo>
                      <a:pt x="1167" y="105"/>
                      <a:pt x="1162" y="106"/>
                      <a:pt x="1156" y="106"/>
                    </a:cubicBezTo>
                    <a:cubicBezTo>
                      <a:pt x="1150" y="106"/>
                      <a:pt x="1144" y="104"/>
                      <a:pt x="1141" y="100"/>
                    </a:cubicBezTo>
                    <a:cubicBezTo>
                      <a:pt x="1137" y="96"/>
                      <a:pt x="1135" y="91"/>
                      <a:pt x="1135" y="84"/>
                    </a:cubicBezTo>
                    <a:cubicBezTo>
                      <a:pt x="1191" y="84"/>
                      <a:pt x="1191" y="84"/>
                      <a:pt x="1191" y="84"/>
                    </a:cubicBezTo>
                    <a:cubicBezTo>
                      <a:pt x="1191" y="73"/>
                      <a:pt x="1191" y="73"/>
                      <a:pt x="1191" y="73"/>
                    </a:cubicBezTo>
                    <a:cubicBezTo>
                      <a:pt x="1191" y="60"/>
                      <a:pt x="1187" y="50"/>
                      <a:pt x="1180" y="43"/>
                    </a:cubicBezTo>
                    <a:cubicBezTo>
                      <a:pt x="1173" y="37"/>
                      <a:pt x="1164" y="33"/>
                      <a:pt x="1152" y="33"/>
                    </a:cubicBezTo>
                    <a:cubicBezTo>
                      <a:pt x="1144" y="33"/>
                      <a:pt x="1136" y="35"/>
                      <a:pt x="1130" y="38"/>
                    </a:cubicBezTo>
                    <a:moveTo>
                      <a:pt x="1064" y="59"/>
                    </a:moveTo>
                    <a:cubicBezTo>
                      <a:pt x="1067" y="63"/>
                      <a:pt x="1069" y="69"/>
                      <a:pt x="1069" y="79"/>
                    </a:cubicBezTo>
                    <a:cubicBezTo>
                      <a:pt x="1069" y="82"/>
                      <a:pt x="1069" y="82"/>
                      <a:pt x="1069" y="82"/>
                    </a:cubicBezTo>
                    <a:cubicBezTo>
                      <a:pt x="1069" y="90"/>
                      <a:pt x="1067" y="96"/>
                      <a:pt x="1064" y="100"/>
                    </a:cubicBezTo>
                    <a:cubicBezTo>
                      <a:pt x="1061" y="103"/>
                      <a:pt x="1057" y="105"/>
                      <a:pt x="1051" y="105"/>
                    </a:cubicBezTo>
                    <a:cubicBezTo>
                      <a:pt x="1039" y="105"/>
                      <a:pt x="1034" y="96"/>
                      <a:pt x="1034" y="79"/>
                    </a:cubicBezTo>
                    <a:cubicBezTo>
                      <a:pt x="1034" y="61"/>
                      <a:pt x="1039" y="52"/>
                      <a:pt x="1050" y="52"/>
                    </a:cubicBezTo>
                    <a:cubicBezTo>
                      <a:pt x="1057" y="52"/>
                      <a:pt x="1061" y="54"/>
                      <a:pt x="1064" y="59"/>
                    </a:cubicBezTo>
                    <a:moveTo>
                      <a:pt x="1018" y="45"/>
                    </a:moveTo>
                    <a:cubicBezTo>
                      <a:pt x="1012" y="53"/>
                      <a:pt x="1009" y="64"/>
                      <a:pt x="1009" y="79"/>
                    </a:cubicBezTo>
                    <a:cubicBezTo>
                      <a:pt x="1009" y="93"/>
                      <a:pt x="1012" y="104"/>
                      <a:pt x="1018" y="112"/>
                    </a:cubicBezTo>
                    <a:cubicBezTo>
                      <a:pt x="1024" y="120"/>
                      <a:pt x="1032" y="124"/>
                      <a:pt x="1042" y="124"/>
                    </a:cubicBezTo>
                    <a:cubicBezTo>
                      <a:pt x="1047" y="124"/>
                      <a:pt x="1052" y="123"/>
                      <a:pt x="1056" y="121"/>
                    </a:cubicBezTo>
                    <a:cubicBezTo>
                      <a:pt x="1060" y="119"/>
                      <a:pt x="1064" y="115"/>
                      <a:pt x="1067" y="111"/>
                    </a:cubicBezTo>
                    <a:cubicBezTo>
                      <a:pt x="1068" y="111"/>
                      <a:pt x="1068" y="111"/>
                      <a:pt x="1068" y="111"/>
                    </a:cubicBezTo>
                    <a:cubicBezTo>
                      <a:pt x="1067" y="112"/>
                      <a:pt x="1067" y="114"/>
                      <a:pt x="1067" y="116"/>
                    </a:cubicBezTo>
                    <a:cubicBezTo>
                      <a:pt x="1067" y="118"/>
                      <a:pt x="1067" y="120"/>
                      <a:pt x="1067" y="121"/>
                    </a:cubicBezTo>
                    <a:cubicBezTo>
                      <a:pt x="1067" y="123"/>
                      <a:pt x="1067" y="123"/>
                      <a:pt x="1067" y="123"/>
                    </a:cubicBezTo>
                    <a:cubicBezTo>
                      <a:pt x="1067" y="136"/>
                      <a:pt x="1061" y="143"/>
                      <a:pt x="1049" y="143"/>
                    </a:cubicBezTo>
                    <a:cubicBezTo>
                      <a:pt x="1037" y="143"/>
                      <a:pt x="1025" y="141"/>
                      <a:pt x="1015" y="136"/>
                    </a:cubicBezTo>
                    <a:cubicBezTo>
                      <a:pt x="1015" y="155"/>
                      <a:pt x="1015" y="155"/>
                      <a:pt x="1015" y="155"/>
                    </a:cubicBezTo>
                    <a:cubicBezTo>
                      <a:pt x="1020" y="157"/>
                      <a:pt x="1025" y="159"/>
                      <a:pt x="1030" y="159"/>
                    </a:cubicBezTo>
                    <a:cubicBezTo>
                      <a:pt x="1035" y="160"/>
                      <a:pt x="1041" y="160"/>
                      <a:pt x="1047" y="160"/>
                    </a:cubicBezTo>
                    <a:cubicBezTo>
                      <a:pt x="1062" y="160"/>
                      <a:pt x="1072" y="157"/>
                      <a:pt x="1080" y="151"/>
                    </a:cubicBezTo>
                    <a:cubicBezTo>
                      <a:pt x="1087" y="144"/>
                      <a:pt x="1091" y="135"/>
                      <a:pt x="1091" y="122"/>
                    </a:cubicBezTo>
                    <a:cubicBezTo>
                      <a:pt x="1091" y="35"/>
                      <a:pt x="1091" y="35"/>
                      <a:pt x="1091" y="35"/>
                    </a:cubicBezTo>
                    <a:cubicBezTo>
                      <a:pt x="1071" y="35"/>
                      <a:pt x="1071" y="35"/>
                      <a:pt x="1071" y="35"/>
                    </a:cubicBezTo>
                    <a:cubicBezTo>
                      <a:pt x="1069" y="46"/>
                      <a:pt x="1069" y="46"/>
                      <a:pt x="1069" y="46"/>
                    </a:cubicBezTo>
                    <a:cubicBezTo>
                      <a:pt x="1068" y="46"/>
                      <a:pt x="1068" y="46"/>
                      <a:pt x="1068" y="46"/>
                    </a:cubicBezTo>
                    <a:cubicBezTo>
                      <a:pt x="1062" y="37"/>
                      <a:pt x="1054" y="33"/>
                      <a:pt x="1043" y="33"/>
                    </a:cubicBezTo>
                    <a:cubicBezTo>
                      <a:pt x="1032" y="33"/>
                      <a:pt x="1024" y="37"/>
                      <a:pt x="1018" y="45"/>
                    </a:cubicBezTo>
                    <a:moveTo>
                      <a:pt x="944" y="36"/>
                    </a:moveTo>
                    <a:cubicBezTo>
                      <a:pt x="939" y="38"/>
                      <a:pt x="935" y="41"/>
                      <a:pt x="932" y="46"/>
                    </a:cubicBezTo>
                    <a:cubicBezTo>
                      <a:pt x="931" y="46"/>
                      <a:pt x="931" y="46"/>
                      <a:pt x="931" y="46"/>
                    </a:cubicBezTo>
                    <a:cubicBezTo>
                      <a:pt x="928" y="35"/>
                      <a:pt x="928" y="35"/>
                      <a:pt x="928" y="35"/>
                    </a:cubicBezTo>
                    <a:cubicBezTo>
                      <a:pt x="909" y="35"/>
                      <a:pt x="909" y="35"/>
                      <a:pt x="909" y="35"/>
                    </a:cubicBezTo>
                    <a:cubicBezTo>
                      <a:pt x="909" y="122"/>
                      <a:pt x="909" y="122"/>
                      <a:pt x="909" y="122"/>
                    </a:cubicBezTo>
                    <a:cubicBezTo>
                      <a:pt x="933" y="122"/>
                      <a:pt x="933" y="122"/>
                      <a:pt x="933" y="122"/>
                    </a:cubicBezTo>
                    <a:cubicBezTo>
                      <a:pt x="933" y="81"/>
                      <a:pt x="933" y="81"/>
                      <a:pt x="933" y="81"/>
                    </a:cubicBezTo>
                    <a:cubicBezTo>
                      <a:pt x="933" y="72"/>
                      <a:pt x="935" y="65"/>
                      <a:pt x="937" y="60"/>
                    </a:cubicBezTo>
                    <a:cubicBezTo>
                      <a:pt x="940" y="55"/>
                      <a:pt x="945" y="52"/>
                      <a:pt x="952" y="52"/>
                    </a:cubicBezTo>
                    <a:cubicBezTo>
                      <a:pt x="957" y="52"/>
                      <a:pt x="961" y="54"/>
                      <a:pt x="963" y="57"/>
                    </a:cubicBezTo>
                    <a:cubicBezTo>
                      <a:pt x="965" y="60"/>
                      <a:pt x="966" y="65"/>
                      <a:pt x="966" y="71"/>
                    </a:cubicBezTo>
                    <a:cubicBezTo>
                      <a:pt x="966" y="122"/>
                      <a:pt x="966" y="122"/>
                      <a:pt x="966" y="122"/>
                    </a:cubicBezTo>
                    <a:cubicBezTo>
                      <a:pt x="990" y="122"/>
                      <a:pt x="990" y="122"/>
                      <a:pt x="990" y="122"/>
                    </a:cubicBezTo>
                    <a:cubicBezTo>
                      <a:pt x="990" y="65"/>
                      <a:pt x="990" y="65"/>
                      <a:pt x="990" y="65"/>
                    </a:cubicBezTo>
                    <a:cubicBezTo>
                      <a:pt x="990" y="54"/>
                      <a:pt x="987" y="46"/>
                      <a:pt x="982" y="41"/>
                    </a:cubicBezTo>
                    <a:cubicBezTo>
                      <a:pt x="976" y="36"/>
                      <a:pt x="968" y="33"/>
                      <a:pt x="959" y="33"/>
                    </a:cubicBezTo>
                    <a:cubicBezTo>
                      <a:pt x="954" y="33"/>
                      <a:pt x="948" y="34"/>
                      <a:pt x="944" y="36"/>
                    </a:cubicBezTo>
                    <a:moveTo>
                      <a:pt x="861" y="89"/>
                    </a:moveTo>
                    <a:cubicBezTo>
                      <a:pt x="861" y="94"/>
                      <a:pt x="859" y="99"/>
                      <a:pt x="856" y="102"/>
                    </a:cubicBezTo>
                    <a:cubicBezTo>
                      <a:pt x="852" y="105"/>
                      <a:pt x="848" y="106"/>
                      <a:pt x="843" y="106"/>
                    </a:cubicBezTo>
                    <a:cubicBezTo>
                      <a:pt x="840" y="106"/>
                      <a:pt x="837" y="105"/>
                      <a:pt x="835" y="104"/>
                    </a:cubicBezTo>
                    <a:cubicBezTo>
                      <a:pt x="833" y="102"/>
                      <a:pt x="831" y="100"/>
                      <a:pt x="831" y="96"/>
                    </a:cubicBezTo>
                    <a:cubicBezTo>
                      <a:pt x="831" y="92"/>
                      <a:pt x="833" y="89"/>
                      <a:pt x="836" y="86"/>
                    </a:cubicBezTo>
                    <a:cubicBezTo>
                      <a:pt x="839" y="83"/>
                      <a:pt x="844" y="82"/>
                      <a:pt x="852" y="82"/>
                    </a:cubicBezTo>
                    <a:cubicBezTo>
                      <a:pt x="861" y="82"/>
                      <a:pt x="861" y="82"/>
                      <a:pt x="861" y="82"/>
                    </a:cubicBezTo>
                    <a:lnTo>
                      <a:pt x="861" y="89"/>
                    </a:lnTo>
                    <a:close/>
                    <a:moveTo>
                      <a:pt x="831" y="35"/>
                    </a:moveTo>
                    <a:cubicBezTo>
                      <a:pt x="825" y="37"/>
                      <a:pt x="820" y="38"/>
                      <a:pt x="815" y="41"/>
                    </a:cubicBezTo>
                    <a:cubicBezTo>
                      <a:pt x="823" y="57"/>
                      <a:pt x="823" y="57"/>
                      <a:pt x="823" y="57"/>
                    </a:cubicBezTo>
                    <a:cubicBezTo>
                      <a:pt x="827" y="55"/>
                      <a:pt x="831" y="54"/>
                      <a:pt x="835" y="52"/>
                    </a:cubicBezTo>
                    <a:cubicBezTo>
                      <a:pt x="839" y="51"/>
                      <a:pt x="843" y="51"/>
                      <a:pt x="848" y="51"/>
                    </a:cubicBezTo>
                    <a:cubicBezTo>
                      <a:pt x="852" y="51"/>
                      <a:pt x="855" y="52"/>
                      <a:pt x="858" y="54"/>
                    </a:cubicBezTo>
                    <a:cubicBezTo>
                      <a:pt x="860" y="56"/>
                      <a:pt x="861" y="59"/>
                      <a:pt x="861" y="64"/>
                    </a:cubicBezTo>
                    <a:cubicBezTo>
                      <a:pt x="861" y="68"/>
                      <a:pt x="861" y="68"/>
                      <a:pt x="861" y="68"/>
                    </a:cubicBezTo>
                    <a:cubicBezTo>
                      <a:pt x="846" y="68"/>
                      <a:pt x="846" y="68"/>
                      <a:pt x="846" y="68"/>
                    </a:cubicBezTo>
                    <a:cubicBezTo>
                      <a:pt x="833" y="69"/>
                      <a:pt x="823" y="71"/>
                      <a:pt x="817" y="75"/>
                    </a:cubicBezTo>
                    <a:cubicBezTo>
                      <a:pt x="810" y="80"/>
                      <a:pt x="807" y="87"/>
                      <a:pt x="807" y="96"/>
                    </a:cubicBezTo>
                    <a:cubicBezTo>
                      <a:pt x="807" y="105"/>
                      <a:pt x="810" y="112"/>
                      <a:pt x="815" y="117"/>
                    </a:cubicBezTo>
                    <a:cubicBezTo>
                      <a:pt x="820" y="121"/>
                      <a:pt x="826" y="124"/>
                      <a:pt x="834" y="124"/>
                    </a:cubicBezTo>
                    <a:cubicBezTo>
                      <a:pt x="841" y="124"/>
                      <a:pt x="847" y="123"/>
                      <a:pt x="851" y="120"/>
                    </a:cubicBezTo>
                    <a:cubicBezTo>
                      <a:pt x="855" y="118"/>
                      <a:pt x="859" y="115"/>
                      <a:pt x="863" y="110"/>
                    </a:cubicBezTo>
                    <a:cubicBezTo>
                      <a:pt x="864" y="110"/>
                      <a:pt x="864" y="110"/>
                      <a:pt x="864" y="110"/>
                    </a:cubicBezTo>
                    <a:cubicBezTo>
                      <a:pt x="868" y="122"/>
                      <a:pt x="868" y="122"/>
                      <a:pt x="868" y="122"/>
                    </a:cubicBezTo>
                    <a:cubicBezTo>
                      <a:pt x="885" y="122"/>
                      <a:pt x="885" y="122"/>
                      <a:pt x="885" y="122"/>
                    </a:cubicBezTo>
                    <a:cubicBezTo>
                      <a:pt x="885" y="64"/>
                      <a:pt x="885" y="64"/>
                      <a:pt x="885" y="64"/>
                    </a:cubicBezTo>
                    <a:cubicBezTo>
                      <a:pt x="885" y="53"/>
                      <a:pt x="882" y="46"/>
                      <a:pt x="876" y="41"/>
                    </a:cubicBezTo>
                    <a:cubicBezTo>
                      <a:pt x="869" y="35"/>
                      <a:pt x="860" y="33"/>
                      <a:pt x="849" y="33"/>
                    </a:cubicBezTo>
                    <a:cubicBezTo>
                      <a:pt x="842" y="33"/>
                      <a:pt x="836" y="34"/>
                      <a:pt x="831" y="35"/>
                    </a:cubicBezTo>
                    <a:moveTo>
                      <a:pt x="708" y="0"/>
                    </a:moveTo>
                    <a:cubicBezTo>
                      <a:pt x="708" y="122"/>
                      <a:pt x="708" y="122"/>
                      <a:pt x="708" y="122"/>
                    </a:cubicBezTo>
                    <a:cubicBezTo>
                      <a:pt x="731" y="122"/>
                      <a:pt x="731" y="122"/>
                      <a:pt x="731" y="122"/>
                    </a:cubicBezTo>
                    <a:cubicBezTo>
                      <a:pt x="731" y="81"/>
                      <a:pt x="731" y="81"/>
                      <a:pt x="731" y="81"/>
                    </a:cubicBezTo>
                    <a:cubicBezTo>
                      <a:pt x="731" y="72"/>
                      <a:pt x="733" y="65"/>
                      <a:pt x="736" y="60"/>
                    </a:cubicBezTo>
                    <a:cubicBezTo>
                      <a:pt x="738" y="55"/>
                      <a:pt x="743" y="52"/>
                      <a:pt x="750" y="52"/>
                    </a:cubicBezTo>
                    <a:cubicBezTo>
                      <a:pt x="760" y="52"/>
                      <a:pt x="764" y="58"/>
                      <a:pt x="764" y="71"/>
                    </a:cubicBezTo>
                    <a:cubicBezTo>
                      <a:pt x="764" y="122"/>
                      <a:pt x="764" y="122"/>
                      <a:pt x="764" y="122"/>
                    </a:cubicBezTo>
                    <a:cubicBezTo>
                      <a:pt x="788" y="122"/>
                      <a:pt x="788" y="122"/>
                      <a:pt x="788" y="122"/>
                    </a:cubicBezTo>
                    <a:cubicBezTo>
                      <a:pt x="788" y="65"/>
                      <a:pt x="788" y="65"/>
                      <a:pt x="788" y="65"/>
                    </a:cubicBezTo>
                    <a:cubicBezTo>
                      <a:pt x="788" y="54"/>
                      <a:pt x="785" y="46"/>
                      <a:pt x="780" y="41"/>
                    </a:cubicBezTo>
                    <a:cubicBezTo>
                      <a:pt x="774" y="36"/>
                      <a:pt x="766" y="33"/>
                      <a:pt x="757" y="33"/>
                    </a:cubicBezTo>
                    <a:cubicBezTo>
                      <a:pt x="752" y="33"/>
                      <a:pt x="747" y="34"/>
                      <a:pt x="742" y="36"/>
                    </a:cubicBezTo>
                    <a:cubicBezTo>
                      <a:pt x="738" y="38"/>
                      <a:pt x="734" y="41"/>
                      <a:pt x="732" y="46"/>
                    </a:cubicBezTo>
                    <a:cubicBezTo>
                      <a:pt x="730" y="46"/>
                      <a:pt x="730" y="46"/>
                      <a:pt x="730" y="46"/>
                    </a:cubicBezTo>
                    <a:cubicBezTo>
                      <a:pt x="731" y="44"/>
                      <a:pt x="731" y="42"/>
                      <a:pt x="731" y="38"/>
                    </a:cubicBezTo>
                    <a:cubicBezTo>
                      <a:pt x="731" y="34"/>
                      <a:pt x="731" y="30"/>
                      <a:pt x="731" y="25"/>
                    </a:cubicBezTo>
                    <a:cubicBezTo>
                      <a:pt x="731" y="0"/>
                      <a:pt x="731" y="0"/>
                      <a:pt x="731" y="0"/>
                    </a:cubicBezTo>
                    <a:lnTo>
                      <a:pt x="708" y="0"/>
                    </a:lnTo>
                    <a:close/>
                    <a:moveTo>
                      <a:pt x="676" y="122"/>
                    </a:moveTo>
                    <a:cubicBezTo>
                      <a:pt x="680" y="121"/>
                      <a:pt x="684" y="119"/>
                      <a:pt x="687" y="117"/>
                    </a:cubicBezTo>
                    <a:cubicBezTo>
                      <a:pt x="687" y="97"/>
                      <a:pt x="687" y="97"/>
                      <a:pt x="687" y="97"/>
                    </a:cubicBezTo>
                    <a:cubicBezTo>
                      <a:pt x="684" y="99"/>
                      <a:pt x="680" y="101"/>
                      <a:pt x="676" y="102"/>
                    </a:cubicBezTo>
                    <a:cubicBezTo>
                      <a:pt x="672" y="104"/>
                      <a:pt x="668" y="104"/>
                      <a:pt x="663" y="104"/>
                    </a:cubicBezTo>
                    <a:cubicBezTo>
                      <a:pt x="657" y="104"/>
                      <a:pt x="653" y="102"/>
                      <a:pt x="649" y="98"/>
                    </a:cubicBezTo>
                    <a:cubicBezTo>
                      <a:pt x="646" y="94"/>
                      <a:pt x="644" y="87"/>
                      <a:pt x="644" y="79"/>
                    </a:cubicBezTo>
                    <a:cubicBezTo>
                      <a:pt x="644" y="61"/>
                      <a:pt x="651" y="52"/>
                      <a:pt x="663" y="52"/>
                    </a:cubicBezTo>
                    <a:cubicBezTo>
                      <a:pt x="666" y="52"/>
                      <a:pt x="669" y="53"/>
                      <a:pt x="673" y="54"/>
                    </a:cubicBezTo>
                    <a:cubicBezTo>
                      <a:pt x="676" y="55"/>
                      <a:pt x="679" y="56"/>
                      <a:pt x="683" y="57"/>
                    </a:cubicBezTo>
                    <a:cubicBezTo>
                      <a:pt x="690" y="39"/>
                      <a:pt x="690" y="39"/>
                      <a:pt x="690" y="39"/>
                    </a:cubicBezTo>
                    <a:cubicBezTo>
                      <a:pt x="687" y="37"/>
                      <a:pt x="683" y="36"/>
                      <a:pt x="679" y="35"/>
                    </a:cubicBezTo>
                    <a:cubicBezTo>
                      <a:pt x="674" y="34"/>
                      <a:pt x="669" y="33"/>
                      <a:pt x="663" y="33"/>
                    </a:cubicBezTo>
                    <a:cubicBezTo>
                      <a:pt x="655" y="33"/>
                      <a:pt x="647" y="35"/>
                      <a:pt x="641" y="38"/>
                    </a:cubicBezTo>
                    <a:cubicBezTo>
                      <a:pt x="634" y="41"/>
                      <a:pt x="629" y="46"/>
                      <a:pt x="626" y="53"/>
                    </a:cubicBezTo>
                    <a:cubicBezTo>
                      <a:pt x="622" y="59"/>
                      <a:pt x="620" y="68"/>
                      <a:pt x="620" y="79"/>
                    </a:cubicBezTo>
                    <a:cubicBezTo>
                      <a:pt x="620" y="94"/>
                      <a:pt x="624" y="106"/>
                      <a:pt x="631" y="113"/>
                    </a:cubicBezTo>
                    <a:cubicBezTo>
                      <a:pt x="638" y="120"/>
                      <a:pt x="648" y="124"/>
                      <a:pt x="661" y="124"/>
                    </a:cubicBezTo>
                    <a:cubicBezTo>
                      <a:pt x="667" y="124"/>
                      <a:pt x="672" y="123"/>
                      <a:pt x="676" y="122"/>
                    </a:cubicBezTo>
                    <a:moveTo>
                      <a:pt x="532" y="59"/>
                    </a:moveTo>
                    <a:cubicBezTo>
                      <a:pt x="535" y="63"/>
                      <a:pt x="537" y="69"/>
                      <a:pt x="537" y="79"/>
                    </a:cubicBezTo>
                    <a:cubicBezTo>
                      <a:pt x="537" y="82"/>
                      <a:pt x="537" y="82"/>
                      <a:pt x="537" y="82"/>
                    </a:cubicBezTo>
                    <a:cubicBezTo>
                      <a:pt x="537" y="90"/>
                      <a:pt x="535" y="96"/>
                      <a:pt x="532" y="100"/>
                    </a:cubicBezTo>
                    <a:cubicBezTo>
                      <a:pt x="529" y="103"/>
                      <a:pt x="525" y="105"/>
                      <a:pt x="519" y="105"/>
                    </a:cubicBezTo>
                    <a:cubicBezTo>
                      <a:pt x="507" y="105"/>
                      <a:pt x="502" y="96"/>
                      <a:pt x="502" y="79"/>
                    </a:cubicBezTo>
                    <a:cubicBezTo>
                      <a:pt x="502" y="61"/>
                      <a:pt x="507" y="52"/>
                      <a:pt x="518" y="52"/>
                    </a:cubicBezTo>
                    <a:cubicBezTo>
                      <a:pt x="525" y="52"/>
                      <a:pt x="529" y="54"/>
                      <a:pt x="532" y="59"/>
                    </a:cubicBezTo>
                    <a:moveTo>
                      <a:pt x="486" y="45"/>
                    </a:moveTo>
                    <a:cubicBezTo>
                      <a:pt x="480" y="53"/>
                      <a:pt x="477" y="64"/>
                      <a:pt x="477" y="79"/>
                    </a:cubicBezTo>
                    <a:cubicBezTo>
                      <a:pt x="477" y="93"/>
                      <a:pt x="480" y="104"/>
                      <a:pt x="486" y="112"/>
                    </a:cubicBezTo>
                    <a:cubicBezTo>
                      <a:pt x="492" y="120"/>
                      <a:pt x="500" y="124"/>
                      <a:pt x="510" y="124"/>
                    </a:cubicBezTo>
                    <a:cubicBezTo>
                      <a:pt x="515" y="124"/>
                      <a:pt x="520" y="123"/>
                      <a:pt x="524" y="121"/>
                    </a:cubicBezTo>
                    <a:cubicBezTo>
                      <a:pt x="528" y="119"/>
                      <a:pt x="532" y="115"/>
                      <a:pt x="535" y="111"/>
                    </a:cubicBezTo>
                    <a:cubicBezTo>
                      <a:pt x="536" y="111"/>
                      <a:pt x="536" y="111"/>
                      <a:pt x="536" y="111"/>
                    </a:cubicBezTo>
                    <a:cubicBezTo>
                      <a:pt x="535" y="112"/>
                      <a:pt x="535" y="114"/>
                      <a:pt x="535" y="116"/>
                    </a:cubicBezTo>
                    <a:cubicBezTo>
                      <a:pt x="535" y="118"/>
                      <a:pt x="535" y="120"/>
                      <a:pt x="535" y="121"/>
                    </a:cubicBezTo>
                    <a:cubicBezTo>
                      <a:pt x="535" y="123"/>
                      <a:pt x="535" y="123"/>
                      <a:pt x="535" y="123"/>
                    </a:cubicBezTo>
                    <a:cubicBezTo>
                      <a:pt x="535" y="136"/>
                      <a:pt x="529" y="143"/>
                      <a:pt x="517" y="143"/>
                    </a:cubicBezTo>
                    <a:cubicBezTo>
                      <a:pt x="505" y="143"/>
                      <a:pt x="493" y="141"/>
                      <a:pt x="483" y="136"/>
                    </a:cubicBezTo>
                    <a:cubicBezTo>
                      <a:pt x="483" y="155"/>
                      <a:pt x="483" y="155"/>
                      <a:pt x="483" y="155"/>
                    </a:cubicBezTo>
                    <a:cubicBezTo>
                      <a:pt x="488" y="157"/>
                      <a:pt x="493" y="159"/>
                      <a:pt x="498" y="159"/>
                    </a:cubicBezTo>
                    <a:cubicBezTo>
                      <a:pt x="503" y="160"/>
                      <a:pt x="509" y="160"/>
                      <a:pt x="515" y="160"/>
                    </a:cubicBezTo>
                    <a:cubicBezTo>
                      <a:pt x="530" y="160"/>
                      <a:pt x="540" y="157"/>
                      <a:pt x="548" y="151"/>
                    </a:cubicBezTo>
                    <a:cubicBezTo>
                      <a:pt x="555" y="144"/>
                      <a:pt x="559" y="135"/>
                      <a:pt x="559" y="122"/>
                    </a:cubicBezTo>
                    <a:cubicBezTo>
                      <a:pt x="559" y="35"/>
                      <a:pt x="559" y="35"/>
                      <a:pt x="559" y="35"/>
                    </a:cubicBezTo>
                    <a:cubicBezTo>
                      <a:pt x="539" y="35"/>
                      <a:pt x="539" y="35"/>
                      <a:pt x="539" y="35"/>
                    </a:cubicBezTo>
                    <a:cubicBezTo>
                      <a:pt x="537" y="46"/>
                      <a:pt x="537" y="46"/>
                      <a:pt x="537" y="46"/>
                    </a:cubicBezTo>
                    <a:cubicBezTo>
                      <a:pt x="536" y="46"/>
                      <a:pt x="536" y="46"/>
                      <a:pt x="536" y="46"/>
                    </a:cubicBezTo>
                    <a:cubicBezTo>
                      <a:pt x="530" y="37"/>
                      <a:pt x="522" y="33"/>
                      <a:pt x="511" y="33"/>
                    </a:cubicBezTo>
                    <a:cubicBezTo>
                      <a:pt x="500" y="33"/>
                      <a:pt x="492" y="37"/>
                      <a:pt x="486" y="45"/>
                    </a:cubicBezTo>
                    <a:moveTo>
                      <a:pt x="412" y="36"/>
                    </a:moveTo>
                    <a:cubicBezTo>
                      <a:pt x="407" y="38"/>
                      <a:pt x="403" y="41"/>
                      <a:pt x="400" y="46"/>
                    </a:cubicBezTo>
                    <a:cubicBezTo>
                      <a:pt x="399" y="46"/>
                      <a:pt x="399" y="46"/>
                      <a:pt x="399" y="46"/>
                    </a:cubicBezTo>
                    <a:cubicBezTo>
                      <a:pt x="396" y="35"/>
                      <a:pt x="396" y="35"/>
                      <a:pt x="396" y="35"/>
                    </a:cubicBezTo>
                    <a:cubicBezTo>
                      <a:pt x="377" y="35"/>
                      <a:pt x="377" y="35"/>
                      <a:pt x="377" y="35"/>
                    </a:cubicBezTo>
                    <a:cubicBezTo>
                      <a:pt x="377" y="122"/>
                      <a:pt x="377" y="122"/>
                      <a:pt x="377" y="122"/>
                    </a:cubicBezTo>
                    <a:cubicBezTo>
                      <a:pt x="401" y="122"/>
                      <a:pt x="401" y="122"/>
                      <a:pt x="401" y="122"/>
                    </a:cubicBezTo>
                    <a:cubicBezTo>
                      <a:pt x="401" y="81"/>
                      <a:pt x="401" y="81"/>
                      <a:pt x="401" y="81"/>
                    </a:cubicBezTo>
                    <a:cubicBezTo>
                      <a:pt x="401" y="72"/>
                      <a:pt x="403" y="65"/>
                      <a:pt x="405" y="60"/>
                    </a:cubicBezTo>
                    <a:cubicBezTo>
                      <a:pt x="408" y="55"/>
                      <a:pt x="413" y="52"/>
                      <a:pt x="420" y="52"/>
                    </a:cubicBezTo>
                    <a:cubicBezTo>
                      <a:pt x="425" y="52"/>
                      <a:pt x="429" y="54"/>
                      <a:pt x="431" y="57"/>
                    </a:cubicBezTo>
                    <a:cubicBezTo>
                      <a:pt x="433" y="60"/>
                      <a:pt x="434" y="65"/>
                      <a:pt x="434" y="71"/>
                    </a:cubicBezTo>
                    <a:cubicBezTo>
                      <a:pt x="434" y="122"/>
                      <a:pt x="434" y="122"/>
                      <a:pt x="434" y="122"/>
                    </a:cubicBezTo>
                    <a:cubicBezTo>
                      <a:pt x="458" y="122"/>
                      <a:pt x="458" y="122"/>
                      <a:pt x="458" y="122"/>
                    </a:cubicBezTo>
                    <a:cubicBezTo>
                      <a:pt x="458" y="65"/>
                      <a:pt x="458" y="65"/>
                      <a:pt x="458" y="65"/>
                    </a:cubicBezTo>
                    <a:cubicBezTo>
                      <a:pt x="458" y="54"/>
                      <a:pt x="455" y="46"/>
                      <a:pt x="450" y="41"/>
                    </a:cubicBezTo>
                    <a:cubicBezTo>
                      <a:pt x="444" y="36"/>
                      <a:pt x="436" y="33"/>
                      <a:pt x="427" y="33"/>
                    </a:cubicBezTo>
                    <a:cubicBezTo>
                      <a:pt x="422" y="33"/>
                      <a:pt x="416" y="34"/>
                      <a:pt x="412" y="36"/>
                    </a:cubicBezTo>
                    <a:moveTo>
                      <a:pt x="329" y="122"/>
                    </a:moveTo>
                    <a:cubicBezTo>
                      <a:pt x="352" y="122"/>
                      <a:pt x="352" y="122"/>
                      <a:pt x="352" y="122"/>
                    </a:cubicBezTo>
                    <a:cubicBezTo>
                      <a:pt x="352" y="35"/>
                      <a:pt x="352" y="35"/>
                      <a:pt x="352" y="35"/>
                    </a:cubicBezTo>
                    <a:cubicBezTo>
                      <a:pt x="329" y="35"/>
                      <a:pt x="329" y="35"/>
                      <a:pt x="329" y="35"/>
                    </a:cubicBezTo>
                    <a:lnTo>
                      <a:pt x="329" y="122"/>
                    </a:lnTo>
                    <a:close/>
                    <a:moveTo>
                      <a:pt x="331" y="3"/>
                    </a:moveTo>
                    <a:cubicBezTo>
                      <a:pt x="329" y="5"/>
                      <a:pt x="328" y="8"/>
                      <a:pt x="328" y="12"/>
                    </a:cubicBezTo>
                    <a:cubicBezTo>
                      <a:pt x="328" y="16"/>
                      <a:pt x="329" y="20"/>
                      <a:pt x="331" y="21"/>
                    </a:cubicBezTo>
                    <a:cubicBezTo>
                      <a:pt x="334" y="23"/>
                      <a:pt x="337" y="24"/>
                      <a:pt x="341" y="24"/>
                    </a:cubicBezTo>
                    <a:cubicBezTo>
                      <a:pt x="344" y="24"/>
                      <a:pt x="347" y="23"/>
                      <a:pt x="350" y="21"/>
                    </a:cubicBezTo>
                    <a:cubicBezTo>
                      <a:pt x="352" y="20"/>
                      <a:pt x="354" y="16"/>
                      <a:pt x="354" y="12"/>
                    </a:cubicBezTo>
                    <a:cubicBezTo>
                      <a:pt x="354" y="8"/>
                      <a:pt x="352" y="5"/>
                      <a:pt x="350" y="3"/>
                    </a:cubicBezTo>
                    <a:cubicBezTo>
                      <a:pt x="347" y="1"/>
                      <a:pt x="344" y="0"/>
                      <a:pt x="341" y="0"/>
                    </a:cubicBezTo>
                    <a:cubicBezTo>
                      <a:pt x="337" y="0"/>
                      <a:pt x="334" y="1"/>
                      <a:pt x="331" y="3"/>
                    </a:cubicBezTo>
                    <a:moveTo>
                      <a:pt x="283" y="122"/>
                    </a:moveTo>
                    <a:cubicBezTo>
                      <a:pt x="316" y="35"/>
                      <a:pt x="316" y="35"/>
                      <a:pt x="316" y="35"/>
                    </a:cubicBezTo>
                    <a:cubicBezTo>
                      <a:pt x="291" y="35"/>
                      <a:pt x="291" y="35"/>
                      <a:pt x="291" y="35"/>
                    </a:cubicBezTo>
                    <a:cubicBezTo>
                      <a:pt x="274" y="84"/>
                      <a:pt x="274" y="84"/>
                      <a:pt x="274" y="84"/>
                    </a:cubicBezTo>
                    <a:cubicBezTo>
                      <a:pt x="272" y="91"/>
                      <a:pt x="271" y="97"/>
                      <a:pt x="271" y="102"/>
                    </a:cubicBezTo>
                    <a:cubicBezTo>
                      <a:pt x="270" y="102"/>
                      <a:pt x="270" y="102"/>
                      <a:pt x="270" y="102"/>
                    </a:cubicBezTo>
                    <a:cubicBezTo>
                      <a:pt x="270" y="100"/>
                      <a:pt x="270" y="97"/>
                      <a:pt x="269" y="94"/>
                    </a:cubicBezTo>
                    <a:cubicBezTo>
                      <a:pt x="269" y="91"/>
                      <a:pt x="268" y="87"/>
                      <a:pt x="267" y="84"/>
                    </a:cubicBezTo>
                    <a:cubicBezTo>
                      <a:pt x="250" y="35"/>
                      <a:pt x="250" y="35"/>
                      <a:pt x="250" y="35"/>
                    </a:cubicBezTo>
                    <a:cubicBezTo>
                      <a:pt x="225" y="35"/>
                      <a:pt x="225" y="35"/>
                      <a:pt x="225" y="35"/>
                    </a:cubicBezTo>
                    <a:cubicBezTo>
                      <a:pt x="258" y="122"/>
                      <a:pt x="258" y="122"/>
                      <a:pt x="258" y="122"/>
                    </a:cubicBezTo>
                    <a:lnTo>
                      <a:pt x="283" y="122"/>
                    </a:lnTo>
                    <a:close/>
                    <a:moveTo>
                      <a:pt x="189" y="122"/>
                    </a:moveTo>
                    <a:cubicBezTo>
                      <a:pt x="213" y="122"/>
                      <a:pt x="213" y="122"/>
                      <a:pt x="213" y="122"/>
                    </a:cubicBezTo>
                    <a:cubicBezTo>
                      <a:pt x="213" y="35"/>
                      <a:pt x="213" y="35"/>
                      <a:pt x="213" y="35"/>
                    </a:cubicBezTo>
                    <a:cubicBezTo>
                      <a:pt x="189" y="35"/>
                      <a:pt x="189" y="35"/>
                      <a:pt x="189" y="35"/>
                    </a:cubicBezTo>
                    <a:lnTo>
                      <a:pt x="189" y="122"/>
                    </a:lnTo>
                    <a:close/>
                    <a:moveTo>
                      <a:pt x="192" y="3"/>
                    </a:moveTo>
                    <a:cubicBezTo>
                      <a:pt x="189" y="5"/>
                      <a:pt x="188" y="8"/>
                      <a:pt x="188" y="12"/>
                    </a:cubicBezTo>
                    <a:cubicBezTo>
                      <a:pt x="188" y="16"/>
                      <a:pt x="189" y="20"/>
                      <a:pt x="192" y="21"/>
                    </a:cubicBezTo>
                    <a:cubicBezTo>
                      <a:pt x="194" y="23"/>
                      <a:pt x="197" y="24"/>
                      <a:pt x="201" y="24"/>
                    </a:cubicBezTo>
                    <a:cubicBezTo>
                      <a:pt x="204" y="24"/>
                      <a:pt x="207" y="23"/>
                      <a:pt x="210" y="21"/>
                    </a:cubicBezTo>
                    <a:cubicBezTo>
                      <a:pt x="212" y="20"/>
                      <a:pt x="214" y="16"/>
                      <a:pt x="214" y="12"/>
                    </a:cubicBezTo>
                    <a:cubicBezTo>
                      <a:pt x="214" y="8"/>
                      <a:pt x="212" y="5"/>
                      <a:pt x="210" y="3"/>
                    </a:cubicBezTo>
                    <a:cubicBezTo>
                      <a:pt x="207" y="1"/>
                      <a:pt x="204" y="0"/>
                      <a:pt x="201" y="0"/>
                    </a:cubicBezTo>
                    <a:cubicBezTo>
                      <a:pt x="197" y="0"/>
                      <a:pt x="194" y="1"/>
                      <a:pt x="192" y="3"/>
                    </a:cubicBezTo>
                    <a:moveTo>
                      <a:pt x="149" y="38"/>
                    </a:moveTo>
                    <a:cubicBezTo>
                      <a:pt x="145" y="41"/>
                      <a:pt x="141" y="45"/>
                      <a:pt x="139" y="49"/>
                    </a:cubicBezTo>
                    <a:cubicBezTo>
                      <a:pt x="138" y="49"/>
                      <a:pt x="138" y="49"/>
                      <a:pt x="138" y="49"/>
                    </a:cubicBezTo>
                    <a:cubicBezTo>
                      <a:pt x="134" y="35"/>
                      <a:pt x="134" y="35"/>
                      <a:pt x="134" y="35"/>
                    </a:cubicBezTo>
                    <a:cubicBezTo>
                      <a:pt x="116" y="35"/>
                      <a:pt x="116" y="35"/>
                      <a:pt x="116" y="35"/>
                    </a:cubicBezTo>
                    <a:cubicBezTo>
                      <a:pt x="116" y="122"/>
                      <a:pt x="116" y="122"/>
                      <a:pt x="116" y="122"/>
                    </a:cubicBezTo>
                    <a:cubicBezTo>
                      <a:pt x="140" y="122"/>
                      <a:pt x="140" y="122"/>
                      <a:pt x="140" y="122"/>
                    </a:cubicBezTo>
                    <a:cubicBezTo>
                      <a:pt x="140" y="78"/>
                      <a:pt x="140" y="78"/>
                      <a:pt x="140" y="78"/>
                    </a:cubicBezTo>
                    <a:cubicBezTo>
                      <a:pt x="140" y="72"/>
                      <a:pt x="141" y="68"/>
                      <a:pt x="143" y="64"/>
                    </a:cubicBezTo>
                    <a:cubicBezTo>
                      <a:pt x="146" y="61"/>
                      <a:pt x="149" y="59"/>
                      <a:pt x="152" y="57"/>
                    </a:cubicBezTo>
                    <a:cubicBezTo>
                      <a:pt x="156" y="56"/>
                      <a:pt x="160" y="55"/>
                      <a:pt x="164" y="55"/>
                    </a:cubicBezTo>
                    <a:cubicBezTo>
                      <a:pt x="165" y="55"/>
                      <a:pt x="166" y="55"/>
                      <a:pt x="168" y="56"/>
                    </a:cubicBezTo>
                    <a:cubicBezTo>
                      <a:pt x="169" y="56"/>
                      <a:pt x="170" y="56"/>
                      <a:pt x="171" y="56"/>
                    </a:cubicBezTo>
                    <a:cubicBezTo>
                      <a:pt x="173" y="34"/>
                      <a:pt x="173" y="34"/>
                      <a:pt x="173" y="34"/>
                    </a:cubicBezTo>
                    <a:cubicBezTo>
                      <a:pt x="172" y="34"/>
                      <a:pt x="171" y="33"/>
                      <a:pt x="169" y="33"/>
                    </a:cubicBezTo>
                    <a:cubicBezTo>
                      <a:pt x="167" y="33"/>
                      <a:pt x="166" y="33"/>
                      <a:pt x="165" y="33"/>
                    </a:cubicBezTo>
                    <a:cubicBezTo>
                      <a:pt x="159" y="33"/>
                      <a:pt x="154" y="35"/>
                      <a:pt x="149" y="38"/>
                    </a:cubicBezTo>
                    <a:moveTo>
                      <a:pt x="34" y="102"/>
                    </a:moveTo>
                    <a:cubicBezTo>
                      <a:pt x="24" y="102"/>
                      <a:pt x="24" y="102"/>
                      <a:pt x="24" y="102"/>
                    </a:cubicBezTo>
                    <a:cubicBezTo>
                      <a:pt x="24" y="28"/>
                      <a:pt x="24" y="28"/>
                      <a:pt x="24" y="28"/>
                    </a:cubicBezTo>
                    <a:cubicBezTo>
                      <a:pt x="37" y="28"/>
                      <a:pt x="37" y="28"/>
                      <a:pt x="37" y="28"/>
                    </a:cubicBezTo>
                    <a:cubicBezTo>
                      <a:pt x="47" y="28"/>
                      <a:pt x="55" y="31"/>
                      <a:pt x="61" y="37"/>
                    </a:cubicBezTo>
                    <a:cubicBezTo>
                      <a:pt x="66" y="43"/>
                      <a:pt x="69" y="52"/>
                      <a:pt x="69" y="64"/>
                    </a:cubicBezTo>
                    <a:cubicBezTo>
                      <a:pt x="69" y="90"/>
                      <a:pt x="58" y="102"/>
                      <a:pt x="34" y="102"/>
                    </a:cubicBezTo>
                    <a:moveTo>
                      <a:pt x="87" y="33"/>
                    </a:moveTo>
                    <a:cubicBezTo>
                      <a:pt x="82" y="25"/>
                      <a:pt x="75" y="18"/>
                      <a:pt x="67" y="14"/>
                    </a:cubicBezTo>
                    <a:cubicBezTo>
                      <a:pt x="58" y="10"/>
                      <a:pt x="47" y="8"/>
                      <a:pt x="35" y="8"/>
                    </a:cubicBezTo>
                    <a:cubicBezTo>
                      <a:pt x="0" y="8"/>
                      <a:pt x="0" y="8"/>
                      <a:pt x="0" y="8"/>
                    </a:cubicBezTo>
                    <a:cubicBezTo>
                      <a:pt x="0" y="122"/>
                      <a:pt x="0" y="122"/>
                      <a:pt x="0" y="122"/>
                    </a:cubicBezTo>
                    <a:cubicBezTo>
                      <a:pt x="32" y="122"/>
                      <a:pt x="32" y="122"/>
                      <a:pt x="32" y="122"/>
                    </a:cubicBezTo>
                    <a:cubicBezTo>
                      <a:pt x="52" y="122"/>
                      <a:pt x="67" y="117"/>
                      <a:pt x="78" y="107"/>
                    </a:cubicBezTo>
                    <a:cubicBezTo>
                      <a:pt x="89" y="98"/>
                      <a:pt x="94" y="83"/>
                      <a:pt x="94" y="64"/>
                    </a:cubicBezTo>
                    <a:cubicBezTo>
                      <a:pt x="94" y="52"/>
                      <a:pt x="92" y="41"/>
                      <a:pt x="87" y="33"/>
                    </a:cubicBezTo>
                  </a:path>
                </a:pathLst>
              </a:custGeom>
              <a:solidFill>
                <a:srgbClr val="001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7" name="Freeform 21">
              <a:extLst>
                <a:ext uri="{FF2B5EF4-FFF2-40B4-BE49-F238E27FC236}">
                  <a16:creationId xmlns:a16="http://schemas.microsoft.com/office/drawing/2014/main" id="{13F924FE-E6CF-2C4E-B4D9-5989303D08C9}"/>
                </a:ext>
              </a:extLst>
            </p:cNvPr>
            <p:cNvSpPr>
              <a:spLocks noEditPoints="1"/>
            </p:cNvSpPr>
            <p:nvPr/>
          </p:nvSpPr>
          <p:spPr bwMode="auto">
            <a:xfrm>
              <a:off x="3978275" y="3571875"/>
              <a:ext cx="1220788" cy="304800"/>
            </a:xfrm>
            <a:custGeom>
              <a:avLst/>
              <a:gdLst>
                <a:gd name="T0" fmla="*/ 1552 w 1625"/>
                <a:gd name="T1" fmla="*/ 34 h 403"/>
                <a:gd name="T2" fmla="*/ 1540 w 1625"/>
                <a:gd name="T3" fmla="*/ 35 h 403"/>
                <a:gd name="T4" fmla="*/ 1609 w 1625"/>
                <a:gd name="T5" fmla="*/ 51 h 403"/>
                <a:gd name="T6" fmla="*/ 1610 w 1625"/>
                <a:gd name="T7" fmla="*/ 83 h 403"/>
                <a:gd name="T8" fmla="*/ 1504 w 1625"/>
                <a:gd name="T9" fmla="*/ 100 h 403"/>
                <a:gd name="T10" fmla="*/ 1515 w 1625"/>
                <a:gd name="T11" fmla="*/ 56 h 403"/>
                <a:gd name="T12" fmla="*/ 1517 w 1625"/>
                <a:gd name="T13" fmla="*/ 110 h 403"/>
                <a:gd name="T14" fmla="*/ 1511 w 1625"/>
                <a:gd name="T15" fmla="*/ 144 h 403"/>
                <a:gd name="T16" fmla="*/ 1441 w 1625"/>
                <a:gd name="T17" fmla="*/ 129 h 403"/>
                <a:gd name="T18" fmla="*/ 1402 w 1625"/>
                <a:gd name="T19" fmla="*/ 159 h 403"/>
                <a:gd name="T20" fmla="*/ 1484 w 1625"/>
                <a:gd name="T21" fmla="*/ 164 h 403"/>
                <a:gd name="T22" fmla="*/ 1454 w 1625"/>
                <a:gd name="T23" fmla="*/ 121 h 403"/>
                <a:gd name="T24" fmla="*/ 1309 w 1625"/>
                <a:gd name="T25" fmla="*/ 191 h 403"/>
                <a:gd name="T26" fmla="*/ 1365 w 1625"/>
                <a:gd name="T27" fmla="*/ 195 h 403"/>
                <a:gd name="T28" fmla="*/ 1257 w 1625"/>
                <a:gd name="T29" fmla="*/ 216 h 403"/>
                <a:gd name="T30" fmla="*/ 1251 w 1625"/>
                <a:gd name="T31" fmla="*/ 201 h 403"/>
                <a:gd name="T32" fmla="*/ 1249 w 1625"/>
                <a:gd name="T33" fmla="*/ 275 h 403"/>
                <a:gd name="T34" fmla="*/ 1209 w 1625"/>
                <a:gd name="T35" fmla="*/ 248 h 403"/>
                <a:gd name="T36" fmla="*/ 1184 w 1625"/>
                <a:gd name="T37" fmla="*/ 270 h 403"/>
                <a:gd name="T38" fmla="*/ 1243 w 1625"/>
                <a:gd name="T39" fmla="*/ 302 h 403"/>
                <a:gd name="T40" fmla="*/ 1255 w 1625"/>
                <a:gd name="T41" fmla="*/ 306 h 403"/>
                <a:gd name="T42" fmla="*/ 1109 w 1625"/>
                <a:gd name="T43" fmla="*/ 330 h 403"/>
                <a:gd name="T44" fmla="*/ 1157 w 1625"/>
                <a:gd name="T45" fmla="*/ 335 h 403"/>
                <a:gd name="T46" fmla="*/ 1043 w 1625"/>
                <a:gd name="T47" fmla="*/ 358 h 403"/>
                <a:gd name="T48" fmla="*/ 1044 w 1625"/>
                <a:gd name="T49" fmla="*/ 333 h 403"/>
                <a:gd name="T50" fmla="*/ 1032 w 1625"/>
                <a:gd name="T51" fmla="*/ 381 h 403"/>
                <a:gd name="T52" fmla="*/ 991 w 1625"/>
                <a:gd name="T53" fmla="*/ 312 h 403"/>
                <a:gd name="T54" fmla="*/ 846 w 1625"/>
                <a:gd name="T55" fmla="*/ 351 h 403"/>
                <a:gd name="T56" fmla="*/ 839 w 1625"/>
                <a:gd name="T57" fmla="*/ 385 h 403"/>
                <a:gd name="T58" fmla="*/ 876 w 1625"/>
                <a:gd name="T59" fmla="*/ 390 h 403"/>
                <a:gd name="T60" fmla="*/ 867 w 1625"/>
                <a:gd name="T61" fmla="*/ 314 h 403"/>
                <a:gd name="T62" fmla="*/ 741 w 1625"/>
                <a:gd name="T63" fmla="*/ 359 h 403"/>
                <a:gd name="T64" fmla="*/ 720 w 1625"/>
                <a:gd name="T65" fmla="*/ 325 h 403"/>
                <a:gd name="T66" fmla="*/ 701 w 1625"/>
                <a:gd name="T67" fmla="*/ 398 h 403"/>
                <a:gd name="T68" fmla="*/ 696 w 1625"/>
                <a:gd name="T69" fmla="*/ 325 h 403"/>
                <a:gd name="T70" fmla="*/ 617 w 1625"/>
                <a:gd name="T71" fmla="*/ 374 h 403"/>
                <a:gd name="T72" fmla="*/ 627 w 1625"/>
                <a:gd name="T73" fmla="*/ 357 h 403"/>
                <a:gd name="T74" fmla="*/ 630 w 1625"/>
                <a:gd name="T75" fmla="*/ 335 h 403"/>
                <a:gd name="T76" fmla="*/ 610 w 1625"/>
                <a:gd name="T77" fmla="*/ 387 h 403"/>
                <a:gd name="T78" fmla="*/ 618 w 1625"/>
                <a:gd name="T79" fmla="*/ 302 h 403"/>
                <a:gd name="T80" fmla="*/ 462 w 1625"/>
                <a:gd name="T81" fmla="*/ 357 h 403"/>
                <a:gd name="T82" fmla="*/ 532 w 1625"/>
                <a:gd name="T83" fmla="*/ 375 h 403"/>
                <a:gd name="T84" fmla="*/ 424 w 1625"/>
                <a:gd name="T85" fmla="*/ 345 h 403"/>
                <a:gd name="T86" fmla="*/ 455 w 1625"/>
                <a:gd name="T87" fmla="*/ 248 h 403"/>
                <a:gd name="T88" fmla="*/ 343 w 1625"/>
                <a:gd name="T89" fmla="*/ 305 h 403"/>
                <a:gd name="T90" fmla="*/ 364 w 1625"/>
                <a:gd name="T91" fmla="*/ 232 h 403"/>
                <a:gd name="T92" fmla="*/ 382 w 1625"/>
                <a:gd name="T93" fmla="*/ 275 h 403"/>
                <a:gd name="T94" fmla="*/ 367 w 1625"/>
                <a:gd name="T95" fmla="*/ 312 h 403"/>
                <a:gd name="T96" fmla="*/ 364 w 1625"/>
                <a:gd name="T97" fmla="*/ 232 h 403"/>
                <a:gd name="T98" fmla="*/ 313 w 1625"/>
                <a:gd name="T99" fmla="*/ 186 h 403"/>
                <a:gd name="T100" fmla="*/ 261 w 1625"/>
                <a:gd name="T101" fmla="*/ 269 h 403"/>
                <a:gd name="T102" fmla="*/ 283 w 1625"/>
                <a:gd name="T103" fmla="*/ 278 h 403"/>
                <a:gd name="T104" fmla="*/ 215 w 1625"/>
                <a:gd name="T105" fmla="*/ 179 h 403"/>
                <a:gd name="T106" fmla="*/ 243 w 1625"/>
                <a:gd name="T107" fmla="*/ 169 h 403"/>
                <a:gd name="T108" fmla="*/ 225 w 1625"/>
                <a:gd name="T109" fmla="*/ 227 h 403"/>
                <a:gd name="T110" fmla="*/ 181 w 1625"/>
                <a:gd name="T111" fmla="*/ 234 h 403"/>
                <a:gd name="T112" fmla="*/ 134 w 1625"/>
                <a:gd name="T113" fmla="*/ 183 h 403"/>
                <a:gd name="T114" fmla="*/ 105 w 1625"/>
                <a:gd name="T115" fmla="*/ 187 h 403"/>
                <a:gd name="T116" fmla="*/ 178 w 1625"/>
                <a:gd name="T117" fmla="*/ 131 h 403"/>
                <a:gd name="T118" fmla="*/ 78 w 1625"/>
                <a:gd name="T119" fmla="*/ 38 h 403"/>
                <a:gd name="T120" fmla="*/ 84 w 1625"/>
                <a:gd name="T121" fmla="*/ 26 h 403"/>
                <a:gd name="T122" fmla="*/ 61 w 1625"/>
                <a:gd name="T123" fmla="*/ 115 h 403"/>
                <a:gd name="T124" fmla="*/ 21 w 1625"/>
                <a:gd name="T125" fmla="*/ 122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25" h="403">
                  <a:moveTo>
                    <a:pt x="1608" y="34"/>
                  </a:moveTo>
                  <a:cubicBezTo>
                    <a:pt x="1604" y="34"/>
                    <a:pt x="1600" y="34"/>
                    <a:pt x="1596" y="35"/>
                  </a:cubicBezTo>
                  <a:cubicBezTo>
                    <a:pt x="1592" y="36"/>
                    <a:pt x="1587" y="38"/>
                    <a:pt x="1581" y="40"/>
                  </a:cubicBezTo>
                  <a:cubicBezTo>
                    <a:pt x="1576" y="42"/>
                    <a:pt x="1572" y="44"/>
                    <a:pt x="1568" y="45"/>
                  </a:cubicBezTo>
                  <a:cubicBezTo>
                    <a:pt x="1565" y="46"/>
                    <a:pt x="1562" y="46"/>
                    <a:pt x="1560" y="46"/>
                  </a:cubicBezTo>
                  <a:cubicBezTo>
                    <a:pt x="1558" y="46"/>
                    <a:pt x="1556" y="45"/>
                    <a:pt x="1554" y="43"/>
                  </a:cubicBezTo>
                  <a:cubicBezTo>
                    <a:pt x="1552" y="41"/>
                    <a:pt x="1551" y="38"/>
                    <a:pt x="1552" y="34"/>
                  </a:cubicBezTo>
                  <a:cubicBezTo>
                    <a:pt x="1553" y="31"/>
                    <a:pt x="1556" y="27"/>
                    <a:pt x="1560" y="23"/>
                  </a:cubicBezTo>
                  <a:cubicBezTo>
                    <a:pt x="1563" y="20"/>
                    <a:pt x="1566" y="18"/>
                    <a:pt x="1570" y="16"/>
                  </a:cubicBezTo>
                  <a:cubicBezTo>
                    <a:pt x="1573" y="14"/>
                    <a:pt x="1577" y="13"/>
                    <a:pt x="1581" y="11"/>
                  </a:cubicBezTo>
                  <a:cubicBezTo>
                    <a:pt x="1577" y="0"/>
                    <a:pt x="1577" y="0"/>
                    <a:pt x="1577" y="0"/>
                  </a:cubicBezTo>
                  <a:cubicBezTo>
                    <a:pt x="1573" y="1"/>
                    <a:pt x="1569" y="3"/>
                    <a:pt x="1564" y="5"/>
                  </a:cubicBezTo>
                  <a:cubicBezTo>
                    <a:pt x="1560" y="8"/>
                    <a:pt x="1557" y="11"/>
                    <a:pt x="1553" y="14"/>
                  </a:cubicBezTo>
                  <a:cubicBezTo>
                    <a:pt x="1546" y="21"/>
                    <a:pt x="1541" y="28"/>
                    <a:pt x="1540" y="35"/>
                  </a:cubicBezTo>
                  <a:cubicBezTo>
                    <a:pt x="1538" y="41"/>
                    <a:pt x="1540" y="48"/>
                    <a:pt x="1545" y="53"/>
                  </a:cubicBezTo>
                  <a:cubicBezTo>
                    <a:pt x="1548" y="56"/>
                    <a:pt x="1552" y="58"/>
                    <a:pt x="1555" y="59"/>
                  </a:cubicBezTo>
                  <a:cubicBezTo>
                    <a:pt x="1559" y="60"/>
                    <a:pt x="1563" y="60"/>
                    <a:pt x="1567" y="58"/>
                  </a:cubicBezTo>
                  <a:cubicBezTo>
                    <a:pt x="1571" y="57"/>
                    <a:pt x="1576" y="56"/>
                    <a:pt x="1582" y="53"/>
                  </a:cubicBezTo>
                  <a:cubicBezTo>
                    <a:pt x="1587" y="51"/>
                    <a:pt x="1592" y="49"/>
                    <a:pt x="1595" y="49"/>
                  </a:cubicBezTo>
                  <a:cubicBezTo>
                    <a:pt x="1599" y="48"/>
                    <a:pt x="1601" y="47"/>
                    <a:pt x="1603" y="48"/>
                  </a:cubicBezTo>
                  <a:cubicBezTo>
                    <a:pt x="1605" y="48"/>
                    <a:pt x="1607" y="49"/>
                    <a:pt x="1609" y="51"/>
                  </a:cubicBezTo>
                  <a:cubicBezTo>
                    <a:pt x="1611" y="54"/>
                    <a:pt x="1612" y="57"/>
                    <a:pt x="1611" y="61"/>
                  </a:cubicBezTo>
                  <a:cubicBezTo>
                    <a:pt x="1611" y="65"/>
                    <a:pt x="1608" y="69"/>
                    <a:pt x="1602" y="74"/>
                  </a:cubicBezTo>
                  <a:cubicBezTo>
                    <a:pt x="1599" y="77"/>
                    <a:pt x="1595" y="80"/>
                    <a:pt x="1590" y="83"/>
                  </a:cubicBezTo>
                  <a:cubicBezTo>
                    <a:pt x="1586" y="85"/>
                    <a:pt x="1582" y="87"/>
                    <a:pt x="1578" y="88"/>
                  </a:cubicBezTo>
                  <a:cubicBezTo>
                    <a:pt x="1587" y="97"/>
                    <a:pt x="1587" y="97"/>
                    <a:pt x="1587" y="97"/>
                  </a:cubicBezTo>
                  <a:cubicBezTo>
                    <a:pt x="1590" y="96"/>
                    <a:pt x="1594" y="94"/>
                    <a:pt x="1598" y="92"/>
                  </a:cubicBezTo>
                  <a:cubicBezTo>
                    <a:pt x="1602" y="90"/>
                    <a:pt x="1606" y="87"/>
                    <a:pt x="1610" y="83"/>
                  </a:cubicBezTo>
                  <a:cubicBezTo>
                    <a:pt x="1618" y="75"/>
                    <a:pt x="1622" y="68"/>
                    <a:pt x="1624" y="61"/>
                  </a:cubicBezTo>
                  <a:cubicBezTo>
                    <a:pt x="1625" y="53"/>
                    <a:pt x="1623" y="47"/>
                    <a:pt x="1618" y="41"/>
                  </a:cubicBezTo>
                  <a:cubicBezTo>
                    <a:pt x="1614" y="37"/>
                    <a:pt x="1611" y="35"/>
                    <a:pt x="1608" y="34"/>
                  </a:cubicBezTo>
                  <a:moveTo>
                    <a:pt x="1544" y="93"/>
                  </a:moveTo>
                  <a:cubicBezTo>
                    <a:pt x="1540" y="92"/>
                    <a:pt x="1536" y="91"/>
                    <a:pt x="1532" y="92"/>
                  </a:cubicBezTo>
                  <a:cubicBezTo>
                    <a:pt x="1528" y="93"/>
                    <a:pt x="1523" y="94"/>
                    <a:pt x="1517" y="96"/>
                  </a:cubicBezTo>
                  <a:cubicBezTo>
                    <a:pt x="1512" y="98"/>
                    <a:pt x="1507" y="99"/>
                    <a:pt x="1504" y="100"/>
                  </a:cubicBezTo>
                  <a:cubicBezTo>
                    <a:pt x="1500" y="101"/>
                    <a:pt x="1498" y="101"/>
                    <a:pt x="1495" y="101"/>
                  </a:cubicBezTo>
                  <a:cubicBezTo>
                    <a:pt x="1493" y="101"/>
                    <a:pt x="1492" y="99"/>
                    <a:pt x="1490" y="98"/>
                  </a:cubicBezTo>
                  <a:cubicBezTo>
                    <a:pt x="1488" y="95"/>
                    <a:pt x="1488" y="92"/>
                    <a:pt x="1489" y="89"/>
                  </a:cubicBezTo>
                  <a:cubicBezTo>
                    <a:pt x="1490" y="85"/>
                    <a:pt x="1493" y="82"/>
                    <a:pt x="1497" y="78"/>
                  </a:cubicBezTo>
                  <a:cubicBezTo>
                    <a:pt x="1500" y="76"/>
                    <a:pt x="1504" y="73"/>
                    <a:pt x="1508" y="72"/>
                  </a:cubicBezTo>
                  <a:cubicBezTo>
                    <a:pt x="1511" y="70"/>
                    <a:pt x="1515" y="69"/>
                    <a:pt x="1519" y="68"/>
                  </a:cubicBezTo>
                  <a:cubicBezTo>
                    <a:pt x="1515" y="56"/>
                    <a:pt x="1515" y="56"/>
                    <a:pt x="1515" y="56"/>
                  </a:cubicBezTo>
                  <a:cubicBezTo>
                    <a:pt x="1511" y="57"/>
                    <a:pt x="1507" y="59"/>
                    <a:pt x="1503" y="61"/>
                  </a:cubicBezTo>
                  <a:cubicBezTo>
                    <a:pt x="1499" y="63"/>
                    <a:pt x="1495" y="65"/>
                    <a:pt x="1491" y="69"/>
                  </a:cubicBezTo>
                  <a:cubicBezTo>
                    <a:pt x="1483" y="75"/>
                    <a:pt x="1478" y="81"/>
                    <a:pt x="1476" y="88"/>
                  </a:cubicBezTo>
                  <a:cubicBezTo>
                    <a:pt x="1474" y="95"/>
                    <a:pt x="1475" y="101"/>
                    <a:pt x="1480" y="107"/>
                  </a:cubicBezTo>
                  <a:cubicBezTo>
                    <a:pt x="1483" y="110"/>
                    <a:pt x="1486" y="113"/>
                    <a:pt x="1490" y="114"/>
                  </a:cubicBezTo>
                  <a:cubicBezTo>
                    <a:pt x="1493" y="114"/>
                    <a:pt x="1497" y="115"/>
                    <a:pt x="1502" y="114"/>
                  </a:cubicBezTo>
                  <a:cubicBezTo>
                    <a:pt x="1506" y="113"/>
                    <a:pt x="1511" y="112"/>
                    <a:pt x="1517" y="110"/>
                  </a:cubicBezTo>
                  <a:cubicBezTo>
                    <a:pt x="1523" y="108"/>
                    <a:pt x="1527" y="107"/>
                    <a:pt x="1531" y="106"/>
                  </a:cubicBezTo>
                  <a:cubicBezTo>
                    <a:pt x="1534" y="105"/>
                    <a:pt x="1537" y="105"/>
                    <a:pt x="1539" y="106"/>
                  </a:cubicBezTo>
                  <a:cubicBezTo>
                    <a:pt x="1541" y="106"/>
                    <a:pt x="1542" y="108"/>
                    <a:pt x="1544" y="109"/>
                  </a:cubicBezTo>
                  <a:cubicBezTo>
                    <a:pt x="1546" y="112"/>
                    <a:pt x="1547" y="116"/>
                    <a:pt x="1546" y="119"/>
                  </a:cubicBezTo>
                  <a:cubicBezTo>
                    <a:pt x="1545" y="123"/>
                    <a:pt x="1541" y="127"/>
                    <a:pt x="1536" y="132"/>
                  </a:cubicBezTo>
                  <a:cubicBezTo>
                    <a:pt x="1532" y="135"/>
                    <a:pt x="1528" y="138"/>
                    <a:pt x="1523" y="140"/>
                  </a:cubicBezTo>
                  <a:cubicBezTo>
                    <a:pt x="1518" y="141"/>
                    <a:pt x="1514" y="143"/>
                    <a:pt x="1511" y="144"/>
                  </a:cubicBezTo>
                  <a:cubicBezTo>
                    <a:pt x="1519" y="154"/>
                    <a:pt x="1519" y="154"/>
                    <a:pt x="1519" y="154"/>
                  </a:cubicBezTo>
                  <a:cubicBezTo>
                    <a:pt x="1522" y="153"/>
                    <a:pt x="1526" y="152"/>
                    <a:pt x="1530" y="150"/>
                  </a:cubicBezTo>
                  <a:cubicBezTo>
                    <a:pt x="1534" y="148"/>
                    <a:pt x="1538" y="145"/>
                    <a:pt x="1543" y="141"/>
                  </a:cubicBezTo>
                  <a:cubicBezTo>
                    <a:pt x="1551" y="134"/>
                    <a:pt x="1556" y="127"/>
                    <a:pt x="1558" y="120"/>
                  </a:cubicBezTo>
                  <a:cubicBezTo>
                    <a:pt x="1560" y="113"/>
                    <a:pt x="1559" y="106"/>
                    <a:pt x="1553" y="100"/>
                  </a:cubicBezTo>
                  <a:cubicBezTo>
                    <a:pt x="1551" y="96"/>
                    <a:pt x="1547" y="94"/>
                    <a:pt x="1544" y="93"/>
                  </a:cubicBezTo>
                  <a:moveTo>
                    <a:pt x="1441" y="129"/>
                  </a:moveTo>
                  <a:cubicBezTo>
                    <a:pt x="1446" y="131"/>
                    <a:pt x="1451" y="135"/>
                    <a:pt x="1455" y="141"/>
                  </a:cubicBezTo>
                  <a:cubicBezTo>
                    <a:pt x="1419" y="166"/>
                    <a:pt x="1419" y="166"/>
                    <a:pt x="1419" y="166"/>
                  </a:cubicBezTo>
                  <a:cubicBezTo>
                    <a:pt x="1415" y="159"/>
                    <a:pt x="1414" y="153"/>
                    <a:pt x="1415" y="147"/>
                  </a:cubicBezTo>
                  <a:cubicBezTo>
                    <a:pt x="1416" y="141"/>
                    <a:pt x="1419" y="136"/>
                    <a:pt x="1424" y="133"/>
                  </a:cubicBezTo>
                  <a:cubicBezTo>
                    <a:pt x="1430" y="129"/>
                    <a:pt x="1436" y="128"/>
                    <a:pt x="1441" y="129"/>
                  </a:cubicBezTo>
                  <a:moveTo>
                    <a:pt x="1405" y="139"/>
                  </a:moveTo>
                  <a:cubicBezTo>
                    <a:pt x="1402" y="145"/>
                    <a:pt x="1401" y="152"/>
                    <a:pt x="1402" y="159"/>
                  </a:cubicBezTo>
                  <a:cubicBezTo>
                    <a:pt x="1404" y="166"/>
                    <a:pt x="1407" y="174"/>
                    <a:pt x="1412" y="182"/>
                  </a:cubicBezTo>
                  <a:cubicBezTo>
                    <a:pt x="1417" y="190"/>
                    <a:pt x="1423" y="195"/>
                    <a:pt x="1430" y="199"/>
                  </a:cubicBezTo>
                  <a:cubicBezTo>
                    <a:pt x="1437" y="202"/>
                    <a:pt x="1443" y="203"/>
                    <a:pt x="1450" y="203"/>
                  </a:cubicBezTo>
                  <a:cubicBezTo>
                    <a:pt x="1457" y="202"/>
                    <a:pt x="1464" y="199"/>
                    <a:pt x="1471" y="195"/>
                  </a:cubicBezTo>
                  <a:cubicBezTo>
                    <a:pt x="1476" y="191"/>
                    <a:pt x="1480" y="188"/>
                    <a:pt x="1483" y="185"/>
                  </a:cubicBezTo>
                  <a:cubicBezTo>
                    <a:pt x="1486" y="182"/>
                    <a:pt x="1488" y="178"/>
                    <a:pt x="1491" y="174"/>
                  </a:cubicBezTo>
                  <a:cubicBezTo>
                    <a:pt x="1484" y="164"/>
                    <a:pt x="1484" y="164"/>
                    <a:pt x="1484" y="164"/>
                  </a:cubicBezTo>
                  <a:cubicBezTo>
                    <a:pt x="1481" y="168"/>
                    <a:pt x="1479" y="172"/>
                    <a:pt x="1476" y="175"/>
                  </a:cubicBezTo>
                  <a:cubicBezTo>
                    <a:pt x="1473" y="178"/>
                    <a:pt x="1469" y="181"/>
                    <a:pt x="1465" y="184"/>
                  </a:cubicBezTo>
                  <a:cubicBezTo>
                    <a:pt x="1458" y="189"/>
                    <a:pt x="1451" y="191"/>
                    <a:pt x="1444" y="189"/>
                  </a:cubicBezTo>
                  <a:cubicBezTo>
                    <a:pt x="1437" y="188"/>
                    <a:pt x="1431" y="183"/>
                    <a:pt x="1425" y="175"/>
                  </a:cubicBezTo>
                  <a:cubicBezTo>
                    <a:pt x="1474" y="142"/>
                    <a:pt x="1474" y="142"/>
                    <a:pt x="1474" y="142"/>
                  </a:cubicBezTo>
                  <a:cubicBezTo>
                    <a:pt x="1469" y="135"/>
                    <a:pt x="1469" y="135"/>
                    <a:pt x="1469" y="135"/>
                  </a:cubicBezTo>
                  <a:cubicBezTo>
                    <a:pt x="1465" y="129"/>
                    <a:pt x="1460" y="124"/>
                    <a:pt x="1454" y="121"/>
                  </a:cubicBezTo>
                  <a:cubicBezTo>
                    <a:pt x="1448" y="117"/>
                    <a:pt x="1442" y="116"/>
                    <a:pt x="1436" y="116"/>
                  </a:cubicBezTo>
                  <a:cubicBezTo>
                    <a:pt x="1430" y="117"/>
                    <a:pt x="1424" y="119"/>
                    <a:pt x="1418" y="123"/>
                  </a:cubicBezTo>
                  <a:cubicBezTo>
                    <a:pt x="1412" y="127"/>
                    <a:pt x="1407" y="133"/>
                    <a:pt x="1405" y="139"/>
                  </a:cubicBezTo>
                  <a:moveTo>
                    <a:pt x="1322" y="186"/>
                  </a:moveTo>
                  <a:cubicBezTo>
                    <a:pt x="1319" y="190"/>
                    <a:pt x="1317" y="195"/>
                    <a:pt x="1317" y="200"/>
                  </a:cubicBezTo>
                  <a:cubicBezTo>
                    <a:pt x="1316" y="200"/>
                    <a:pt x="1316" y="200"/>
                    <a:pt x="1316" y="200"/>
                  </a:cubicBezTo>
                  <a:cubicBezTo>
                    <a:pt x="1309" y="191"/>
                    <a:pt x="1309" y="191"/>
                    <a:pt x="1309" y="191"/>
                  </a:cubicBezTo>
                  <a:cubicBezTo>
                    <a:pt x="1299" y="196"/>
                    <a:pt x="1299" y="196"/>
                    <a:pt x="1299" y="196"/>
                  </a:cubicBezTo>
                  <a:cubicBezTo>
                    <a:pt x="1340" y="272"/>
                    <a:pt x="1340" y="272"/>
                    <a:pt x="1340" y="272"/>
                  </a:cubicBezTo>
                  <a:cubicBezTo>
                    <a:pt x="1352" y="265"/>
                    <a:pt x="1352" y="265"/>
                    <a:pt x="1352" y="265"/>
                  </a:cubicBezTo>
                  <a:cubicBezTo>
                    <a:pt x="1331" y="226"/>
                    <a:pt x="1331" y="226"/>
                    <a:pt x="1331" y="226"/>
                  </a:cubicBezTo>
                  <a:cubicBezTo>
                    <a:pt x="1326" y="217"/>
                    <a:pt x="1324" y="209"/>
                    <a:pt x="1325" y="203"/>
                  </a:cubicBezTo>
                  <a:cubicBezTo>
                    <a:pt x="1325" y="197"/>
                    <a:pt x="1330" y="191"/>
                    <a:pt x="1338" y="187"/>
                  </a:cubicBezTo>
                  <a:cubicBezTo>
                    <a:pt x="1349" y="180"/>
                    <a:pt x="1358" y="183"/>
                    <a:pt x="1365" y="195"/>
                  </a:cubicBezTo>
                  <a:cubicBezTo>
                    <a:pt x="1391" y="243"/>
                    <a:pt x="1391" y="243"/>
                    <a:pt x="1391" y="243"/>
                  </a:cubicBezTo>
                  <a:cubicBezTo>
                    <a:pt x="1403" y="237"/>
                    <a:pt x="1403" y="237"/>
                    <a:pt x="1403" y="237"/>
                  </a:cubicBezTo>
                  <a:cubicBezTo>
                    <a:pt x="1376" y="188"/>
                    <a:pt x="1376" y="188"/>
                    <a:pt x="1376" y="188"/>
                  </a:cubicBezTo>
                  <a:cubicBezTo>
                    <a:pt x="1371" y="178"/>
                    <a:pt x="1365" y="172"/>
                    <a:pt x="1358" y="171"/>
                  </a:cubicBezTo>
                  <a:cubicBezTo>
                    <a:pt x="1351" y="169"/>
                    <a:pt x="1343" y="170"/>
                    <a:pt x="1334" y="175"/>
                  </a:cubicBezTo>
                  <a:cubicBezTo>
                    <a:pt x="1329" y="178"/>
                    <a:pt x="1325" y="181"/>
                    <a:pt x="1322" y="186"/>
                  </a:cubicBezTo>
                  <a:moveTo>
                    <a:pt x="1257" y="216"/>
                  </a:moveTo>
                  <a:cubicBezTo>
                    <a:pt x="1293" y="294"/>
                    <a:pt x="1293" y="294"/>
                    <a:pt x="1293" y="294"/>
                  </a:cubicBezTo>
                  <a:cubicBezTo>
                    <a:pt x="1306" y="288"/>
                    <a:pt x="1306" y="288"/>
                    <a:pt x="1306" y="288"/>
                  </a:cubicBezTo>
                  <a:cubicBezTo>
                    <a:pt x="1269" y="210"/>
                    <a:pt x="1269" y="210"/>
                    <a:pt x="1269" y="210"/>
                  </a:cubicBezTo>
                  <a:lnTo>
                    <a:pt x="1257" y="216"/>
                  </a:lnTo>
                  <a:close/>
                  <a:moveTo>
                    <a:pt x="1245" y="189"/>
                  </a:moveTo>
                  <a:cubicBezTo>
                    <a:pt x="1244" y="191"/>
                    <a:pt x="1244" y="193"/>
                    <a:pt x="1246" y="196"/>
                  </a:cubicBezTo>
                  <a:cubicBezTo>
                    <a:pt x="1247" y="199"/>
                    <a:pt x="1249" y="200"/>
                    <a:pt x="1251" y="201"/>
                  </a:cubicBezTo>
                  <a:cubicBezTo>
                    <a:pt x="1253" y="202"/>
                    <a:pt x="1255" y="201"/>
                    <a:pt x="1257" y="200"/>
                  </a:cubicBezTo>
                  <a:cubicBezTo>
                    <a:pt x="1259" y="200"/>
                    <a:pt x="1260" y="198"/>
                    <a:pt x="1261" y="196"/>
                  </a:cubicBezTo>
                  <a:cubicBezTo>
                    <a:pt x="1262" y="194"/>
                    <a:pt x="1262" y="192"/>
                    <a:pt x="1261" y="189"/>
                  </a:cubicBezTo>
                  <a:cubicBezTo>
                    <a:pt x="1259" y="186"/>
                    <a:pt x="1258" y="184"/>
                    <a:pt x="1255" y="184"/>
                  </a:cubicBezTo>
                  <a:cubicBezTo>
                    <a:pt x="1253" y="183"/>
                    <a:pt x="1251" y="183"/>
                    <a:pt x="1249" y="184"/>
                  </a:cubicBezTo>
                  <a:cubicBezTo>
                    <a:pt x="1247" y="185"/>
                    <a:pt x="1246" y="187"/>
                    <a:pt x="1245" y="189"/>
                  </a:cubicBezTo>
                  <a:moveTo>
                    <a:pt x="1249" y="275"/>
                  </a:moveTo>
                  <a:cubicBezTo>
                    <a:pt x="1246" y="273"/>
                    <a:pt x="1242" y="272"/>
                    <a:pt x="1238" y="272"/>
                  </a:cubicBezTo>
                  <a:cubicBezTo>
                    <a:pt x="1234" y="271"/>
                    <a:pt x="1229" y="271"/>
                    <a:pt x="1223" y="271"/>
                  </a:cubicBezTo>
                  <a:cubicBezTo>
                    <a:pt x="1217" y="271"/>
                    <a:pt x="1212" y="271"/>
                    <a:pt x="1209" y="271"/>
                  </a:cubicBezTo>
                  <a:cubicBezTo>
                    <a:pt x="1205" y="270"/>
                    <a:pt x="1202" y="270"/>
                    <a:pt x="1200" y="269"/>
                  </a:cubicBezTo>
                  <a:cubicBezTo>
                    <a:pt x="1199" y="268"/>
                    <a:pt x="1197" y="266"/>
                    <a:pt x="1196" y="264"/>
                  </a:cubicBezTo>
                  <a:cubicBezTo>
                    <a:pt x="1195" y="261"/>
                    <a:pt x="1196" y="258"/>
                    <a:pt x="1198" y="255"/>
                  </a:cubicBezTo>
                  <a:cubicBezTo>
                    <a:pt x="1200" y="252"/>
                    <a:pt x="1204" y="250"/>
                    <a:pt x="1209" y="248"/>
                  </a:cubicBezTo>
                  <a:cubicBezTo>
                    <a:pt x="1213" y="246"/>
                    <a:pt x="1217" y="245"/>
                    <a:pt x="1221" y="245"/>
                  </a:cubicBezTo>
                  <a:cubicBezTo>
                    <a:pt x="1225" y="244"/>
                    <a:pt x="1229" y="244"/>
                    <a:pt x="1233" y="244"/>
                  </a:cubicBezTo>
                  <a:cubicBezTo>
                    <a:pt x="1233" y="232"/>
                    <a:pt x="1233" y="232"/>
                    <a:pt x="1233" y="232"/>
                  </a:cubicBezTo>
                  <a:cubicBezTo>
                    <a:pt x="1229" y="232"/>
                    <a:pt x="1224" y="232"/>
                    <a:pt x="1220" y="233"/>
                  </a:cubicBezTo>
                  <a:cubicBezTo>
                    <a:pt x="1215" y="233"/>
                    <a:pt x="1210" y="235"/>
                    <a:pt x="1205" y="237"/>
                  </a:cubicBezTo>
                  <a:cubicBezTo>
                    <a:pt x="1197" y="240"/>
                    <a:pt x="1190" y="245"/>
                    <a:pt x="1186" y="251"/>
                  </a:cubicBezTo>
                  <a:cubicBezTo>
                    <a:pt x="1182" y="257"/>
                    <a:pt x="1181" y="263"/>
                    <a:pt x="1184" y="270"/>
                  </a:cubicBezTo>
                  <a:cubicBezTo>
                    <a:pt x="1186" y="274"/>
                    <a:pt x="1188" y="277"/>
                    <a:pt x="1191" y="279"/>
                  </a:cubicBezTo>
                  <a:cubicBezTo>
                    <a:pt x="1194" y="281"/>
                    <a:pt x="1198" y="282"/>
                    <a:pt x="1203" y="283"/>
                  </a:cubicBezTo>
                  <a:cubicBezTo>
                    <a:pt x="1207" y="283"/>
                    <a:pt x="1212" y="284"/>
                    <a:pt x="1218" y="284"/>
                  </a:cubicBezTo>
                  <a:cubicBezTo>
                    <a:pt x="1224" y="283"/>
                    <a:pt x="1229" y="284"/>
                    <a:pt x="1233" y="284"/>
                  </a:cubicBezTo>
                  <a:cubicBezTo>
                    <a:pt x="1236" y="285"/>
                    <a:pt x="1239" y="285"/>
                    <a:pt x="1240" y="286"/>
                  </a:cubicBezTo>
                  <a:cubicBezTo>
                    <a:pt x="1242" y="288"/>
                    <a:pt x="1243" y="289"/>
                    <a:pt x="1244" y="291"/>
                  </a:cubicBezTo>
                  <a:cubicBezTo>
                    <a:pt x="1245" y="295"/>
                    <a:pt x="1245" y="298"/>
                    <a:pt x="1243" y="302"/>
                  </a:cubicBezTo>
                  <a:cubicBezTo>
                    <a:pt x="1241" y="305"/>
                    <a:pt x="1237" y="308"/>
                    <a:pt x="1230" y="310"/>
                  </a:cubicBezTo>
                  <a:cubicBezTo>
                    <a:pt x="1225" y="312"/>
                    <a:pt x="1220" y="314"/>
                    <a:pt x="1215" y="314"/>
                  </a:cubicBezTo>
                  <a:cubicBezTo>
                    <a:pt x="1210" y="314"/>
                    <a:pt x="1206" y="315"/>
                    <a:pt x="1202" y="314"/>
                  </a:cubicBezTo>
                  <a:cubicBezTo>
                    <a:pt x="1207" y="326"/>
                    <a:pt x="1207" y="326"/>
                    <a:pt x="1207" y="326"/>
                  </a:cubicBezTo>
                  <a:cubicBezTo>
                    <a:pt x="1211" y="326"/>
                    <a:pt x="1215" y="326"/>
                    <a:pt x="1219" y="326"/>
                  </a:cubicBezTo>
                  <a:cubicBezTo>
                    <a:pt x="1223" y="325"/>
                    <a:pt x="1228" y="323"/>
                    <a:pt x="1234" y="321"/>
                  </a:cubicBezTo>
                  <a:cubicBezTo>
                    <a:pt x="1244" y="317"/>
                    <a:pt x="1250" y="312"/>
                    <a:pt x="1255" y="306"/>
                  </a:cubicBezTo>
                  <a:cubicBezTo>
                    <a:pt x="1259" y="300"/>
                    <a:pt x="1259" y="293"/>
                    <a:pt x="1256" y="285"/>
                  </a:cubicBezTo>
                  <a:cubicBezTo>
                    <a:pt x="1254" y="281"/>
                    <a:pt x="1252" y="278"/>
                    <a:pt x="1249" y="275"/>
                  </a:cubicBezTo>
                  <a:moveTo>
                    <a:pt x="1135" y="264"/>
                  </a:moveTo>
                  <a:cubicBezTo>
                    <a:pt x="1148" y="307"/>
                    <a:pt x="1148" y="307"/>
                    <a:pt x="1148" y="307"/>
                  </a:cubicBezTo>
                  <a:cubicBezTo>
                    <a:pt x="1151" y="316"/>
                    <a:pt x="1152" y="324"/>
                    <a:pt x="1150" y="330"/>
                  </a:cubicBezTo>
                  <a:cubicBezTo>
                    <a:pt x="1148" y="337"/>
                    <a:pt x="1142" y="341"/>
                    <a:pt x="1133" y="344"/>
                  </a:cubicBezTo>
                  <a:cubicBezTo>
                    <a:pt x="1121" y="347"/>
                    <a:pt x="1113" y="343"/>
                    <a:pt x="1109" y="330"/>
                  </a:cubicBezTo>
                  <a:cubicBezTo>
                    <a:pt x="1093" y="277"/>
                    <a:pt x="1093" y="277"/>
                    <a:pt x="1093" y="277"/>
                  </a:cubicBezTo>
                  <a:cubicBezTo>
                    <a:pt x="1079" y="281"/>
                    <a:pt x="1079" y="281"/>
                    <a:pt x="1079" y="281"/>
                  </a:cubicBezTo>
                  <a:cubicBezTo>
                    <a:pt x="1096" y="335"/>
                    <a:pt x="1096" y="335"/>
                    <a:pt x="1096" y="335"/>
                  </a:cubicBezTo>
                  <a:cubicBezTo>
                    <a:pt x="1099" y="345"/>
                    <a:pt x="1104" y="352"/>
                    <a:pt x="1110" y="355"/>
                  </a:cubicBezTo>
                  <a:cubicBezTo>
                    <a:pt x="1116" y="358"/>
                    <a:pt x="1125" y="359"/>
                    <a:pt x="1135" y="356"/>
                  </a:cubicBezTo>
                  <a:cubicBezTo>
                    <a:pt x="1140" y="354"/>
                    <a:pt x="1145" y="351"/>
                    <a:pt x="1149" y="348"/>
                  </a:cubicBezTo>
                  <a:cubicBezTo>
                    <a:pt x="1153" y="345"/>
                    <a:pt x="1155" y="340"/>
                    <a:pt x="1157" y="335"/>
                  </a:cubicBezTo>
                  <a:cubicBezTo>
                    <a:pt x="1157" y="335"/>
                    <a:pt x="1157" y="335"/>
                    <a:pt x="1157" y="335"/>
                  </a:cubicBezTo>
                  <a:cubicBezTo>
                    <a:pt x="1163" y="345"/>
                    <a:pt x="1163" y="345"/>
                    <a:pt x="1163" y="345"/>
                  </a:cubicBezTo>
                  <a:cubicBezTo>
                    <a:pt x="1174" y="342"/>
                    <a:pt x="1174" y="342"/>
                    <a:pt x="1174" y="342"/>
                  </a:cubicBezTo>
                  <a:cubicBezTo>
                    <a:pt x="1149" y="260"/>
                    <a:pt x="1149" y="260"/>
                    <a:pt x="1149" y="260"/>
                  </a:cubicBezTo>
                  <a:lnTo>
                    <a:pt x="1135" y="264"/>
                  </a:lnTo>
                  <a:close/>
                  <a:moveTo>
                    <a:pt x="1044" y="333"/>
                  </a:moveTo>
                  <a:cubicBezTo>
                    <a:pt x="1046" y="344"/>
                    <a:pt x="1046" y="352"/>
                    <a:pt x="1043" y="358"/>
                  </a:cubicBezTo>
                  <a:cubicBezTo>
                    <a:pt x="1041" y="365"/>
                    <a:pt x="1036" y="368"/>
                    <a:pt x="1028" y="370"/>
                  </a:cubicBezTo>
                  <a:cubicBezTo>
                    <a:pt x="1019" y="372"/>
                    <a:pt x="1012" y="370"/>
                    <a:pt x="1008" y="365"/>
                  </a:cubicBezTo>
                  <a:cubicBezTo>
                    <a:pt x="1003" y="361"/>
                    <a:pt x="1000" y="353"/>
                    <a:pt x="998" y="343"/>
                  </a:cubicBezTo>
                  <a:cubicBezTo>
                    <a:pt x="998" y="342"/>
                    <a:pt x="998" y="342"/>
                    <a:pt x="998" y="342"/>
                  </a:cubicBezTo>
                  <a:cubicBezTo>
                    <a:pt x="996" y="331"/>
                    <a:pt x="996" y="323"/>
                    <a:pt x="998" y="317"/>
                  </a:cubicBezTo>
                  <a:cubicBezTo>
                    <a:pt x="1000" y="311"/>
                    <a:pt x="1006" y="308"/>
                    <a:pt x="1015" y="306"/>
                  </a:cubicBezTo>
                  <a:cubicBezTo>
                    <a:pt x="1030" y="303"/>
                    <a:pt x="1040" y="312"/>
                    <a:pt x="1044" y="333"/>
                  </a:cubicBezTo>
                  <a:moveTo>
                    <a:pt x="969" y="268"/>
                  </a:moveTo>
                  <a:cubicBezTo>
                    <a:pt x="992" y="387"/>
                    <a:pt x="992" y="387"/>
                    <a:pt x="992" y="387"/>
                  </a:cubicBezTo>
                  <a:cubicBezTo>
                    <a:pt x="1002" y="385"/>
                    <a:pt x="1002" y="385"/>
                    <a:pt x="1002" y="385"/>
                  </a:cubicBezTo>
                  <a:cubicBezTo>
                    <a:pt x="1003" y="374"/>
                    <a:pt x="1003" y="374"/>
                    <a:pt x="1003" y="374"/>
                  </a:cubicBezTo>
                  <a:cubicBezTo>
                    <a:pt x="1004" y="374"/>
                    <a:pt x="1004" y="374"/>
                    <a:pt x="1004" y="374"/>
                  </a:cubicBezTo>
                  <a:cubicBezTo>
                    <a:pt x="1007" y="377"/>
                    <a:pt x="1011" y="379"/>
                    <a:pt x="1016" y="381"/>
                  </a:cubicBezTo>
                  <a:cubicBezTo>
                    <a:pt x="1020" y="382"/>
                    <a:pt x="1026" y="382"/>
                    <a:pt x="1032" y="381"/>
                  </a:cubicBezTo>
                  <a:cubicBezTo>
                    <a:pt x="1043" y="379"/>
                    <a:pt x="1051" y="374"/>
                    <a:pt x="1055" y="365"/>
                  </a:cubicBezTo>
                  <a:cubicBezTo>
                    <a:pt x="1060" y="356"/>
                    <a:pt x="1061" y="345"/>
                    <a:pt x="1059" y="330"/>
                  </a:cubicBezTo>
                  <a:cubicBezTo>
                    <a:pt x="1056" y="316"/>
                    <a:pt x="1050" y="306"/>
                    <a:pt x="1043" y="300"/>
                  </a:cubicBezTo>
                  <a:cubicBezTo>
                    <a:pt x="1035" y="294"/>
                    <a:pt x="1026" y="292"/>
                    <a:pt x="1015" y="294"/>
                  </a:cubicBezTo>
                  <a:cubicBezTo>
                    <a:pt x="1009" y="295"/>
                    <a:pt x="1003" y="297"/>
                    <a:pt x="1000" y="301"/>
                  </a:cubicBezTo>
                  <a:cubicBezTo>
                    <a:pt x="996" y="304"/>
                    <a:pt x="993" y="308"/>
                    <a:pt x="992" y="312"/>
                  </a:cubicBezTo>
                  <a:cubicBezTo>
                    <a:pt x="991" y="312"/>
                    <a:pt x="991" y="312"/>
                    <a:pt x="991" y="312"/>
                  </a:cubicBezTo>
                  <a:cubicBezTo>
                    <a:pt x="991" y="310"/>
                    <a:pt x="990" y="307"/>
                    <a:pt x="990" y="304"/>
                  </a:cubicBezTo>
                  <a:cubicBezTo>
                    <a:pt x="990" y="301"/>
                    <a:pt x="989" y="298"/>
                    <a:pt x="988" y="294"/>
                  </a:cubicBezTo>
                  <a:cubicBezTo>
                    <a:pt x="983" y="265"/>
                    <a:pt x="983" y="265"/>
                    <a:pt x="983" y="265"/>
                  </a:cubicBezTo>
                  <a:lnTo>
                    <a:pt x="969" y="268"/>
                  </a:lnTo>
                  <a:close/>
                  <a:moveTo>
                    <a:pt x="884" y="331"/>
                  </a:moveTo>
                  <a:cubicBezTo>
                    <a:pt x="887" y="335"/>
                    <a:pt x="889" y="341"/>
                    <a:pt x="890" y="348"/>
                  </a:cubicBezTo>
                  <a:cubicBezTo>
                    <a:pt x="846" y="351"/>
                    <a:pt x="846" y="351"/>
                    <a:pt x="846" y="351"/>
                  </a:cubicBezTo>
                  <a:cubicBezTo>
                    <a:pt x="847" y="343"/>
                    <a:pt x="848" y="337"/>
                    <a:pt x="852" y="333"/>
                  </a:cubicBezTo>
                  <a:cubicBezTo>
                    <a:pt x="856" y="328"/>
                    <a:pt x="861" y="326"/>
                    <a:pt x="867" y="325"/>
                  </a:cubicBezTo>
                  <a:cubicBezTo>
                    <a:pt x="875" y="325"/>
                    <a:pt x="880" y="326"/>
                    <a:pt x="884" y="331"/>
                  </a:cubicBezTo>
                  <a:moveTo>
                    <a:pt x="847" y="320"/>
                  </a:moveTo>
                  <a:cubicBezTo>
                    <a:pt x="842" y="324"/>
                    <a:pt x="838" y="330"/>
                    <a:pt x="835" y="337"/>
                  </a:cubicBezTo>
                  <a:cubicBezTo>
                    <a:pt x="832" y="344"/>
                    <a:pt x="831" y="352"/>
                    <a:pt x="832" y="361"/>
                  </a:cubicBezTo>
                  <a:cubicBezTo>
                    <a:pt x="833" y="371"/>
                    <a:pt x="835" y="379"/>
                    <a:pt x="839" y="385"/>
                  </a:cubicBezTo>
                  <a:cubicBezTo>
                    <a:pt x="843" y="391"/>
                    <a:pt x="848" y="396"/>
                    <a:pt x="854" y="399"/>
                  </a:cubicBezTo>
                  <a:cubicBezTo>
                    <a:pt x="861" y="401"/>
                    <a:pt x="868" y="403"/>
                    <a:pt x="876" y="402"/>
                  </a:cubicBezTo>
                  <a:cubicBezTo>
                    <a:pt x="882" y="402"/>
                    <a:pt x="887" y="401"/>
                    <a:pt x="891" y="400"/>
                  </a:cubicBezTo>
                  <a:cubicBezTo>
                    <a:pt x="896" y="398"/>
                    <a:pt x="900" y="397"/>
                    <a:pt x="904" y="395"/>
                  </a:cubicBezTo>
                  <a:cubicBezTo>
                    <a:pt x="903" y="382"/>
                    <a:pt x="903" y="382"/>
                    <a:pt x="903" y="382"/>
                  </a:cubicBezTo>
                  <a:cubicBezTo>
                    <a:pt x="899" y="384"/>
                    <a:pt x="895" y="386"/>
                    <a:pt x="890" y="388"/>
                  </a:cubicBezTo>
                  <a:cubicBezTo>
                    <a:pt x="886" y="389"/>
                    <a:pt x="882" y="390"/>
                    <a:pt x="876" y="390"/>
                  </a:cubicBezTo>
                  <a:cubicBezTo>
                    <a:pt x="868" y="391"/>
                    <a:pt x="861" y="389"/>
                    <a:pt x="856" y="384"/>
                  </a:cubicBezTo>
                  <a:cubicBezTo>
                    <a:pt x="851" y="379"/>
                    <a:pt x="848" y="372"/>
                    <a:pt x="847" y="362"/>
                  </a:cubicBezTo>
                  <a:cubicBezTo>
                    <a:pt x="905" y="358"/>
                    <a:pt x="905" y="358"/>
                    <a:pt x="905" y="358"/>
                  </a:cubicBezTo>
                  <a:cubicBezTo>
                    <a:pt x="905" y="350"/>
                    <a:pt x="905" y="350"/>
                    <a:pt x="905" y="350"/>
                  </a:cubicBezTo>
                  <a:cubicBezTo>
                    <a:pt x="904" y="342"/>
                    <a:pt x="902" y="335"/>
                    <a:pt x="899" y="330"/>
                  </a:cubicBezTo>
                  <a:cubicBezTo>
                    <a:pt x="896" y="324"/>
                    <a:pt x="891" y="320"/>
                    <a:pt x="886" y="317"/>
                  </a:cubicBezTo>
                  <a:cubicBezTo>
                    <a:pt x="880" y="314"/>
                    <a:pt x="874" y="313"/>
                    <a:pt x="867" y="314"/>
                  </a:cubicBezTo>
                  <a:cubicBezTo>
                    <a:pt x="859" y="314"/>
                    <a:pt x="853" y="316"/>
                    <a:pt x="847" y="320"/>
                  </a:cubicBezTo>
                  <a:moveTo>
                    <a:pt x="801" y="282"/>
                  </a:moveTo>
                  <a:cubicBezTo>
                    <a:pt x="787" y="282"/>
                    <a:pt x="787" y="282"/>
                    <a:pt x="787" y="282"/>
                  </a:cubicBezTo>
                  <a:cubicBezTo>
                    <a:pt x="788" y="403"/>
                    <a:pt x="788" y="403"/>
                    <a:pt x="788" y="403"/>
                  </a:cubicBezTo>
                  <a:cubicBezTo>
                    <a:pt x="802" y="403"/>
                    <a:pt x="802" y="403"/>
                    <a:pt x="802" y="403"/>
                  </a:cubicBezTo>
                  <a:lnTo>
                    <a:pt x="801" y="282"/>
                  </a:lnTo>
                  <a:close/>
                  <a:moveTo>
                    <a:pt x="741" y="359"/>
                  </a:moveTo>
                  <a:cubicBezTo>
                    <a:pt x="740" y="370"/>
                    <a:pt x="738" y="378"/>
                    <a:pt x="733" y="383"/>
                  </a:cubicBezTo>
                  <a:cubicBezTo>
                    <a:pt x="729" y="389"/>
                    <a:pt x="723" y="391"/>
                    <a:pt x="716" y="391"/>
                  </a:cubicBezTo>
                  <a:cubicBezTo>
                    <a:pt x="706" y="390"/>
                    <a:pt x="700" y="387"/>
                    <a:pt x="697" y="381"/>
                  </a:cubicBezTo>
                  <a:cubicBezTo>
                    <a:pt x="694" y="375"/>
                    <a:pt x="693" y="367"/>
                    <a:pt x="694" y="356"/>
                  </a:cubicBezTo>
                  <a:cubicBezTo>
                    <a:pt x="694" y="356"/>
                    <a:pt x="694" y="356"/>
                    <a:pt x="694" y="356"/>
                  </a:cubicBezTo>
                  <a:cubicBezTo>
                    <a:pt x="694" y="345"/>
                    <a:pt x="697" y="337"/>
                    <a:pt x="700" y="332"/>
                  </a:cubicBezTo>
                  <a:cubicBezTo>
                    <a:pt x="704" y="327"/>
                    <a:pt x="711" y="325"/>
                    <a:pt x="720" y="325"/>
                  </a:cubicBezTo>
                  <a:cubicBezTo>
                    <a:pt x="735" y="326"/>
                    <a:pt x="742" y="338"/>
                    <a:pt x="741" y="359"/>
                  </a:cubicBezTo>
                  <a:moveTo>
                    <a:pt x="685" y="277"/>
                  </a:moveTo>
                  <a:cubicBezTo>
                    <a:pt x="677" y="398"/>
                    <a:pt x="677" y="398"/>
                    <a:pt x="677" y="398"/>
                  </a:cubicBezTo>
                  <a:cubicBezTo>
                    <a:pt x="687" y="399"/>
                    <a:pt x="687" y="399"/>
                    <a:pt x="687" y="399"/>
                  </a:cubicBezTo>
                  <a:cubicBezTo>
                    <a:pt x="690" y="388"/>
                    <a:pt x="690" y="388"/>
                    <a:pt x="690" y="388"/>
                  </a:cubicBezTo>
                  <a:cubicBezTo>
                    <a:pt x="691" y="388"/>
                    <a:pt x="691" y="388"/>
                    <a:pt x="691" y="388"/>
                  </a:cubicBezTo>
                  <a:cubicBezTo>
                    <a:pt x="694" y="392"/>
                    <a:pt x="697" y="395"/>
                    <a:pt x="701" y="398"/>
                  </a:cubicBezTo>
                  <a:cubicBezTo>
                    <a:pt x="705" y="400"/>
                    <a:pt x="710" y="402"/>
                    <a:pt x="717" y="402"/>
                  </a:cubicBezTo>
                  <a:cubicBezTo>
                    <a:pt x="727" y="403"/>
                    <a:pt x="736" y="400"/>
                    <a:pt x="743" y="393"/>
                  </a:cubicBezTo>
                  <a:cubicBezTo>
                    <a:pt x="750" y="386"/>
                    <a:pt x="754" y="375"/>
                    <a:pt x="755" y="361"/>
                  </a:cubicBezTo>
                  <a:cubicBezTo>
                    <a:pt x="756" y="346"/>
                    <a:pt x="754" y="335"/>
                    <a:pt x="748" y="327"/>
                  </a:cubicBezTo>
                  <a:cubicBezTo>
                    <a:pt x="742" y="319"/>
                    <a:pt x="734" y="315"/>
                    <a:pt x="723" y="314"/>
                  </a:cubicBezTo>
                  <a:cubicBezTo>
                    <a:pt x="716" y="313"/>
                    <a:pt x="711" y="314"/>
                    <a:pt x="706" y="316"/>
                  </a:cubicBezTo>
                  <a:cubicBezTo>
                    <a:pt x="702" y="319"/>
                    <a:pt x="698" y="321"/>
                    <a:pt x="696" y="325"/>
                  </a:cubicBezTo>
                  <a:cubicBezTo>
                    <a:pt x="695" y="325"/>
                    <a:pt x="695" y="325"/>
                    <a:pt x="695" y="325"/>
                  </a:cubicBezTo>
                  <a:cubicBezTo>
                    <a:pt x="695" y="323"/>
                    <a:pt x="696" y="321"/>
                    <a:pt x="696" y="317"/>
                  </a:cubicBezTo>
                  <a:cubicBezTo>
                    <a:pt x="696" y="314"/>
                    <a:pt x="697" y="311"/>
                    <a:pt x="697" y="307"/>
                  </a:cubicBezTo>
                  <a:cubicBezTo>
                    <a:pt x="699" y="278"/>
                    <a:pt x="699" y="278"/>
                    <a:pt x="699" y="278"/>
                  </a:cubicBezTo>
                  <a:lnTo>
                    <a:pt x="685" y="277"/>
                  </a:lnTo>
                  <a:close/>
                  <a:moveTo>
                    <a:pt x="627" y="357"/>
                  </a:moveTo>
                  <a:cubicBezTo>
                    <a:pt x="625" y="365"/>
                    <a:pt x="622" y="371"/>
                    <a:pt x="617" y="374"/>
                  </a:cubicBezTo>
                  <a:cubicBezTo>
                    <a:pt x="611" y="378"/>
                    <a:pt x="605" y="379"/>
                    <a:pt x="598" y="377"/>
                  </a:cubicBezTo>
                  <a:cubicBezTo>
                    <a:pt x="593" y="377"/>
                    <a:pt x="590" y="375"/>
                    <a:pt x="587" y="372"/>
                  </a:cubicBezTo>
                  <a:cubicBezTo>
                    <a:pt x="585" y="370"/>
                    <a:pt x="584" y="366"/>
                    <a:pt x="585" y="361"/>
                  </a:cubicBezTo>
                  <a:cubicBezTo>
                    <a:pt x="586" y="356"/>
                    <a:pt x="588" y="352"/>
                    <a:pt x="593" y="350"/>
                  </a:cubicBezTo>
                  <a:cubicBezTo>
                    <a:pt x="597" y="347"/>
                    <a:pt x="605" y="347"/>
                    <a:pt x="615" y="348"/>
                  </a:cubicBezTo>
                  <a:cubicBezTo>
                    <a:pt x="628" y="350"/>
                    <a:pt x="628" y="350"/>
                    <a:pt x="628" y="350"/>
                  </a:cubicBezTo>
                  <a:lnTo>
                    <a:pt x="627" y="357"/>
                  </a:lnTo>
                  <a:close/>
                  <a:moveTo>
                    <a:pt x="602" y="302"/>
                  </a:moveTo>
                  <a:cubicBezTo>
                    <a:pt x="597" y="303"/>
                    <a:pt x="592" y="304"/>
                    <a:pt x="588" y="305"/>
                  </a:cubicBezTo>
                  <a:cubicBezTo>
                    <a:pt x="591" y="316"/>
                    <a:pt x="591" y="316"/>
                    <a:pt x="591" y="316"/>
                  </a:cubicBezTo>
                  <a:cubicBezTo>
                    <a:pt x="595" y="315"/>
                    <a:pt x="599" y="314"/>
                    <a:pt x="603" y="313"/>
                  </a:cubicBezTo>
                  <a:cubicBezTo>
                    <a:pt x="607" y="313"/>
                    <a:pt x="611" y="313"/>
                    <a:pt x="616" y="313"/>
                  </a:cubicBezTo>
                  <a:cubicBezTo>
                    <a:pt x="622" y="314"/>
                    <a:pt x="626" y="316"/>
                    <a:pt x="628" y="320"/>
                  </a:cubicBezTo>
                  <a:cubicBezTo>
                    <a:pt x="631" y="323"/>
                    <a:pt x="632" y="328"/>
                    <a:pt x="630" y="335"/>
                  </a:cubicBezTo>
                  <a:cubicBezTo>
                    <a:pt x="630" y="340"/>
                    <a:pt x="630" y="340"/>
                    <a:pt x="630" y="340"/>
                  </a:cubicBezTo>
                  <a:cubicBezTo>
                    <a:pt x="615" y="338"/>
                    <a:pt x="615" y="338"/>
                    <a:pt x="615" y="338"/>
                  </a:cubicBezTo>
                  <a:cubicBezTo>
                    <a:pt x="601" y="336"/>
                    <a:pt x="591" y="337"/>
                    <a:pt x="583" y="341"/>
                  </a:cubicBezTo>
                  <a:cubicBezTo>
                    <a:pt x="576" y="344"/>
                    <a:pt x="572" y="350"/>
                    <a:pt x="570" y="359"/>
                  </a:cubicBezTo>
                  <a:cubicBezTo>
                    <a:pt x="569" y="367"/>
                    <a:pt x="570" y="374"/>
                    <a:pt x="575" y="379"/>
                  </a:cubicBezTo>
                  <a:cubicBezTo>
                    <a:pt x="579" y="384"/>
                    <a:pt x="585" y="387"/>
                    <a:pt x="593" y="388"/>
                  </a:cubicBezTo>
                  <a:cubicBezTo>
                    <a:pt x="600" y="389"/>
                    <a:pt x="606" y="389"/>
                    <a:pt x="610" y="387"/>
                  </a:cubicBezTo>
                  <a:cubicBezTo>
                    <a:pt x="615" y="386"/>
                    <a:pt x="619" y="383"/>
                    <a:pt x="624" y="379"/>
                  </a:cubicBezTo>
                  <a:cubicBezTo>
                    <a:pt x="624" y="379"/>
                    <a:pt x="624" y="379"/>
                    <a:pt x="624" y="379"/>
                  </a:cubicBezTo>
                  <a:cubicBezTo>
                    <a:pt x="625" y="392"/>
                    <a:pt x="625" y="392"/>
                    <a:pt x="625" y="392"/>
                  </a:cubicBezTo>
                  <a:cubicBezTo>
                    <a:pt x="635" y="393"/>
                    <a:pt x="635" y="393"/>
                    <a:pt x="635" y="393"/>
                  </a:cubicBezTo>
                  <a:cubicBezTo>
                    <a:pt x="644" y="336"/>
                    <a:pt x="644" y="336"/>
                    <a:pt x="644" y="336"/>
                  </a:cubicBezTo>
                  <a:cubicBezTo>
                    <a:pt x="646" y="326"/>
                    <a:pt x="645" y="318"/>
                    <a:pt x="640" y="313"/>
                  </a:cubicBezTo>
                  <a:cubicBezTo>
                    <a:pt x="636" y="307"/>
                    <a:pt x="629" y="304"/>
                    <a:pt x="618" y="302"/>
                  </a:cubicBezTo>
                  <a:cubicBezTo>
                    <a:pt x="613" y="301"/>
                    <a:pt x="608" y="301"/>
                    <a:pt x="602" y="302"/>
                  </a:cubicBezTo>
                  <a:moveTo>
                    <a:pt x="507" y="282"/>
                  </a:moveTo>
                  <a:cubicBezTo>
                    <a:pt x="502" y="283"/>
                    <a:pt x="497" y="285"/>
                    <a:pt x="494" y="289"/>
                  </a:cubicBezTo>
                  <a:cubicBezTo>
                    <a:pt x="493" y="289"/>
                    <a:pt x="493" y="289"/>
                    <a:pt x="493" y="289"/>
                  </a:cubicBezTo>
                  <a:cubicBezTo>
                    <a:pt x="494" y="277"/>
                    <a:pt x="494" y="277"/>
                    <a:pt x="494" y="277"/>
                  </a:cubicBezTo>
                  <a:cubicBezTo>
                    <a:pt x="483" y="274"/>
                    <a:pt x="483" y="274"/>
                    <a:pt x="483" y="274"/>
                  </a:cubicBezTo>
                  <a:cubicBezTo>
                    <a:pt x="462" y="357"/>
                    <a:pt x="462" y="357"/>
                    <a:pt x="462" y="357"/>
                  </a:cubicBezTo>
                  <a:cubicBezTo>
                    <a:pt x="476" y="361"/>
                    <a:pt x="476" y="361"/>
                    <a:pt x="476" y="361"/>
                  </a:cubicBezTo>
                  <a:cubicBezTo>
                    <a:pt x="486" y="318"/>
                    <a:pt x="486" y="318"/>
                    <a:pt x="486" y="318"/>
                  </a:cubicBezTo>
                  <a:cubicBezTo>
                    <a:pt x="489" y="308"/>
                    <a:pt x="492" y="301"/>
                    <a:pt x="497" y="297"/>
                  </a:cubicBezTo>
                  <a:cubicBezTo>
                    <a:pt x="502" y="292"/>
                    <a:pt x="509" y="291"/>
                    <a:pt x="518" y="294"/>
                  </a:cubicBezTo>
                  <a:cubicBezTo>
                    <a:pt x="531" y="297"/>
                    <a:pt x="535" y="305"/>
                    <a:pt x="532" y="318"/>
                  </a:cubicBezTo>
                  <a:cubicBezTo>
                    <a:pt x="519" y="371"/>
                    <a:pt x="519" y="371"/>
                    <a:pt x="519" y="371"/>
                  </a:cubicBezTo>
                  <a:cubicBezTo>
                    <a:pt x="532" y="375"/>
                    <a:pt x="532" y="375"/>
                    <a:pt x="532" y="375"/>
                  </a:cubicBezTo>
                  <a:cubicBezTo>
                    <a:pt x="546" y="321"/>
                    <a:pt x="546" y="321"/>
                    <a:pt x="546" y="321"/>
                  </a:cubicBezTo>
                  <a:cubicBezTo>
                    <a:pt x="548" y="310"/>
                    <a:pt x="548" y="302"/>
                    <a:pt x="544" y="296"/>
                  </a:cubicBezTo>
                  <a:cubicBezTo>
                    <a:pt x="540" y="289"/>
                    <a:pt x="533" y="285"/>
                    <a:pt x="523" y="283"/>
                  </a:cubicBezTo>
                  <a:cubicBezTo>
                    <a:pt x="518" y="281"/>
                    <a:pt x="513" y="281"/>
                    <a:pt x="507" y="282"/>
                  </a:cubicBezTo>
                  <a:moveTo>
                    <a:pt x="438" y="259"/>
                  </a:moveTo>
                  <a:cubicBezTo>
                    <a:pt x="411" y="340"/>
                    <a:pt x="411" y="340"/>
                    <a:pt x="411" y="340"/>
                  </a:cubicBezTo>
                  <a:cubicBezTo>
                    <a:pt x="424" y="345"/>
                    <a:pt x="424" y="345"/>
                    <a:pt x="424" y="345"/>
                  </a:cubicBezTo>
                  <a:cubicBezTo>
                    <a:pt x="451" y="263"/>
                    <a:pt x="451" y="263"/>
                    <a:pt x="451" y="263"/>
                  </a:cubicBezTo>
                  <a:lnTo>
                    <a:pt x="438" y="259"/>
                  </a:lnTo>
                  <a:close/>
                  <a:moveTo>
                    <a:pt x="448" y="231"/>
                  </a:moveTo>
                  <a:cubicBezTo>
                    <a:pt x="446" y="232"/>
                    <a:pt x="445" y="234"/>
                    <a:pt x="444" y="237"/>
                  </a:cubicBezTo>
                  <a:cubicBezTo>
                    <a:pt x="443" y="240"/>
                    <a:pt x="443" y="242"/>
                    <a:pt x="444" y="244"/>
                  </a:cubicBezTo>
                  <a:cubicBezTo>
                    <a:pt x="445" y="246"/>
                    <a:pt x="447" y="247"/>
                    <a:pt x="449" y="248"/>
                  </a:cubicBezTo>
                  <a:cubicBezTo>
                    <a:pt x="451" y="248"/>
                    <a:pt x="453" y="248"/>
                    <a:pt x="455" y="248"/>
                  </a:cubicBezTo>
                  <a:cubicBezTo>
                    <a:pt x="457" y="247"/>
                    <a:pt x="458" y="245"/>
                    <a:pt x="459" y="242"/>
                  </a:cubicBezTo>
                  <a:cubicBezTo>
                    <a:pt x="460" y="239"/>
                    <a:pt x="460" y="237"/>
                    <a:pt x="459" y="235"/>
                  </a:cubicBezTo>
                  <a:cubicBezTo>
                    <a:pt x="458" y="233"/>
                    <a:pt x="456" y="231"/>
                    <a:pt x="454" y="231"/>
                  </a:cubicBezTo>
                  <a:cubicBezTo>
                    <a:pt x="452" y="230"/>
                    <a:pt x="450" y="230"/>
                    <a:pt x="448" y="231"/>
                  </a:cubicBezTo>
                  <a:moveTo>
                    <a:pt x="375" y="291"/>
                  </a:moveTo>
                  <a:cubicBezTo>
                    <a:pt x="372" y="299"/>
                    <a:pt x="368" y="304"/>
                    <a:pt x="362" y="306"/>
                  </a:cubicBezTo>
                  <a:cubicBezTo>
                    <a:pt x="356" y="308"/>
                    <a:pt x="349" y="307"/>
                    <a:pt x="343" y="305"/>
                  </a:cubicBezTo>
                  <a:cubicBezTo>
                    <a:pt x="338" y="303"/>
                    <a:pt x="335" y="300"/>
                    <a:pt x="334" y="297"/>
                  </a:cubicBezTo>
                  <a:cubicBezTo>
                    <a:pt x="332" y="294"/>
                    <a:pt x="332" y="290"/>
                    <a:pt x="333" y="286"/>
                  </a:cubicBezTo>
                  <a:cubicBezTo>
                    <a:pt x="335" y="281"/>
                    <a:pt x="339" y="278"/>
                    <a:pt x="344" y="276"/>
                  </a:cubicBezTo>
                  <a:cubicBezTo>
                    <a:pt x="349" y="275"/>
                    <a:pt x="356" y="276"/>
                    <a:pt x="366" y="280"/>
                  </a:cubicBezTo>
                  <a:cubicBezTo>
                    <a:pt x="378" y="284"/>
                    <a:pt x="378" y="284"/>
                    <a:pt x="378" y="284"/>
                  </a:cubicBezTo>
                  <a:lnTo>
                    <a:pt x="375" y="291"/>
                  </a:lnTo>
                  <a:close/>
                  <a:moveTo>
                    <a:pt x="364" y="232"/>
                  </a:moveTo>
                  <a:cubicBezTo>
                    <a:pt x="359" y="231"/>
                    <a:pt x="354" y="231"/>
                    <a:pt x="350" y="232"/>
                  </a:cubicBezTo>
                  <a:cubicBezTo>
                    <a:pt x="350" y="243"/>
                    <a:pt x="350" y="243"/>
                    <a:pt x="350" y="243"/>
                  </a:cubicBezTo>
                  <a:cubicBezTo>
                    <a:pt x="354" y="243"/>
                    <a:pt x="358" y="243"/>
                    <a:pt x="362" y="243"/>
                  </a:cubicBezTo>
                  <a:cubicBezTo>
                    <a:pt x="366" y="244"/>
                    <a:pt x="370" y="245"/>
                    <a:pt x="374" y="246"/>
                  </a:cubicBezTo>
                  <a:cubicBezTo>
                    <a:pt x="380" y="248"/>
                    <a:pt x="383" y="251"/>
                    <a:pt x="385" y="255"/>
                  </a:cubicBezTo>
                  <a:cubicBezTo>
                    <a:pt x="387" y="259"/>
                    <a:pt x="387" y="264"/>
                    <a:pt x="384" y="270"/>
                  </a:cubicBezTo>
                  <a:cubicBezTo>
                    <a:pt x="382" y="275"/>
                    <a:pt x="382" y="275"/>
                    <a:pt x="382" y="275"/>
                  </a:cubicBezTo>
                  <a:cubicBezTo>
                    <a:pt x="368" y="270"/>
                    <a:pt x="368" y="270"/>
                    <a:pt x="368" y="270"/>
                  </a:cubicBezTo>
                  <a:cubicBezTo>
                    <a:pt x="355" y="265"/>
                    <a:pt x="345" y="264"/>
                    <a:pt x="337" y="266"/>
                  </a:cubicBezTo>
                  <a:cubicBezTo>
                    <a:pt x="329" y="268"/>
                    <a:pt x="323" y="272"/>
                    <a:pt x="320" y="280"/>
                  </a:cubicBezTo>
                  <a:cubicBezTo>
                    <a:pt x="317" y="288"/>
                    <a:pt x="317" y="295"/>
                    <a:pt x="320" y="301"/>
                  </a:cubicBezTo>
                  <a:cubicBezTo>
                    <a:pt x="323" y="307"/>
                    <a:pt x="328" y="311"/>
                    <a:pt x="336" y="314"/>
                  </a:cubicBezTo>
                  <a:cubicBezTo>
                    <a:pt x="342" y="317"/>
                    <a:pt x="348" y="318"/>
                    <a:pt x="353" y="317"/>
                  </a:cubicBezTo>
                  <a:cubicBezTo>
                    <a:pt x="357" y="317"/>
                    <a:pt x="362" y="315"/>
                    <a:pt x="367" y="312"/>
                  </a:cubicBezTo>
                  <a:cubicBezTo>
                    <a:pt x="368" y="312"/>
                    <a:pt x="368" y="312"/>
                    <a:pt x="368" y="312"/>
                  </a:cubicBezTo>
                  <a:cubicBezTo>
                    <a:pt x="366" y="324"/>
                    <a:pt x="366" y="324"/>
                    <a:pt x="366" y="324"/>
                  </a:cubicBezTo>
                  <a:cubicBezTo>
                    <a:pt x="375" y="328"/>
                    <a:pt x="375" y="328"/>
                    <a:pt x="375" y="328"/>
                  </a:cubicBezTo>
                  <a:cubicBezTo>
                    <a:pt x="397" y="274"/>
                    <a:pt x="397" y="274"/>
                    <a:pt x="397" y="274"/>
                  </a:cubicBezTo>
                  <a:cubicBezTo>
                    <a:pt x="401" y="265"/>
                    <a:pt x="401" y="257"/>
                    <a:pt x="398" y="251"/>
                  </a:cubicBezTo>
                  <a:cubicBezTo>
                    <a:pt x="395" y="245"/>
                    <a:pt x="389" y="240"/>
                    <a:pt x="379" y="236"/>
                  </a:cubicBezTo>
                  <a:cubicBezTo>
                    <a:pt x="374" y="234"/>
                    <a:pt x="369" y="233"/>
                    <a:pt x="364" y="232"/>
                  </a:cubicBezTo>
                  <a:moveTo>
                    <a:pt x="276" y="270"/>
                  </a:moveTo>
                  <a:cubicBezTo>
                    <a:pt x="275" y="267"/>
                    <a:pt x="276" y="263"/>
                    <a:pt x="278" y="258"/>
                  </a:cubicBezTo>
                  <a:cubicBezTo>
                    <a:pt x="300" y="214"/>
                    <a:pt x="300" y="214"/>
                    <a:pt x="300" y="214"/>
                  </a:cubicBezTo>
                  <a:cubicBezTo>
                    <a:pt x="322" y="225"/>
                    <a:pt x="322" y="225"/>
                    <a:pt x="322" y="225"/>
                  </a:cubicBezTo>
                  <a:cubicBezTo>
                    <a:pt x="327" y="215"/>
                    <a:pt x="327" y="215"/>
                    <a:pt x="327" y="215"/>
                  </a:cubicBezTo>
                  <a:cubicBezTo>
                    <a:pt x="305" y="204"/>
                    <a:pt x="305" y="204"/>
                    <a:pt x="305" y="204"/>
                  </a:cubicBezTo>
                  <a:cubicBezTo>
                    <a:pt x="313" y="186"/>
                    <a:pt x="313" y="186"/>
                    <a:pt x="313" y="186"/>
                  </a:cubicBezTo>
                  <a:cubicBezTo>
                    <a:pt x="306" y="183"/>
                    <a:pt x="306" y="183"/>
                    <a:pt x="306" y="183"/>
                  </a:cubicBezTo>
                  <a:cubicBezTo>
                    <a:pt x="293" y="197"/>
                    <a:pt x="293" y="197"/>
                    <a:pt x="293" y="197"/>
                  </a:cubicBezTo>
                  <a:cubicBezTo>
                    <a:pt x="279" y="196"/>
                    <a:pt x="279" y="196"/>
                    <a:pt x="279" y="196"/>
                  </a:cubicBezTo>
                  <a:cubicBezTo>
                    <a:pt x="276" y="202"/>
                    <a:pt x="276" y="202"/>
                    <a:pt x="276" y="202"/>
                  </a:cubicBezTo>
                  <a:cubicBezTo>
                    <a:pt x="287" y="208"/>
                    <a:pt x="287" y="208"/>
                    <a:pt x="287" y="208"/>
                  </a:cubicBezTo>
                  <a:cubicBezTo>
                    <a:pt x="265" y="252"/>
                    <a:pt x="265" y="252"/>
                    <a:pt x="265" y="252"/>
                  </a:cubicBezTo>
                  <a:cubicBezTo>
                    <a:pt x="262" y="259"/>
                    <a:pt x="261" y="264"/>
                    <a:pt x="261" y="269"/>
                  </a:cubicBezTo>
                  <a:cubicBezTo>
                    <a:pt x="262" y="273"/>
                    <a:pt x="263" y="277"/>
                    <a:pt x="266" y="280"/>
                  </a:cubicBezTo>
                  <a:cubicBezTo>
                    <a:pt x="269" y="283"/>
                    <a:pt x="272" y="285"/>
                    <a:pt x="276" y="287"/>
                  </a:cubicBezTo>
                  <a:cubicBezTo>
                    <a:pt x="279" y="289"/>
                    <a:pt x="281" y="289"/>
                    <a:pt x="284" y="290"/>
                  </a:cubicBezTo>
                  <a:cubicBezTo>
                    <a:pt x="286" y="291"/>
                    <a:pt x="289" y="291"/>
                    <a:pt x="290" y="291"/>
                  </a:cubicBezTo>
                  <a:cubicBezTo>
                    <a:pt x="295" y="282"/>
                    <a:pt x="295" y="282"/>
                    <a:pt x="295" y="282"/>
                  </a:cubicBezTo>
                  <a:cubicBezTo>
                    <a:pt x="294" y="282"/>
                    <a:pt x="292" y="281"/>
                    <a:pt x="290" y="281"/>
                  </a:cubicBezTo>
                  <a:cubicBezTo>
                    <a:pt x="287" y="280"/>
                    <a:pt x="285" y="279"/>
                    <a:pt x="283" y="278"/>
                  </a:cubicBezTo>
                  <a:cubicBezTo>
                    <a:pt x="280" y="276"/>
                    <a:pt x="278" y="274"/>
                    <a:pt x="276" y="270"/>
                  </a:cubicBezTo>
                  <a:moveTo>
                    <a:pt x="239" y="227"/>
                  </a:moveTo>
                  <a:cubicBezTo>
                    <a:pt x="239" y="224"/>
                    <a:pt x="237" y="220"/>
                    <a:pt x="235" y="216"/>
                  </a:cubicBezTo>
                  <a:cubicBezTo>
                    <a:pt x="233" y="213"/>
                    <a:pt x="230" y="208"/>
                    <a:pt x="226" y="204"/>
                  </a:cubicBezTo>
                  <a:cubicBezTo>
                    <a:pt x="223" y="199"/>
                    <a:pt x="220" y="196"/>
                    <a:pt x="218" y="193"/>
                  </a:cubicBezTo>
                  <a:cubicBezTo>
                    <a:pt x="216" y="190"/>
                    <a:pt x="215" y="187"/>
                    <a:pt x="214" y="185"/>
                  </a:cubicBezTo>
                  <a:cubicBezTo>
                    <a:pt x="214" y="183"/>
                    <a:pt x="214" y="181"/>
                    <a:pt x="215" y="179"/>
                  </a:cubicBezTo>
                  <a:cubicBezTo>
                    <a:pt x="217" y="176"/>
                    <a:pt x="220" y="174"/>
                    <a:pt x="223" y="174"/>
                  </a:cubicBezTo>
                  <a:cubicBezTo>
                    <a:pt x="227" y="174"/>
                    <a:pt x="231" y="176"/>
                    <a:pt x="236" y="179"/>
                  </a:cubicBezTo>
                  <a:cubicBezTo>
                    <a:pt x="240" y="181"/>
                    <a:pt x="243" y="183"/>
                    <a:pt x="246" y="186"/>
                  </a:cubicBezTo>
                  <a:cubicBezTo>
                    <a:pt x="249" y="189"/>
                    <a:pt x="251" y="192"/>
                    <a:pt x="254" y="195"/>
                  </a:cubicBezTo>
                  <a:cubicBezTo>
                    <a:pt x="263" y="188"/>
                    <a:pt x="263" y="188"/>
                    <a:pt x="263" y="188"/>
                  </a:cubicBezTo>
                  <a:cubicBezTo>
                    <a:pt x="261" y="184"/>
                    <a:pt x="258" y="181"/>
                    <a:pt x="254" y="178"/>
                  </a:cubicBezTo>
                  <a:cubicBezTo>
                    <a:pt x="251" y="175"/>
                    <a:pt x="247" y="172"/>
                    <a:pt x="243" y="169"/>
                  </a:cubicBezTo>
                  <a:cubicBezTo>
                    <a:pt x="234" y="164"/>
                    <a:pt x="227" y="162"/>
                    <a:pt x="220" y="163"/>
                  </a:cubicBezTo>
                  <a:cubicBezTo>
                    <a:pt x="212" y="163"/>
                    <a:pt x="207" y="166"/>
                    <a:pt x="203" y="173"/>
                  </a:cubicBezTo>
                  <a:cubicBezTo>
                    <a:pt x="201" y="177"/>
                    <a:pt x="200" y="180"/>
                    <a:pt x="200" y="184"/>
                  </a:cubicBezTo>
                  <a:cubicBezTo>
                    <a:pt x="201" y="188"/>
                    <a:pt x="202" y="192"/>
                    <a:pt x="204" y="195"/>
                  </a:cubicBezTo>
                  <a:cubicBezTo>
                    <a:pt x="207" y="199"/>
                    <a:pt x="210" y="203"/>
                    <a:pt x="213" y="208"/>
                  </a:cubicBezTo>
                  <a:cubicBezTo>
                    <a:pt x="217" y="213"/>
                    <a:pt x="220" y="217"/>
                    <a:pt x="222" y="220"/>
                  </a:cubicBezTo>
                  <a:cubicBezTo>
                    <a:pt x="224" y="223"/>
                    <a:pt x="225" y="225"/>
                    <a:pt x="225" y="227"/>
                  </a:cubicBezTo>
                  <a:cubicBezTo>
                    <a:pt x="225" y="229"/>
                    <a:pt x="224" y="231"/>
                    <a:pt x="223" y="233"/>
                  </a:cubicBezTo>
                  <a:cubicBezTo>
                    <a:pt x="221" y="236"/>
                    <a:pt x="218" y="238"/>
                    <a:pt x="215" y="239"/>
                  </a:cubicBezTo>
                  <a:cubicBezTo>
                    <a:pt x="211" y="239"/>
                    <a:pt x="206" y="237"/>
                    <a:pt x="199" y="234"/>
                  </a:cubicBezTo>
                  <a:cubicBezTo>
                    <a:pt x="195" y="231"/>
                    <a:pt x="191" y="228"/>
                    <a:pt x="188" y="224"/>
                  </a:cubicBezTo>
                  <a:cubicBezTo>
                    <a:pt x="184" y="221"/>
                    <a:pt x="181" y="217"/>
                    <a:pt x="179" y="214"/>
                  </a:cubicBezTo>
                  <a:cubicBezTo>
                    <a:pt x="173" y="225"/>
                    <a:pt x="173" y="225"/>
                    <a:pt x="173" y="225"/>
                  </a:cubicBezTo>
                  <a:cubicBezTo>
                    <a:pt x="175" y="228"/>
                    <a:pt x="178" y="231"/>
                    <a:pt x="181" y="234"/>
                  </a:cubicBezTo>
                  <a:cubicBezTo>
                    <a:pt x="184" y="237"/>
                    <a:pt x="188" y="240"/>
                    <a:pt x="193" y="243"/>
                  </a:cubicBezTo>
                  <a:cubicBezTo>
                    <a:pt x="202" y="249"/>
                    <a:pt x="211" y="251"/>
                    <a:pt x="218" y="250"/>
                  </a:cubicBezTo>
                  <a:cubicBezTo>
                    <a:pt x="226" y="250"/>
                    <a:pt x="232" y="246"/>
                    <a:pt x="236" y="239"/>
                  </a:cubicBezTo>
                  <a:cubicBezTo>
                    <a:pt x="238" y="235"/>
                    <a:pt x="239" y="231"/>
                    <a:pt x="239" y="227"/>
                  </a:cubicBezTo>
                  <a:moveTo>
                    <a:pt x="178" y="131"/>
                  </a:moveTo>
                  <a:cubicBezTo>
                    <a:pt x="152" y="168"/>
                    <a:pt x="152" y="168"/>
                    <a:pt x="152" y="168"/>
                  </a:cubicBezTo>
                  <a:cubicBezTo>
                    <a:pt x="146" y="176"/>
                    <a:pt x="141" y="181"/>
                    <a:pt x="134" y="183"/>
                  </a:cubicBezTo>
                  <a:cubicBezTo>
                    <a:pt x="128" y="186"/>
                    <a:pt x="121" y="184"/>
                    <a:pt x="114" y="178"/>
                  </a:cubicBezTo>
                  <a:cubicBezTo>
                    <a:pt x="103" y="171"/>
                    <a:pt x="102" y="162"/>
                    <a:pt x="110" y="151"/>
                  </a:cubicBezTo>
                  <a:cubicBezTo>
                    <a:pt x="142" y="106"/>
                    <a:pt x="142" y="106"/>
                    <a:pt x="142" y="106"/>
                  </a:cubicBezTo>
                  <a:cubicBezTo>
                    <a:pt x="130" y="97"/>
                    <a:pt x="130" y="97"/>
                    <a:pt x="130" y="97"/>
                  </a:cubicBezTo>
                  <a:cubicBezTo>
                    <a:pt x="98" y="143"/>
                    <a:pt x="98" y="143"/>
                    <a:pt x="98" y="143"/>
                  </a:cubicBezTo>
                  <a:cubicBezTo>
                    <a:pt x="91" y="152"/>
                    <a:pt x="89" y="160"/>
                    <a:pt x="90" y="167"/>
                  </a:cubicBezTo>
                  <a:cubicBezTo>
                    <a:pt x="92" y="174"/>
                    <a:pt x="97" y="181"/>
                    <a:pt x="105" y="187"/>
                  </a:cubicBezTo>
                  <a:cubicBezTo>
                    <a:pt x="110" y="190"/>
                    <a:pt x="115" y="192"/>
                    <a:pt x="120" y="193"/>
                  </a:cubicBezTo>
                  <a:cubicBezTo>
                    <a:pt x="125" y="194"/>
                    <a:pt x="130" y="194"/>
                    <a:pt x="135" y="192"/>
                  </a:cubicBezTo>
                  <a:cubicBezTo>
                    <a:pt x="136" y="192"/>
                    <a:pt x="136" y="192"/>
                    <a:pt x="136" y="192"/>
                  </a:cubicBezTo>
                  <a:cubicBezTo>
                    <a:pt x="131" y="203"/>
                    <a:pt x="131" y="203"/>
                    <a:pt x="131" y="203"/>
                  </a:cubicBezTo>
                  <a:cubicBezTo>
                    <a:pt x="140" y="209"/>
                    <a:pt x="140" y="209"/>
                    <a:pt x="140" y="209"/>
                  </a:cubicBezTo>
                  <a:cubicBezTo>
                    <a:pt x="189" y="139"/>
                    <a:pt x="189" y="139"/>
                    <a:pt x="189" y="139"/>
                  </a:cubicBezTo>
                  <a:lnTo>
                    <a:pt x="178" y="131"/>
                  </a:lnTo>
                  <a:close/>
                  <a:moveTo>
                    <a:pt x="80" y="109"/>
                  </a:moveTo>
                  <a:cubicBezTo>
                    <a:pt x="80" y="105"/>
                    <a:pt x="80" y="100"/>
                    <a:pt x="78" y="95"/>
                  </a:cubicBezTo>
                  <a:cubicBezTo>
                    <a:pt x="76" y="90"/>
                    <a:pt x="74" y="84"/>
                    <a:pt x="70" y="78"/>
                  </a:cubicBezTo>
                  <a:cubicBezTo>
                    <a:pt x="67" y="72"/>
                    <a:pt x="64" y="67"/>
                    <a:pt x="63" y="63"/>
                  </a:cubicBezTo>
                  <a:cubicBezTo>
                    <a:pt x="62" y="59"/>
                    <a:pt x="61" y="56"/>
                    <a:pt x="61" y="53"/>
                  </a:cubicBezTo>
                  <a:cubicBezTo>
                    <a:pt x="62" y="50"/>
                    <a:pt x="63" y="47"/>
                    <a:pt x="66" y="44"/>
                  </a:cubicBezTo>
                  <a:cubicBezTo>
                    <a:pt x="69" y="40"/>
                    <a:pt x="73" y="38"/>
                    <a:pt x="78" y="38"/>
                  </a:cubicBezTo>
                  <a:cubicBezTo>
                    <a:pt x="82" y="38"/>
                    <a:pt x="88" y="41"/>
                    <a:pt x="93" y="45"/>
                  </a:cubicBezTo>
                  <a:cubicBezTo>
                    <a:pt x="97" y="48"/>
                    <a:pt x="100" y="52"/>
                    <a:pt x="103" y="56"/>
                  </a:cubicBezTo>
                  <a:cubicBezTo>
                    <a:pt x="106" y="60"/>
                    <a:pt x="108" y="64"/>
                    <a:pt x="110" y="67"/>
                  </a:cubicBezTo>
                  <a:cubicBezTo>
                    <a:pt x="121" y="61"/>
                    <a:pt x="121" y="61"/>
                    <a:pt x="121" y="61"/>
                  </a:cubicBezTo>
                  <a:cubicBezTo>
                    <a:pt x="119" y="57"/>
                    <a:pt x="117" y="52"/>
                    <a:pt x="113" y="48"/>
                  </a:cubicBezTo>
                  <a:cubicBezTo>
                    <a:pt x="110" y="44"/>
                    <a:pt x="106" y="40"/>
                    <a:pt x="101" y="36"/>
                  </a:cubicBezTo>
                  <a:cubicBezTo>
                    <a:pt x="96" y="31"/>
                    <a:pt x="90" y="28"/>
                    <a:pt x="84" y="26"/>
                  </a:cubicBezTo>
                  <a:cubicBezTo>
                    <a:pt x="79" y="25"/>
                    <a:pt x="73" y="24"/>
                    <a:pt x="68" y="26"/>
                  </a:cubicBezTo>
                  <a:cubicBezTo>
                    <a:pt x="63" y="27"/>
                    <a:pt x="59" y="30"/>
                    <a:pt x="55" y="35"/>
                  </a:cubicBezTo>
                  <a:cubicBezTo>
                    <a:pt x="49" y="41"/>
                    <a:pt x="46" y="48"/>
                    <a:pt x="47" y="55"/>
                  </a:cubicBezTo>
                  <a:cubicBezTo>
                    <a:pt x="47" y="63"/>
                    <a:pt x="50" y="71"/>
                    <a:pt x="56" y="80"/>
                  </a:cubicBezTo>
                  <a:cubicBezTo>
                    <a:pt x="59" y="86"/>
                    <a:pt x="62" y="91"/>
                    <a:pt x="63" y="95"/>
                  </a:cubicBezTo>
                  <a:cubicBezTo>
                    <a:pt x="65" y="99"/>
                    <a:pt x="66" y="103"/>
                    <a:pt x="65" y="106"/>
                  </a:cubicBezTo>
                  <a:cubicBezTo>
                    <a:pt x="65" y="109"/>
                    <a:pt x="63" y="112"/>
                    <a:pt x="61" y="115"/>
                  </a:cubicBezTo>
                  <a:cubicBezTo>
                    <a:pt x="57" y="119"/>
                    <a:pt x="53" y="121"/>
                    <a:pt x="47" y="121"/>
                  </a:cubicBezTo>
                  <a:cubicBezTo>
                    <a:pt x="42" y="121"/>
                    <a:pt x="36" y="118"/>
                    <a:pt x="30" y="112"/>
                  </a:cubicBezTo>
                  <a:cubicBezTo>
                    <a:pt x="25" y="109"/>
                    <a:pt x="21" y="104"/>
                    <a:pt x="17" y="100"/>
                  </a:cubicBezTo>
                  <a:cubicBezTo>
                    <a:pt x="14" y="95"/>
                    <a:pt x="11" y="91"/>
                    <a:pt x="9" y="87"/>
                  </a:cubicBezTo>
                  <a:cubicBezTo>
                    <a:pt x="0" y="97"/>
                    <a:pt x="0" y="97"/>
                    <a:pt x="0" y="97"/>
                  </a:cubicBezTo>
                  <a:cubicBezTo>
                    <a:pt x="2" y="101"/>
                    <a:pt x="5" y="105"/>
                    <a:pt x="8" y="109"/>
                  </a:cubicBezTo>
                  <a:cubicBezTo>
                    <a:pt x="12" y="113"/>
                    <a:pt x="16" y="118"/>
                    <a:pt x="21" y="122"/>
                  </a:cubicBezTo>
                  <a:cubicBezTo>
                    <a:pt x="31" y="130"/>
                    <a:pt x="40" y="134"/>
                    <a:pt x="49" y="134"/>
                  </a:cubicBezTo>
                  <a:cubicBezTo>
                    <a:pt x="59" y="135"/>
                    <a:pt x="66" y="131"/>
                    <a:pt x="73" y="123"/>
                  </a:cubicBezTo>
                  <a:cubicBezTo>
                    <a:pt x="77" y="119"/>
                    <a:pt x="79" y="114"/>
                    <a:pt x="80" y="109"/>
                  </a:cubicBezTo>
                </a:path>
              </a:pathLst>
            </a:custGeom>
            <a:solidFill>
              <a:srgbClr val="2228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 name="Titel 1">
            <a:extLst>
              <a:ext uri="{FF2B5EF4-FFF2-40B4-BE49-F238E27FC236}">
                <a16:creationId xmlns:a16="http://schemas.microsoft.com/office/drawing/2014/main" id="{5B5E48DF-D59D-5543-8118-EDEBAEF65B9B}"/>
              </a:ext>
            </a:extLst>
          </p:cNvPr>
          <p:cNvSpPr txBox="1">
            <a:spLocks/>
          </p:cNvSpPr>
          <p:nvPr/>
        </p:nvSpPr>
        <p:spPr>
          <a:xfrm>
            <a:off x="779804" y="2142180"/>
            <a:ext cx="2104797" cy="705105"/>
          </a:xfrm>
          <a:prstGeom prst="rect">
            <a:avLst/>
          </a:prstGeom>
        </p:spPr>
        <p:txBody>
          <a:bodyPr vert="horz" lIns="0" tIns="0" rIns="0" bIns="0" rtlCol="0" anchor="ctr" anchorCtr="0">
            <a:noAutofit/>
          </a:bodyPr>
          <a:lstStyle>
            <a:lvl1pPr algn="l" defTabSz="914400" rtl="0" eaLnBrk="1" latinLnBrk="0" hangingPunct="1">
              <a:lnSpc>
                <a:spcPct val="120000"/>
              </a:lnSpc>
              <a:spcBef>
                <a:spcPct val="0"/>
              </a:spcBef>
              <a:buNone/>
              <a:defRPr sz="4400" kern="1200">
                <a:solidFill>
                  <a:schemeClr val="tx2"/>
                </a:solidFill>
                <a:latin typeface="+mj-lt"/>
                <a:ea typeface="+mj-ea"/>
                <a:cs typeface="+mj-cs"/>
              </a:defRPr>
            </a:lvl1pPr>
          </a:lstStyle>
          <a:p>
            <a:r>
              <a:rPr lang="en-GB" sz="1100" dirty="0"/>
              <a:t>By being a sustainable business we add value to society and to our future business.</a:t>
            </a:r>
            <a:endParaRPr lang="da-DK" sz="1100" dirty="0"/>
          </a:p>
        </p:txBody>
      </p:sp>
      <p:sp>
        <p:nvSpPr>
          <p:cNvPr id="34" name="Titel 1">
            <a:extLst>
              <a:ext uri="{FF2B5EF4-FFF2-40B4-BE49-F238E27FC236}">
                <a16:creationId xmlns:a16="http://schemas.microsoft.com/office/drawing/2014/main" id="{8CCBB633-E6D3-E849-8D55-1189A23B1EEC}"/>
              </a:ext>
            </a:extLst>
          </p:cNvPr>
          <p:cNvSpPr txBox="1">
            <a:spLocks/>
          </p:cNvSpPr>
          <p:nvPr/>
        </p:nvSpPr>
        <p:spPr>
          <a:xfrm>
            <a:off x="647699" y="647700"/>
            <a:ext cx="4669413" cy="1292866"/>
          </a:xfrm>
          <a:prstGeom prst="rect">
            <a:avLst/>
          </a:prstGeom>
        </p:spPr>
        <p:txBody>
          <a:bodyPr/>
          <a:lst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a:lstStyle>
          <a:p>
            <a:r>
              <a:rPr lang="en-GB" sz="4400" dirty="0"/>
              <a:t>Sustainable </a:t>
            </a:r>
          </a:p>
          <a:p>
            <a:r>
              <a:rPr lang="en-GB" sz="4400" dirty="0"/>
              <a:t>business</a:t>
            </a:r>
            <a:endParaRPr lang="da-DK" sz="4400" dirty="0"/>
          </a:p>
        </p:txBody>
      </p:sp>
    </p:spTree>
    <p:custDataLst>
      <p:tags r:id="rId1"/>
    </p:custDataLst>
    <p:extLst>
      <p:ext uri="{BB962C8B-B14F-4D97-AF65-F5344CB8AC3E}">
        <p14:creationId xmlns:p14="http://schemas.microsoft.com/office/powerpoint/2010/main" val="13318733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4E8013A-5CF2-4549-AF23-1D46F35BEC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3" name="think-cell Slide" r:id="rId6" imgW="421" imgH="423" progId="TCLayout.ActiveDocument.1">
                  <p:embed/>
                </p:oleObj>
              </mc:Choice>
              <mc:Fallback>
                <p:oleObj name="think-cell Slide" r:id="rId6" imgW="421" imgH="423" progId="TCLayout.ActiveDocument.1">
                  <p:embed/>
                  <p:pic>
                    <p:nvPicPr>
                      <p:cNvPr id="8" name="Object 7" hidden="1">
                        <a:extLst>
                          <a:ext uri="{FF2B5EF4-FFF2-40B4-BE49-F238E27FC236}">
                            <a16:creationId xmlns:a16="http://schemas.microsoft.com/office/drawing/2014/main" id="{04E8013A-5CF2-4549-AF23-1D46F35BEC1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51B0273-522F-46E9-A3CE-0DB22CFCCF49}"/>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noProof="0" dirty="0" err="1">
              <a:latin typeface="Apis For Office" panose="020B0504010101010104" pitchFamily="34" charset="0"/>
              <a:ea typeface="+mj-ea"/>
              <a:cs typeface="+mj-cs"/>
              <a:sym typeface="Apis For Office" panose="020B0504010101010104" pitchFamily="34" charset="0"/>
            </a:endParaRPr>
          </a:p>
        </p:txBody>
      </p:sp>
      <p:sp>
        <p:nvSpPr>
          <p:cNvPr id="30" name="TextBox 29">
            <a:extLst>
              <a:ext uri="{FF2B5EF4-FFF2-40B4-BE49-F238E27FC236}">
                <a16:creationId xmlns:a16="http://schemas.microsoft.com/office/drawing/2014/main" id="{78C5FCA7-65B7-4ECE-811D-2FD853ED97BE}"/>
              </a:ext>
            </a:extLst>
          </p:cNvPr>
          <p:cNvSpPr txBox="1"/>
          <p:nvPr/>
        </p:nvSpPr>
        <p:spPr>
          <a:xfrm>
            <a:off x="20701" y="2016965"/>
            <a:ext cx="12170964" cy="790370"/>
          </a:xfrm>
          <a:prstGeom prst="rect">
            <a:avLst/>
          </a:prstGeom>
          <a:solidFill>
            <a:schemeClr val="bg2">
              <a:lumMod val="20000"/>
              <a:lumOff val="80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1965"/>
              </a:solidFill>
              <a:effectLst/>
              <a:uLnTx/>
              <a:uFillTx/>
              <a:latin typeface="+mj-lt"/>
              <a:ea typeface="+mn-ea"/>
              <a:cs typeface="+mn-cs"/>
            </a:endParaRPr>
          </a:p>
        </p:txBody>
      </p:sp>
      <p:sp>
        <p:nvSpPr>
          <p:cNvPr id="32" name="TextBox 31">
            <a:extLst>
              <a:ext uri="{FF2B5EF4-FFF2-40B4-BE49-F238E27FC236}">
                <a16:creationId xmlns:a16="http://schemas.microsoft.com/office/drawing/2014/main" id="{06847D66-0AFA-4B6A-9ED8-79D9E3CA7F5E}"/>
              </a:ext>
            </a:extLst>
          </p:cNvPr>
          <p:cNvSpPr txBox="1"/>
          <p:nvPr/>
        </p:nvSpPr>
        <p:spPr>
          <a:xfrm>
            <a:off x="20701" y="2953853"/>
            <a:ext cx="12171300" cy="790370"/>
          </a:xfrm>
          <a:prstGeom prst="rect">
            <a:avLst/>
          </a:prstGeom>
          <a:solidFill>
            <a:schemeClr val="bg2">
              <a:lumMod val="20000"/>
              <a:lumOff val="80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1965"/>
              </a:solidFill>
              <a:effectLst/>
              <a:uLnTx/>
              <a:uFillTx/>
              <a:latin typeface="+mj-lt"/>
              <a:ea typeface="+mn-ea"/>
              <a:cs typeface="+mn-cs"/>
            </a:endParaRPr>
          </a:p>
        </p:txBody>
      </p:sp>
      <p:sp>
        <p:nvSpPr>
          <p:cNvPr id="33" name="TextBox 32">
            <a:extLst>
              <a:ext uri="{FF2B5EF4-FFF2-40B4-BE49-F238E27FC236}">
                <a16:creationId xmlns:a16="http://schemas.microsoft.com/office/drawing/2014/main" id="{2A1DF95C-24F1-449B-A299-CA6CEB8A061F}"/>
              </a:ext>
            </a:extLst>
          </p:cNvPr>
          <p:cNvSpPr txBox="1"/>
          <p:nvPr/>
        </p:nvSpPr>
        <p:spPr>
          <a:xfrm>
            <a:off x="20701" y="3890741"/>
            <a:ext cx="12171300" cy="790370"/>
          </a:xfrm>
          <a:prstGeom prst="rect">
            <a:avLst/>
          </a:prstGeom>
          <a:solidFill>
            <a:schemeClr val="bg2">
              <a:lumMod val="20000"/>
              <a:lumOff val="80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1965"/>
              </a:solidFill>
              <a:effectLst/>
              <a:uLnTx/>
              <a:uFillTx/>
              <a:latin typeface="+mj-lt"/>
              <a:ea typeface="+mn-ea"/>
              <a:cs typeface="+mn-cs"/>
            </a:endParaRPr>
          </a:p>
        </p:txBody>
      </p:sp>
      <p:sp>
        <p:nvSpPr>
          <p:cNvPr id="34" name="TextBox 33">
            <a:extLst>
              <a:ext uri="{FF2B5EF4-FFF2-40B4-BE49-F238E27FC236}">
                <a16:creationId xmlns:a16="http://schemas.microsoft.com/office/drawing/2014/main" id="{4F316C7B-8730-4F70-A439-57BF1C3B3741}"/>
              </a:ext>
            </a:extLst>
          </p:cNvPr>
          <p:cNvSpPr txBox="1"/>
          <p:nvPr/>
        </p:nvSpPr>
        <p:spPr>
          <a:xfrm>
            <a:off x="20701" y="4827629"/>
            <a:ext cx="12171300" cy="790370"/>
          </a:xfrm>
          <a:prstGeom prst="rect">
            <a:avLst/>
          </a:prstGeom>
          <a:solidFill>
            <a:schemeClr val="bg2">
              <a:lumMod val="20000"/>
              <a:lumOff val="80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1965"/>
              </a:solidFill>
              <a:effectLst/>
              <a:uLnTx/>
              <a:uFillTx/>
              <a:latin typeface="+mj-lt"/>
              <a:ea typeface="+mn-ea"/>
              <a:cs typeface="+mn-cs"/>
            </a:endParaRPr>
          </a:p>
        </p:txBody>
      </p:sp>
      <p:sp>
        <p:nvSpPr>
          <p:cNvPr id="2" name="Title 1">
            <a:extLst>
              <a:ext uri="{FF2B5EF4-FFF2-40B4-BE49-F238E27FC236}">
                <a16:creationId xmlns:a16="http://schemas.microsoft.com/office/drawing/2014/main" id="{0A42523C-04DE-4C79-9D54-258CAB456853}"/>
              </a:ext>
            </a:extLst>
          </p:cNvPr>
          <p:cNvSpPr>
            <a:spLocks noGrp="1"/>
          </p:cNvSpPr>
          <p:nvPr>
            <p:ph type="title"/>
          </p:nvPr>
        </p:nvSpPr>
        <p:spPr/>
        <p:txBody>
          <a:bodyPr/>
          <a:lstStyle/>
          <a:p>
            <a:r>
              <a:rPr lang="en-GB" dirty="0"/>
              <a:t>Today’s agenda</a:t>
            </a:r>
          </a:p>
        </p:txBody>
      </p:sp>
      <p:sp>
        <p:nvSpPr>
          <p:cNvPr id="9" name="Graphic 11">
            <a:extLst>
              <a:ext uri="{FF2B5EF4-FFF2-40B4-BE49-F238E27FC236}">
                <a16:creationId xmlns:a16="http://schemas.microsoft.com/office/drawing/2014/main" id="{E921E463-79F4-4A9F-8887-E686D456CA10}"/>
              </a:ext>
            </a:extLst>
          </p:cNvPr>
          <p:cNvSpPr>
            <a:spLocks/>
          </p:cNvSpPr>
          <p:nvPr/>
        </p:nvSpPr>
        <p:spPr>
          <a:xfrm rot="19800000">
            <a:off x="1950554" y="4768866"/>
            <a:ext cx="11112277" cy="1155881"/>
          </a:xfrm>
          <a:custGeom>
            <a:avLst/>
            <a:gdLst>
              <a:gd name="connsiteX0" fmla="*/ 0 w 8842731"/>
              <a:gd name="connsiteY0" fmla="*/ 1111767 h 1441194"/>
              <a:gd name="connsiteX1" fmla="*/ 3781364 w 8842731"/>
              <a:gd name="connsiteY1" fmla="*/ 840640 h 1441194"/>
              <a:gd name="connsiteX2" fmla="*/ 4705577 w 8842731"/>
              <a:gd name="connsiteY2" fmla="*/ 835889 h 1441194"/>
              <a:gd name="connsiteX3" fmla="*/ 5954894 w 8842731"/>
              <a:gd name="connsiteY3" fmla="*/ 833008 h 1441194"/>
              <a:gd name="connsiteX4" fmla="*/ 6747244 w 8842731"/>
              <a:gd name="connsiteY4" fmla="*/ 869381 h 1441194"/>
              <a:gd name="connsiteX5" fmla="*/ 7218308 w 8842731"/>
              <a:gd name="connsiteY5" fmla="*/ 1375650 h 1441194"/>
              <a:gd name="connsiteX6" fmla="*/ 8103734 w 8842731"/>
              <a:gd name="connsiteY6" fmla="*/ 0 h 1441194"/>
              <a:gd name="connsiteX7" fmla="*/ 8842731 w 8842731"/>
              <a:gd name="connsiteY7" fmla="*/ 605264 h 144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42731" h="1441194">
                <a:moveTo>
                  <a:pt x="0" y="1111767"/>
                </a:moveTo>
                <a:cubicBezTo>
                  <a:pt x="547627" y="310616"/>
                  <a:pt x="2757765" y="1591788"/>
                  <a:pt x="3781364" y="840640"/>
                </a:cubicBezTo>
                <a:cubicBezTo>
                  <a:pt x="4341609" y="429472"/>
                  <a:pt x="4595055" y="700443"/>
                  <a:pt x="4705577" y="835889"/>
                </a:cubicBezTo>
                <a:cubicBezTo>
                  <a:pt x="4778870" y="925538"/>
                  <a:pt x="5205382" y="1360774"/>
                  <a:pt x="5954894" y="833008"/>
                </a:cubicBezTo>
                <a:cubicBezTo>
                  <a:pt x="6704406" y="305241"/>
                  <a:pt x="6730810" y="816262"/>
                  <a:pt x="6747244" y="869381"/>
                </a:cubicBezTo>
                <a:cubicBezTo>
                  <a:pt x="6807296" y="1064100"/>
                  <a:pt x="6918597" y="1632679"/>
                  <a:pt x="7218308" y="1375650"/>
                </a:cubicBezTo>
                <a:cubicBezTo>
                  <a:pt x="7518020" y="1118621"/>
                  <a:pt x="7730730" y="0"/>
                  <a:pt x="8103734" y="0"/>
                </a:cubicBezTo>
                <a:cubicBezTo>
                  <a:pt x="8604473" y="0"/>
                  <a:pt x="8380001" y="1049846"/>
                  <a:pt x="8842731" y="605264"/>
                </a:cubicBezTo>
              </a:path>
            </a:pathLst>
          </a:custGeom>
          <a:noFill/>
          <a:ln w="116831" cap="rnd">
            <a:solidFill>
              <a:srgbClr val="F3B0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965"/>
              </a:solidFill>
              <a:effectLst/>
              <a:uLnTx/>
              <a:uFillTx/>
              <a:latin typeface="Verdana"/>
              <a:ea typeface="+mn-ea"/>
              <a:cs typeface="+mn-cs"/>
            </a:endParaRPr>
          </a:p>
        </p:txBody>
      </p:sp>
      <p:sp>
        <p:nvSpPr>
          <p:cNvPr id="14" name="Freeform 6">
            <a:extLst>
              <a:ext uri="{FF2B5EF4-FFF2-40B4-BE49-F238E27FC236}">
                <a16:creationId xmlns:a16="http://schemas.microsoft.com/office/drawing/2014/main" id="{222A5D99-F46E-44EA-B417-40F90923BAC7}"/>
              </a:ext>
            </a:extLst>
          </p:cNvPr>
          <p:cNvSpPr>
            <a:spLocks/>
          </p:cNvSpPr>
          <p:nvPr/>
        </p:nvSpPr>
        <p:spPr bwMode="auto">
          <a:xfrm>
            <a:off x="809543" y="2142150"/>
            <a:ext cx="540000" cy="540000"/>
          </a:xfrm>
          <a:custGeom>
            <a:avLst/>
            <a:gdLst>
              <a:gd name="T0" fmla="*/ 1296 w 1296"/>
              <a:gd name="T1" fmla="*/ 682 h 1296"/>
              <a:gd name="T2" fmla="*/ 1284 w 1296"/>
              <a:gd name="T3" fmla="*/ 780 h 1296"/>
              <a:gd name="T4" fmla="*/ 1257 w 1296"/>
              <a:gd name="T5" fmla="*/ 871 h 1296"/>
              <a:gd name="T6" fmla="*/ 1219 w 1296"/>
              <a:gd name="T7" fmla="*/ 957 h 1296"/>
              <a:gd name="T8" fmla="*/ 1168 w 1296"/>
              <a:gd name="T9" fmla="*/ 1037 h 1296"/>
              <a:gd name="T10" fmla="*/ 1107 w 1296"/>
              <a:gd name="T11" fmla="*/ 1107 h 1296"/>
              <a:gd name="T12" fmla="*/ 1037 w 1296"/>
              <a:gd name="T13" fmla="*/ 1169 h 1296"/>
              <a:gd name="T14" fmla="*/ 957 w 1296"/>
              <a:gd name="T15" fmla="*/ 1219 h 1296"/>
              <a:gd name="T16" fmla="*/ 871 w 1296"/>
              <a:gd name="T17" fmla="*/ 1257 h 1296"/>
              <a:gd name="T18" fmla="*/ 780 w 1296"/>
              <a:gd name="T19" fmla="*/ 1285 h 1296"/>
              <a:gd name="T20" fmla="*/ 682 w 1296"/>
              <a:gd name="T21" fmla="*/ 1296 h 1296"/>
              <a:gd name="T22" fmla="*/ 616 w 1296"/>
              <a:gd name="T23" fmla="*/ 1296 h 1296"/>
              <a:gd name="T24" fmla="*/ 518 w 1296"/>
              <a:gd name="T25" fmla="*/ 1285 h 1296"/>
              <a:gd name="T26" fmla="*/ 425 w 1296"/>
              <a:gd name="T27" fmla="*/ 1257 h 1296"/>
              <a:gd name="T28" fmla="*/ 341 w 1296"/>
              <a:gd name="T29" fmla="*/ 1219 h 1296"/>
              <a:gd name="T30" fmla="*/ 262 w 1296"/>
              <a:gd name="T31" fmla="*/ 1169 h 1296"/>
              <a:gd name="T32" fmla="*/ 191 w 1296"/>
              <a:gd name="T33" fmla="*/ 1107 h 1296"/>
              <a:gd name="T34" fmla="*/ 130 w 1296"/>
              <a:gd name="T35" fmla="*/ 1037 h 1296"/>
              <a:gd name="T36" fmla="*/ 80 w 1296"/>
              <a:gd name="T37" fmla="*/ 957 h 1296"/>
              <a:gd name="T38" fmla="*/ 41 w 1296"/>
              <a:gd name="T39" fmla="*/ 871 h 1296"/>
              <a:gd name="T40" fmla="*/ 14 w 1296"/>
              <a:gd name="T41" fmla="*/ 780 h 1296"/>
              <a:gd name="T42" fmla="*/ 2 w 1296"/>
              <a:gd name="T43" fmla="*/ 682 h 1296"/>
              <a:gd name="T44" fmla="*/ 2 w 1296"/>
              <a:gd name="T45" fmla="*/ 616 h 1296"/>
              <a:gd name="T46" fmla="*/ 14 w 1296"/>
              <a:gd name="T47" fmla="*/ 518 h 1296"/>
              <a:gd name="T48" fmla="*/ 41 w 1296"/>
              <a:gd name="T49" fmla="*/ 425 h 1296"/>
              <a:gd name="T50" fmla="*/ 80 w 1296"/>
              <a:gd name="T51" fmla="*/ 341 h 1296"/>
              <a:gd name="T52" fmla="*/ 130 w 1296"/>
              <a:gd name="T53" fmla="*/ 261 h 1296"/>
              <a:gd name="T54" fmla="*/ 191 w 1296"/>
              <a:gd name="T55" fmla="*/ 191 h 1296"/>
              <a:gd name="T56" fmla="*/ 262 w 1296"/>
              <a:gd name="T57" fmla="*/ 130 h 1296"/>
              <a:gd name="T58" fmla="*/ 341 w 1296"/>
              <a:gd name="T59" fmla="*/ 80 h 1296"/>
              <a:gd name="T60" fmla="*/ 425 w 1296"/>
              <a:gd name="T61" fmla="*/ 41 h 1296"/>
              <a:gd name="T62" fmla="*/ 518 w 1296"/>
              <a:gd name="T63" fmla="*/ 14 h 1296"/>
              <a:gd name="T64" fmla="*/ 616 w 1296"/>
              <a:gd name="T65" fmla="*/ 2 h 1296"/>
              <a:gd name="T66" fmla="*/ 682 w 1296"/>
              <a:gd name="T67" fmla="*/ 2 h 1296"/>
              <a:gd name="T68" fmla="*/ 780 w 1296"/>
              <a:gd name="T69" fmla="*/ 14 h 1296"/>
              <a:gd name="T70" fmla="*/ 871 w 1296"/>
              <a:gd name="T71" fmla="*/ 41 h 1296"/>
              <a:gd name="T72" fmla="*/ 957 w 1296"/>
              <a:gd name="T73" fmla="*/ 80 h 1296"/>
              <a:gd name="T74" fmla="*/ 1037 w 1296"/>
              <a:gd name="T75" fmla="*/ 130 h 1296"/>
              <a:gd name="T76" fmla="*/ 1107 w 1296"/>
              <a:gd name="T77" fmla="*/ 191 h 1296"/>
              <a:gd name="T78" fmla="*/ 1168 w 1296"/>
              <a:gd name="T79" fmla="*/ 261 h 1296"/>
              <a:gd name="T80" fmla="*/ 1219 w 1296"/>
              <a:gd name="T81" fmla="*/ 341 h 1296"/>
              <a:gd name="T82" fmla="*/ 1257 w 1296"/>
              <a:gd name="T83" fmla="*/ 425 h 1296"/>
              <a:gd name="T84" fmla="*/ 1284 w 1296"/>
              <a:gd name="T85" fmla="*/ 518 h 1296"/>
              <a:gd name="T86" fmla="*/ 1296 w 1296"/>
              <a:gd name="T87" fmla="*/ 616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96" h="1296">
                <a:moveTo>
                  <a:pt x="1296" y="648"/>
                </a:moveTo>
                <a:lnTo>
                  <a:pt x="1296" y="648"/>
                </a:lnTo>
                <a:lnTo>
                  <a:pt x="1296" y="682"/>
                </a:lnTo>
                <a:lnTo>
                  <a:pt x="1294" y="716"/>
                </a:lnTo>
                <a:lnTo>
                  <a:pt x="1289" y="748"/>
                </a:lnTo>
                <a:lnTo>
                  <a:pt x="1284" y="780"/>
                </a:lnTo>
                <a:lnTo>
                  <a:pt x="1275" y="812"/>
                </a:lnTo>
                <a:lnTo>
                  <a:pt x="1269" y="841"/>
                </a:lnTo>
                <a:lnTo>
                  <a:pt x="1257" y="871"/>
                </a:lnTo>
                <a:lnTo>
                  <a:pt x="1246" y="900"/>
                </a:lnTo>
                <a:lnTo>
                  <a:pt x="1232" y="930"/>
                </a:lnTo>
                <a:lnTo>
                  <a:pt x="1219" y="957"/>
                </a:lnTo>
                <a:lnTo>
                  <a:pt x="1203" y="985"/>
                </a:lnTo>
                <a:lnTo>
                  <a:pt x="1187" y="1012"/>
                </a:lnTo>
                <a:lnTo>
                  <a:pt x="1168" y="1037"/>
                </a:lnTo>
                <a:lnTo>
                  <a:pt x="1148" y="1062"/>
                </a:lnTo>
                <a:lnTo>
                  <a:pt x="1128" y="1085"/>
                </a:lnTo>
                <a:lnTo>
                  <a:pt x="1107" y="1107"/>
                </a:lnTo>
                <a:lnTo>
                  <a:pt x="1084" y="1128"/>
                </a:lnTo>
                <a:lnTo>
                  <a:pt x="1062" y="1148"/>
                </a:lnTo>
                <a:lnTo>
                  <a:pt x="1037" y="1169"/>
                </a:lnTo>
                <a:lnTo>
                  <a:pt x="1012" y="1187"/>
                </a:lnTo>
                <a:lnTo>
                  <a:pt x="984" y="1203"/>
                </a:lnTo>
                <a:lnTo>
                  <a:pt x="957" y="1219"/>
                </a:lnTo>
                <a:lnTo>
                  <a:pt x="930" y="1232"/>
                </a:lnTo>
                <a:lnTo>
                  <a:pt x="900" y="1246"/>
                </a:lnTo>
                <a:lnTo>
                  <a:pt x="871" y="1257"/>
                </a:lnTo>
                <a:lnTo>
                  <a:pt x="841" y="1269"/>
                </a:lnTo>
                <a:lnTo>
                  <a:pt x="812" y="1276"/>
                </a:lnTo>
                <a:lnTo>
                  <a:pt x="780" y="1285"/>
                </a:lnTo>
                <a:lnTo>
                  <a:pt x="748" y="1289"/>
                </a:lnTo>
                <a:lnTo>
                  <a:pt x="716" y="1294"/>
                </a:lnTo>
                <a:lnTo>
                  <a:pt x="682" y="1296"/>
                </a:lnTo>
                <a:lnTo>
                  <a:pt x="648" y="1296"/>
                </a:lnTo>
                <a:lnTo>
                  <a:pt x="648" y="1296"/>
                </a:lnTo>
                <a:lnTo>
                  <a:pt x="616" y="1296"/>
                </a:lnTo>
                <a:lnTo>
                  <a:pt x="582" y="1294"/>
                </a:lnTo>
                <a:lnTo>
                  <a:pt x="550" y="1289"/>
                </a:lnTo>
                <a:lnTo>
                  <a:pt x="518" y="1285"/>
                </a:lnTo>
                <a:lnTo>
                  <a:pt x="487" y="1276"/>
                </a:lnTo>
                <a:lnTo>
                  <a:pt x="457" y="1269"/>
                </a:lnTo>
                <a:lnTo>
                  <a:pt x="425" y="1257"/>
                </a:lnTo>
                <a:lnTo>
                  <a:pt x="396" y="1246"/>
                </a:lnTo>
                <a:lnTo>
                  <a:pt x="368" y="1232"/>
                </a:lnTo>
                <a:lnTo>
                  <a:pt x="341" y="1219"/>
                </a:lnTo>
                <a:lnTo>
                  <a:pt x="314" y="1203"/>
                </a:lnTo>
                <a:lnTo>
                  <a:pt x="287" y="1187"/>
                </a:lnTo>
                <a:lnTo>
                  <a:pt x="262" y="1169"/>
                </a:lnTo>
                <a:lnTo>
                  <a:pt x="237" y="1148"/>
                </a:lnTo>
                <a:lnTo>
                  <a:pt x="214" y="1128"/>
                </a:lnTo>
                <a:lnTo>
                  <a:pt x="191" y="1107"/>
                </a:lnTo>
                <a:lnTo>
                  <a:pt x="168" y="1085"/>
                </a:lnTo>
                <a:lnTo>
                  <a:pt x="148" y="1062"/>
                </a:lnTo>
                <a:lnTo>
                  <a:pt x="130" y="1037"/>
                </a:lnTo>
                <a:lnTo>
                  <a:pt x="111" y="1012"/>
                </a:lnTo>
                <a:lnTo>
                  <a:pt x="96" y="985"/>
                </a:lnTo>
                <a:lnTo>
                  <a:pt x="80" y="957"/>
                </a:lnTo>
                <a:lnTo>
                  <a:pt x="64" y="930"/>
                </a:lnTo>
                <a:lnTo>
                  <a:pt x="52" y="900"/>
                </a:lnTo>
                <a:lnTo>
                  <a:pt x="41" y="871"/>
                </a:lnTo>
                <a:lnTo>
                  <a:pt x="30" y="841"/>
                </a:lnTo>
                <a:lnTo>
                  <a:pt x="21" y="812"/>
                </a:lnTo>
                <a:lnTo>
                  <a:pt x="14" y="780"/>
                </a:lnTo>
                <a:lnTo>
                  <a:pt x="9" y="748"/>
                </a:lnTo>
                <a:lnTo>
                  <a:pt x="5" y="716"/>
                </a:lnTo>
                <a:lnTo>
                  <a:pt x="2" y="682"/>
                </a:lnTo>
                <a:lnTo>
                  <a:pt x="0" y="648"/>
                </a:lnTo>
                <a:lnTo>
                  <a:pt x="0" y="648"/>
                </a:lnTo>
                <a:lnTo>
                  <a:pt x="2" y="616"/>
                </a:lnTo>
                <a:lnTo>
                  <a:pt x="5" y="582"/>
                </a:lnTo>
                <a:lnTo>
                  <a:pt x="9" y="550"/>
                </a:lnTo>
                <a:lnTo>
                  <a:pt x="14" y="518"/>
                </a:lnTo>
                <a:lnTo>
                  <a:pt x="21" y="487"/>
                </a:lnTo>
                <a:lnTo>
                  <a:pt x="30" y="457"/>
                </a:lnTo>
                <a:lnTo>
                  <a:pt x="41" y="425"/>
                </a:lnTo>
                <a:lnTo>
                  <a:pt x="52" y="396"/>
                </a:lnTo>
                <a:lnTo>
                  <a:pt x="64" y="368"/>
                </a:lnTo>
                <a:lnTo>
                  <a:pt x="80" y="341"/>
                </a:lnTo>
                <a:lnTo>
                  <a:pt x="96" y="314"/>
                </a:lnTo>
                <a:lnTo>
                  <a:pt x="111" y="286"/>
                </a:lnTo>
                <a:lnTo>
                  <a:pt x="130" y="261"/>
                </a:lnTo>
                <a:lnTo>
                  <a:pt x="148" y="236"/>
                </a:lnTo>
                <a:lnTo>
                  <a:pt x="168" y="214"/>
                </a:lnTo>
                <a:lnTo>
                  <a:pt x="191" y="191"/>
                </a:lnTo>
                <a:lnTo>
                  <a:pt x="214" y="168"/>
                </a:lnTo>
                <a:lnTo>
                  <a:pt x="237" y="148"/>
                </a:lnTo>
                <a:lnTo>
                  <a:pt x="262" y="130"/>
                </a:lnTo>
                <a:lnTo>
                  <a:pt x="287" y="111"/>
                </a:lnTo>
                <a:lnTo>
                  <a:pt x="314" y="95"/>
                </a:lnTo>
                <a:lnTo>
                  <a:pt x="341" y="80"/>
                </a:lnTo>
                <a:lnTo>
                  <a:pt x="368" y="64"/>
                </a:lnTo>
                <a:lnTo>
                  <a:pt x="396" y="52"/>
                </a:lnTo>
                <a:lnTo>
                  <a:pt x="425" y="41"/>
                </a:lnTo>
                <a:lnTo>
                  <a:pt x="457" y="30"/>
                </a:lnTo>
                <a:lnTo>
                  <a:pt x="487" y="20"/>
                </a:lnTo>
                <a:lnTo>
                  <a:pt x="518" y="14"/>
                </a:lnTo>
                <a:lnTo>
                  <a:pt x="550" y="9"/>
                </a:lnTo>
                <a:lnTo>
                  <a:pt x="582" y="5"/>
                </a:lnTo>
                <a:lnTo>
                  <a:pt x="616" y="2"/>
                </a:lnTo>
                <a:lnTo>
                  <a:pt x="648" y="0"/>
                </a:lnTo>
                <a:lnTo>
                  <a:pt x="648" y="0"/>
                </a:lnTo>
                <a:lnTo>
                  <a:pt x="682" y="2"/>
                </a:lnTo>
                <a:lnTo>
                  <a:pt x="716" y="5"/>
                </a:lnTo>
                <a:lnTo>
                  <a:pt x="748" y="9"/>
                </a:lnTo>
                <a:lnTo>
                  <a:pt x="780" y="14"/>
                </a:lnTo>
                <a:lnTo>
                  <a:pt x="812" y="20"/>
                </a:lnTo>
                <a:lnTo>
                  <a:pt x="841" y="30"/>
                </a:lnTo>
                <a:lnTo>
                  <a:pt x="871" y="41"/>
                </a:lnTo>
                <a:lnTo>
                  <a:pt x="900" y="52"/>
                </a:lnTo>
                <a:lnTo>
                  <a:pt x="930" y="64"/>
                </a:lnTo>
                <a:lnTo>
                  <a:pt x="957" y="80"/>
                </a:lnTo>
                <a:lnTo>
                  <a:pt x="984" y="95"/>
                </a:lnTo>
                <a:lnTo>
                  <a:pt x="1012" y="111"/>
                </a:lnTo>
                <a:lnTo>
                  <a:pt x="1037" y="130"/>
                </a:lnTo>
                <a:lnTo>
                  <a:pt x="1062" y="148"/>
                </a:lnTo>
                <a:lnTo>
                  <a:pt x="1084" y="168"/>
                </a:lnTo>
                <a:lnTo>
                  <a:pt x="1107" y="191"/>
                </a:lnTo>
                <a:lnTo>
                  <a:pt x="1128" y="214"/>
                </a:lnTo>
                <a:lnTo>
                  <a:pt x="1148" y="236"/>
                </a:lnTo>
                <a:lnTo>
                  <a:pt x="1168" y="261"/>
                </a:lnTo>
                <a:lnTo>
                  <a:pt x="1187" y="286"/>
                </a:lnTo>
                <a:lnTo>
                  <a:pt x="1203" y="314"/>
                </a:lnTo>
                <a:lnTo>
                  <a:pt x="1219" y="341"/>
                </a:lnTo>
                <a:lnTo>
                  <a:pt x="1232" y="368"/>
                </a:lnTo>
                <a:lnTo>
                  <a:pt x="1246" y="396"/>
                </a:lnTo>
                <a:lnTo>
                  <a:pt x="1257" y="425"/>
                </a:lnTo>
                <a:lnTo>
                  <a:pt x="1269" y="457"/>
                </a:lnTo>
                <a:lnTo>
                  <a:pt x="1275" y="487"/>
                </a:lnTo>
                <a:lnTo>
                  <a:pt x="1284" y="518"/>
                </a:lnTo>
                <a:lnTo>
                  <a:pt x="1289" y="550"/>
                </a:lnTo>
                <a:lnTo>
                  <a:pt x="1294" y="582"/>
                </a:lnTo>
                <a:lnTo>
                  <a:pt x="1296" y="616"/>
                </a:lnTo>
                <a:lnTo>
                  <a:pt x="1296" y="648"/>
                </a:lnTo>
                <a:lnTo>
                  <a:pt x="1296" y="648"/>
                </a:lnTo>
                <a:close/>
              </a:path>
            </a:pathLst>
          </a:custGeom>
          <a:noFill/>
          <a:ln w="38100">
            <a:solidFill>
              <a:srgbClr val="F3B03E"/>
            </a:solidFill>
          </a:ln>
        </p:spPr>
        <p:txBody>
          <a:bodyPr/>
          <a:lstStyle/>
          <a:p>
            <a:pPr marR="0" lvl="0" algn="l" defTabSz="1219170" rtl="0" eaLnBrk="1" fontAlgn="auto" latinLnBrk="0" hangingPunct="1">
              <a:lnSpc>
                <a:spcPct val="100000"/>
              </a:lnSpc>
              <a:spcBef>
                <a:spcPts val="0"/>
              </a:spcBef>
              <a:spcAft>
                <a:spcPts val="0"/>
              </a:spcAft>
              <a:buClrTx/>
              <a:buSzTx/>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p:txBody>
      </p:sp>
      <p:sp>
        <p:nvSpPr>
          <p:cNvPr id="15" name="Text Box 9">
            <a:extLst>
              <a:ext uri="{FF2B5EF4-FFF2-40B4-BE49-F238E27FC236}">
                <a16:creationId xmlns:a16="http://schemas.microsoft.com/office/drawing/2014/main" id="{6B766F51-3B7B-41A5-9A6D-FD4763326949}"/>
              </a:ext>
            </a:extLst>
          </p:cNvPr>
          <p:cNvSpPr txBox="1">
            <a:spLocks noChangeAspect="1" noChangeArrowheads="1"/>
          </p:cNvSpPr>
          <p:nvPr/>
        </p:nvSpPr>
        <p:spPr bwMode="auto">
          <a:xfrm>
            <a:off x="1021033" y="2289040"/>
            <a:ext cx="11702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1965"/>
                </a:solidFill>
                <a:effectLst/>
                <a:uLnTx/>
                <a:uFillTx/>
                <a:latin typeface="+mn-lt"/>
                <a:ea typeface="MS PGothic" pitchFamily="34" charset="-128"/>
                <a:cs typeface="Apis" panose="020B0504010101010104" pitchFamily="34" charset="0"/>
              </a:rPr>
              <a:t>1</a:t>
            </a:r>
            <a:endParaRPr kumimoji="0" lang="en-GB" sz="1600" b="1" i="0" u="none" strike="noStrike" kern="1200" cap="none" spc="0" normalizeH="0" baseline="0" dirty="0">
              <a:ln>
                <a:noFill/>
              </a:ln>
              <a:solidFill>
                <a:srgbClr val="001965"/>
              </a:solidFill>
              <a:effectLst/>
              <a:uLnTx/>
              <a:uFillTx/>
              <a:latin typeface="+mn-lt"/>
              <a:ea typeface="MS PGothic" pitchFamily="34" charset="-128"/>
              <a:cs typeface="Apis" panose="020B0504010101010104" pitchFamily="34" charset="0"/>
            </a:endParaRPr>
          </a:p>
        </p:txBody>
      </p:sp>
      <p:sp>
        <p:nvSpPr>
          <p:cNvPr id="22" name="Text Box 9">
            <a:extLst>
              <a:ext uri="{FF2B5EF4-FFF2-40B4-BE49-F238E27FC236}">
                <a16:creationId xmlns:a16="http://schemas.microsoft.com/office/drawing/2014/main" id="{BCA1559D-77A4-4D75-B92D-78D388C86584}"/>
              </a:ext>
            </a:extLst>
          </p:cNvPr>
          <p:cNvSpPr txBox="1">
            <a:spLocks noChangeAspect="1" noChangeArrowheads="1"/>
          </p:cNvSpPr>
          <p:nvPr/>
        </p:nvSpPr>
        <p:spPr bwMode="auto">
          <a:xfrm>
            <a:off x="1768887" y="2289040"/>
            <a:ext cx="88325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lang="en-GB" sz="1600" dirty="0">
                <a:solidFill>
                  <a:srgbClr val="001965"/>
                </a:solidFill>
                <a:latin typeface="+mn-lt"/>
                <a:ea typeface="MS PGothic" pitchFamily="34" charset="-128"/>
                <a:cs typeface="Apis" panose="020B0504010101010104" pitchFamily="34" charset="0"/>
              </a:rPr>
              <a:t>About Us</a:t>
            </a:r>
            <a:endParaRPr kumimoji="0" lang="en-GB" sz="1600" i="0" u="none" strike="noStrike" kern="1200" cap="none" spc="0" normalizeH="0" baseline="0" dirty="0">
              <a:ln>
                <a:noFill/>
              </a:ln>
              <a:solidFill>
                <a:srgbClr val="001965"/>
              </a:solidFill>
              <a:effectLst/>
              <a:uLnTx/>
              <a:uFillTx/>
              <a:latin typeface="+mn-lt"/>
              <a:ea typeface="MS PGothic" pitchFamily="34" charset="-128"/>
              <a:cs typeface="Apis" panose="020B0504010101010104" pitchFamily="34" charset="0"/>
            </a:endParaRPr>
          </a:p>
        </p:txBody>
      </p:sp>
      <p:sp>
        <p:nvSpPr>
          <p:cNvPr id="11" name="Freeform 6">
            <a:extLst>
              <a:ext uri="{FF2B5EF4-FFF2-40B4-BE49-F238E27FC236}">
                <a16:creationId xmlns:a16="http://schemas.microsoft.com/office/drawing/2014/main" id="{8A673D63-F2DB-4BBA-9594-8BD1937AD34D}"/>
              </a:ext>
            </a:extLst>
          </p:cNvPr>
          <p:cNvSpPr>
            <a:spLocks/>
          </p:cNvSpPr>
          <p:nvPr/>
        </p:nvSpPr>
        <p:spPr bwMode="auto">
          <a:xfrm>
            <a:off x="809543" y="3079332"/>
            <a:ext cx="540000" cy="540000"/>
          </a:xfrm>
          <a:custGeom>
            <a:avLst/>
            <a:gdLst>
              <a:gd name="T0" fmla="*/ 1296 w 1296"/>
              <a:gd name="T1" fmla="*/ 682 h 1296"/>
              <a:gd name="T2" fmla="*/ 1284 w 1296"/>
              <a:gd name="T3" fmla="*/ 780 h 1296"/>
              <a:gd name="T4" fmla="*/ 1257 w 1296"/>
              <a:gd name="T5" fmla="*/ 871 h 1296"/>
              <a:gd name="T6" fmla="*/ 1219 w 1296"/>
              <a:gd name="T7" fmla="*/ 957 h 1296"/>
              <a:gd name="T8" fmla="*/ 1168 w 1296"/>
              <a:gd name="T9" fmla="*/ 1037 h 1296"/>
              <a:gd name="T10" fmla="*/ 1107 w 1296"/>
              <a:gd name="T11" fmla="*/ 1107 h 1296"/>
              <a:gd name="T12" fmla="*/ 1037 w 1296"/>
              <a:gd name="T13" fmla="*/ 1169 h 1296"/>
              <a:gd name="T14" fmla="*/ 957 w 1296"/>
              <a:gd name="T15" fmla="*/ 1219 h 1296"/>
              <a:gd name="T16" fmla="*/ 871 w 1296"/>
              <a:gd name="T17" fmla="*/ 1257 h 1296"/>
              <a:gd name="T18" fmla="*/ 780 w 1296"/>
              <a:gd name="T19" fmla="*/ 1285 h 1296"/>
              <a:gd name="T20" fmla="*/ 682 w 1296"/>
              <a:gd name="T21" fmla="*/ 1296 h 1296"/>
              <a:gd name="T22" fmla="*/ 616 w 1296"/>
              <a:gd name="T23" fmla="*/ 1296 h 1296"/>
              <a:gd name="T24" fmla="*/ 518 w 1296"/>
              <a:gd name="T25" fmla="*/ 1285 h 1296"/>
              <a:gd name="T26" fmla="*/ 425 w 1296"/>
              <a:gd name="T27" fmla="*/ 1257 h 1296"/>
              <a:gd name="T28" fmla="*/ 341 w 1296"/>
              <a:gd name="T29" fmla="*/ 1219 h 1296"/>
              <a:gd name="T30" fmla="*/ 262 w 1296"/>
              <a:gd name="T31" fmla="*/ 1169 h 1296"/>
              <a:gd name="T32" fmla="*/ 191 w 1296"/>
              <a:gd name="T33" fmla="*/ 1107 h 1296"/>
              <a:gd name="T34" fmla="*/ 130 w 1296"/>
              <a:gd name="T35" fmla="*/ 1037 h 1296"/>
              <a:gd name="T36" fmla="*/ 80 w 1296"/>
              <a:gd name="T37" fmla="*/ 957 h 1296"/>
              <a:gd name="T38" fmla="*/ 41 w 1296"/>
              <a:gd name="T39" fmla="*/ 871 h 1296"/>
              <a:gd name="T40" fmla="*/ 14 w 1296"/>
              <a:gd name="T41" fmla="*/ 780 h 1296"/>
              <a:gd name="T42" fmla="*/ 2 w 1296"/>
              <a:gd name="T43" fmla="*/ 682 h 1296"/>
              <a:gd name="T44" fmla="*/ 2 w 1296"/>
              <a:gd name="T45" fmla="*/ 616 h 1296"/>
              <a:gd name="T46" fmla="*/ 14 w 1296"/>
              <a:gd name="T47" fmla="*/ 518 h 1296"/>
              <a:gd name="T48" fmla="*/ 41 w 1296"/>
              <a:gd name="T49" fmla="*/ 425 h 1296"/>
              <a:gd name="T50" fmla="*/ 80 w 1296"/>
              <a:gd name="T51" fmla="*/ 341 h 1296"/>
              <a:gd name="T52" fmla="*/ 130 w 1296"/>
              <a:gd name="T53" fmla="*/ 261 h 1296"/>
              <a:gd name="T54" fmla="*/ 191 w 1296"/>
              <a:gd name="T55" fmla="*/ 191 h 1296"/>
              <a:gd name="T56" fmla="*/ 262 w 1296"/>
              <a:gd name="T57" fmla="*/ 130 h 1296"/>
              <a:gd name="T58" fmla="*/ 341 w 1296"/>
              <a:gd name="T59" fmla="*/ 80 h 1296"/>
              <a:gd name="T60" fmla="*/ 425 w 1296"/>
              <a:gd name="T61" fmla="*/ 41 h 1296"/>
              <a:gd name="T62" fmla="*/ 518 w 1296"/>
              <a:gd name="T63" fmla="*/ 14 h 1296"/>
              <a:gd name="T64" fmla="*/ 616 w 1296"/>
              <a:gd name="T65" fmla="*/ 2 h 1296"/>
              <a:gd name="T66" fmla="*/ 682 w 1296"/>
              <a:gd name="T67" fmla="*/ 2 h 1296"/>
              <a:gd name="T68" fmla="*/ 780 w 1296"/>
              <a:gd name="T69" fmla="*/ 14 h 1296"/>
              <a:gd name="T70" fmla="*/ 871 w 1296"/>
              <a:gd name="T71" fmla="*/ 41 h 1296"/>
              <a:gd name="T72" fmla="*/ 957 w 1296"/>
              <a:gd name="T73" fmla="*/ 80 h 1296"/>
              <a:gd name="T74" fmla="*/ 1037 w 1296"/>
              <a:gd name="T75" fmla="*/ 130 h 1296"/>
              <a:gd name="T76" fmla="*/ 1107 w 1296"/>
              <a:gd name="T77" fmla="*/ 191 h 1296"/>
              <a:gd name="T78" fmla="*/ 1168 w 1296"/>
              <a:gd name="T79" fmla="*/ 261 h 1296"/>
              <a:gd name="T80" fmla="*/ 1219 w 1296"/>
              <a:gd name="T81" fmla="*/ 341 h 1296"/>
              <a:gd name="T82" fmla="*/ 1257 w 1296"/>
              <a:gd name="T83" fmla="*/ 425 h 1296"/>
              <a:gd name="T84" fmla="*/ 1284 w 1296"/>
              <a:gd name="T85" fmla="*/ 518 h 1296"/>
              <a:gd name="T86" fmla="*/ 1296 w 1296"/>
              <a:gd name="T87" fmla="*/ 616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96" h="1296">
                <a:moveTo>
                  <a:pt x="1296" y="648"/>
                </a:moveTo>
                <a:lnTo>
                  <a:pt x="1296" y="648"/>
                </a:lnTo>
                <a:lnTo>
                  <a:pt x="1296" y="682"/>
                </a:lnTo>
                <a:lnTo>
                  <a:pt x="1294" y="716"/>
                </a:lnTo>
                <a:lnTo>
                  <a:pt x="1289" y="748"/>
                </a:lnTo>
                <a:lnTo>
                  <a:pt x="1284" y="780"/>
                </a:lnTo>
                <a:lnTo>
                  <a:pt x="1275" y="812"/>
                </a:lnTo>
                <a:lnTo>
                  <a:pt x="1269" y="841"/>
                </a:lnTo>
                <a:lnTo>
                  <a:pt x="1257" y="871"/>
                </a:lnTo>
                <a:lnTo>
                  <a:pt x="1246" y="900"/>
                </a:lnTo>
                <a:lnTo>
                  <a:pt x="1232" y="930"/>
                </a:lnTo>
                <a:lnTo>
                  <a:pt x="1219" y="957"/>
                </a:lnTo>
                <a:lnTo>
                  <a:pt x="1203" y="985"/>
                </a:lnTo>
                <a:lnTo>
                  <a:pt x="1187" y="1012"/>
                </a:lnTo>
                <a:lnTo>
                  <a:pt x="1168" y="1037"/>
                </a:lnTo>
                <a:lnTo>
                  <a:pt x="1148" y="1062"/>
                </a:lnTo>
                <a:lnTo>
                  <a:pt x="1128" y="1085"/>
                </a:lnTo>
                <a:lnTo>
                  <a:pt x="1107" y="1107"/>
                </a:lnTo>
                <a:lnTo>
                  <a:pt x="1084" y="1128"/>
                </a:lnTo>
                <a:lnTo>
                  <a:pt x="1062" y="1148"/>
                </a:lnTo>
                <a:lnTo>
                  <a:pt x="1037" y="1169"/>
                </a:lnTo>
                <a:lnTo>
                  <a:pt x="1012" y="1187"/>
                </a:lnTo>
                <a:lnTo>
                  <a:pt x="984" y="1203"/>
                </a:lnTo>
                <a:lnTo>
                  <a:pt x="957" y="1219"/>
                </a:lnTo>
                <a:lnTo>
                  <a:pt x="930" y="1232"/>
                </a:lnTo>
                <a:lnTo>
                  <a:pt x="900" y="1246"/>
                </a:lnTo>
                <a:lnTo>
                  <a:pt x="871" y="1257"/>
                </a:lnTo>
                <a:lnTo>
                  <a:pt x="841" y="1269"/>
                </a:lnTo>
                <a:lnTo>
                  <a:pt x="812" y="1276"/>
                </a:lnTo>
                <a:lnTo>
                  <a:pt x="780" y="1285"/>
                </a:lnTo>
                <a:lnTo>
                  <a:pt x="748" y="1289"/>
                </a:lnTo>
                <a:lnTo>
                  <a:pt x="716" y="1294"/>
                </a:lnTo>
                <a:lnTo>
                  <a:pt x="682" y="1296"/>
                </a:lnTo>
                <a:lnTo>
                  <a:pt x="648" y="1296"/>
                </a:lnTo>
                <a:lnTo>
                  <a:pt x="648" y="1296"/>
                </a:lnTo>
                <a:lnTo>
                  <a:pt x="616" y="1296"/>
                </a:lnTo>
                <a:lnTo>
                  <a:pt x="582" y="1294"/>
                </a:lnTo>
                <a:lnTo>
                  <a:pt x="550" y="1289"/>
                </a:lnTo>
                <a:lnTo>
                  <a:pt x="518" y="1285"/>
                </a:lnTo>
                <a:lnTo>
                  <a:pt x="487" y="1276"/>
                </a:lnTo>
                <a:lnTo>
                  <a:pt x="457" y="1269"/>
                </a:lnTo>
                <a:lnTo>
                  <a:pt x="425" y="1257"/>
                </a:lnTo>
                <a:lnTo>
                  <a:pt x="396" y="1246"/>
                </a:lnTo>
                <a:lnTo>
                  <a:pt x="368" y="1232"/>
                </a:lnTo>
                <a:lnTo>
                  <a:pt x="341" y="1219"/>
                </a:lnTo>
                <a:lnTo>
                  <a:pt x="314" y="1203"/>
                </a:lnTo>
                <a:lnTo>
                  <a:pt x="287" y="1187"/>
                </a:lnTo>
                <a:lnTo>
                  <a:pt x="262" y="1169"/>
                </a:lnTo>
                <a:lnTo>
                  <a:pt x="237" y="1148"/>
                </a:lnTo>
                <a:lnTo>
                  <a:pt x="214" y="1128"/>
                </a:lnTo>
                <a:lnTo>
                  <a:pt x="191" y="1107"/>
                </a:lnTo>
                <a:lnTo>
                  <a:pt x="168" y="1085"/>
                </a:lnTo>
                <a:lnTo>
                  <a:pt x="148" y="1062"/>
                </a:lnTo>
                <a:lnTo>
                  <a:pt x="130" y="1037"/>
                </a:lnTo>
                <a:lnTo>
                  <a:pt x="111" y="1012"/>
                </a:lnTo>
                <a:lnTo>
                  <a:pt x="96" y="985"/>
                </a:lnTo>
                <a:lnTo>
                  <a:pt x="80" y="957"/>
                </a:lnTo>
                <a:lnTo>
                  <a:pt x="64" y="930"/>
                </a:lnTo>
                <a:lnTo>
                  <a:pt x="52" y="900"/>
                </a:lnTo>
                <a:lnTo>
                  <a:pt x="41" y="871"/>
                </a:lnTo>
                <a:lnTo>
                  <a:pt x="30" y="841"/>
                </a:lnTo>
                <a:lnTo>
                  <a:pt x="21" y="812"/>
                </a:lnTo>
                <a:lnTo>
                  <a:pt x="14" y="780"/>
                </a:lnTo>
                <a:lnTo>
                  <a:pt x="9" y="748"/>
                </a:lnTo>
                <a:lnTo>
                  <a:pt x="5" y="716"/>
                </a:lnTo>
                <a:lnTo>
                  <a:pt x="2" y="682"/>
                </a:lnTo>
                <a:lnTo>
                  <a:pt x="0" y="648"/>
                </a:lnTo>
                <a:lnTo>
                  <a:pt x="0" y="648"/>
                </a:lnTo>
                <a:lnTo>
                  <a:pt x="2" y="616"/>
                </a:lnTo>
                <a:lnTo>
                  <a:pt x="5" y="582"/>
                </a:lnTo>
                <a:lnTo>
                  <a:pt x="9" y="550"/>
                </a:lnTo>
                <a:lnTo>
                  <a:pt x="14" y="518"/>
                </a:lnTo>
                <a:lnTo>
                  <a:pt x="21" y="487"/>
                </a:lnTo>
                <a:lnTo>
                  <a:pt x="30" y="457"/>
                </a:lnTo>
                <a:lnTo>
                  <a:pt x="41" y="425"/>
                </a:lnTo>
                <a:lnTo>
                  <a:pt x="52" y="396"/>
                </a:lnTo>
                <a:lnTo>
                  <a:pt x="64" y="368"/>
                </a:lnTo>
                <a:lnTo>
                  <a:pt x="80" y="341"/>
                </a:lnTo>
                <a:lnTo>
                  <a:pt x="96" y="314"/>
                </a:lnTo>
                <a:lnTo>
                  <a:pt x="111" y="286"/>
                </a:lnTo>
                <a:lnTo>
                  <a:pt x="130" y="261"/>
                </a:lnTo>
                <a:lnTo>
                  <a:pt x="148" y="236"/>
                </a:lnTo>
                <a:lnTo>
                  <a:pt x="168" y="214"/>
                </a:lnTo>
                <a:lnTo>
                  <a:pt x="191" y="191"/>
                </a:lnTo>
                <a:lnTo>
                  <a:pt x="214" y="168"/>
                </a:lnTo>
                <a:lnTo>
                  <a:pt x="237" y="148"/>
                </a:lnTo>
                <a:lnTo>
                  <a:pt x="262" y="130"/>
                </a:lnTo>
                <a:lnTo>
                  <a:pt x="287" y="111"/>
                </a:lnTo>
                <a:lnTo>
                  <a:pt x="314" y="95"/>
                </a:lnTo>
                <a:lnTo>
                  <a:pt x="341" y="80"/>
                </a:lnTo>
                <a:lnTo>
                  <a:pt x="368" y="64"/>
                </a:lnTo>
                <a:lnTo>
                  <a:pt x="396" y="52"/>
                </a:lnTo>
                <a:lnTo>
                  <a:pt x="425" y="41"/>
                </a:lnTo>
                <a:lnTo>
                  <a:pt x="457" y="30"/>
                </a:lnTo>
                <a:lnTo>
                  <a:pt x="487" y="20"/>
                </a:lnTo>
                <a:lnTo>
                  <a:pt x="518" y="14"/>
                </a:lnTo>
                <a:lnTo>
                  <a:pt x="550" y="9"/>
                </a:lnTo>
                <a:lnTo>
                  <a:pt x="582" y="5"/>
                </a:lnTo>
                <a:lnTo>
                  <a:pt x="616" y="2"/>
                </a:lnTo>
                <a:lnTo>
                  <a:pt x="648" y="0"/>
                </a:lnTo>
                <a:lnTo>
                  <a:pt x="648" y="0"/>
                </a:lnTo>
                <a:lnTo>
                  <a:pt x="682" y="2"/>
                </a:lnTo>
                <a:lnTo>
                  <a:pt x="716" y="5"/>
                </a:lnTo>
                <a:lnTo>
                  <a:pt x="748" y="9"/>
                </a:lnTo>
                <a:lnTo>
                  <a:pt x="780" y="14"/>
                </a:lnTo>
                <a:lnTo>
                  <a:pt x="812" y="20"/>
                </a:lnTo>
                <a:lnTo>
                  <a:pt x="841" y="30"/>
                </a:lnTo>
                <a:lnTo>
                  <a:pt x="871" y="41"/>
                </a:lnTo>
                <a:lnTo>
                  <a:pt x="900" y="52"/>
                </a:lnTo>
                <a:lnTo>
                  <a:pt x="930" y="64"/>
                </a:lnTo>
                <a:lnTo>
                  <a:pt x="957" y="80"/>
                </a:lnTo>
                <a:lnTo>
                  <a:pt x="984" y="95"/>
                </a:lnTo>
                <a:lnTo>
                  <a:pt x="1012" y="111"/>
                </a:lnTo>
                <a:lnTo>
                  <a:pt x="1037" y="130"/>
                </a:lnTo>
                <a:lnTo>
                  <a:pt x="1062" y="148"/>
                </a:lnTo>
                <a:lnTo>
                  <a:pt x="1084" y="168"/>
                </a:lnTo>
                <a:lnTo>
                  <a:pt x="1107" y="191"/>
                </a:lnTo>
                <a:lnTo>
                  <a:pt x="1128" y="214"/>
                </a:lnTo>
                <a:lnTo>
                  <a:pt x="1148" y="236"/>
                </a:lnTo>
                <a:lnTo>
                  <a:pt x="1168" y="261"/>
                </a:lnTo>
                <a:lnTo>
                  <a:pt x="1187" y="286"/>
                </a:lnTo>
                <a:lnTo>
                  <a:pt x="1203" y="314"/>
                </a:lnTo>
                <a:lnTo>
                  <a:pt x="1219" y="341"/>
                </a:lnTo>
                <a:lnTo>
                  <a:pt x="1232" y="368"/>
                </a:lnTo>
                <a:lnTo>
                  <a:pt x="1246" y="396"/>
                </a:lnTo>
                <a:lnTo>
                  <a:pt x="1257" y="425"/>
                </a:lnTo>
                <a:lnTo>
                  <a:pt x="1269" y="457"/>
                </a:lnTo>
                <a:lnTo>
                  <a:pt x="1275" y="487"/>
                </a:lnTo>
                <a:lnTo>
                  <a:pt x="1284" y="518"/>
                </a:lnTo>
                <a:lnTo>
                  <a:pt x="1289" y="550"/>
                </a:lnTo>
                <a:lnTo>
                  <a:pt x="1294" y="582"/>
                </a:lnTo>
                <a:lnTo>
                  <a:pt x="1296" y="616"/>
                </a:lnTo>
                <a:lnTo>
                  <a:pt x="1296" y="648"/>
                </a:lnTo>
                <a:lnTo>
                  <a:pt x="1296" y="648"/>
                </a:lnTo>
                <a:close/>
              </a:path>
            </a:pathLst>
          </a:custGeom>
          <a:noFill/>
          <a:ln w="38100">
            <a:solidFill>
              <a:schemeClr val="accent5"/>
            </a:solidFill>
          </a:ln>
        </p:spPr>
        <p:txBody>
          <a:bodyPr/>
          <a:lstStyle/>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p:txBody>
      </p:sp>
      <p:sp>
        <p:nvSpPr>
          <p:cNvPr id="16" name="Text Box 9">
            <a:extLst>
              <a:ext uri="{FF2B5EF4-FFF2-40B4-BE49-F238E27FC236}">
                <a16:creationId xmlns:a16="http://schemas.microsoft.com/office/drawing/2014/main" id="{E32D157E-917F-47E7-96AB-CAC7133DE7A4}"/>
              </a:ext>
            </a:extLst>
          </p:cNvPr>
          <p:cNvSpPr txBox="1">
            <a:spLocks noChangeAspect="1" noChangeArrowheads="1"/>
          </p:cNvSpPr>
          <p:nvPr/>
        </p:nvSpPr>
        <p:spPr bwMode="auto">
          <a:xfrm>
            <a:off x="1021033" y="3226222"/>
            <a:ext cx="11702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solidFill>
                  <a:srgbClr val="001965"/>
                </a:solidFill>
                <a:effectLst/>
                <a:uLnTx/>
                <a:uFillTx/>
                <a:latin typeface="+mn-lt"/>
                <a:ea typeface="MS PGothic" pitchFamily="34" charset="-128"/>
                <a:cs typeface="Apis" panose="020B0504010101010104" pitchFamily="34" charset="0"/>
              </a:rPr>
              <a:t>2</a:t>
            </a:r>
          </a:p>
        </p:txBody>
      </p:sp>
      <p:sp>
        <p:nvSpPr>
          <p:cNvPr id="12" name="Freeform 7">
            <a:extLst>
              <a:ext uri="{FF2B5EF4-FFF2-40B4-BE49-F238E27FC236}">
                <a16:creationId xmlns:a16="http://schemas.microsoft.com/office/drawing/2014/main" id="{28ABD19C-6B9D-489E-80CF-A78026EBA65A}"/>
              </a:ext>
            </a:extLst>
          </p:cNvPr>
          <p:cNvSpPr>
            <a:spLocks/>
          </p:cNvSpPr>
          <p:nvPr/>
        </p:nvSpPr>
        <p:spPr bwMode="auto">
          <a:xfrm>
            <a:off x="809543" y="4016514"/>
            <a:ext cx="540000" cy="540000"/>
          </a:xfrm>
          <a:custGeom>
            <a:avLst/>
            <a:gdLst>
              <a:gd name="T0" fmla="*/ 1296 w 1296"/>
              <a:gd name="T1" fmla="*/ 682 h 1296"/>
              <a:gd name="T2" fmla="*/ 1285 w 1296"/>
              <a:gd name="T3" fmla="*/ 780 h 1296"/>
              <a:gd name="T4" fmla="*/ 1257 w 1296"/>
              <a:gd name="T5" fmla="*/ 871 h 1296"/>
              <a:gd name="T6" fmla="*/ 1219 w 1296"/>
              <a:gd name="T7" fmla="*/ 957 h 1296"/>
              <a:gd name="T8" fmla="*/ 1169 w 1296"/>
              <a:gd name="T9" fmla="*/ 1037 h 1296"/>
              <a:gd name="T10" fmla="*/ 1107 w 1296"/>
              <a:gd name="T11" fmla="*/ 1107 h 1296"/>
              <a:gd name="T12" fmla="*/ 1037 w 1296"/>
              <a:gd name="T13" fmla="*/ 1169 h 1296"/>
              <a:gd name="T14" fmla="*/ 957 w 1296"/>
              <a:gd name="T15" fmla="*/ 1219 h 1296"/>
              <a:gd name="T16" fmla="*/ 871 w 1296"/>
              <a:gd name="T17" fmla="*/ 1257 h 1296"/>
              <a:gd name="T18" fmla="*/ 780 w 1296"/>
              <a:gd name="T19" fmla="*/ 1285 h 1296"/>
              <a:gd name="T20" fmla="*/ 682 w 1296"/>
              <a:gd name="T21" fmla="*/ 1296 h 1296"/>
              <a:gd name="T22" fmla="*/ 616 w 1296"/>
              <a:gd name="T23" fmla="*/ 1296 h 1296"/>
              <a:gd name="T24" fmla="*/ 518 w 1296"/>
              <a:gd name="T25" fmla="*/ 1285 h 1296"/>
              <a:gd name="T26" fmla="*/ 425 w 1296"/>
              <a:gd name="T27" fmla="*/ 1257 h 1296"/>
              <a:gd name="T28" fmla="*/ 341 w 1296"/>
              <a:gd name="T29" fmla="*/ 1219 h 1296"/>
              <a:gd name="T30" fmla="*/ 262 w 1296"/>
              <a:gd name="T31" fmla="*/ 1169 h 1296"/>
              <a:gd name="T32" fmla="*/ 191 w 1296"/>
              <a:gd name="T33" fmla="*/ 1107 h 1296"/>
              <a:gd name="T34" fmla="*/ 130 w 1296"/>
              <a:gd name="T35" fmla="*/ 1037 h 1296"/>
              <a:gd name="T36" fmla="*/ 80 w 1296"/>
              <a:gd name="T37" fmla="*/ 957 h 1296"/>
              <a:gd name="T38" fmla="*/ 41 w 1296"/>
              <a:gd name="T39" fmla="*/ 871 h 1296"/>
              <a:gd name="T40" fmla="*/ 14 w 1296"/>
              <a:gd name="T41" fmla="*/ 780 h 1296"/>
              <a:gd name="T42" fmla="*/ 2 w 1296"/>
              <a:gd name="T43" fmla="*/ 682 h 1296"/>
              <a:gd name="T44" fmla="*/ 2 w 1296"/>
              <a:gd name="T45" fmla="*/ 616 h 1296"/>
              <a:gd name="T46" fmla="*/ 14 w 1296"/>
              <a:gd name="T47" fmla="*/ 518 h 1296"/>
              <a:gd name="T48" fmla="*/ 41 w 1296"/>
              <a:gd name="T49" fmla="*/ 425 h 1296"/>
              <a:gd name="T50" fmla="*/ 80 w 1296"/>
              <a:gd name="T51" fmla="*/ 341 h 1296"/>
              <a:gd name="T52" fmla="*/ 130 w 1296"/>
              <a:gd name="T53" fmla="*/ 261 h 1296"/>
              <a:gd name="T54" fmla="*/ 191 w 1296"/>
              <a:gd name="T55" fmla="*/ 191 h 1296"/>
              <a:gd name="T56" fmla="*/ 262 w 1296"/>
              <a:gd name="T57" fmla="*/ 130 h 1296"/>
              <a:gd name="T58" fmla="*/ 341 w 1296"/>
              <a:gd name="T59" fmla="*/ 80 h 1296"/>
              <a:gd name="T60" fmla="*/ 425 w 1296"/>
              <a:gd name="T61" fmla="*/ 41 h 1296"/>
              <a:gd name="T62" fmla="*/ 518 w 1296"/>
              <a:gd name="T63" fmla="*/ 14 h 1296"/>
              <a:gd name="T64" fmla="*/ 616 w 1296"/>
              <a:gd name="T65" fmla="*/ 2 h 1296"/>
              <a:gd name="T66" fmla="*/ 682 w 1296"/>
              <a:gd name="T67" fmla="*/ 2 h 1296"/>
              <a:gd name="T68" fmla="*/ 780 w 1296"/>
              <a:gd name="T69" fmla="*/ 14 h 1296"/>
              <a:gd name="T70" fmla="*/ 871 w 1296"/>
              <a:gd name="T71" fmla="*/ 41 h 1296"/>
              <a:gd name="T72" fmla="*/ 957 w 1296"/>
              <a:gd name="T73" fmla="*/ 80 h 1296"/>
              <a:gd name="T74" fmla="*/ 1037 w 1296"/>
              <a:gd name="T75" fmla="*/ 130 h 1296"/>
              <a:gd name="T76" fmla="*/ 1107 w 1296"/>
              <a:gd name="T77" fmla="*/ 191 h 1296"/>
              <a:gd name="T78" fmla="*/ 1169 w 1296"/>
              <a:gd name="T79" fmla="*/ 261 h 1296"/>
              <a:gd name="T80" fmla="*/ 1219 w 1296"/>
              <a:gd name="T81" fmla="*/ 341 h 1296"/>
              <a:gd name="T82" fmla="*/ 1257 w 1296"/>
              <a:gd name="T83" fmla="*/ 425 h 1296"/>
              <a:gd name="T84" fmla="*/ 1285 w 1296"/>
              <a:gd name="T85" fmla="*/ 518 h 1296"/>
              <a:gd name="T86" fmla="*/ 1296 w 1296"/>
              <a:gd name="T87" fmla="*/ 616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96" h="1296">
                <a:moveTo>
                  <a:pt x="1296" y="648"/>
                </a:moveTo>
                <a:lnTo>
                  <a:pt x="1296" y="648"/>
                </a:lnTo>
                <a:lnTo>
                  <a:pt x="1296" y="682"/>
                </a:lnTo>
                <a:lnTo>
                  <a:pt x="1294" y="716"/>
                </a:lnTo>
                <a:lnTo>
                  <a:pt x="1289" y="748"/>
                </a:lnTo>
                <a:lnTo>
                  <a:pt x="1285" y="780"/>
                </a:lnTo>
                <a:lnTo>
                  <a:pt x="1275" y="812"/>
                </a:lnTo>
                <a:lnTo>
                  <a:pt x="1269" y="841"/>
                </a:lnTo>
                <a:lnTo>
                  <a:pt x="1257" y="871"/>
                </a:lnTo>
                <a:lnTo>
                  <a:pt x="1246" y="900"/>
                </a:lnTo>
                <a:lnTo>
                  <a:pt x="1232" y="930"/>
                </a:lnTo>
                <a:lnTo>
                  <a:pt x="1219" y="957"/>
                </a:lnTo>
                <a:lnTo>
                  <a:pt x="1203" y="985"/>
                </a:lnTo>
                <a:lnTo>
                  <a:pt x="1187" y="1012"/>
                </a:lnTo>
                <a:lnTo>
                  <a:pt x="1169" y="1037"/>
                </a:lnTo>
                <a:lnTo>
                  <a:pt x="1148" y="1062"/>
                </a:lnTo>
                <a:lnTo>
                  <a:pt x="1128" y="1085"/>
                </a:lnTo>
                <a:lnTo>
                  <a:pt x="1107" y="1107"/>
                </a:lnTo>
                <a:lnTo>
                  <a:pt x="1084" y="1128"/>
                </a:lnTo>
                <a:lnTo>
                  <a:pt x="1062" y="1148"/>
                </a:lnTo>
                <a:lnTo>
                  <a:pt x="1037" y="1169"/>
                </a:lnTo>
                <a:lnTo>
                  <a:pt x="1012" y="1187"/>
                </a:lnTo>
                <a:lnTo>
                  <a:pt x="984" y="1203"/>
                </a:lnTo>
                <a:lnTo>
                  <a:pt x="957" y="1219"/>
                </a:lnTo>
                <a:lnTo>
                  <a:pt x="930" y="1232"/>
                </a:lnTo>
                <a:lnTo>
                  <a:pt x="900" y="1246"/>
                </a:lnTo>
                <a:lnTo>
                  <a:pt x="871" y="1257"/>
                </a:lnTo>
                <a:lnTo>
                  <a:pt x="841" y="1269"/>
                </a:lnTo>
                <a:lnTo>
                  <a:pt x="812" y="1276"/>
                </a:lnTo>
                <a:lnTo>
                  <a:pt x="780" y="1285"/>
                </a:lnTo>
                <a:lnTo>
                  <a:pt x="748" y="1289"/>
                </a:lnTo>
                <a:lnTo>
                  <a:pt x="716" y="1294"/>
                </a:lnTo>
                <a:lnTo>
                  <a:pt x="682" y="1296"/>
                </a:lnTo>
                <a:lnTo>
                  <a:pt x="648" y="1296"/>
                </a:lnTo>
                <a:lnTo>
                  <a:pt x="648" y="1296"/>
                </a:lnTo>
                <a:lnTo>
                  <a:pt x="616" y="1296"/>
                </a:lnTo>
                <a:lnTo>
                  <a:pt x="582" y="1294"/>
                </a:lnTo>
                <a:lnTo>
                  <a:pt x="550" y="1289"/>
                </a:lnTo>
                <a:lnTo>
                  <a:pt x="518" y="1285"/>
                </a:lnTo>
                <a:lnTo>
                  <a:pt x="487" y="1276"/>
                </a:lnTo>
                <a:lnTo>
                  <a:pt x="457" y="1269"/>
                </a:lnTo>
                <a:lnTo>
                  <a:pt x="425" y="1257"/>
                </a:lnTo>
                <a:lnTo>
                  <a:pt x="396" y="1246"/>
                </a:lnTo>
                <a:lnTo>
                  <a:pt x="368" y="1232"/>
                </a:lnTo>
                <a:lnTo>
                  <a:pt x="341" y="1219"/>
                </a:lnTo>
                <a:lnTo>
                  <a:pt x="314" y="1203"/>
                </a:lnTo>
                <a:lnTo>
                  <a:pt x="287" y="1187"/>
                </a:lnTo>
                <a:lnTo>
                  <a:pt x="262" y="1169"/>
                </a:lnTo>
                <a:lnTo>
                  <a:pt x="237" y="1148"/>
                </a:lnTo>
                <a:lnTo>
                  <a:pt x="214" y="1128"/>
                </a:lnTo>
                <a:lnTo>
                  <a:pt x="191" y="1107"/>
                </a:lnTo>
                <a:lnTo>
                  <a:pt x="168" y="1085"/>
                </a:lnTo>
                <a:lnTo>
                  <a:pt x="148" y="1062"/>
                </a:lnTo>
                <a:lnTo>
                  <a:pt x="130" y="1037"/>
                </a:lnTo>
                <a:lnTo>
                  <a:pt x="112" y="1012"/>
                </a:lnTo>
                <a:lnTo>
                  <a:pt x="96" y="985"/>
                </a:lnTo>
                <a:lnTo>
                  <a:pt x="80" y="957"/>
                </a:lnTo>
                <a:lnTo>
                  <a:pt x="64" y="930"/>
                </a:lnTo>
                <a:lnTo>
                  <a:pt x="52" y="900"/>
                </a:lnTo>
                <a:lnTo>
                  <a:pt x="41" y="871"/>
                </a:lnTo>
                <a:lnTo>
                  <a:pt x="30" y="841"/>
                </a:lnTo>
                <a:lnTo>
                  <a:pt x="21" y="812"/>
                </a:lnTo>
                <a:lnTo>
                  <a:pt x="14" y="780"/>
                </a:lnTo>
                <a:lnTo>
                  <a:pt x="9" y="748"/>
                </a:lnTo>
                <a:lnTo>
                  <a:pt x="5" y="716"/>
                </a:lnTo>
                <a:lnTo>
                  <a:pt x="2" y="682"/>
                </a:lnTo>
                <a:lnTo>
                  <a:pt x="0" y="648"/>
                </a:lnTo>
                <a:lnTo>
                  <a:pt x="0" y="648"/>
                </a:lnTo>
                <a:lnTo>
                  <a:pt x="2" y="616"/>
                </a:lnTo>
                <a:lnTo>
                  <a:pt x="5" y="582"/>
                </a:lnTo>
                <a:lnTo>
                  <a:pt x="9" y="550"/>
                </a:lnTo>
                <a:lnTo>
                  <a:pt x="14" y="518"/>
                </a:lnTo>
                <a:lnTo>
                  <a:pt x="21" y="487"/>
                </a:lnTo>
                <a:lnTo>
                  <a:pt x="30" y="457"/>
                </a:lnTo>
                <a:lnTo>
                  <a:pt x="41" y="425"/>
                </a:lnTo>
                <a:lnTo>
                  <a:pt x="52" y="396"/>
                </a:lnTo>
                <a:lnTo>
                  <a:pt x="64" y="368"/>
                </a:lnTo>
                <a:lnTo>
                  <a:pt x="80" y="341"/>
                </a:lnTo>
                <a:lnTo>
                  <a:pt x="96" y="314"/>
                </a:lnTo>
                <a:lnTo>
                  <a:pt x="112" y="286"/>
                </a:lnTo>
                <a:lnTo>
                  <a:pt x="130" y="261"/>
                </a:lnTo>
                <a:lnTo>
                  <a:pt x="148" y="236"/>
                </a:lnTo>
                <a:lnTo>
                  <a:pt x="168" y="214"/>
                </a:lnTo>
                <a:lnTo>
                  <a:pt x="191" y="191"/>
                </a:lnTo>
                <a:lnTo>
                  <a:pt x="214" y="168"/>
                </a:lnTo>
                <a:lnTo>
                  <a:pt x="237" y="148"/>
                </a:lnTo>
                <a:lnTo>
                  <a:pt x="262" y="130"/>
                </a:lnTo>
                <a:lnTo>
                  <a:pt x="287" y="111"/>
                </a:lnTo>
                <a:lnTo>
                  <a:pt x="314" y="95"/>
                </a:lnTo>
                <a:lnTo>
                  <a:pt x="341" y="80"/>
                </a:lnTo>
                <a:lnTo>
                  <a:pt x="368" y="64"/>
                </a:lnTo>
                <a:lnTo>
                  <a:pt x="396" y="52"/>
                </a:lnTo>
                <a:lnTo>
                  <a:pt x="425" y="41"/>
                </a:lnTo>
                <a:lnTo>
                  <a:pt x="457" y="30"/>
                </a:lnTo>
                <a:lnTo>
                  <a:pt x="487" y="20"/>
                </a:lnTo>
                <a:lnTo>
                  <a:pt x="518" y="14"/>
                </a:lnTo>
                <a:lnTo>
                  <a:pt x="550" y="9"/>
                </a:lnTo>
                <a:lnTo>
                  <a:pt x="582" y="5"/>
                </a:lnTo>
                <a:lnTo>
                  <a:pt x="616" y="2"/>
                </a:lnTo>
                <a:lnTo>
                  <a:pt x="648" y="0"/>
                </a:lnTo>
                <a:lnTo>
                  <a:pt x="648" y="0"/>
                </a:lnTo>
                <a:lnTo>
                  <a:pt x="682" y="2"/>
                </a:lnTo>
                <a:lnTo>
                  <a:pt x="716" y="5"/>
                </a:lnTo>
                <a:lnTo>
                  <a:pt x="748" y="9"/>
                </a:lnTo>
                <a:lnTo>
                  <a:pt x="780" y="14"/>
                </a:lnTo>
                <a:lnTo>
                  <a:pt x="812" y="20"/>
                </a:lnTo>
                <a:lnTo>
                  <a:pt x="841" y="30"/>
                </a:lnTo>
                <a:lnTo>
                  <a:pt x="871" y="41"/>
                </a:lnTo>
                <a:lnTo>
                  <a:pt x="900" y="52"/>
                </a:lnTo>
                <a:lnTo>
                  <a:pt x="930" y="64"/>
                </a:lnTo>
                <a:lnTo>
                  <a:pt x="957" y="80"/>
                </a:lnTo>
                <a:lnTo>
                  <a:pt x="984" y="95"/>
                </a:lnTo>
                <a:lnTo>
                  <a:pt x="1012" y="111"/>
                </a:lnTo>
                <a:lnTo>
                  <a:pt x="1037" y="130"/>
                </a:lnTo>
                <a:lnTo>
                  <a:pt x="1062" y="148"/>
                </a:lnTo>
                <a:lnTo>
                  <a:pt x="1084" y="168"/>
                </a:lnTo>
                <a:lnTo>
                  <a:pt x="1107" y="191"/>
                </a:lnTo>
                <a:lnTo>
                  <a:pt x="1128" y="214"/>
                </a:lnTo>
                <a:lnTo>
                  <a:pt x="1148" y="236"/>
                </a:lnTo>
                <a:lnTo>
                  <a:pt x="1169" y="261"/>
                </a:lnTo>
                <a:lnTo>
                  <a:pt x="1187" y="286"/>
                </a:lnTo>
                <a:lnTo>
                  <a:pt x="1203" y="314"/>
                </a:lnTo>
                <a:lnTo>
                  <a:pt x="1219" y="341"/>
                </a:lnTo>
                <a:lnTo>
                  <a:pt x="1232" y="368"/>
                </a:lnTo>
                <a:lnTo>
                  <a:pt x="1246" y="396"/>
                </a:lnTo>
                <a:lnTo>
                  <a:pt x="1257" y="425"/>
                </a:lnTo>
                <a:lnTo>
                  <a:pt x="1269" y="457"/>
                </a:lnTo>
                <a:lnTo>
                  <a:pt x="1275" y="487"/>
                </a:lnTo>
                <a:lnTo>
                  <a:pt x="1285" y="518"/>
                </a:lnTo>
                <a:lnTo>
                  <a:pt x="1289" y="550"/>
                </a:lnTo>
                <a:lnTo>
                  <a:pt x="1294" y="582"/>
                </a:lnTo>
                <a:lnTo>
                  <a:pt x="1296" y="616"/>
                </a:lnTo>
                <a:lnTo>
                  <a:pt x="1296" y="648"/>
                </a:lnTo>
                <a:lnTo>
                  <a:pt x="1296" y="648"/>
                </a:lnTo>
                <a:close/>
              </a:path>
            </a:pathLst>
          </a:custGeom>
          <a:noFill/>
          <a:ln w="38100">
            <a:solidFill>
              <a:schemeClr val="accent3"/>
            </a:solid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Apis" panose="020B0504010101010104" pitchFamily="34" charset="0"/>
              <a:ea typeface="+mn-ea"/>
              <a:cs typeface="+mn-cs"/>
            </a:endParaRPr>
          </a:p>
        </p:txBody>
      </p:sp>
      <p:sp>
        <p:nvSpPr>
          <p:cNvPr id="17" name="Text Box 9">
            <a:extLst>
              <a:ext uri="{FF2B5EF4-FFF2-40B4-BE49-F238E27FC236}">
                <a16:creationId xmlns:a16="http://schemas.microsoft.com/office/drawing/2014/main" id="{96E50020-35A8-4964-A039-E487D32888DD}"/>
              </a:ext>
            </a:extLst>
          </p:cNvPr>
          <p:cNvSpPr txBox="1">
            <a:spLocks noChangeAspect="1" noChangeArrowheads="1"/>
          </p:cNvSpPr>
          <p:nvPr/>
        </p:nvSpPr>
        <p:spPr bwMode="auto">
          <a:xfrm>
            <a:off x="1021033" y="4163404"/>
            <a:ext cx="11702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solidFill>
                  <a:srgbClr val="001965"/>
                </a:solidFill>
                <a:effectLst/>
                <a:uLnTx/>
                <a:uFillTx/>
                <a:latin typeface="+mn-lt"/>
                <a:ea typeface="MS PGothic" pitchFamily="34" charset="-128"/>
                <a:cs typeface="Apis" panose="020B0504010101010104" pitchFamily="34" charset="0"/>
              </a:rPr>
              <a:t>3</a:t>
            </a:r>
          </a:p>
        </p:txBody>
      </p:sp>
      <p:sp>
        <p:nvSpPr>
          <p:cNvPr id="23" name="Text Box 9">
            <a:extLst>
              <a:ext uri="{FF2B5EF4-FFF2-40B4-BE49-F238E27FC236}">
                <a16:creationId xmlns:a16="http://schemas.microsoft.com/office/drawing/2014/main" id="{63CB4605-7D56-4B4D-A92E-9449B252FDA5}"/>
              </a:ext>
            </a:extLst>
          </p:cNvPr>
          <p:cNvSpPr txBox="1">
            <a:spLocks noChangeAspect="1" noChangeArrowheads="1"/>
          </p:cNvSpPr>
          <p:nvPr/>
        </p:nvSpPr>
        <p:spPr bwMode="auto">
          <a:xfrm>
            <a:off x="1768887" y="3226222"/>
            <a:ext cx="243015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lang="en-GB" sz="1600" dirty="0">
                <a:solidFill>
                  <a:srgbClr val="001965"/>
                </a:solidFill>
                <a:latin typeface="+mn-lt"/>
                <a:ea typeface="MS PGothic" pitchFamily="34" charset="-128"/>
                <a:cs typeface="Apis" panose="020B0504010101010104" pitchFamily="34" charset="0"/>
              </a:rPr>
              <a:t>Novo Nordisk at a Glance</a:t>
            </a:r>
            <a:endParaRPr kumimoji="0" lang="en-GB" sz="1600" i="0" u="none" strike="noStrike" kern="1200" cap="none" spc="0" normalizeH="0" baseline="0" dirty="0">
              <a:ln>
                <a:noFill/>
              </a:ln>
              <a:solidFill>
                <a:srgbClr val="001965"/>
              </a:solidFill>
              <a:effectLst/>
              <a:uLnTx/>
              <a:uFillTx/>
              <a:latin typeface="+mn-lt"/>
              <a:ea typeface="MS PGothic" pitchFamily="34" charset="-128"/>
              <a:cs typeface="Apis" panose="020B0504010101010104" pitchFamily="34" charset="0"/>
            </a:endParaRPr>
          </a:p>
        </p:txBody>
      </p:sp>
      <p:sp>
        <p:nvSpPr>
          <p:cNvPr id="24" name="Text Box 9">
            <a:extLst>
              <a:ext uri="{FF2B5EF4-FFF2-40B4-BE49-F238E27FC236}">
                <a16:creationId xmlns:a16="http://schemas.microsoft.com/office/drawing/2014/main" id="{CB3769EB-3100-4A17-82E7-B213E93E632F}"/>
              </a:ext>
            </a:extLst>
          </p:cNvPr>
          <p:cNvSpPr txBox="1">
            <a:spLocks noChangeAspect="1" noChangeArrowheads="1"/>
          </p:cNvSpPr>
          <p:nvPr/>
        </p:nvSpPr>
        <p:spPr bwMode="auto">
          <a:xfrm>
            <a:off x="1768887" y="4163404"/>
            <a:ext cx="31755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lang="en-GB" sz="1600" dirty="0">
                <a:solidFill>
                  <a:srgbClr val="001965"/>
                </a:solidFill>
                <a:latin typeface="+mn-lt"/>
                <a:ea typeface="MS PGothic" pitchFamily="34" charset="-128"/>
                <a:cs typeface="Apis" panose="020B0504010101010104" pitchFamily="34" charset="0"/>
              </a:rPr>
              <a:t>About the Graduate Programme</a:t>
            </a:r>
            <a:endParaRPr kumimoji="0" lang="en-GB" sz="1600" i="0" u="none" strike="noStrike" kern="1200" cap="none" spc="0" normalizeH="0" baseline="0" dirty="0">
              <a:ln>
                <a:noFill/>
              </a:ln>
              <a:solidFill>
                <a:srgbClr val="001965"/>
              </a:solidFill>
              <a:effectLst/>
              <a:uLnTx/>
              <a:uFillTx/>
              <a:latin typeface="+mn-lt"/>
              <a:ea typeface="MS PGothic" pitchFamily="34" charset="-128"/>
              <a:cs typeface="Apis" panose="020B0504010101010104" pitchFamily="34" charset="0"/>
            </a:endParaRPr>
          </a:p>
        </p:txBody>
      </p:sp>
      <p:sp>
        <p:nvSpPr>
          <p:cNvPr id="13" name="Freeform 8">
            <a:extLst>
              <a:ext uri="{FF2B5EF4-FFF2-40B4-BE49-F238E27FC236}">
                <a16:creationId xmlns:a16="http://schemas.microsoft.com/office/drawing/2014/main" id="{6BB7B259-F22E-4D2A-8F2B-F0EA4DCF37A7}"/>
              </a:ext>
            </a:extLst>
          </p:cNvPr>
          <p:cNvSpPr>
            <a:spLocks/>
          </p:cNvSpPr>
          <p:nvPr/>
        </p:nvSpPr>
        <p:spPr bwMode="auto">
          <a:xfrm>
            <a:off x="809543" y="4953696"/>
            <a:ext cx="540000" cy="540000"/>
          </a:xfrm>
          <a:custGeom>
            <a:avLst/>
            <a:gdLst>
              <a:gd name="T0" fmla="*/ 1296 w 1296"/>
              <a:gd name="T1" fmla="*/ 682 h 1296"/>
              <a:gd name="T2" fmla="*/ 1285 w 1296"/>
              <a:gd name="T3" fmla="*/ 780 h 1296"/>
              <a:gd name="T4" fmla="*/ 1257 w 1296"/>
              <a:gd name="T5" fmla="*/ 871 h 1296"/>
              <a:gd name="T6" fmla="*/ 1219 w 1296"/>
              <a:gd name="T7" fmla="*/ 957 h 1296"/>
              <a:gd name="T8" fmla="*/ 1169 w 1296"/>
              <a:gd name="T9" fmla="*/ 1037 h 1296"/>
              <a:gd name="T10" fmla="*/ 1107 w 1296"/>
              <a:gd name="T11" fmla="*/ 1107 h 1296"/>
              <a:gd name="T12" fmla="*/ 1037 w 1296"/>
              <a:gd name="T13" fmla="*/ 1169 h 1296"/>
              <a:gd name="T14" fmla="*/ 957 w 1296"/>
              <a:gd name="T15" fmla="*/ 1219 h 1296"/>
              <a:gd name="T16" fmla="*/ 871 w 1296"/>
              <a:gd name="T17" fmla="*/ 1257 h 1296"/>
              <a:gd name="T18" fmla="*/ 780 w 1296"/>
              <a:gd name="T19" fmla="*/ 1285 h 1296"/>
              <a:gd name="T20" fmla="*/ 682 w 1296"/>
              <a:gd name="T21" fmla="*/ 1296 h 1296"/>
              <a:gd name="T22" fmla="*/ 616 w 1296"/>
              <a:gd name="T23" fmla="*/ 1296 h 1296"/>
              <a:gd name="T24" fmla="*/ 519 w 1296"/>
              <a:gd name="T25" fmla="*/ 1285 h 1296"/>
              <a:gd name="T26" fmla="*/ 425 w 1296"/>
              <a:gd name="T27" fmla="*/ 1257 h 1296"/>
              <a:gd name="T28" fmla="*/ 341 w 1296"/>
              <a:gd name="T29" fmla="*/ 1219 h 1296"/>
              <a:gd name="T30" fmla="*/ 262 w 1296"/>
              <a:gd name="T31" fmla="*/ 1169 h 1296"/>
              <a:gd name="T32" fmla="*/ 191 w 1296"/>
              <a:gd name="T33" fmla="*/ 1107 h 1296"/>
              <a:gd name="T34" fmla="*/ 130 w 1296"/>
              <a:gd name="T35" fmla="*/ 1037 h 1296"/>
              <a:gd name="T36" fmla="*/ 80 w 1296"/>
              <a:gd name="T37" fmla="*/ 957 h 1296"/>
              <a:gd name="T38" fmla="*/ 41 w 1296"/>
              <a:gd name="T39" fmla="*/ 871 h 1296"/>
              <a:gd name="T40" fmla="*/ 14 w 1296"/>
              <a:gd name="T41" fmla="*/ 780 h 1296"/>
              <a:gd name="T42" fmla="*/ 3 w 1296"/>
              <a:gd name="T43" fmla="*/ 682 h 1296"/>
              <a:gd name="T44" fmla="*/ 3 w 1296"/>
              <a:gd name="T45" fmla="*/ 616 h 1296"/>
              <a:gd name="T46" fmla="*/ 14 w 1296"/>
              <a:gd name="T47" fmla="*/ 518 h 1296"/>
              <a:gd name="T48" fmla="*/ 41 w 1296"/>
              <a:gd name="T49" fmla="*/ 425 h 1296"/>
              <a:gd name="T50" fmla="*/ 80 w 1296"/>
              <a:gd name="T51" fmla="*/ 341 h 1296"/>
              <a:gd name="T52" fmla="*/ 130 w 1296"/>
              <a:gd name="T53" fmla="*/ 261 h 1296"/>
              <a:gd name="T54" fmla="*/ 191 w 1296"/>
              <a:gd name="T55" fmla="*/ 191 h 1296"/>
              <a:gd name="T56" fmla="*/ 262 w 1296"/>
              <a:gd name="T57" fmla="*/ 130 h 1296"/>
              <a:gd name="T58" fmla="*/ 341 w 1296"/>
              <a:gd name="T59" fmla="*/ 80 h 1296"/>
              <a:gd name="T60" fmla="*/ 425 w 1296"/>
              <a:gd name="T61" fmla="*/ 41 h 1296"/>
              <a:gd name="T62" fmla="*/ 519 w 1296"/>
              <a:gd name="T63" fmla="*/ 14 h 1296"/>
              <a:gd name="T64" fmla="*/ 616 w 1296"/>
              <a:gd name="T65" fmla="*/ 2 h 1296"/>
              <a:gd name="T66" fmla="*/ 682 w 1296"/>
              <a:gd name="T67" fmla="*/ 2 h 1296"/>
              <a:gd name="T68" fmla="*/ 780 w 1296"/>
              <a:gd name="T69" fmla="*/ 14 h 1296"/>
              <a:gd name="T70" fmla="*/ 871 w 1296"/>
              <a:gd name="T71" fmla="*/ 41 h 1296"/>
              <a:gd name="T72" fmla="*/ 957 w 1296"/>
              <a:gd name="T73" fmla="*/ 80 h 1296"/>
              <a:gd name="T74" fmla="*/ 1037 w 1296"/>
              <a:gd name="T75" fmla="*/ 130 h 1296"/>
              <a:gd name="T76" fmla="*/ 1107 w 1296"/>
              <a:gd name="T77" fmla="*/ 191 h 1296"/>
              <a:gd name="T78" fmla="*/ 1169 w 1296"/>
              <a:gd name="T79" fmla="*/ 261 h 1296"/>
              <a:gd name="T80" fmla="*/ 1219 w 1296"/>
              <a:gd name="T81" fmla="*/ 341 h 1296"/>
              <a:gd name="T82" fmla="*/ 1257 w 1296"/>
              <a:gd name="T83" fmla="*/ 425 h 1296"/>
              <a:gd name="T84" fmla="*/ 1285 w 1296"/>
              <a:gd name="T85" fmla="*/ 518 h 1296"/>
              <a:gd name="T86" fmla="*/ 1296 w 1296"/>
              <a:gd name="T87" fmla="*/ 616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96" h="1296">
                <a:moveTo>
                  <a:pt x="1296" y="648"/>
                </a:moveTo>
                <a:lnTo>
                  <a:pt x="1296" y="648"/>
                </a:lnTo>
                <a:lnTo>
                  <a:pt x="1296" y="682"/>
                </a:lnTo>
                <a:lnTo>
                  <a:pt x="1294" y="716"/>
                </a:lnTo>
                <a:lnTo>
                  <a:pt x="1289" y="748"/>
                </a:lnTo>
                <a:lnTo>
                  <a:pt x="1285" y="780"/>
                </a:lnTo>
                <a:lnTo>
                  <a:pt x="1276" y="812"/>
                </a:lnTo>
                <a:lnTo>
                  <a:pt x="1269" y="841"/>
                </a:lnTo>
                <a:lnTo>
                  <a:pt x="1257" y="871"/>
                </a:lnTo>
                <a:lnTo>
                  <a:pt x="1246" y="900"/>
                </a:lnTo>
                <a:lnTo>
                  <a:pt x="1232" y="930"/>
                </a:lnTo>
                <a:lnTo>
                  <a:pt x="1219" y="957"/>
                </a:lnTo>
                <a:lnTo>
                  <a:pt x="1203" y="985"/>
                </a:lnTo>
                <a:lnTo>
                  <a:pt x="1187" y="1012"/>
                </a:lnTo>
                <a:lnTo>
                  <a:pt x="1169" y="1037"/>
                </a:lnTo>
                <a:lnTo>
                  <a:pt x="1148" y="1062"/>
                </a:lnTo>
                <a:lnTo>
                  <a:pt x="1128" y="1085"/>
                </a:lnTo>
                <a:lnTo>
                  <a:pt x="1107" y="1107"/>
                </a:lnTo>
                <a:lnTo>
                  <a:pt x="1085" y="1128"/>
                </a:lnTo>
                <a:lnTo>
                  <a:pt x="1062" y="1148"/>
                </a:lnTo>
                <a:lnTo>
                  <a:pt x="1037" y="1169"/>
                </a:lnTo>
                <a:lnTo>
                  <a:pt x="1012" y="1187"/>
                </a:lnTo>
                <a:lnTo>
                  <a:pt x="985" y="1203"/>
                </a:lnTo>
                <a:lnTo>
                  <a:pt x="957" y="1219"/>
                </a:lnTo>
                <a:lnTo>
                  <a:pt x="930" y="1232"/>
                </a:lnTo>
                <a:lnTo>
                  <a:pt x="900" y="1246"/>
                </a:lnTo>
                <a:lnTo>
                  <a:pt x="871" y="1257"/>
                </a:lnTo>
                <a:lnTo>
                  <a:pt x="841" y="1269"/>
                </a:lnTo>
                <a:lnTo>
                  <a:pt x="812" y="1276"/>
                </a:lnTo>
                <a:lnTo>
                  <a:pt x="780" y="1285"/>
                </a:lnTo>
                <a:lnTo>
                  <a:pt x="748" y="1289"/>
                </a:lnTo>
                <a:lnTo>
                  <a:pt x="716" y="1294"/>
                </a:lnTo>
                <a:lnTo>
                  <a:pt x="682" y="1296"/>
                </a:lnTo>
                <a:lnTo>
                  <a:pt x="648" y="1296"/>
                </a:lnTo>
                <a:lnTo>
                  <a:pt x="648" y="1296"/>
                </a:lnTo>
                <a:lnTo>
                  <a:pt x="616" y="1296"/>
                </a:lnTo>
                <a:lnTo>
                  <a:pt x="582" y="1294"/>
                </a:lnTo>
                <a:lnTo>
                  <a:pt x="550" y="1289"/>
                </a:lnTo>
                <a:lnTo>
                  <a:pt x="519" y="1285"/>
                </a:lnTo>
                <a:lnTo>
                  <a:pt x="487" y="1276"/>
                </a:lnTo>
                <a:lnTo>
                  <a:pt x="457" y="1269"/>
                </a:lnTo>
                <a:lnTo>
                  <a:pt x="425" y="1257"/>
                </a:lnTo>
                <a:lnTo>
                  <a:pt x="396" y="1246"/>
                </a:lnTo>
                <a:lnTo>
                  <a:pt x="369" y="1232"/>
                </a:lnTo>
                <a:lnTo>
                  <a:pt x="341" y="1219"/>
                </a:lnTo>
                <a:lnTo>
                  <a:pt x="314" y="1203"/>
                </a:lnTo>
                <a:lnTo>
                  <a:pt x="287" y="1187"/>
                </a:lnTo>
                <a:lnTo>
                  <a:pt x="262" y="1169"/>
                </a:lnTo>
                <a:lnTo>
                  <a:pt x="237" y="1148"/>
                </a:lnTo>
                <a:lnTo>
                  <a:pt x="214" y="1128"/>
                </a:lnTo>
                <a:lnTo>
                  <a:pt x="191" y="1107"/>
                </a:lnTo>
                <a:lnTo>
                  <a:pt x="169" y="1085"/>
                </a:lnTo>
                <a:lnTo>
                  <a:pt x="148" y="1062"/>
                </a:lnTo>
                <a:lnTo>
                  <a:pt x="130" y="1037"/>
                </a:lnTo>
                <a:lnTo>
                  <a:pt x="112" y="1012"/>
                </a:lnTo>
                <a:lnTo>
                  <a:pt x="96" y="985"/>
                </a:lnTo>
                <a:lnTo>
                  <a:pt x="80" y="957"/>
                </a:lnTo>
                <a:lnTo>
                  <a:pt x="64" y="930"/>
                </a:lnTo>
                <a:lnTo>
                  <a:pt x="53" y="900"/>
                </a:lnTo>
                <a:lnTo>
                  <a:pt x="41" y="871"/>
                </a:lnTo>
                <a:lnTo>
                  <a:pt x="30" y="841"/>
                </a:lnTo>
                <a:lnTo>
                  <a:pt x="21" y="812"/>
                </a:lnTo>
                <a:lnTo>
                  <a:pt x="14" y="780"/>
                </a:lnTo>
                <a:lnTo>
                  <a:pt x="9" y="748"/>
                </a:lnTo>
                <a:lnTo>
                  <a:pt x="5" y="716"/>
                </a:lnTo>
                <a:lnTo>
                  <a:pt x="3" y="682"/>
                </a:lnTo>
                <a:lnTo>
                  <a:pt x="0" y="648"/>
                </a:lnTo>
                <a:lnTo>
                  <a:pt x="0" y="648"/>
                </a:lnTo>
                <a:lnTo>
                  <a:pt x="3" y="616"/>
                </a:lnTo>
                <a:lnTo>
                  <a:pt x="5" y="582"/>
                </a:lnTo>
                <a:lnTo>
                  <a:pt x="9" y="550"/>
                </a:lnTo>
                <a:lnTo>
                  <a:pt x="14" y="518"/>
                </a:lnTo>
                <a:lnTo>
                  <a:pt x="21" y="487"/>
                </a:lnTo>
                <a:lnTo>
                  <a:pt x="30" y="457"/>
                </a:lnTo>
                <a:lnTo>
                  <a:pt x="41" y="425"/>
                </a:lnTo>
                <a:lnTo>
                  <a:pt x="53" y="396"/>
                </a:lnTo>
                <a:lnTo>
                  <a:pt x="64" y="368"/>
                </a:lnTo>
                <a:lnTo>
                  <a:pt x="80" y="341"/>
                </a:lnTo>
                <a:lnTo>
                  <a:pt x="96" y="314"/>
                </a:lnTo>
                <a:lnTo>
                  <a:pt x="112" y="286"/>
                </a:lnTo>
                <a:lnTo>
                  <a:pt x="130" y="261"/>
                </a:lnTo>
                <a:lnTo>
                  <a:pt x="148" y="236"/>
                </a:lnTo>
                <a:lnTo>
                  <a:pt x="169" y="214"/>
                </a:lnTo>
                <a:lnTo>
                  <a:pt x="191" y="191"/>
                </a:lnTo>
                <a:lnTo>
                  <a:pt x="214" y="168"/>
                </a:lnTo>
                <a:lnTo>
                  <a:pt x="237" y="148"/>
                </a:lnTo>
                <a:lnTo>
                  <a:pt x="262" y="130"/>
                </a:lnTo>
                <a:lnTo>
                  <a:pt x="287" y="111"/>
                </a:lnTo>
                <a:lnTo>
                  <a:pt x="314" y="95"/>
                </a:lnTo>
                <a:lnTo>
                  <a:pt x="341" y="80"/>
                </a:lnTo>
                <a:lnTo>
                  <a:pt x="369" y="64"/>
                </a:lnTo>
                <a:lnTo>
                  <a:pt x="396" y="52"/>
                </a:lnTo>
                <a:lnTo>
                  <a:pt x="425" y="41"/>
                </a:lnTo>
                <a:lnTo>
                  <a:pt x="457" y="30"/>
                </a:lnTo>
                <a:lnTo>
                  <a:pt x="487" y="20"/>
                </a:lnTo>
                <a:lnTo>
                  <a:pt x="519" y="14"/>
                </a:lnTo>
                <a:lnTo>
                  <a:pt x="550" y="9"/>
                </a:lnTo>
                <a:lnTo>
                  <a:pt x="582" y="5"/>
                </a:lnTo>
                <a:lnTo>
                  <a:pt x="616" y="2"/>
                </a:lnTo>
                <a:lnTo>
                  <a:pt x="648" y="0"/>
                </a:lnTo>
                <a:lnTo>
                  <a:pt x="648" y="0"/>
                </a:lnTo>
                <a:lnTo>
                  <a:pt x="682" y="2"/>
                </a:lnTo>
                <a:lnTo>
                  <a:pt x="716" y="5"/>
                </a:lnTo>
                <a:lnTo>
                  <a:pt x="748" y="9"/>
                </a:lnTo>
                <a:lnTo>
                  <a:pt x="780" y="14"/>
                </a:lnTo>
                <a:lnTo>
                  <a:pt x="812" y="20"/>
                </a:lnTo>
                <a:lnTo>
                  <a:pt x="841" y="30"/>
                </a:lnTo>
                <a:lnTo>
                  <a:pt x="871" y="41"/>
                </a:lnTo>
                <a:lnTo>
                  <a:pt x="900" y="52"/>
                </a:lnTo>
                <a:lnTo>
                  <a:pt x="930" y="64"/>
                </a:lnTo>
                <a:lnTo>
                  <a:pt x="957" y="80"/>
                </a:lnTo>
                <a:lnTo>
                  <a:pt x="985" y="95"/>
                </a:lnTo>
                <a:lnTo>
                  <a:pt x="1012" y="111"/>
                </a:lnTo>
                <a:lnTo>
                  <a:pt x="1037" y="130"/>
                </a:lnTo>
                <a:lnTo>
                  <a:pt x="1062" y="148"/>
                </a:lnTo>
                <a:lnTo>
                  <a:pt x="1085" y="168"/>
                </a:lnTo>
                <a:lnTo>
                  <a:pt x="1107" y="191"/>
                </a:lnTo>
                <a:lnTo>
                  <a:pt x="1128" y="214"/>
                </a:lnTo>
                <a:lnTo>
                  <a:pt x="1148" y="236"/>
                </a:lnTo>
                <a:lnTo>
                  <a:pt x="1169" y="261"/>
                </a:lnTo>
                <a:lnTo>
                  <a:pt x="1187" y="286"/>
                </a:lnTo>
                <a:lnTo>
                  <a:pt x="1203" y="314"/>
                </a:lnTo>
                <a:lnTo>
                  <a:pt x="1219" y="341"/>
                </a:lnTo>
                <a:lnTo>
                  <a:pt x="1232" y="368"/>
                </a:lnTo>
                <a:lnTo>
                  <a:pt x="1246" y="396"/>
                </a:lnTo>
                <a:lnTo>
                  <a:pt x="1257" y="425"/>
                </a:lnTo>
                <a:lnTo>
                  <a:pt x="1269" y="457"/>
                </a:lnTo>
                <a:lnTo>
                  <a:pt x="1276" y="487"/>
                </a:lnTo>
                <a:lnTo>
                  <a:pt x="1285" y="518"/>
                </a:lnTo>
                <a:lnTo>
                  <a:pt x="1289" y="550"/>
                </a:lnTo>
                <a:lnTo>
                  <a:pt x="1294" y="582"/>
                </a:lnTo>
                <a:lnTo>
                  <a:pt x="1296" y="616"/>
                </a:lnTo>
                <a:lnTo>
                  <a:pt x="1296" y="648"/>
                </a:lnTo>
                <a:lnTo>
                  <a:pt x="1296" y="648"/>
                </a:lnTo>
                <a:close/>
              </a:path>
            </a:pathLst>
          </a:custGeom>
          <a:noFill/>
          <a:ln w="38100">
            <a:solidFill>
              <a:schemeClr val="accent4"/>
            </a:solid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Apis" panose="020B0504010101010104" pitchFamily="34" charset="0"/>
              <a:ea typeface="+mn-ea"/>
              <a:cs typeface="+mn-cs"/>
            </a:endParaRPr>
          </a:p>
        </p:txBody>
      </p:sp>
      <p:sp>
        <p:nvSpPr>
          <p:cNvPr id="18" name="Text Box 9">
            <a:extLst>
              <a:ext uri="{FF2B5EF4-FFF2-40B4-BE49-F238E27FC236}">
                <a16:creationId xmlns:a16="http://schemas.microsoft.com/office/drawing/2014/main" id="{ACB56BA1-F057-48A0-BFFA-98E1A9185075}"/>
              </a:ext>
            </a:extLst>
          </p:cNvPr>
          <p:cNvSpPr txBox="1">
            <a:spLocks noChangeAspect="1" noChangeArrowheads="1"/>
          </p:cNvSpPr>
          <p:nvPr/>
        </p:nvSpPr>
        <p:spPr bwMode="auto">
          <a:xfrm>
            <a:off x="1021033" y="5100586"/>
            <a:ext cx="11702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solidFill>
                  <a:srgbClr val="001965"/>
                </a:solidFill>
                <a:effectLst/>
                <a:uLnTx/>
                <a:uFillTx/>
                <a:latin typeface="+mn-lt"/>
                <a:ea typeface="MS PGothic" pitchFamily="34" charset="-128"/>
                <a:cs typeface="Apis" panose="020B0504010101010104" pitchFamily="34" charset="0"/>
              </a:rPr>
              <a:t>4</a:t>
            </a:r>
          </a:p>
        </p:txBody>
      </p:sp>
      <p:sp>
        <p:nvSpPr>
          <p:cNvPr id="25" name="Text Box 9">
            <a:extLst>
              <a:ext uri="{FF2B5EF4-FFF2-40B4-BE49-F238E27FC236}">
                <a16:creationId xmlns:a16="http://schemas.microsoft.com/office/drawing/2014/main" id="{C8B90A7A-2CC6-40C7-8B09-42EA30CA9BDE}"/>
              </a:ext>
            </a:extLst>
          </p:cNvPr>
          <p:cNvSpPr txBox="1">
            <a:spLocks noChangeAspect="1" noChangeArrowheads="1"/>
          </p:cNvSpPr>
          <p:nvPr/>
        </p:nvSpPr>
        <p:spPr bwMode="auto">
          <a:xfrm>
            <a:off x="1768887" y="5100586"/>
            <a:ext cx="44242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lang="en-GB" sz="1600" dirty="0">
                <a:solidFill>
                  <a:srgbClr val="001965"/>
                </a:solidFill>
                <a:latin typeface="+mn-lt"/>
                <a:ea typeface="MS PGothic" pitchFamily="34" charset="-128"/>
                <a:cs typeface="Apis" panose="020B0504010101010104" pitchFamily="34" charset="0"/>
              </a:rPr>
              <a:t>Q&amp;A</a:t>
            </a:r>
            <a:endParaRPr kumimoji="0" lang="en-GB" sz="1600" i="0" u="none" strike="noStrike" kern="1200" cap="none" spc="0" normalizeH="0" baseline="0" dirty="0">
              <a:ln>
                <a:noFill/>
              </a:ln>
              <a:solidFill>
                <a:srgbClr val="001965"/>
              </a:solidFill>
              <a:effectLst/>
              <a:uLnTx/>
              <a:uFillTx/>
              <a:latin typeface="+mn-lt"/>
              <a:ea typeface="MS PGothic" pitchFamily="34" charset="-128"/>
              <a:cs typeface="Apis" panose="020B0504010101010104" pitchFamily="34" charset="0"/>
            </a:endParaRPr>
          </a:p>
        </p:txBody>
      </p:sp>
      <p:sp>
        <p:nvSpPr>
          <p:cNvPr id="29" name="Slide Number Placeholder 4">
            <a:extLst>
              <a:ext uri="{FF2B5EF4-FFF2-40B4-BE49-F238E27FC236}">
                <a16:creationId xmlns:a16="http://schemas.microsoft.com/office/drawing/2014/main" id="{FC21A3D0-30DF-40A1-91B2-DAD5D2A9F976}"/>
              </a:ext>
            </a:extLst>
          </p:cNvPr>
          <p:cNvSpPr>
            <a:spLocks noGrp="1"/>
          </p:cNvSpPr>
          <p:nvPr>
            <p:ph type="sldNum" sz="quarter" idx="12"/>
          </p:nvPr>
        </p:nvSpPr>
        <p:spPr>
          <a:xfrm>
            <a:off x="324000" y="324000"/>
            <a:ext cx="324000" cy="125850"/>
          </a:xfrm>
        </p:spPr>
        <p:txBody>
          <a:bodyPr/>
          <a:lstStyle/>
          <a:p>
            <a:fld id="{23AA811B-2EBD-4900-905E-5BE206449611}" type="slidenum">
              <a:rPr lang="en-GB" smtClean="0"/>
              <a:t>2</a:t>
            </a:fld>
            <a:endParaRPr lang="en-GB" dirty="0"/>
          </a:p>
        </p:txBody>
      </p:sp>
      <p:sp>
        <p:nvSpPr>
          <p:cNvPr id="26" name="Footer Placeholder 3">
            <a:extLst>
              <a:ext uri="{FF2B5EF4-FFF2-40B4-BE49-F238E27FC236}">
                <a16:creationId xmlns:a16="http://schemas.microsoft.com/office/drawing/2014/main" id="{57174DA7-FA7C-444E-BF0C-1A840D66EEFC}"/>
              </a:ext>
            </a:extLst>
          </p:cNvPr>
          <p:cNvSpPr>
            <a:spLocks noGrp="1"/>
          </p:cNvSpPr>
          <p:nvPr>
            <p:ph type="ftr" sz="quarter" idx="11"/>
          </p:nvPr>
        </p:nvSpPr>
        <p:spPr>
          <a:xfrm>
            <a:off x="648000" y="323850"/>
            <a:ext cx="1919288" cy="126000"/>
          </a:xfrm>
        </p:spPr>
        <p:txBody>
          <a:bodyPr/>
          <a:lstStyle/>
          <a:p>
            <a:r>
              <a:rPr lang="en-GB">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Graduate Programme Introduction</a:t>
            </a:r>
            <a:endParaRPr lang="en-GB"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Tree>
    <p:extLst>
      <p:ext uri="{BB962C8B-B14F-4D97-AF65-F5344CB8AC3E}">
        <p14:creationId xmlns:p14="http://schemas.microsoft.com/office/powerpoint/2010/main" val="34310928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06400" y="593716"/>
            <a:ext cx="11347200" cy="521883"/>
          </a:xfrm>
        </p:spPr>
        <p:txBody>
          <a:bodyPr/>
          <a:lstStyle/>
          <a:p>
            <a:r>
              <a:rPr lang="en-GB" altLang="en-US" dirty="0"/>
              <a:t>We </a:t>
            </a:r>
            <a:r>
              <a:rPr lang="en-GB" altLang="en-US" dirty="0">
                <a:solidFill>
                  <a:srgbClr val="001965"/>
                </a:solidFill>
              </a:rPr>
              <a:t>are acting with financial, social and environmental responsibility by considering…</a:t>
            </a:r>
            <a:endParaRPr lang="en-GB" dirty="0">
              <a:solidFill>
                <a:srgbClr val="001965"/>
              </a:solidFill>
            </a:endParaRPr>
          </a:p>
        </p:txBody>
      </p:sp>
      <p:grpSp>
        <p:nvGrpSpPr>
          <p:cNvPr id="108" name="Grupper 107"/>
          <p:cNvGrpSpPr/>
          <p:nvPr/>
        </p:nvGrpSpPr>
        <p:grpSpPr>
          <a:xfrm>
            <a:off x="401011" y="1749631"/>
            <a:ext cx="3744000" cy="3941052"/>
            <a:chOff x="300758" y="1312223"/>
            <a:chExt cx="2808000" cy="2955789"/>
          </a:xfrm>
        </p:grpSpPr>
        <p:sp>
          <p:nvSpPr>
            <p:cNvPr id="8" name="Rectangle 64"/>
            <p:cNvSpPr/>
            <p:nvPr/>
          </p:nvSpPr>
          <p:spPr bwMode="auto">
            <a:xfrm>
              <a:off x="318758" y="1312223"/>
              <a:ext cx="2772000" cy="295578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p>
          </p:txBody>
        </p:sp>
        <p:sp>
          <p:nvSpPr>
            <p:cNvPr id="9" name="Rounded Rectangle 65"/>
            <p:cNvSpPr/>
            <p:nvPr/>
          </p:nvSpPr>
          <p:spPr bwMode="auto">
            <a:xfrm>
              <a:off x="408758" y="1973179"/>
              <a:ext cx="2592000" cy="2205041"/>
            </a:xfrm>
            <a:prstGeom prst="roundRect">
              <a:avLst>
                <a:gd name="adj" fmla="val 38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p>
          </p:txBody>
        </p:sp>
        <p:sp>
          <p:nvSpPr>
            <p:cNvPr id="7" name="Rectangle 63"/>
            <p:cNvSpPr/>
            <p:nvPr/>
          </p:nvSpPr>
          <p:spPr bwMode="auto">
            <a:xfrm>
              <a:off x="318758" y="1312224"/>
              <a:ext cx="2772000" cy="5596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altLang="en-US" sz="1333" dirty="0">
                  <a:solidFill>
                    <a:schemeClr val="bg1"/>
                  </a:solidFill>
                </a:rPr>
                <a:t>the impact we have with the </a:t>
              </a:r>
              <a:r>
                <a:rPr lang="en-GB" altLang="en-US" sz="1333" b="1" dirty="0">
                  <a:solidFill>
                    <a:schemeClr val="bg1"/>
                  </a:solidFill>
                </a:rPr>
                <a:t>money </a:t>
              </a:r>
              <a:br>
                <a:rPr lang="en-GB" altLang="en-US" sz="1333" b="1" dirty="0">
                  <a:solidFill>
                    <a:schemeClr val="bg1"/>
                  </a:solidFill>
                </a:rPr>
              </a:br>
              <a:r>
                <a:rPr lang="en-GB" altLang="en-US" sz="1333" b="1" dirty="0">
                  <a:solidFill>
                    <a:schemeClr val="bg1"/>
                  </a:solidFill>
                </a:rPr>
                <a:t>we earn and how we spend it</a:t>
              </a:r>
            </a:p>
          </p:txBody>
        </p:sp>
        <p:cxnSp>
          <p:nvCxnSpPr>
            <p:cNvPr id="24" name="Lige forbindelse 23"/>
            <p:cNvCxnSpPr/>
            <p:nvPr/>
          </p:nvCxnSpPr>
          <p:spPr>
            <a:xfrm flipH="1">
              <a:off x="300758" y="1871859"/>
              <a:ext cx="2808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0" name="Grupper 109"/>
          <p:cNvGrpSpPr/>
          <p:nvPr/>
        </p:nvGrpSpPr>
        <p:grpSpPr>
          <a:xfrm>
            <a:off x="4237229" y="1749633"/>
            <a:ext cx="3744000" cy="3941052"/>
            <a:chOff x="6039158" y="1312223"/>
            <a:chExt cx="2808000" cy="2955789"/>
          </a:xfrm>
        </p:grpSpPr>
        <p:sp>
          <p:nvSpPr>
            <p:cNvPr id="37" name="Rectangle 64"/>
            <p:cNvSpPr/>
            <p:nvPr/>
          </p:nvSpPr>
          <p:spPr bwMode="auto">
            <a:xfrm>
              <a:off x="6055200" y="1312223"/>
              <a:ext cx="2772000" cy="295578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p>
          </p:txBody>
        </p:sp>
        <p:sp>
          <p:nvSpPr>
            <p:cNvPr id="38" name="Rounded Rectangle 65"/>
            <p:cNvSpPr/>
            <p:nvPr/>
          </p:nvSpPr>
          <p:spPr bwMode="auto">
            <a:xfrm>
              <a:off x="6145200" y="1973179"/>
              <a:ext cx="2592000" cy="2205041"/>
            </a:xfrm>
            <a:prstGeom prst="roundRect">
              <a:avLst>
                <a:gd name="adj" fmla="val 38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p>
          </p:txBody>
        </p:sp>
        <p:sp>
          <p:nvSpPr>
            <p:cNvPr id="39" name="Rectangle 63"/>
            <p:cNvSpPr/>
            <p:nvPr/>
          </p:nvSpPr>
          <p:spPr bwMode="auto">
            <a:xfrm>
              <a:off x="6055201" y="1312224"/>
              <a:ext cx="2772000" cy="5596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altLang="en-US" sz="1333" dirty="0">
                  <a:solidFill>
                    <a:schemeClr val="bg1"/>
                  </a:solidFill>
                </a:rPr>
                <a:t>the impact we have </a:t>
              </a:r>
              <a:br>
                <a:rPr lang="en-GB" altLang="en-US" sz="1333" dirty="0">
                  <a:solidFill>
                    <a:schemeClr val="bg1"/>
                  </a:solidFill>
                </a:rPr>
              </a:br>
              <a:r>
                <a:rPr lang="en-GB" altLang="en-US" sz="1333" dirty="0">
                  <a:solidFill>
                    <a:schemeClr val="bg1"/>
                  </a:solidFill>
                </a:rPr>
                <a:t>on </a:t>
              </a:r>
              <a:r>
                <a:rPr lang="en-GB" altLang="en-US" sz="1333" b="1" dirty="0">
                  <a:solidFill>
                    <a:schemeClr val="bg1"/>
                  </a:solidFill>
                </a:rPr>
                <a:t>people’s lives</a:t>
              </a:r>
            </a:p>
          </p:txBody>
        </p:sp>
        <p:cxnSp>
          <p:nvCxnSpPr>
            <p:cNvPr id="40" name="Lige forbindelse 39"/>
            <p:cNvCxnSpPr/>
            <p:nvPr/>
          </p:nvCxnSpPr>
          <p:spPr>
            <a:xfrm flipH="1">
              <a:off x="6039158" y="1871859"/>
              <a:ext cx="2808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02" name="Grupper 101"/>
          <p:cNvGrpSpPr/>
          <p:nvPr/>
        </p:nvGrpSpPr>
        <p:grpSpPr>
          <a:xfrm>
            <a:off x="1812669" y="2614702"/>
            <a:ext cx="1680439" cy="1152138"/>
            <a:chOff x="1359501" y="1961027"/>
            <a:chExt cx="1260329" cy="864104"/>
          </a:xfrm>
        </p:grpSpPr>
        <p:pic>
          <p:nvPicPr>
            <p:cNvPr id="58" name="Billede 57"/>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589314" y="1961027"/>
              <a:ext cx="800702" cy="800057"/>
            </a:xfrm>
            <a:prstGeom prst="rect">
              <a:avLst/>
            </a:prstGeom>
          </p:spPr>
        </p:pic>
        <p:sp>
          <p:nvSpPr>
            <p:cNvPr id="69" name="Rectangle 1"/>
            <p:cNvSpPr/>
            <p:nvPr/>
          </p:nvSpPr>
          <p:spPr>
            <a:xfrm>
              <a:off x="1359501" y="2602040"/>
              <a:ext cx="1260329" cy="223091"/>
            </a:xfrm>
            <a:prstGeom prst="rect">
              <a:avLst/>
            </a:prstGeom>
          </p:spPr>
          <p:txBody>
            <a:bodyPr wrap="square">
              <a:spAutoFit/>
            </a:bodyPr>
            <a:lstStyle/>
            <a:p>
              <a:pPr algn="ctr"/>
              <a:r>
                <a:rPr lang="en-GB" sz="1333" b="1" dirty="0"/>
                <a:t>revenue/profit</a:t>
              </a:r>
            </a:p>
          </p:txBody>
        </p:sp>
      </p:grpSp>
      <p:grpSp>
        <p:nvGrpSpPr>
          <p:cNvPr id="104" name="Grupper 103"/>
          <p:cNvGrpSpPr/>
          <p:nvPr/>
        </p:nvGrpSpPr>
        <p:grpSpPr>
          <a:xfrm>
            <a:off x="816344" y="4187777"/>
            <a:ext cx="1728358" cy="1214005"/>
            <a:chOff x="612258" y="3140833"/>
            <a:chExt cx="1296269" cy="910504"/>
          </a:xfrm>
        </p:grpSpPr>
        <p:pic>
          <p:nvPicPr>
            <p:cNvPr id="59" name="Billede 58"/>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860365" y="3140833"/>
              <a:ext cx="800057" cy="800057"/>
            </a:xfrm>
            <a:prstGeom prst="rect">
              <a:avLst/>
            </a:prstGeom>
          </p:spPr>
        </p:pic>
        <p:sp>
          <p:nvSpPr>
            <p:cNvPr id="70" name="TextBox 6"/>
            <p:cNvSpPr txBox="1"/>
            <p:nvPr/>
          </p:nvSpPr>
          <p:spPr>
            <a:xfrm>
              <a:off x="612258" y="3828246"/>
              <a:ext cx="1296269" cy="223091"/>
            </a:xfrm>
            <a:prstGeom prst="rect">
              <a:avLst/>
            </a:prstGeom>
            <a:noFill/>
          </p:spPr>
          <p:txBody>
            <a:bodyPr wrap="none" rtlCol="0">
              <a:spAutoFit/>
            </a:bodyPr>
            <a:lstStyle/>
            <a:p>
              <a:pPr algn="ctr"/>
              <a:r>
                <a:rPr lang="en-GB" sz="1333" b="1" dirty="0"/>
                <a:t>market share/size</a:t>
              </a:r>
            </a:p>
          </p:txBody>
        </p:sp>
      </p:grpSp>
      <p:grpSp>
        <p:nvGrpSpPr>
          <p:cNvPr id="103" name="Grupper 102"/>
          <p:cNvGrpSpPr/>
          <p:nvPr/>
        </p:nvGrpSpPr>
        <p:grpSpPr>
          <a:xfrm>
            <a:off x="2471860" y="3836573"/>
            <a:ext cx="1319592" cy="1157271"/>
            <a:chOff x="1853895" y="2877429"/>
            <a:chExt cx="989694" cy="867953"/>
          </a:xfrm>
        </p:grpSpPr>
        <p:pic>
          <p:nvPicPr>
            <p:cNvPr id="61" name="Billede 60"/>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035594" y="2877429"/>
              <a:ext cx="800702" cy="800057"/>
            </a:xfrm>
            <a:prstGeom prst="rect">
              <a:avLst/>
            </a:prstGeom>
          </p:spPr>
        </p:pic>
        <p:sp>
          <p:nvSpPr>
            <p:cNvPr id="71" name="TextBox 118"/>
            <p:cNvSpPr txBox="1"/>
            <p:nvPr/>
          </p:nvSpPr>
          <p:spPr>
            <a:xfrm>
              <a:off x="1853895" y="3522292"/>
              <a:ext cx="989694" cy="223090"/>
            </a:xfrm>
            <a:prstGeom prst="rect">
              <a:avLst/>
            </a:prstGeom>
            <a:noFill/>
          </p:spPr>
          <p:txBody>
            <a:bodyPr wrap="none" rtlCol="0">
              <a:spAutoFit/>
            </a:bodyPr>
            <a:lstStyle/>
            <a:p>
              <a:r>
                <a:rPr lang="en-GB" sz="1333" b="1" dirty="0"/>
                <a:t>sales/volume</a:t>
              </a:r>
            </a:p>
          </p:txBody>
        </p:sp>
      </p:grpSp>
      <p:grpSp>
        <p:nvGrpSpPr>
          <p:cNvPr id="101" name="Grupper 100"/>
          <p:cNvGrpSpPr/>
          <p:nvPr/>
        </p:nvGrpSpPr>
        <p:grpSpPr>
          <a:xfrm>
            <a:off x="618170" y="2892027"/>
            <a:ext cx="1066743" cy="1121954"/>
            <a:chOff x="463627" y="2169020"/>
            <a:chExt cx="800057" cy="841466"/>
          </a:xfrm>
        </p:grpSpPr>
        <p:pic>
          <p:nvPicPr>
            <p:cNvPr id="60" name="Billede 59"/>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63627" y="2169020"/>
              <a:ext cx="800057" cy="800057"/>
            </a:xfrm>
            <a:prstGeom prst="rect">
              <a:avLst/>
            </a:prstGeom>
          </p:spPr>
        </p:pic>
        <p:sp>
          <p:nvSpPr>
            <p:cNvPr id="72" name="TextBox 119"/>
            <p:cNvSpPr txBox="1"/>
            <p:nvPr/>
          </p:nvSpPr>
          <p:spPr>
            <a:xfrm>
              <a:off x="585374" y="2787395"/>
              <a:ext cx="466714" cy="223091"/>
            </a:xfrm>
            <a:prstGeom prst="rect">
              <a:avLst/>
            </a:prstGeom>
            <a:noFill/>
          </p:spPr>
          <p:txBody>
            <a:bodyPr wrap="none" rtlCol="0">
              <a:spAutoFit/>
            </a:bodyPr>
            <a:lstStyle/>
            <a:p>
              <a:r>
                <a:rPr lang="en-GB" sz="1333" b="1" dirty="0"/>
                <a:t>costs</a:t>
              </a:r>
            </a:p>
          </p:txBody>
        </p:sp>
      </p:grpSp>
      <p:grpSp>
        <p:nvGrpSpPr>
          <p:cNvPr id="107" name="Grupper 106"/>
          <p:cNvGrpSpPr/>
          <p:nvPr/>
        </p:nvGrpSpPr>
        <p:grpSpPr>
          <a:xfrm>
            <a:off x="4328622" y="2569350"/>
            <a:ext cx="2013565" cy="1558980"/>
            <a:chOff x="6241052" y="1927011"/>
            <a:chExt cx="1510174" cy="1169235"/>
          </a:xfrm>
        </p:grpSpPr>
        <p:pic>
          <p:nvPicPr>
            <p:cNvPr id="67" name="Billede 66"/>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6581236" y="1927011"/>
              <a:ext cx="800057" cy="800057"/>
            </a:xfrm>
            <a:prstGeom prst="rect">
              <a:avLst/>
            </a:prstGeom>
          </p:spPr>
        </p:pic>
        <p:sp>
          <p:nvSpPr>
            <p:cNvPr id="95" name="TextBox 5"/>
            <p:cNvSpPr txBox="1">
              <a:spLocks noChangeArrowheads="1"/>
            </p:cNvSpPr>
            <p:nvPr/>
          </p:nvSpPr>
          <p:spPr bwMode="auto">
            <a:xfrm>
              <a:off x="6241052" y="2565475"/>
              <a:ext cx="1510174" cy="530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eaLnBrk="1" hangingPunct="1">
                <a:spcBef>
                  <a:spcPct val="0"/>
                </a:spcBef>
                <a:buClrTx/>
                <a:buFontTx/>
                <a:buNone/>
              </a:pPr>
              <a:r>
                <a:rPr lang="en-GB" altLang="en-US" sz="1333" b="1" dirty="0">
                  <a:solidFill>
                    <a:schemeClr val="accent1"/>
                  </a:solidFill>
                </a:rPr>
                <a:t>patients </a:t>
              </a:r>
              <a:br>
                <a:rPr lang="en-GB" altLang="en-US" sz="1333" b="1" dirty="0">
                  <a:solidFill>
                    <a:schemeClr val="accent1"/>
                  </a:solidFill>
                </a:rPr>
              </a:br>
              <a:r>
                <a:rPr lang="en-GB" altLang="en-US" sz="1333" dirty="0">
                  <a:solidFill>
                    <a:schemeClr val="accent1"/>
                  </a:solidFill>
                </a:rPr>
                <a:t>their caretakers </a:t>
              </a:r>
              <a:br>
                <a:rPr lang="en-GB" altLang="en-US" sz="1333" dirty="0">
                  <a:solidFill>
                    <a:schemeClr val="accent1"/>
                  </a:solidFill>
                </a:rPr>
              </a:br>
              <a:r>
                <a:rPr lang="en-GB" altLang="en-US" sz="1333" dirty="0">
                  <a:solidFill>
                    <a:schemeClr val="accent1"/>
                  </a:solidFill>
                </a:rPr>
                <a:t>and key stakeholders</a:t>
              </a:r>
            </a:p>
          </p:txBody>
        </p:sp>
      </p:grpSp>
      <p:grpSp>
        <p:nvGrpSpPr>
          <p:cNvPr id="106" name="Grupper 105"/>
          <p:cNvGrpSpPr/>
          <p:nvPr/>
        </p:nvGrpSpPr>
        <p:grpSpPr>
          <a:xfrm>
            <a:off x="6118000" y="3571125"/>
            <a:ext cx="1677062" cy="1351800"/>
            <a:chOff x="7776894" y="2678342"/>
            <a:chExt cx="1257796" cy="1013850"/>
          </a:xfrm>
        </p:grpSpPr>
        <p:pic>
          <p:nvPicPr>
            <p:cNvPr id="66" name="Billede 65"/>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984833" y="2678342"/>
              <a:ext cx="800702" cy="800057"/>
            </a:xfrm>
            <a:prstGeom prst="rect">
              <a:avLst/>
            </a:prstGeom>
          </p:spPr>
        </p:pic>
        <p:sp>
          <p:nvSpPr>
            <p:cNvPr id="96" name="TextBox 5"/>
            <p:cNvSpPr txBox="1">
              <a:spLocks noChangeArrowheads="1"/>
            </p:cNvSpPr>
            <p:nvPr/>
          </p:nvSpPr>
          <p:spPr bwMode="auto">
            <a:xfrm>
              <a:off x="7776894" y="3315262"/>
              <a:ext cx="1257796" cy="376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eaLnBrk="1" hangingPunct="1">
                <a:spcBef>
                  <a:spcPct val="0"/>
                </a:spcBef>
                <a:buClrTx/>
                <a:buFontTx/>
                <a:buNone/>
              </a:pPr>
              <a:r>
                <a:rPr lang="en-GB" altLang="en-US" sz="1333" b="1" dirty="0">
                  <a:solidFill>
                    <a:schemeClr val="accent1"/>
                  </a:solidFill>
                </a:rPr>
                <a:t>Employees</a:t>
              </a:r>
              <a:br>
                <a:rPr lang="en-GB" altLang="en-US" sz="1333" b="1" dirty="0">
                  <a:solidFill>
                    <a:schemeClr val="accent1"/>
                  </a:solidFill>
                </a:rPr>
              </a:br>
              <a:r>
                <a:rPr lang="en-GB" altLang="en-US" sz="1333" dirty="0">
                  <a:solidFill>
                    <a:schemeClr val="accent1"/>
                  </a:solidFill>
                </a:rPr>
                <a:t>and their families</a:t>
              </a:r>
            </a:p>
          </p:txBody>
        </p:sp>
      </p:grpSp>
      <p:grpSp>
        <p:nvGrpSpPr>
          <p:cNvPr id="105" name="Grupper 104"/>
          <p:cNvGrpSpPr/>
          <p:nvPr/>
        </p:nvGrpSpPr>
        <p:grpSpPr>
          <a:xfrm>
            <a:off x="4499102" y="4073116"/>
            <a:ext cx="2079415" cy="1406831"/>
            <a:chOff x="6492737" y="3054836"/>
            <a:chExt cx="1559561" cy="1055123"/>
          </a:xfrm>
        </p:grpSpPr>
        <p:pic>
          <p:nvPicPr>
            <p:cNvPr id="68" name="Billede 67"/>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6833511" y="3054836"/>
              <a:ext cx="800057" cy="800057"/>
            </a:xfrm>
            <a:prstGeom prst="rect">
              <a:avLst/>
            </a:prstGeom>
          </p:spPr>
        </p:pic>
        <p:sp>
          <p:nvSpPr>
            <p:cNvPr id="97" name="TextBox 5"/>
            <p:cNvSpPr txBox="1">
              <a:spLocks noChangeArrowheads="1"/>
            </p:cNvSpPr>
            <p:nvPr/>
          </p:nvSpPr>
          <p:spPr bwMode="auto">
            <a:xfrm>
              <a:off x="6492737" y="3733029"/>
              <a:ext cx="1559561" cy="376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eaLnBrk="1" hangingPunct="1">
                <a:spcBef>
                  <a:spcPct val="0"/>
                </a:spcBef>
                <a:buClrTx/>
                <a:buFontTx/>
                <a:buNone/>
              </a:pPr>
              <a:r>
                <a:rPr lang="en-GB" altLang="en-US" sz="1333" b="1" dirty="0">
                  <a:solidFill>
                    <a:schemeClr val="accent1"/>
                  </a:solidFill>
                </a:rPr>
                <a:t>communities </a:t>
              </a:r>
              <a:br>
                <a:rPr lang="en-GB" altLang="en-US" sz="1333" b="1" dirty="0">
                  <a:solidFill>
                    <a:schemeClr val="accent1"/>
                  </a:solidFill>
                </a:rPr>
              </a:br>
              <a:r>
                <a:rPr lang="en-GB" altLang="en-US" sz="1333" dirty="0">
                  <a:solidFill>
                    <a:schemeClr val="accent1"/>
                  </a:solidFill>
                </a:rPr>
                <a:t>where we do business</a:t>
              </a:r>
            </a:p>
          </p:txBody>
        </p:sp>
      </p:grpSp>
      <p:grpSp>
        <p:nvGrpSpPr>
          <p:cNvPr id="53" name="Grupper 108"/>
          <p:cNvGrpSpPr/>
          <p:nvPr/>
        </p:nvGrpSpPr>
        <p:grpSpPr>
          <a:xfrm>
            <a:off x="8047445" y="1746001"/>
            <a:ext cx="3744000" cy="3941052"/>
            <a:chOff x="3177156" y="1312223"/>
            <a:chExt cx="2808000" cy="2955789"/>
          </a:xfrm>
        </p:grpSpPr>
        <p:sp>
          <p:nvSpPr>
            <p:cNvPr id="54" name="Rectangle 64"/>
            <p:cNvSpPr/>
            <p:nvPr/>
          </p:nvSpPr>
          <p:spPr bwMode="auto">
            <a:xfrm>
              <a:off x="3195156" y="1312223"/>
              <a:ext cx="2772000" cy="2955789"/>
            </a:xfrm>
            <a:prstGeom prst="rect">
              <a:avLst/>
            </a:prstGeom>
            <a:solidFill>
              <a:srgbClr val="3F9C3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p>
          </p:txBody>
        </p:sp>
        <p:sp>
          <p:nvSpPr>
            <p:cNvPr id="55" name="Rounded Rectangle 65"/>
            <p:cNvSpPr/>
            <p:nvPr/>
          </p:nvSpPr>
          <p:spPr bwMode="auto">
            <a:xfrm>
              <a:off x="3285156" y="1973179"/>
              <a:ext cx="2592000" cy="2205041"/>
            </a:xfrm>
            <a:prstGeom prst="roundRect">
              <a:avLst>
                <a:gd name="adj" fmla="val 387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400" dirty="0"/>
            </a:p>
          </p:txBody>
        </p:sp>
        <p:sp>
          <p:nvSpPr>
            <p:cNvPr id="56" name="Rectangle 63"/>
            <p:cNvSpPr/>
            <p:nvPr/>
          </p:nvSpPr>
          <p:spPr bwMode="auto">
            <a:xfrm>
              <a:off x="3195156" y="1312224"/>
              <a:ext cx="2772000" cy="5596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altLang="en-US" sz="1333" dirty="0">
                  <a:solidFill>
                    <a:schemeClr val="bg1"/>
                  </a:solidFill>
                </a:rPr>
                <a:t>the impact we have on the </a:t>
              </a:r>
              <a:r>
                <a:rPr lang="en-GB" altLang="en-US" sz="1333" b="1" dirty="0">
                  <a:solidFill>
                    <a:schemeClr val="bg1"/>
                  </a:solidFill>
                </a:rPr>
                <a:t>environment</a:t>
              </a:r>
            </a:p>
          </p:txBody>
        </p:sp>
        <p:cxnSp>
          <p:nvCxnSpPr>
            <p:cNvPr id="57" name="Lige forbindelse 43"/>
            <p:cNvCxnSpPr/>
            <p:nvPr/>
          </p:nvCxnSpPr>
          <p:spPr>
            <a:xfrm flipH="1">
              <a:off x="3177156" y="1871859"/>
              <a:ext cx="28080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73" name="Grupper 114"/>
          <p:cNvGrpSpPr/>
          <p:nvPr/>
        </p:nvGrpSpPr>
        <p:grpSpPr>
          <a:xfrm>
            <a:off x="10015610" y="3768625"/>
            <a:ext cx="1634047" cy="1410681"/>
            <a:chOff x="4754400" y="3053060"/>
            <a:chExt cx="1049459" cy="1058011"/>
          </a:xfrm>
        </p:grpSpPr>
        <p:pic>
          <p:nvPicPr>
            <p:cNvPr id="74" name="Billede 61"/>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4878099" y="3053060"/>
              <a:ext cx="800702" cy="800057"/>
            </a:xfrm>
            <a:prstGeom prst="rect">
              <a:avLst/>
            </a:prstGeom>
          </p:spPr>
        </p:pic>
        <p:sp>
          <p:nvSpPr>
            <p:cNvPr id="76" name="TextBox 54"/>
            <p:cNvSpPr txBox="1">
              <a:spLocks noChangeArrowheads="1"/>
            </p:cNvSpPr>
            <p:nvPr/>
          </p:nvSpPr>
          <p:spPr bwMode="auto">
            <a:xfrm>
              <a:off x="4754400" y="3734141"/>
              <a:ext cx="1049459" cy="3769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eaLnBrk="1" hangingPunct="1">
                <a:spcBef>
                  <a:spcPct val="0"/>
                </a:spcBef>
                <a:buClrTx/>
                <a:buNone/>
              </a:pPr>
              <a:r>
                <a:rPr lang="en-GB" altLang="en-US" sz="1333" dirty="0">
                  <a:solidFill>
                    <a:srgbClr val="3F9C35"/>
                  </a:solidFill>
                </a:rPr>
                <a:t>Reduce</a:t>
              </a:r>
            </a:p>
            <a:p>
              <a:pPr algn="ctr" eaLnBrk="1" hangingPunct="1">
                <a:spcBef>
                  <a:spcPct val="0"/>
                </a:spcBef>
                <a:buClrTx/>
                <a:buNone/>
              </a:pPr>
              <a:r>
                <a:rPr lang="en-GB" altLang="en-US" sz="1333" b="1" dirty="0">
                  <a:solidFill>
                    <a:srgbClr val="3F9C35"/>
                  </a:solidFill>
                </a:rPr>
                <a:t>CO</a:t>
              </a:r>
              <a:r>
                <a:rPr lang="en-GB" altLang="en-US" sz="1333" b="1" baseline="-25000" dirty="0">
                  <a:solidFill>
                    <a:srgbClr val="3F9C35"/>
                  </a:solidFill>
                </a:rPr>
                <a:t>2 </a:t>
              </a:r>
              <a:r>
                <a:rPr lang="en-GB" altLang="en-US" sz="1333" b="1" dirty="0">
                  <a:solidFill>
                    <a:srgbClr val="3F9C35"/>
                  </a:solidFill>
                </a:rPr>
                <a:t>emissions</a:t>
              </a:r>
            </a:p>
          </p:txBody>
        </p:sp>
      </p:grpSp>
      <p:grpSp>
        <p:nvGrpSpPr>
          <p:cNvPr id="77" name="Grupper 113"/>
          <p:cNvGrpSpPr/>
          <p:nvPr/>
        </p:nvGrpSpPr>
        <p:grpSpPr>
          <a:xfrm>
            <a:off x="9828867" y="2475946"/>
            <a:ext cx="1585690" cy="1330345"/>
            <a:chOff x="4468369" y="2031466"/>
            <a:chExt cx="1189268" cy="997759"/>
          </a:xfrm>
        </p:grpSpPr>
        <p:pic>
          <p:nvPicPr>
            <p:cNvPr id="78" name="Billede 62"/>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4657196" y="2031466"/>
              <a:ext cx="800057" cy="800057"/>
            </a:xfrm>
            <a:prstGeom prst="rect">
              <a:avLst/>
            </a:prstGeom>
          </p:spPr>
        </p:pic>
        <p:sp>
          <p:nvSpPr>
            <p:cNvPr id="79" name="TextBox 55"/>
            <p:cNvSpPr txBox="1">
              <a:spLocks noChangeArrowheads="1"/>
            </p:cNvSpPr>
            <p:nvPr/>
          </p:nvSpPr>
          <p:spPr bwMode="auto">
            <a:xfrm>
              <a:off x="4468369" y="2652295"/>
              <a:ext cx="1189268" cy="376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eaLnBrk="1" hangingPunct="1">
                <a:spcBef>
                  <a:spcPct val="0"/>
                </a:spcBef>
                <a:buClrTx/>
                <a:buFontTx/>
                <a:buNone/>
              </a:pPr>
              <a:r>
                <a:rPr lang="en-GB" altLang="en-US" sz="1333" dirty="0">
                  <a:solidFill>
                    <a:srgbClr val="3F9C35"/>
                  </a:solidFill>
                </a:rPr>
                <a:t>Optimise use of </a:t>
              </a:r>
            </a:p>
            <a:p>
              <a:pPr algn="ctr" eaLnBrk="1" hangingPunct="1">
                <a:spcBef>
                  <a:spcPct val="0"/>
                </a:spcBef>
                <a:buClrTx/>
                <a:buFontTx/>
                <a:buNone/>
              </a:pPr>
              <a:r>
                <a:rPr lang="en-GB" altLang="en-US" sz="1333" b="1" dirty="0">
                  <a:solidFill>
                    <a:srgbClr val="3F9C35"/>
                  </a:solidFill>
                </a:rPr>
                <a:t>resources</a:t>
              </a:r>
            </a:p>
          </p:txBody>
        </p:sp>
      </p:grpSp>
      <p:grpSp>
        <p:nvGrpSpPr>
          <p:cNvPr id="80" name="Grupper 111"/>
          <p:cNvGrpSpPr/>
          <p:nvPr/>
        </p:nvGrpSpPr>
        <p:grpSpPr>
          <a:xfrm>
            <a:off x="8204413" y="4035680"/>
            <a:ext cx="1887055" cy="1406159"/>
            <a:chOff x="3691453" y="3053061"/>
            <a:chExt cx="1415291" cy="1054619"/>
          </a:xfrm>
        </p:grpSpPr>
        <p:pic>
          <p:nvPicPr>
            <p:cNvPr id="82" name="Billede 63"/>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3961738" y="3053061"/>
              <a:ext cx="800057" cy="800057"/>
            </a:xfrm>
            <a:prstGeom prst="rect">
              <a:avLst/>
            </a:prstGeom>
            <a:noFill/>
            <a:ln>
              <a:solidFill>
                <a:schemeClr val="accent3"/>
              </a:solidFill>
            </a:ln>
          </p:spPr>
        </p:pic>
        <p:sp>
          <p:nvSpPr>
            <p:cNvPr id="83" name="TextBox 56"/>
            <p:cNvSpPr txBox="1">
              <a:spLocks noChangeArrowheads="1"/>
            </p:cNvSpPr>
            <p:nvPr/>
          </p:nvSpPr>
          <p:spPr bwMode="auto">
            <a:xfrm>
              <a:off x="3691453" y="3730750"/>
              <a:ext cx="1415291" cy="376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eaLnBrk="1" hangingPunct="1">
                <a:spcBef>
                  <a:spcPct val="0"/>
                </a:spcBef>
                <a:buClrTx/>
                <a:buFontTx/>
                <a:buNone/>
              </a:pPr>
              <a:r>
                <a:rPr lang="en-GB" altLang="en-US" sz="1333" dirty="0">
                  <a:solidFill>
                    <a:srgbClr val="3F9C35"/>
                  </a:solidFill>
                </a:rPr>
                <a:t>Increase </a:t>
              </a:r>
            </a:p>
            <a:p>
              <a:pPr algn="ctr" eaLnBrk="1" hangingPunct="1">
                <a:spcBef>
                  <a:spcPct val="0"/>
                </a:spcBef>
                <a:buClrTx/>
                <a:buFontTx/>
                <a:buNone/>
              </a:pPr>
              <a:r>
                <a:rPr lang="en-GB" altLang="en-US" sz="1333" b="1" dirty="0">
                  <a:solidFill>
                    <a:srgbClr val="3F9C35"/>
                  </a:solidFill>
                </a:rPr>
                <a:t>energy efficiency </a:t>
              </a:r>
            </a:p>
          </p:txBody>
        </p:sp>
      </p:grpSp>
      <p:sp>
        <p:nvSpPr>
          <p:cNvPr id="86" name="TextBox 56"/>
          <p:cNvSpPr txBox="1">
            <a:spLocks noChangeArrowheads="1"/>
          </p:cNvSpPr>
          <p:nvPr/>
        </p:nvSpPr>
        <p:spPr bwMode="auto">
          <a:xfrm>
            <a:off x="8703222" y="3470473"/>
            <a:ext cx="934871" cy="50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algn="ctr" eaLnBrk="1" hangingPunct="1">
              <a:spcBef>
                <a:spcPct val="0"/>
              </a:spcBef>
              <a:buClrTx/>
              <a:buFontTx/>
              <a:buNone/>
            </a:pPr>
            <a:r>
              <a:rPr lang="en-GB" altLang="en-US" sz="1333" dirty="0">
                <a:solidFill>
                  <a:srgbClr val="3F9C35"/>
                </a:solidFill>
              </a:rPr>
              <a:t>Minimise</a:t>
            </a:r>
          </a:p>
          <a:p>
            <a:pPr algn="ctr" eaLnBrk="1" hangingPunct="1">
              <a:spcBef>
                <a:spcPct val="0"/>
              </a:spcBef>
              <a:buClrTx/>
              <a:buFontTx/>
              <a:buNone/>
            </a:pPr>
            <a:r>
              <a:rPr lang="en-GB" altLang="en-US" sz="1333" b="1" dirty="0">
                <a:solidFill>
                  <a:srgbClr val="3F9C35"/>
                </a:solidFill>
              </a:rPr>
              <a:t> waste</a:t>
            </a:r>
          </a:p>
        </p:txBody>
      </p:sp>
      <p:grpSp>
        <p:nvGrpSpPr>
          <p:cNvPr id="130" name="Group 129"/>
          <p:cNvGrpSpPr/>
          <p:nvPr/>
        </p:nvGrpSpPr>
        <p:grpSpPr>
          <a:xfrm>
            <a:off x="8671376" y="2846308"/>
            <a:ext cx="817681" cy="706323"/>
            <a:chOff x="4529137" y="520701"/>
            <a:chExt cx="392112" cy="393700"/>
          </a:xfrm>
        </p:grpSpPr>
        <p:sp>
          <p:nvSpPr>
            <p:cNvPr id="131" name="Freeform 525"/>
            <p:cNvSpPr>
              <a:spLocks/>
            </p:cNvSpPr>
            <p:nvPr/>
          </p:nvSpPr>
          <p:spPr bwMode="auto">
            <a:xfrm>
              <a:off x="4529137" y="520701"/>
              <a:ext cx="392112" cy="393700"/>
            </a:xfrm>
            <a:custGeom>
              <a:avLst/>
              <a:gdLst>
                <a:gd name="T0" fmla="*/ 233 w 255"/>
                <a:gd name="T1" fmla="*/ 255 h 255"/>
                <a:gd name="T2" fmla="*/ 22 w 255"/>
                <a:gd name="T3" fmla="*/ 255 h 255"/>
                <a:gd name="T4" fmla="*/ 0 w 255"/>
                <a:gd name="T5" fmla="*/ 233 h 255"/>
                <a:gd name="T6" fmla="*/ 0 w 255"/>
                <a:gd name="T7" fmla="*/ 21 h 255"/>
                <a:gd name="T8" fmla="*/ 22 w 255"/>
                <a:gd name="T9" fmla="*/ 0 h 255"/>
                <a:gd name="T10" fmla="*/ 233 w 255"/>
                <a:gd name="T11" fmla="*/ 0 h 255"/>
                <a:gd name="T12" fmla="*/ 255 w 255"/>
                <a:gd name="T13" fmla="*/ 21 h 255"/>
                <a:gd name="T14" fmla="*/ 255 w 255"/>
                <a:gd name="T15" fmla="*/ 233 h 255"/>
                <a:gd name="T16" fmla="*/ 233 w 255"/>
                <a:gd name="T17"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5">
                  <a:moveTo>
                    <a:pt x="233" y="255"/>
                  </a:moveTo>
                  <a:cubicBezTo>
                    <a:pt x="22" y="255"/>
                    <a:pt x="22" y="255"/>
                    <a:pt x="22" y="255"/>
                  </a:cubicBezTo>
                  <a:cubicBezTo>
                    <a:pt x="9" y="255"/>
                    <a:pt x="0" y="245"/>
                    <a:pt x="0" y="233"/>
                  </a:cubicBezTo>
                  <a:cubicBezTo>
                    <a:pt x="0" y="21"/>
                    <a:pt x="0" y="21"/>
                    <a:pt x="0" y="21"/>
                  </a:cubicBezTo>
                  <a:cubicBezTo>
                    <a:pt x="0" y="9"/>
                    <a:pt x="9" y="0"/>
                    <a:pt x="22" y="0"/>
                  </a:cubicBezTo>
                  <a:cubicBezTo>
                    <a:pt x="233" y="0"/>
                    <a:pt x="233" y="0"/>
                    <a:pt x="233" y="0"/>
                  </a:cubicBezTo>
                  <a:cubicBezTo>
                    <a:pt x="245" y="0"/>
                    <a:pt x="255" y="9"/>
                    <a:pt x="255" y="21"/>
                  </a:cubicBezTo>
                  <a:cubicBezTo>
                    <a:pt x="255" y="233"/>
                    <a:pt x="255" y="233"/>
                    <a:pt x="255" y="233"/>
                  </a:cubicBezTo>
                  <a:cubicBezTo>
                    <a:pt x="255" y="245"/>
                    <a:pt x="245" y="255"/>
                    <a:pt x="233" y="2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132" name="Freeform 526"/>
            <p:cNvSpPr>
              <a:spLocks/>
            </p:cNvSpPr>
            <p:nvPr/>
          </p:nvSpPr>
          <p:spPr bwMode="auto">
            <a:xfrm>
              <a:off x="4562475" y="612776"/>
              <a:ext cx="190500" cy="266700"/>
            </a:xfrm>
            <a:custGeom>
              <a:avLst/>
              <a:gdLst>
                <a:gd name="T0" fmla="*/ 67 w 123"/>
                <a:gd name="T1" fmla="*/ 0 h 173"/>
                <a:gd name="T2" fmla="*/ 48 w 123"/>
                <a:gd name="T3" fmla="*/ 14 h 173"/>
                <a:gd name="T4" fmla="*/ 38 w 123"/>
                <a:gd name="T5" fmla="*/ 33 h 173"/>
                <a:gd name="T6" fmla="*/ 8 w 123"/>
                <a:gd name="T7" fmla="*/ 33 h 173"/>
                <a:gd name="T8" fmla="*/ 0 w 123"/>
                <a:gd name="T9" fmla="*/ 40 h 173"/>
                <a:gd name="T10" fmla="*/ 8 w 123"/>
                <a:gd name="T11" fmla="*/ 48 h 173"/>
                <a:gd name="T12" fmla="*/ 42 w 123"/>
                <a:gd name="T13" fmla="*/ 48 h 173"/>
                <a:gd name="T14" fmla="*/ 52 w 123"/>
                <a:gd name="T15" fmla="*/ 42 h 173"/>
                <a:gd name="T16" fmla="*/ 63 w 123"/>
                <a:gd name="T17" fmla="*/ 24 h 173"/>
                <a:gd name="T18" fmla="*/ 63 w 123"/>
                <a:gd name="T19" fmla="*/ 28 h 173"/>
                <a:gd name="T20" fmla="*/ 63 w 123"/>
                <a:gd name="T21" fmla="*/ 163 h 173"/>
                <a:gd name="T22" fmla="*/ 72 w 123"/>
                <a:gd name="T23" fmla="*/ 173 h 173"/>
                <a:gd name="T24" fmla="*/ 81 w 123"/>
                <a:gd name="T25" fmla="*/ 163 h 173"/>
                <a:gd name="T26" fmla="*/ 81 w 123"/>
                <a:gd name="T27" fmla="*/ 85 h 173"/>
                <a:gd name="T28" fmla="*/ 88 w 123"/>
                <a:gd name="T29" fmla="*/ 85 h 173"/>
                <a:gd name="T30" fmla="*/ 88 w 123"/>
                <a:gd name="T31" fmla="*/ 163 h 173"/>
                <a:gd name="T32" fmla="*/ 97 w 123"/>
                <a:gd name="T33" fmla="*/ 173 h 173"/>
                <a:gd name="T34" fmla="*/ 105 w 123"/>
                <a:gd name="T35" fmla="*/ 163 h 173"/>
                <a:gd name="T36" fmla="*/ 105 w 123"/>
                <a:gd name="T37" fmla="*/ 28 h 173"/>
                <a:gd name="T38" fmla="*/ 113 w 123"/>
                <a:gd name="T39" fmla="*/ 28 h 173"/>
                <a:gd name="T40" fmla="*/ 113 w 123"/>
                <a:gd name="T41" fmla="*/ 86 h 173"/>
                <a:gd name="T42" fmla="*/ 116 w 123"/>
                <a:gd name="T43" fmla="*/ 86 h 173"/>
                <a:gd name="T44" fmla="*/ 123 w 123"/>
                <a:gd name="T45" fmla="*/ 79 h 173"/>
                <a:gd name="T46" fmla="*/ 123 w 123"/>
                <a:gd name="T47" fmla="*/ 22 h 173"/>
                <a:gd name="T48" fmla="*/ 98 w 123"/>
                <a:gd name="T49" fmla="*/ 0 h 173"/>
                <a:gd name="T50" fmla="*/ 71 w 123"/>
                <a:gd name="T51" fmla="*/ 0 h 173"/>
                <a:gd name="T52" fmla="*/ 67 w 123"/>
                <a:gd name="T53"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3" h="173">
                  <a:moveTo>
                    <a:pt x="67" y="0"/>
                  </a:moveTo>
                  <a:cubicBezTo>
                    <a:pt x="58" y="0"/>
                    <a:pt x="52" y="7"/>
                    <a:pt x="48" y="14"/>
                  </a:cubicBezTo>
                  <a:cubicBezTo>
                    <a:pt x="38" y="33"/>
                    <a:pt x="38" y="33"/>
                    <a:pt x="38" y="33"/>
                  </a:cubicBezTo>
                  <a:cubicBezTo>
                    <a:pt x="8" y="33"/>
                    <a:pt x="8" y="33"/>
                    <a:pt x="8" y="33"/>
                  </a:cubicBezTo>
                  <a:cubicBezTo>
                    <a:pt x="4" y="33"/>
                    <a:pt x="0" y="36"/>
                    <a:pt x="0" y="40"/>
                  </a:cubicBezTo>
                  <a:cubicBezTo>
                    <a:pt x="0" y="45"/>
                    <a:pt x="4" y="48"/>
                    <a:pt x="8" y="48"/>
                  </a:cubicBezTo>
                  <a:cubicBezTo>
                    <a:pt x="42" y="48"/>
                    <a:pt x="42" y="48"/>
                    <a:pt x="42" y="48"/>
                  </a:cubicBezTo>
                  <a:cubicBezTo>
                    <a:pt x="45" y="48"/>
                    <a:pt x="50" y="45"/>
                    <a:pt x="52" y="42"/>
                  </a:cubicBezTo>
                  <a:cubicBezTo>
                    <a:pt x="63" y="24"/>
                    <a:pt x="63" y="24"/>
                    <a:pt x="63" y="24"/>
                  </a:cubicBezTo>
                  <a:cubicBezTo>
                    <a:pt x="63" y="28"/>
                    <a:pt x="63" y="28"/>
                    <a:pt x="63" y="28"/>
                  </a:cubicBezTo>
                  <a:cubicBezTo>
                    <a:pt x="63" y="163"/>
                    <a:pt x="63" y="163"/>
                    <a:pt x="63" y="163"/>
                  </a:cubicBezTo>
                  <a:cubicBezTo>
                    <a:pt x="63" y="169"/>
                    <a:pt x="66" y="173"/>
                    <a:pt x="72" y="173"/>
                  </a:cubicBezTo>
                  <a:cubicBezTo>
                    <a:pt x="78" y="173"/>
                    <a:pt x="81" y="169"/>
                    <a:pt x="81" y="163"/>
                  </a:cubicBezTo>
                  <a:cubicBezTo>
                    <a:pt x="81" y="85"/>
                    <a:pt x="81" y="85"/>
                    <a:pt x="81" y="85"/>
                  </a:cubicBezTo>
                  <a:cubicBezTo>
                    <a:pt x="88" y="85"/>
                    <a:pt x="88" y="85"/>
                    <a:pt x="88" y="85"/>
                  </a:cubicBezTo>
                  <a:cubicBezTo>
                    <a:pt x="88" y="163"/>
                    <a:pt x="88" y="163"/>
                    <a:pt x="88" y="163"/>
                  </a:cubicBezTo>
                  <a:cubicBezTo>
                    <a:pt x="88" y="169"/>
                    <a:pt x="91" y="173"/>
                    <a:pt x="97" y="173"/>
                  </a:cubicBezTo>
                  <a:cubicBezTo>
                    <a:pt x="102" y="173"/>
                    <a:pt x="105" y="169"/>
                    <a:pt x="105" y="163"/>
                  </a:cubicBezTo>
                  <a:cubicBezTo>
                    <a:pt x="105" y="28"/>
                    <a:pt x="105" y="28"/>
                    <a:pt x="105" y="28"/>
                  </a:cubicBezTo>
                  <a:cubicBezTo>
                    <a:pt x="113" y="28"/>
                    <a:pt x="113" y="28"/>
                    <a:pt x="113" y="28"/>
                  </a:cubicBezTo>
                  <a:cubicBezTo>
                    <a:pt x="113" y="86"/>
                    <a:pt x="113" y="86"/>
                    <a:pt x="113" y="86"/>
                  </a:cubicBezTo>
                  <a:cubicBezTo>
                    <a:pt x="115" y="86"/>
                    <a:pt x="114" y="86"/>
                    <a:pt x="116" y="86"/>
                  </a:cubicBezTo>
                  <a:cubicBezTo>
                    <a:pt x="120" y="86"/>
                    <a:pt x="123" y="83"/>
                    <a:pt x="123" y="79"/>
                  </a:cubicBezTo>
                  <a:cubicBezTo>
                    <a:pt x="123" y="22"/>
                    <a:pt x="123" y="22"/>
                    <a:pt x="123" y="22"/>
                  </a:cubicBezTo>
                  <a:cubicBezTo>
                    <a:pt x="123" y="10"/>
                    <a:pt x="110" y="0"/>
                    <a:pt x="98" y="0"/>
                  </a:cubicBezTo>
                  <a:cubicBezTo>
                    <a:pt x="71" y="0"/>
                    <a:pt x="71" y="0"/>
                    <a:pt x="71" y="0"/>
                  </a:cubicBezTo>
                  <a:lnTo>
                    <a:pt x="67" y="0"/>
                  </a:lnTo>
                  <a:close/>
                </a:path>
              </a:pathLst>
            </a:custGeom>
            <a:solidFill>
              <a:srgbClr val="3F9C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dirty="0"/>
            </a:p>
          </p:txBody>
        </p:sp>
        <p:sp>
          <p:nvSpPr>
            <p:cNvPr id="133" name="Rectangle 527"/>
            <p:cNvSpPr>
              <a:spLocks noChangeArrowheads="1"/>
            </p:cNvSpPr>
            <p:nvPr/>
          </p:nvSpPr>
          <p:spPr bwMode="auto">
            <a:xfrm>
              <a:off x="4575175" y="604838"/>
              <a:ext cx="19050" cy="50800"/>
            </a:xfrm>
            <a:prstGeom prst="rect">
              <a:avLst/>
            </a:prstGeom>
            <a:solidFill>
              <a:srgbClr val="3F9C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134" name="Freeform 528"/>
            <p:cNvSpPr>
              <a:spLocks/>
            </p:cNvSpPr>
            <p:nvPr/>
          </p:nvSpPr>
          <p:spPr bwMode="auto">
            <a:xfrm>
              <a:off x="4768850" y="739776"/>
              <a:ext cx="119062" cy="136525"/>
            </a:xfrm>
            <a:custGeom>
              <a:avLst/>
              <a:gdLst>
                <a:gd name="T0" fmla="*/ 18 w 75"/>
                <a:gd name="T1" fmla="*/ 86 h 86"/>
                <a:gd name="T2" fmla="*/ 57 w 75"/>
                <a:gd name="T3" fmla="*/ 86 h 86"/>
                <a:gd name="T4" fmla="*/ 75 w 75"/>
                <a:gd name="T5" fmla="*/ 0 h 86"/>
                <a:gd name="T6" fmla="*/ 63 w 75"/>
                <a:gd name="T7" fmla="*/ 0 h 86"/>
                <a:gd name="T8" fmla="*/ 48 w 75"/>
                <a:gd name="T9" fmla="*/ 75 h 86"/>
                <a:gd name="T10" fmla="*/ 27 w 75"/>
                <a:gd name="T11" fmla="*/ 75 h 86"/>
                <a:gd name="T12" fmla="*/ 12 w 75"/>
                <a:gd name="T13" fmla="*/ 0 h 86"/>
                <a:gd name="T14" fmla="*/ 0 w 75"/>
                <a:gd name="T15" fmla="*/ 0 h 86"/>
                <a:gd name="T16" fmla="*/ 18 w 75"/>
                <a:gd name="T1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6">
                  <a:moveTo>
                    <a:pt x="18" y="86"/>
                  </a:moveTo>
                  <a:lnTo>
                    <a:pt x="57" y="86"/>
                  </a:lnTo>
                  <a:lnTo>
                    <a:pt x="75" y="0"/>
                  </a:lnTo>
                  <a:lnTo>
                    <a:pt x="63" y="0"/>
                  </a:lnTo>
                  <a:lnTo>
                    <a:pt x="48" y="75"/>
                  </a:lnTo>
                  <a:lnTo>
                    <a:pt x="27" y="75"/>
                  </a:lnTo>
                  <a:lnTo>
                    <a:pt x="12" y="0"/>
                  </a:lnTo>
                  <a:lnTo>
                    <a:pt x="0" y="0"/>
                  </a:lnTo>
                  <a:lnTo>
                    <a:pt x="18" y="86"/>
                  </a:lnTo>
                  <a:close/>
                </a:path>
              </a:pathLst>
            </a:custGeom>
            <a:solidFill>
              <a:srgbClr val="3F9C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135" name="Rectangle 529"/>
            <p:cNvSpPr>
              <a:spLocks noChangeArrowheads="1"/>
            </p:cNvSpPr>
            <p:nvPr/>
          </p:nvSpPr>
          <p:spPr bwMode="auto">
            <a:xfrm>
              <a:off x="4819650" y="823913"/>
              <a:ext cx="19050" cy="19050"/>
            </a:xfrm>
            <a:prstGeom prst="rect">
              <a:avLst/>
            </a:prstGeom>
            <a:solidFill>
              <a:srgbClr val="3F9C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136" name="Freeform 530"/>
            <p:cNvSpPr>
              <a:spLocks/>
            </p:cNvSpPr>
            <p:nvPr/>
          </p:nvSpPr>
          <p:spPr bwMode="auto">
            <a:xfrm>
              <a:off x="4810125" y="784226"/>
              <a:ext cx="28575" cy="26988"/>
            </a:xfrm>
            <a:custGeom>
              <a:avLst/>
              <a:gdLst>
                <a:gd name="T0" fmla="*/ 9 w 18"/>
                <a:gd name="T1" fmla="*/ 17 h 17"/>
                <a:gd name="T2" fmla="*/ 18 w 18"/>
                <a:gd name="T3" fmla="*/ 9 h 17"/>
                <a:gd name="T4" fmla="*/ 9 w 18"/>
                <a:gd name="T5" fmla="*/ 0 h 17"/>
                <a:gd name="T6" fmla="*/ 0 w 18"/>
                <a:gd name="T7" fmla="*/ 9 h 17"/>
                <a:gd name="T8" fmla="*/ 9 w 18"/>
                <a:gd name="T9" fmla="*/ 17 h 17"/>
              </a:gdLst>
              <a:ahLst/>
              <a:cxnLst>
                <a:cxn ang="0">
                  <a:pos x="T0" y="T1"/>
                </a:cxn>
                <a:cxn ang="0">
                  <a:pos x="T2" y="T3"/>
                </a:cxn>
                <a:cxn ang="0">
                  <a:pos x="T4" y="T5"/>
                </a:cxn>
                <a:cxn ang="0">
                  <a:pos x="T6" y="T7"/>
                </a:cxn>
                <a:cxn ang="0">
                  <a:pos x="T8" y="T9"/>
                </a:cxn>
              </a:cxnLst>
              <a:rect l="0" t="0" r="r" b="b"/>
              <a:pathLst>
                <a:path w="18" h="17">
                  <a:moveTo>
                    <a:pt x="9" y="17"/>
                  </a:moveTo>
                  <a:lnTo>
                    <a:pt x="18" y="9"/>
                  </a:lnTo>
                  <a:lnTo>
                    <a:pt x="9" y="0"/>
                  </a:lnTo>
                  <a:lnTo>
                    <a:pt x="0" y="9"/>
                  </a:lnTo>
                  <a:lnTo>
                    <a:pt x="9" y="17"/>
                  </a:lnTo>
                  <a:close/>
                </a:path>
              </a:pathLst>
            </a:custGeom>
            <a:solidFill>
              <a:srgbClr val="3F9C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137" name="Freeform 531"/>
            <p:cNvSpPr>
              <a:spLocks/>
            </p:cNvSpPr>
            <p:nvPr/>
          </p:nvSpPr>
          <p:spPr bwMode="auto">
            <a:xfrm>
              <a:off x="4824412" y="754063"/>
              <a:ext cx="28575" cy="25400"/>
            </a:xfrm>
            <a:custGeom>
              <a:avLst/>
              <a:gdLst>
                <a:gd name="T0" fmla="*/ 9 w 18"/>
                <a:gd name="T1" fmla="*/ 16 h 16"/>
                <a:gd name="T2" fmla="*/ 18 w 18"/>
                <a:gd name="T3" fmla="*/ 9 h 16"/>
                <a:gd name="T4" fmla="*/ 9 w 18"/>
                <a:gd name="T5" fmla="*/ 0 h 16"/>
                <a:gd name="T6" fmla="*/ 0 w 18"/>
                <a:gd name="T7" fmla="*/ 9 h 16"/>
                <a:gd name="T8" fmla="*/ 9 w 18"/>
                <a:gd name="T9" fmla="*/ 16 h 16"/>
              </a:gdLst>
              <a:ahLst/>
              <a:cxnLst>
                <a:cxn ang="0">
                  <a:pos x="T0" y="T1"/>
                </a:cxn>
                <a:cxn ang="0">
                  <a:pos x="T2" y="T3"/>
                </a:cxn>
                <a:cxn ang="0">
                  <a:pos x="T4" y="T5"/>
                </a:cxn>
                <a:cxn ang="0">
                  <a:pos x="T6" y="T7"/>
                </a:cxn>
                <a:cxn ang="0">
                  <a:pos x="T8" y="T9"/>
                </a:cxn>
              </a:cxnLst>
              <a:rect l="0" t="0" r="r" b="b"/>
              <a:pathLst>
                <a:path w="18" h="16">
                  <a:moveTo>
                    <a:pt x="9" y="16"/>
                  </a:moveTo>
                  <a:lnTo>
                    <a:pt x="18" y="9"/>
                  </a:lnTo>
                  <a:lnTo>
                    <a:pt x="9" y="0"/>
                  </a:lnTo>
                  <a:lnTo>
                    <a:pt x="0" y="9"/>
                  </a:lnTo>
                  <a:lnTo>
                    <a:pt x="9" y="16"/>
                  </a:lnTo>
                  <a:close/>
                </a:path>
              </a:pathLst>
            </a:custGeom>
            <a:solidFill>
              <a:srgbClr val="3F9C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sp>
          <p:nvSpPr>
            <p:cNvPr id="138" name="Oval 532"/>
            <p:cNvSpPr>
              <a:spLocks noChangeArrowheads="1"/>
            </p:cNvSpPr>
            <p:nvPr/>
          </p:nvSpPr>
          <p:spPr bwMode="auto">
            <a:xfrm>
              <a:off x="4665662" y="554038"/>
              <a:ext cx="53975" cy="53975"/>
            </a:xfrm>
            <a:prstGeom prst="ellipse">
              <a:avLst/>
            </a:prstGeom>
            <a:solidFill>
              <a:srgbClr val="3F9C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2400"/>
            </a:p>
          </p:txBody>
        </p:sp>
      </p:grpSp>
      <p:pic>
        <p:nvPicPr>
          <p:cNvPr id="6" name="Picture 5">
            <a:extLst>
              <a:ext uri="{FF2B5EF4-FFF2-40B4-BE49-F238E27FC236}">
                <a16:creationId xmlns:a16="http://schemas.microsoft.com/office/drawing/2014/main" id="{5ABF7263-E2AE-4616-8456-CAF285C53F2F}"/>
              </a:ext>
            </a:extLst>
          </p:cNvPr>
          <p:cNvPicPr>
            <a:picLocks noChangeAspect="1"/>
          </p:cNvPicPr>
          <p:nvPr/>
        </p:nvPicPr>
        <p:blipFill>
          <a:blip r:embed="rId14"/>
          <a:stretch>
            <a:fillRect/>
          </a:stretch>
        </p:blipFill>
        <p:spPr>
          <a:xfrm>
            <a:off x="1006812" y="229730"/>
            <a:ext cx="1969179" cy="176799"/>
          </a:xfrm>
          <a:prstGeom prst="rect">
            <a:avLst/>
          </a:prstGeom>
        </p:spPr>
      </p:pic>
    </p:spTree>
    <p:custDataLst>
      <p:tags r:id="rId1"/>
    </p:custDataLst>
    <p:extLst>
      <p:ext uri="{BB962C8B-B14F-4D97-AF65-F5344CB8AC3E}">
        <p14:creationId xmlns:p14="http://schemas.microsoft.com/office/powerpoint/2010/main" val="2796323676"/>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8D8D097-6131-40F1-8196-DB07A65E16BC}"/>
              </a:ext>
            </a:extLst>
          </p:cNvPr>
          <p:cNvSpPr>
            <a:spLocks noGrp="1"/>
          </p:cNvSpPr>
          <p:nvPr>
            <p:ph type="title"/>
          </p:nvPr>
        </p:nvSpPr>
        <p:spPr>
          <a:xfrm>
            <a:off x="648000" y="648000"/>
            <a:ext cx="10896000" cy="1296000"/>
          </a:xfrm>
        </p:spPr>
        <p:txBody>
          <a:bodyPr/>
          <a:lstStyle/>
          <a:p>
            <a:r>
              <a:rPr lang="en-GB" dirty="0"/>
              <a:t>Defeat Diabetes – </a:t>
            </a:r>
            <a:br>
              <a:rPr lang="en-GB" dirty="0"/>
            </a:br>
            <a:r>
              <a:rPr lang="en-GB" dirty="0"/>
              <a:t>our social responsibility strategy</a:t>
            </a:r>
          </a:p>
        </p:txBody>
      </p:sp>
      <p:sp>
        <p:nvSpPr>
          <p:cNvPr id="13" name="Text Placeholder 12">
            <a:extLst>
              <a:ext uri="{FF2B5EF4-FFF2-40B4-BE49-F238E27FC236}">
                <a16:creationId xmlns:a16="http://schemas.microsoft.com/office/drawing/2014/main" id="{A0280421-0998-4C80-A27A-E0E862C3700C}"/>
              </a:ext>
            </a:extLst>
          </p:cNvPr>
          <p:cNvSpPr>
            <a:spLocks noGrp="1"/>
          </p:cNvSpPr>
          <p:nvPr>
            <p:ph type="body" sz="quarter" idx="13"/>
          </p:nvPr>
        </p:nvSpPr>
        <p:spPr/>
        <p:txBody>
          <a:bodyPr/>
          <a:lstStyle/>
          <a:p>
            <a:endParaRPr lang="en-GB" dirty="0"/>
          </a:p>
        </p:txBody>
      </p:sp>
      <p:sp>
        <p:nvSpPr>
          <p:cNvPr id="5" name="Slide Number Placeholder 4">
            <a:extLst>
              <a:ext uri="{FF2B5EF4-FFF2-40B4-BE49-F238E27FC236}">
                <a16:creationId xmlns:a16="http://schemas.microsoft.com/office/drawing/2014/main" id="{4759ED9E-7514-4C3B-87DE-D34717F4F3F7}"/>
              </a:ext>
            </a:extLst>
          </p:cNvPr>
          <p:cNvSpPr>
            <a:spLocks noGrp="1"/>
          </p:cNvSpPr>
          <p:nvPr>
            <p:ph type="sldNum" sz="quarter" idx="12"/>
          </p:nvPr>
        </p:nvSpPr>
        <p:spPr/>
        <p:txBody>
          <a:bodyPr/>
          <a:lstStyle/>
          <a:p>
            <a:pPr>
              <a:defRPr/>
            </a:pPr>
            <a:fld id="{4B01E8EF-57E8-4F85-90EB-163CEE512F88}" type="slidenum">
              <a:rPr lang="en-GB" noProof="0" smtClean="0"/>
              <a:pPr>
                <a:defRPr/>
              </a:pPr>
              <a:t>21</a:t>
            </a:fld>
            <a:endParaRPr lang="en-GB" noProof="0" dirty="0"/>
          </a:p>
        </p:txBody>
      </p:sp>
      <p:pic>
        <p:nvPicPr>
          <p:cNvPr id="39" name="Picture 38">
            <a:extLst>
              <a:ext uri="{FF2B5EF4-FFF2-40B4-BE49-F238E27FC236}">
                <a16:creationId xmlns:a16="http://schemas.microsoft.com/office/drawing/2014/main" id="{42A25D1F-46C4-4899-95D2-034FD0DF06ED}"/>
              </a:ext>
            </a:extLst>
          </p:cNvPr>
          <p:cNvPicPr>
            <a:picLocks noChangeAspect="1"/>
          </p:cNvPicPr>
          <p:nvPr/>
        </p:nvPicPr>
        <p:blipFill>
          <a:blip r:embed="rId4"/>
          <a:stretch>
            <a:fillRect/>
          </a:stretch>
        </p:blipFill>
        <p:spPr>
          <a:xfrm>
            <a:off x="10489406" y="6158146"/>
            <a:ext cx="1643513" cy="446606"/>
          </a:xfrm>
          <a:prstGeom prst="rect">
            <a:avLst/>
          </a:prstGeom>
        </p:spPr>
      </p:pic>
      <p:sp>
        <p:nvSpPr>
          <p:cNvPr id="14" name="Footer Placeholder 13">
            <a:extLst>
              <a:ext uri="{FF2B5EF4-FFF2-40B4-BE49-F238E27FC236}">
                <a16:creationId xmlns:a16="http://schemas.microsoft.com/office/drawing/2014/main" id="{709EE21D-4B38-4FCE-B365-6B026FFED4F6}"/>
              </a:ext>
            </a:extLst>
          </p:cNvPr>
          <p:cNvSpPr>
            <a:spLocks noGrp="1"/>
          </p:cNvSpPr>
          <p:nvPr>
            <p:ph type="ftr" sz="quarter" idx="11"/>
          </p:nvPr>
        </p:nvSpPr>
        <p:spPr/>
        <p:txBody>
          <a:bodyPr/>
          <a:lstStyle/>
          <a:p>
            <a:r>
              <a:rPr lang="en-GB"/>
              <a:t>Novo Nordisk company presentation</a:t>
            </a:r>
          </a:p>
        </p:txBody>
      </p:sp>
      <p:grpSp>
        <p:nvGrpSpPr>
          <p:cNvPr id="40" name="Group 39">
            <a:extLst>
              <a:ext uri="{FF2B5EF4-FFF2-40B4-BE49-F238E27FC236}">
                <a16:creationId xmlns:a16="http://schemas.microsoft.com/office/drawing/2014/main" id="{3488398F-AEEF-4672-A996-6A6CE88B8C33}"/>
              </a:ext>
            </a:extLst>
          </p:cNvPr>
          <p:cNvGrpSpPr/>
          <p:nvPr/>
        </p:nvGrpSpPr>
        <p:grpSpPr>
          <a:xfrm>
            <a:off x="4856481" y="2319096"/>
            <a:ext cx="2011680" cy="1607989"/>
            <a:chOff x="3642361" y="1410970"/>
            <a:chExt cx="1508760" cy="1205992"/>
          </a:xfrm>
        </p:grpSpPr>
        <p:pic>
          <p:nvPicPr>
            <p:cNvPr id="41" name="Picture 40">
              <a:extLst>
                <a:ext uri="{FF2B5EF4-FFF2-40B4-BE49-F238E27FC236}">
                  <a16:creationId xmlns:a16="http://schemas.microsoft.com/office/drawing/2014/main" id="{8F4A3BEC-9747-48B4-9C69-6844A75423B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04057" y="1422146"/>
              <a:ext cx="1133856" cy="1133856"/>
            </a:xfrm>
            <a:prstGeom prst="rect">
              <a:avLst/>
            </a:prstGeom>
          </p:spPr>
        </p:pic>
        <p:sp>
          <p:nvSpPr>
            <p:cNvPr id="42" name="Freeform: Shape 41">
              <a:extLst>
                <a:ext uri="{FF2B5EF4-FFF2-40B4-BE49-F238E27FC236}">
                  <a16:creationId xmlns:a16="http://schemas.microsoft.com/office/drawing/2014/main" id="{61E195DB-D925-49CA-B32C-2AD28A875224}"/>
                </a:ext>
              </a:extLst>
            </p:cNvPr>
            <p:cNvSpPr/>
            <p:nvPr/>
          </p:nvSpPr>
          <p:spPr>
            <a:xfrm>
              <a:off x="3992881" y="1410970"/>
              <a:ext cx="1158240" cy="1158240"/>
            </a:xfrm>
            <a:custGeom>
              <a:avLst/>
              <a:gdLst>
                <a:gd name="connsiteX0" fmla="*/ 579120 w 1158239"/>
                <a:gd name="connsiteY0" fmla="*/ 1158240 h 1158240"/>
                <a:gd name="connsiteX1" fmla="*/ 0 w 1158239"/>
                <a:gd name="connsiteY1" fmla="*/ 579120 h 1158240"/>
                <a:gd name="connsiteX2" fmla="*/ 579120 w 1158239"/>
                <a:gd name="connsiteY2" fmla="*/ 0 h 1158240"/>
                <a:gd name="connsiteX3" fmla="*/ 1158240 w 1158239"/>
                <a:gd name="connsiteY3" fmla="*/ 579120 h 1158240"/>
                <a:gd name="connsiteX4" fmla="*/ 579120 w 1158239"/>
                <a:gd name="connsiteY4" fmla="*/ 1158240 h 1158240"/>
                <a:gd name="connsiteX5" fmla="*/ 579120 w 1158239"/>
                <a:gd name="connsiteY5" fmla="*/ 22860 h 1158240"/>
                <a:gd name="connsiteX6" fmla="*/ 22860 w 1158239"/>
                <a:gd name="connsiteY6" fmla="*/ 579120 h 1158240"/>
                <a:gd name="connsiteX7" fmla="*/ 579120 w 1158239"/>
                <a:gd name="connsiteY7" fmla="*/ 1135380 h 1158240"/>
                <a:gd name="connsiteX8" fmla="*/ 1135380 w 1158239"/>
                <a:gd name="connsiteY8" fmla="*/ 579120 h 1158240"/>
                <a:gd name="connsiteX9" fmla="*/ 579120 w 1158239"/>
                <a:gd name="connsiteY9" fmla="*/ 22860 h 115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8239" h="1158240">
                  <a:moveTo>
                    <a:pt x="579120" y="1158240"/>
                  </a:moveTo>
                  <a:cubicBezTo>
                    <a:pt x="259588" y="1158240"/>
                    <a:pt x="0" y="898652"/>
                    <a:pt x="0" y="579120"/>
                  </a:cubicBezTo>
                  <a:cubicBezTo>
                    <a:pt x="0" y="259588"/>
                    <a:pt x="259588" y="0"/>
                    <a:pt x="579120" y="0"/>
                  </a:cubicBezTo>
                  <a:cubicBezTo>
                    <a:pt x="898652" y="0"/>
                    <a:pt x="1158240" y="259588"/>
                    <a:pt x="1158240" y="579120"/>
                  </a:cubicBezTo>
                  <a:cubicBezTo>
                    <a:pt x="1158240" y="898652"/>
                    <a:pt x="898652" y="1158240"/>
                    <a:pt x="579120" y="1158240"/>
                  </a:cubicBezTo>
                  <a:close/>
                  <a:moveTo>
                    <a:pt x="579120" y="22860"/>
                  </a:moveTo>
                  <a:cubicBezTo>
                    <a:pt x="272288" y="22860"/>
                    <a:pt x="22860" y="272288"/>
                    <a:pt x="22860" y="579120"/>
                  </a:cubicBezTo>
                  <a:cubicBezTo>
                    <a:pt x="22860" y="885952"/>
                    <a:pt x="272288" y="1135380"/>
                    <a:pt x="579120" y="1135380"/>
                  </a:cubicBezTo>
                  <a:cubicBezTo>
                    <a:pt x="885952" y="1135380"/>
                    <a:pt x="1135380" y="885952"/>
                    <a:pt x="1135380" y="579120"/>
                  </a:cubicBezTo>
                  <a:cubicBezTo>
                    <a:pt x="1135380" y="272288"/>
                    <a:pt x="885952" y="22860"/>
                    <a:pt x="579120" y="22860"/>
                  </a:cubicBezTo>
                  <a:close/>
                </a:path>
              </a:pathLst>
            </a:custGeom>
            <a:solidFill>
              <a:srgbClr val="939AA7"/>
            </a:solidFill>
            <a:ln w="5078" cap="flat">
              <a:noFill/>
              <a:prstDash val="solid"/>
              <a:miter/>
            </a:ln>
          </p:spPr>
          <p:txBody>
            <a:bodyPr rtlCol="0" anchor="ctr"/>
            <a:lstStyle/>
            <a:p>
              <a:endParaRPr lang="en-GB" sz="2400"/>
            </a:p>
          </p:txBody>
        </p:sp>
        <p:sp>
          <p:nvSpPr>
            <p:cNvPr id="43" name="Freeform: Shape 42">
              <a:extLst>
                <a:ext uri="{FF2B5EF4-FFF2-40B4-BE49-F238E27FC236}">
                  <a16:creationId xmlns:a16="http://schemas.microsoft.com/office/drawing/2014/main" id="{23262B31-4BEC-421D-9D60-AE537FB8D89A}"/>
                </a:ext>
              </a:extLst>
            </p:cNvPr>
            <p:cNvSpPr/>
            <p:nvPr/>
          </p:nvSpPr>
          <p:spPr>
            <a:xfrm>
              <a:off x="3642361" y="2068322"/>
              <a:ext cx="548640" cy="548640"/>
            </a:xfrm>
            <a:custGeom>
              <a:avLst/>
              <a:gdLst>
                <a:gd name="connsiteX0" fmla="*/ 548640 w 548639"/>
                <a:gd name="connsiteY0" fmla="*/ 274320 h 548640"/>
                <a:gd name="connsiteX1" fmla="*/ 274320 w 548639"/>
                <a:gd name="connsiteY1" fmla="*/ 548640 h 548640"/>
                <a:gd name="connsiteX2" fmla="*/ 0 w 548639"/>
                <a:gd name="connsiteY2" fmla="*/ 274320 h 548640"/>
                <a:gd name="connsiteX3" fmla="*/ 274320 w 548639"/>
                <a:gd name="connsiteY3" fmla="*/ 0 h 548640"/>
                <a:gd name="connsiteX4" fmla="*/ 548640 w 548639"/>
                <a:gd name="connsiteY4" fmla="*/ 27432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639" h="548640">
                  <a:moveTo>
                    <a:pt x="548640" y="274320"/>
                  </a:moveTo>
                  <a:cubicBezTo>
                    <a:pt x="548640" y="425704"/>
                    <a:pt x="425704" y="548640"/>
                    <a:pt x="274320" y="548640"/>
                  </a:cubicBezTo>
                  <a:cubicBezTo>
                    <a:pt x="122936" y="548640"/>
                    <a:pt x="0" y="425704"/>
                    <a:pt x="0" y="274320"/>
                  </a:cubicBezTo>
                  <a:cubicBezTo>
                    <a:pt x="0" y="122936"/>
                    <a:pt x="122936" y="0"/>
                    <a:pt x="274320" y="0"/>
                  </a:cubicBezTo>
                  <a:cubicBezTo>
                    <a:pt x="425704" y="0"/>
                    <a:pt x="548640" y="122936"/>
                    <a:pt x="548640" y="274320"/>
                  </a:cubicBezTo>
                </a:path>
              </a:pathLst>
            </a:custGeom>
            <a:solidFill>
              <a:srgbClr val="939AA7"/>
            </a:solidFill>
            <a:ln w="5078" cap="flat">
              <a:noFill/>
              <a:prstDash val="solid"/>
              <a:miter/>
            </a:ln>
          </p:spPr>
          <p:txBody>
            <a:bodyPr rtlCol="0" anchor="ctr"/>
            <a:lstStyle/>
            <a:p>
              <a:endParaRPr lang="en-GB" sz="2400"/>
            </a:p>
          </p:txBody>
        </p:sp>
        <p:sp>
          <p:nvSpPr>
            <p:cNvPr id="44" name="Freeform: Shape 43">
              <a:extLst>
                <a:ext uri="{FF2B5EF4-FFF2-40B4-BE49-F238E27FC236}">
                  <a16:creationId xmlns:a16="http://schemas.microsoft.com/office/drawing/2014/main" id="{7C88A7EB-53E1-4405-BE53-C2F8EADF85E0}"/>
                </a:ext>
              </a:extLst>
            </p:cNvPr>
            <p:cNvSpPr/>
            <p:nvPr/>
          </p:nvSpPr>
          <p:spPr>
            <a:xfrm>
              <a:off x="3765627" y="2137410"/>
              <a:ext cx="299720" cy="411480"/>
            </a:xfrm>
            <a:custGeom>
              <a:avLst/>
              <a:gdLst>
                <a:gd name="connsiteX0" fmla="*/ 270942 w 299719"/>
                <a:gd name="connsiteY0" fmla="*/ 410972 h 411480"/>
                <a:gd name="connsiteX1" fmla="*/ 261798 w 299719"/>
                <a:gd name="connsiteY1" fmla="*/ 401828 h 411480"/>
                <a:gd name="connsiteX2" fmla="*/ 261798 w 299719"/>
                <a:gd name="connsiteY2" fmla="*/ 321056 h 411480"/>
                <a:gd name="connsiteX3" fmla="*/ 283134 w 299719"/>
                <a:gd name="connsiteY3" fmla="*/ 321056 h 411480"/>
                <a:gd name="connsiteX4" fmla="*/ 283134 w 299719"/>
                <a:gd name="connsiteY4" fmla="*/ 247396 h 411480"/>
                <a:gd name="connsiteX5" fmla="*/ 223190 w 299719"/>
                <a:gd name="connsiteY5" fmla="*/ 247396 h 411480"/>
                <a:gd name="connsiteX6" fmla="*/ 223190 w 299719"/>
                <a:gd name="connsiteY6" fmla="*/ 321056 h 411480"/>
                <a:gd name="connsiteX7" fmla="*/ 244526 w 299719"/>
                <a:gd name="connsiteY7" fmla="*/ 321056 h 411480"/>
                <a:gd name="connsiteX8" fmla="*/ 244526 w 299719"/>
                <a:gd name="connsiteY8" fmla="*/ 401828 h 411480"/>
                <a:gd name="connsiteX9" fmla="*/ 235382 w 299719"/>
                <a:gd name="connsiteY9" fmla="*/ 410972 h 411480"/>
                <a:gd name="connsiteX10" fmla="*/ 226238 w 299719"/>
                <a:gd name="connsiteY10" fmla="*/ 401828 h 411480"/>
                <a:gd name="connsiteX11" fmla="*/ 226238 w 299719"/>
                <a:gd name="connsiteY11" fmla="*/ 339344 h 411480"/>
                <a:gd name="connsiteX12" fmla="*/ 221666 w 299719"/>
                <a:gd name="connsiteY12" fmla="*/ 339344 h 411480"/>
                <a:gd name="connsiteX13" fmla="*/ 204902 w 299719"/>
                <a:gd name="connsiteY13" fmla="*/ 324612 h 411480"/>
                <a:gd name="connsiteX14" fmla="*/ 204902 w 299719"/>
                <a:gd name="connsiteY14" fmla="*/ 243840 h 411480"/>
                <a:gd name="connsiteX15" fmla="*/ 221666 w 299719"/>
                <a:gd name="connsiteY15" fmla="*/ 229108 h 411480"/>
                <a:gd name="connsiteX16" fmla="*/ 284150 w 299719"/>
                <a:gd name="connsiteY16" fmla="*/ 229108 h 411480"/>
                <a:gd name="connsiteX17" fmla="*/ 300914 w 299719"/>
                <a:gd name="connsiteY17" fmla="*/ 243840 h 411480"/>
                <a:gd name="connsiteX18" fmla="*/ 300914 w 299719"/>
                <a:gd name="connsiteY18" fmla="*/ 324612 h 411480"/>
                <a:gd name="connsiteX19" fmla="*/ 284150 w 299719"/>
                <a:gd name="connsiteY19" fmla="*/ 339344 h 411480"/>
                <a:gd name="connsiteX20" fmla="*/ 279578 w 299719"/>
                <a:gd name="connsiteY20" fmla="*/ 339344 h 411480"/>
                <a:gd name="connsiteX21" fmla="*/ 279578 w 299719"/>
                <a:gd name="connsiteY21" fmla="*/ 401828 h 411480"/>
                <a:gd name="connsiteX22" fmla="*/ 270942 w 299719"/>
                <a:gd name="connsiteY22" fmla="*/ 410972 h 411480"/>
                <a:gd name="connsiteX23" fmla="*/ 106858 w 299719"/>
                <a:gd name="connsiteY23" fmla="*/ 410972 h 411480"/>
                <a:gd name="connsiteX24" fmla="*/ 97714 w 299719"/>
                <a:gd name="connsiteY24" fmla="*/ 401828 h 411480"/>
                <a:gd name="connsiteX25" fmla="*/ 97714 w 299719"/>
                <a:gd name="connsiteY25" fmla="*/ 273812 h 411480"/>
                <a:gd name="connsiteX26" fmla="*/ 156134 w 299719"/>
                <a:gd name="connsiteY26" fmla="*/ 273812 h 411480"/>
                <a:gd name="connsiteX27" fmla="*/ 110922 w 299719"/>
                <a:gd name="connsiteY27" fmla="*/ 120904 h 411480"/>
                <a:gd name="connsiteX28" fmla="*/ 62662 w 299719"/>
                <a:gd name="connsiteY28" fmla="*/ 120904 h 411480"/>
                <a:gd name="connsiteX29" fmla="*/ 18466 w 299719"/>
                <a:gd name="connsiteY29" fmla="*/ 274828 h 411480"/>
                <a:gd name="connsiteX30" fmla="*/ 79934 w 299719"/>
                <a:gd name="connsiteY30" fmla="*/ 274320 h 411480"/>
                <a:gd name="connsiteX31" fmla="*/ 79934 w 299719"/>
                <a:gd name="connsiteY31" fmla="*/ 402336 h 411480"/>
                <a:gd name="connsiteX32" fmla="*/ 70790 w 299719"/>
                <a:gd name="connsiteY32" fmla="*/ 411480 h 411480"/>
                <a:gd name="connsiteX33" fmla="*/ 61646 w 299719"/>
                <a:gd name="connsiteY33" fmla="*/ 402336 h 411480"/>
                <a:gd name="connsiteX34" fmla="*/ 61646 w 299719"/>
                <a:gd name="connsiteY34" fmla="*/ 292100 h 411480"/>
                <a:gd name="connsiteX35" fmla="*/ 18974 w 299719"/>
                <a:gd name="connsiteY35" fmla="*/ 292100 h 411480"/>
                <a:gd name="connsiteX36" fmla="*/ 3734 w 299719"/>
                <a:gd name="connsiteY36" fmla="*/ 284480 h 411480"/>
                <a:gd name="connsiteX37" fmla="*/ 686 w 299719"/>
                <a:gd name="connsiteY37" fmla="*/ 269240 h 411480"/>
                <a:gd name="connsiteX38" fmla="*/ 44374 w 299719"/>
                <a:gd name="connsiteY38" fmla="*/ 115316 h 411480"/>
                <a:gd name="connsiteX39" fmla="*/ 62662 w 299719"/>
                <a:gd name="connsiteY39" fmla="*/ 102108 h 411480"/>
                <a:gd name="connsiteX40" fmla="*/ 110414 w 299719"/>
                <a:gd name="connsiteY40" fmla="*/ 102108 h 411480"/>
                <a:gd name="connsiteX41" fmla="*/ 128702 w 299719"/>
                <a:gd name="connsiteY41" fmla="*/ 115316 h 411480"/>
                <a:gd name="connsiteX42" fmla="*/ 174422 w 299719"/>
                <a:gd name="connsiteY42" fmla="*/ 268732 h 411480"/>
                <a:gd name="connsiteX43" fmla="*/ 171882 w 299719"/>
                <a:gd name="connsiteY43" fmla="*/ 283972 h 411480"/>
                <a:gd name="connsiteX44" fmla="*/ 156642 w 299719"/>
                <a:gd name="connsiteY44" fmla="*/ 291592 h 411480"/>
                <a:gd name="connsiteX45" fmla="*/ 116510 w 299719"/>
                <a:gd name="connsiteY45" fmla="*/ 291592 h 411480"/>
                <a:gd name="connsiteX46" fmla="*/ 116510 w 299719"/>
                <a:gd name="connsiteY46" fmla="*/ 401320 h 411480"/>
                <a:gd name="connsiteX47" fmla="*/ 106858 w 299719"/>
                <a:gd name="connsiteY47" fmla="*/ 410972 h 411480"/>
                <a:gd name="connsiteX48" fmla="*/ 253162 w 299719"/>
                <a:gd name="connsiteY48" fmla="*/ 215392 h 411480"/>
                <a:gd name="connsiteX49" fmla="*/ 216586 w 299719"/>
                <a:gd name="connsiteY49" fmla="*/ 178816 h 411480"/>
                <a:gd name="connsiteX50" fmla="*/ 253162 w 299719"/>
                <a:gd name="connsiteY50" fmla="*/ 142240 h 411480"/>
                <a:gd name="connsiteX51" fmla="*/ 289738 w 299719"/>
                <a:gd name="connsiteY51" fmla="*/ 178816 h 411480"/>
                <a:gd name="connsiteX52" fmla="*/ 253162 w 299719"/>
                <a:gd name="connsiteY52" fmla="*/ 215392 h 411480"/>
                <a:gd name="connsiteX53" fmla="*/ 253162 w 299719"/>
                <a:gd name="connsiteY53" fmla="*/ 160528 h 411480"/>
                <a:gd name="connsiteX54" fmla="*/ 234874 w 299719"/>
                <a:gd name="connsiteY54" fmla="*/ 178816 h 411480"/>
                <a:gd name="connsiteX55" fmla="*/ 253162 w 299719"/>
                <a:gd name="connsiteY55" fmla="*/ 197104 h 411480"/>
                <a:gd name="connsiteX56" fmla="*/ 271450 w 299719"/>
                <a:gd name="connsiteY56" fmla="*/ 178816 h 411480"/>
                <a:gd name="connsiteX57" fmla="*/ 253162 w 299719"/>
                <a:gd name="connsiteY57" fmla="*/ 160528 h 411480"/>
                <a:gd name="connsiteX58" fmla="*/ 88062 w 299719"/>
                <a:gd name="connsiteY58" fmla="*/ 80264 h 411480"/>
                <a:gd name="connsiteX59" fmla="*/ 47930 w 299719"/>
                <a:gd name="connsiteY59" fmla="*/ 40132 h 411480"/>
                <a:gd name="connsiteX60" fmla="*/ 88062 w 299719"/>
                <a:gd name="connsiteY60" fmla="*/ 0 h 411480"/>
                <a:gd name="connsiteX61" fmla="*/ 128194 w 299719"/>
                <a:gd name="connsiteY61" fmla="*/ 40132 h 411480"/>
                <a:gd name="connsiteX62" fmla="*/ 88062 w 299719"/>
                <a:gd name="connsiteY62" fmla="*/ 80264 h 411480"/>
                <a:gd name="connsiteX63" fmla="*/ 88062 w 299719"/>
                <a:gd name="connsiteY63" fmla="*/ 17780 h 411480"/>
                <a:gd name="connsiteX64" fmla="*/ 66218 w 299719"/>
                <a:gd name="connsiteY64" fmla="*/ 39624 h 411480"/>
                <a:gd name="connsiteX65" fmla="*/ 88062 w 299719"/>
                <a:gd name="connsiteY65" fmla="*/ 61468 h 411480"/>
                <a:gd name="connsiteX66" fmla="*/ 109906 w 299719"/>
                <a:gd name="connsiteY66" fmla="*/ 39624 h 411480"/>
                <a:gd name="connsiteX67" fmla="*/ 88062 w 299719"/>
                <a:gd name="connsiteY67" fmla="*/ 17780 h 41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99719" h="411480">
                  <a:moveTo>
                    <a:pt x="270942" y="410972"/>
                  </a:moveTo>
                  <a:cubicBezTo>
                    <a:pt x="265862" y="410972"/>
                    <a:pt x="261798" y="406908"/>
                    <a:pt x="261798" y="401828"/>
                  </a:cubicBezTo>
                  <a:lnTo>
                    <a:pt x="261798" y="321056"/>
                  </a:lnTo>
                  <a:lnTo>
                    <a:pt x="283134" y="321056"/>
                  </a:lnTo>
                  <a:lnTo>
                    <a:pt x="283134" y="247396"/>
                  </a:lnTo>
                  <a:lnTo>
                    <a:pt x="223190" y="247396"/>
                  </a:lnTo>
                  <a:lnTo>
                    <a:pt x="223190" y="321056"/>
                  </a:lnTo>
                  <a:lnTo>
                    <a:pt x="244526" y="321056"/>
                  </a:lnTo>
                  <a:lnTo>
                    <a:pt x="244526" y="401828"/>
                  </a:lnTo>
                  <a:cubicBezTo>
                    <a:pt x="244526" y="406908"/>
                    <a:pt x="240462" y="410972"/>
                    <a:pt x="235382" y="410972"/>
                  </a:cubicBezTo>
                  <a:cubicBezTo>
                    <a:pt x="230302" y="410972"/>
                    <a:pt x="226238" y="406908"/>
                    <a:pt x="226238" y="401828"/>
                  </a:cubicBezTo>
                  <a:lnTo>
                    <a:pt x="226238" y="339344"/>
                  </a:lnTo>
                  <a:lnTo>
                    <a:pt x="221666" y="339344"/>
                  </a:lnTo>
                  <a:cubicBezTo>
                    <a:pt x="212014" y="339344"/>
                    <a:pt x="204902" y="332740"/>
                    <a:pt x="204902" y="324612"/>
                  </a:cubicBezTo>
                  <a:lnTo>
                    <a:pt x="204902" y="243840"/>
                  </a:lnTo>
                  <a:cubicBezTo>
                    <a:pt x="204902" y="235712"/>
                    <a:pt x="212522" y="229108"/>
                    <a:pt x="221666" y="229108"/>
                  </a:cubicBezTo>
                  <a:lnTo>
                    <a:pt x="284150" y="229108"/>
                  </a:lnTo>
                  <a:cubicBezTo>
                    <a:pt x="293802" y="229108"/>
                    <a:pt x="300914" y="235712"/>
                    <a:pt x="300914" y="243840"/>
                  </a:cubicBezTo>
                  <a:lnTo>
                    <a:pt x="300914" y="324612"/>
                  </a:lnTo>
                  <a:cubicBezTo>
                    <a:pt x="300914" y="332740"/>
                    <a:pt x="293294" y="339344"/>
                    <a:pt x="284150" y="339344"/>
                  </a:cubicBezTo>
                  <a:lnTo>
                    <a:pt x="279578" y="339344"/>
                  </a:lnTo>
                  <a:lnTo>
                    <a:pt x="279578" y="401828"/>
                  </a:lnTo>
                  <a:cubicBezTo>
                    <a:pt x="280086" y="406908"/>
                    <a:pt x="275514" y="410972"/>
                    <a:pt x="270942" y="410972"/>
                  </a:cubicBezTo>
                  <a:close/>
                  <a:moveTo>
                    <a:pt x="106858" y="410972"/>
                  </a:moveTo>
                  <a:cubicBezTo>
                    <a:pt x="101778" y="410972"/>
                    <a:pt x="97714" y="406908"/>
                    <a:pt x="97714" y="401828"/>
                  </a:cubicBezTo>
                  <a:lnTo>
                    <a:pt x="97714" y="273812"/>
                  </a:lnTo>
                  <a:lnTo>
                    <a:pt x="156134" y="273812"/>
                  </a:lnTo>
                  <a:lnTo>
                    <a:pt x="110922" y="120904"/>
                  </a:lnTo>
                  <a:lnTo>
                    <a:pt x="62662" y="120904"/>
                  </a:lnTo>
                  <a:lnTo>
                    <a:pt x="18466" y="274828"/>
                  </a:lnTo>
                  <a:lnTo>
                    <a:pt x="79934" y="274320"/>
                  </a:lnTo>
                  <a:lnTo>
                    <a:pt x="79934" y="402336"/>
                  </a:lnTo>
                  <a:cubicBezTo>
                    <a:pt x="79934" y="407416"/>
                    <a:pt x="75870" y="411480"/>
                    <a:pt x="70790" y="411480"/>
                  </a:cubicBezTo>
                  <a:cubicBezTo>
                    <a:pt x="65710" y="411480"/>
                    <a:pt x="61646" y="407416"/>
                    <a:pt x="61646" y="402336"/>
                  </a:cubicBezTo>
                  <a:lnTo>
                    <a:pt x="61646" y="292100"/>
                  </a:lnTo>
                  <a:lnTo>
                    <a:pt x="18974" y="292100"/>
                  </a:lnTo>
                  <a:cubicBezTo>
                    <a:pt x="12878" y="292100"/>
                    <a:pt x="7290" y="289560"/>
                    <a:pt x="3734" y="284480"/>
                  </a:cubicBezTo>
                  <a:cubicBezTo>
                    <a:pt x="178" y="279908"/>
                    <a:pt x="-838" y="274320"/>
                    <a:pt x="686" y="269240"/>
                  </a:cubicBezTo>
                  <a:lnTo>
                    <a:pt x="44374" y="115316"/>
                  </a:lnTo>
                  <a:cubicBezTo>
                    <a:pt x="46406" y="107696"/>
                    <a:pt x="54026" y="102108"/>
                    <a:pt x="62662" y="102108"/>
                  </a:cubicBezTo>
                  <a:lnTo>
                    <a:pt x="110414" y="102108"/>
                  </a:lnTo>
                  <a:cubicBezTo>
                    <a:pt x="118542" y="102108"/>
                    <a:pt x="126162" y="107696"/>
                    <a:pt x="128702" y="115316"/>
                  </a:cubicBezTo>
                  <a:lnTo>
                    <a:pt x="174422" y="268732"/>
                  </a:lnTo>
                  <a:cubicBezTo>
                    <a:pt x="175946" y="273812"/>
                    <a:pt x="174930" y="279908"/>
                    <a:pt x="171882" y="283972"/>
                  </a:cubicBezTo>
                  <a:cubicBezTo>
                    <a:pt x="168326" y="288544"/>
                    <a:pt x="162738" y="291592"/>
                    <a:pt x="156642" y="291592"/>
                  </a:cubicBezTo>
                  <a:lnTo>
                    <a:pt x="116510" y="291592"/>
                  </a:lnTo>
                  <a:lnTo>
                    <a:pt x="116510" y="401320"/>
                  </a:lnTo>
                  <a:cubicBezTo>
                    <a:pt x="116002" y="406908"/>
                    <a:pt x="111938" y="410972"/>
                    <a:pt x="106858" y="410972"/>
                  </a:cubicBezTo>
                  <a:close/>
                  <a:moveTo>
                    <a:pt x="253162" y="215392"/>
                  </a:moveTo>
                  <a:cubicBezTo>
                    <a:pt x="232842" y="215392"/>
                    <a:pt x="216586" y="199136"/>
                    <a:pt x="216586" y="178816"/>
                  </a:cubicBezTo>
                  <a:cubicBezTo>
                    <a:pt x="216586" y="158496"/>
                    <a:pt x="232842" y="142240"/>
                    <a:pt x="253162" y="142240"/>
                  </a:cubicBezTo>
                  <a:cubicBezTo>
                    <a:pt x="273482" y="142240"/>
                    <a:pt x="289738" y="158496"/>
                    <a:pt x="289738" y="178816"/>
                  </a:cubicBezTo>
                  <a:cubicBezTo>
                    <a:pt x="289738" y="199136"/>
                    <a:pt x="273482" y="215392"/>
                    <a:pt x="253162" y="215392"/>
                  </a:cubicBezTo>
                  <a:close/>
                  <a:moveTo>
                    <a:pt x="253162" y="160528"/>
                  </a:moveTo>
                  <a:cubicBezTo>
                    <a:pt x="243002" y="160528"/>
                    <a:pt x="234874" y="168656"/>
                    <a:pt x="234874" y="178816"/>
                  </a:cubicBezTo>
                  <a:cubicBezTo>
                    <a:pt x="234874" y="188976"/>
                    <a:pt x="243002" y="197104"/>
                    <a:pt x="253162" y="197104"/>
                  </a:cubicBezTo>
                  <a:cubicBezTo>
                    <a:pt x="263322" y="197104"/>
                    <a:pt x="271450" y="188976"/>
                    <a:pt x="271450" y="178816"/>
                  </a:cubicBezTo>
                  <a:cubicBezTo>
                    <a:pt x="271450" y="168656"/>
                    <a:pt x="263322" y="160528"/>
                    <a:pt x="253162" y="160528"/>
                  </a:cubicBezTo>
                  <a:close/>
                  <a:moveTo>
                    <a:pt x="88062" y="80264"/>
                  </a:moveTo>
                  <a:cubicBezTo>
                    <a:pt x="65710" y="80264"/>
                    <a:pt x="47930" y="61976"/>
                    <a:pt x="47930" y="40132"/>
                  </a:cubicBezTo>
                  <a:cubicBezTo>
                    <a:pt x="47930" y="17780"/>
                    <a:pt x="66218" y="0"/>
                    <a:pt x="88062" y="0"/>
                  </a:cubicBezTo>
                  <a:cubicBezTo>
                    <a:pt x="110414" y="0"/>
                    <a:pt x="128194" y="18288"/>
                    <a:pt x="128194" y="40132"/>
                  </a:cubicBezTo>
                  <a:cubicBezTo>
                    <a:pt x="128194" y="62484"/>
                    <a:pt x="109906" y="80264"/>
                    <a:pt x="88062" y="80264"/>
                  </a:cubicBezTo>
                  <a:close/>
                  <a:moveTo>
                    <a:pt x="88062" y="17780"/>
                  </a:moveTo>
                  <a:cubicBezTo>
                    <a:pt x="75870" y="17780"/>
                    <a:pt x="66218" y="27432"/>
                    <a:pt x="66218" y="39624"/>
                  </a:cubicBezTo>
                  <a:cubicBezTo>
                    <a:pt x="66218" y="51816"/>
                    <a:pt x="75870" y="61468"/>
                    <a:pt x="88062" y="61468"/>
                  </a:cubicBezTo>
                  <a:cubicBezTo>
                    <a:pt x="100254" y="61468"/>
                    <a:pt x="109906" y="51816"/>
                    <a:pt x="109906" y="39624"/>
                  </a:cubicBezTo>
                  <a:cubicBezTo>
                    <a:pt x="109906" y="27940"/>
                    <a:pt x="99746" y="17780"/>
                    <a:pt x="88062" y="17780"/>
                  </a:cubicBezTo>
                  <a:close/>
                </a:path>
              </a:pathLst>
            </a:custGeom>
            <a:solidFill>
              <a:srgbClr val="FFFFFF"/>
            </a:solidFill>
            <a:ln w="5078" cap="flat">
              <a:noFill/>
              <a:prstDash val="solid"/>
              <a:miter/>
            </a:ln>
          </p:spPr>
          <p:txBody>
            <a:bodyPr rtlCol="0" anchor="ctr"/>
            <a:lstStyle/>
            <a:p>
              <a:endParaRPr lang="en-GB" sz="2400"/>
            </a:p>
          </p:txBody>
        </p:sp>
      </p:grpSp>
      <p:pic>
        <p:nvPicPr>
          <p:cNvPr id="45" name="Picture 44">
            <a:extLst>
              <a:ext uri="{FF2B5EF4-FFF2-40B4-BE49-F238E27FC236}">
                <a16:creationId xmlns:a16="http://schemas.microsoft.com/office/drawing/2014/main" id="{D0B7ED09-288B-4CC5-B922-AC710F0BC2A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33844" y="2333997"/>
            <a:ext cx="1511808" cy="1511808"/>
          </a:xfrm>
          <a:prstGeom prst="rect">
            <a:avLst/>
          </a:prstGeom>
        </p:spPr>
      </p:pic>
      <p:sp>
        <p:nvSpPr>
          <p:cNvPr id="46" name="Freeform: Shape 45">
            <a:extLst>
              <a:ext uri="{FF2B5EF4-FFF2-40B4-BE49-F238E27FC236}">
                <a16:creationId xmlns:a16="http://schemas.microsoft.com/office/drawing/2014/main" id="{DD322703-3467-4A1A-90ED-9833EC17A0F4}"/>
              </a:ext>
            </a:extLst>
          </p:cNvPr>
          <p:cNvSpPr/>
          <p:nvPr/>
        </p:nvSpPr>
        <p:spPr>
          <a:xfrm>
            <a:off x="1818943" y="2319096"/>
            <a:ext cx="1544320" cy="1544320"/>
          </a:xfrm>
          <a:custGeom>
            <a:avLst/>
            <a:gdLst>
              <a:gd name="connsiteX0" fmla="*/ 579120 w 1158239"/>
              <a:gd name="connsiteY0" fmla="*/ 1158240 h 1158240"/>
              <a:gd name="connsiteX1" fmla="*/ 0 w 1158239"/>
              <a:gd name="connsiteY1" fmla="*/ 579120 h 1158240"/>
              <a:gd name="connsiteX2" fmla="*/ 579120 w 1158239"/>
              <a:gd name="connsiteY2" fmla="*/ 0 h 1158240"/>
              <a:gd name="connsiteX3" fmla="*/ 1158240 w 1158239"/>
              <a:gd name="connsiteY3" fmla="*/ 579120 h 1158240"/>
              <a:gd name="connsiteX4" fmla="*/ 579120 w 1158239"/>
              <a:gd name="connsiteY4" fmla="*/ 1158240 h 1158240"/>
              <a:gd name="connsiteX5" fmla="*/ 579120 w 1158239"/>
              <a:gd name="connsiteY5" fmla="*/ 22860 h 1158240"/>
              <a:gd name="connsiteX6" fmla="*/ 22860 w 1158239"/>
              <a:gd name="connsiteY6" fmla="*/ 579120 h 1158240"/>
              <a:gd name="connsiteX7" fmla="*/ 579120 w 1158239"/>
              <a:gd name="connsiteY7" fmla="*/ 1135380 h 1158240"/>
              <a:gd name="connsiteX8" fmla="*/ 1135380 w 1158239"/>
              <a:gd name="connsiteY8" fmla="*/ 579120 h 1158240"/>
              <a:gd name="connsiteX9" fmla="*/ 579120 w 1158239"/>
              <a:gd name="connsiteY9" fmla="*/ 22860 h 115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8239" h="1158240">
                <a:moveTo>
                  <a:pt x="579120" y="1158240"/>
                </a:moveTo>
                <a:cubicBezTo>
                  <a:pt x="259588" y="1158240"/>
                  <a:pt x="0" y="898652"/>
                  <a:pt x="0" y="579120"/>
                </a:cubicBezTo>
                <a:cubicBezTo>
                  <a:pt x="0" y="259588"/>
                  <a:pt x="259588" y="0"/>
                  <a:pt x="579120" y="0"/>
                </a:cubicBezTo>
                <a:cubicBezTo>
                  <a:pt x="898652" y="0"/>
                  <a:pt x="1158240" y="259588"/>
                  <a:pt x="1158240" y="579120"/>
                </a:cubicBezTo>
                <a:cubicBezTo>
                  <a:pt x="1158240" y="898652"/>
                  <a:pt x="898652" y="1158240"/>
                  <a:pt x="579120" y="1158240"/>
                </a:cubicBezTo>
                <a:close/>
                <a:moveTo>
                  <a:pt x="579120" y="22860"/>
                </a:moveTo>
                <a:cubicBezTo>
                  <a:pt x="272288" y="22860"/>
                  <a:pt x="22860" y="272288"/>
                  <a:pt x="22860" y="579120"/>
                </a:cubicBezTo>
                <a:cubicBezTo>
                  <a:pt x="22860" y="885952"/>
                  <a:pt x="272288" y="1135380"/>
                  <a:pt x="579120" y="1135380"/>
                </a:cubicBezTo>
                <a:cubicBezTo>
                  <a:pt x="885952" y="1135380"/>
                  <a:pt x="1135380" y="885952"/>
                  <a:pt x="1135380" y="579120"/>
                </a:cubicBezTo>
                <a:cubicBezTo>
                  <a:pt x="1135380" y="272288"/>
                  <a:pt x="885952" y="22860"/>
                  <a:pt x="579120" y="22860"/>
                </a:cubicBezTo>
                <a:close/>
              </a:path>
            </a:pathLst>
          </a:custGeom>
          <a:solidFill>
            <a:srgbClr val="3B97DE"/>
          </a:solidFill>
          <a:ln w="5078" cap="flat">
            <a:noFill/>
            <a:prstDash val="solid"/>
            <a:miter/>
          </a:ln>
        </p:spPr>
        <p:txBody>
          <a:bodyPr rtlCol="0" anchor="ctr"/>
          <a:lstStyle/>
          <a:p>
            <a:endParaRPr lang="en-GB" sz="2400" dirty="0"/>
          </a:p>
        </p:txBody>
      </p:sp>
      <p:sp>
        <p:nvSpPr>
          <p:cNvPr id="47" name="Freeform: Shape 46">
            <a:extLst>
              <a:ext uri="{FF2B5EF4-FFF2-40B4-BE49-F238E27FC236}">
                <a16:creationId xmlns:a16="http://schemas.microsoft.com/office/drawing/2014/main" id="{8C1C1D79-0642-493A-B52A-50B67D60D747}"/>
              </a:ext>
            </a:extLst>
          </p:cNvPr>
          <p:cNvSpPr/>
          <p:nvPr/>
        </p:nvSpPr>
        <p:spPr>
          <a:xfrm>
            <a:off x="1351583" y="3195565"/>
            <a:ext cx="731520" cy="731520"/>
          </a:xfrm>
          <a:custGeom>
            <a:avLst/>
            <a:gdLst>
              <a:gd name="connsiteX0" fmla="*/ 548640 w 548639"/>
              <a:gd name="connsiteY0" fmla="*/ 274320 h 548640"/>
              <a:gd name="connsiteX1" fmla="*/ 274320 w 548639"/>
              <a:gd name="connsiteY1" fmla="*/ 548640 h 548640"/>
              <a:gd name="connsiteX2" fmla="*/ 0 w 548639"/>
              <a:gd name="connsiteY2" fmla="*/ 274320 h 548640"/>
              <a:gd name="connsiteX3" fmla="*/ 274320 w 548639"/>
              <a:gd name="connsiteY3" fmla="*/ 0 h 548640"/>
              <a:gd name="connsiteX4" fmla="*/ 548640 w 548639"/>
              <a:gd name="connsiteY4" fmla="*/ 27432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639" h="548640">
                <a:moveTo>
                  <a:pt x="548640" y="274320"/>
                </a:moveTo>
                <a:cubicBezTo>
                  <a:pt x="548640" y="425704"/>
                  <a:pt x="425704" y="548640"/>
                  <a:pt x="274320" y="548640"/>
                </a:cubicBezTo>
                <a:cubicBezTo>
                  <a:pt x="122936" y="548640"/>
                  <a:pt x="0" y="425704"/>
                  <a:pt x="0" y="274320"/>
                </a:cubicBezTo>
                <a:cubicBezTo>
                  <a:pt x="0" y="122936"/>
                  <a:pt x="122936" y="0"/>
                  <a:pt x="274320" y="0"/>
                </a:cubicBezTo>
                <a:cubicBezTo>
                  <a:pt x="425704" y="0"/>
                  <a:pt x="548640" y="122936"/>
                  <a:pt x="548640" y="274320"/>
                </a:cubicBezTo>
              </a:path>
            </a:pathLst>
          </a:custGeom>
          <a:solidFill>
            <a:srgbClr val="3B97DE"/>
          </a:solidFill>
          <a:ln w="5078" cap="flat">
            <a:noFill/>
            <a:prstDash val="solid"/>
            <a:miter/>
          </a:ln>
        </p:spPr>
        <p:txBody>
          <a:bodyPr rtlCol="0" anchor="ctr"/>
          <a:lstStyle/>
          <a:p>
            <a:endParaRPr lang="en-GB" sz="2400"/>
          </a:p>
        </p:txBody>
      </p:sp>
      <p:sp>
        <p:nvSpPr>
          <p:cNvPr id="48" name="Freeform: Shape 47">
            <a:extLst>
              <a:ext uri="{FF2B5EF4-FFF2-40B4-BE49-F238E27FC236}">
                <a16:creationId xmlns:a16="http://schemas.microsoft.com/office/drawing/2014/main" id="{9638AF0A-1357-4C8E-8B96-41C970D63868}"/>
              </a:ext>
            </a:extLst>
          </p:cNvPr>
          <p:cNvSpPr/>
          <p:nvPr/>
        </p:nvSpPr>
        <p:spPr>
          <a:xfrm>
            <a:off x="1436249" y="3337805"/>
            <a:ext cx="562187" cy="447040"/>
          </a:xfrm>
          <a:custGeom>
            <a:avLst/>
            <a:gdLst>
              <a:gd name="connsiteX0" fmla="*/ 237744 w 421639"/>
              <a:gd name="connsiteY0" fmla="*/ 335280 h 335280"/>
              <a:gd name="connsiteX1" fmla="*/ 208788 w 421639"/>
              <a:gd name="connsiteY1" fmla="*/ 331216 h 335280"/>
              <a:gd name="connsiteX2" fmla="*/ 161544 w 421639"/>
              <a:gd name="connsiteY2" fmla="*/ 317500 h 335280"/>
              <a:gd name="connsiteX3" fmla="*/ 41148 w 421639"/>
              <a:gd name="connsiteY3" fmla="*/ 300736 h 335280"/>
              <a:gd name="connsiteX4" fmla="*/ 9144 w 421639"/>
              <a:gd name="connsiteY4" fmla="*/ 300736 h 335280"/>
              <a:gd name="connsiteX5" fmla="*/ 0 w 421639"/>
              <a:gd name="connsiteY5" fmla="*/ 291592 h 335280"/>
              <a:gd name="connsiteX6" fmla="*/ 9144 w 421639"/>
              <a:gd name="connsiteY6" fmla="*/ 282448 h 335280"/>
              <a:gd name="connsiteX7" fmla="*/ 41148 w 421639"/>
              <a:gd name="connsiteY7" fmla="*/ 282448 h 335280"/>
              <a:gd name="connsiteX8" fmla="*/ 166624 w 421639"/>
              <a:gd name="connsiteY8" fmla="*/ 299720 h 335280"/>
              <a:gd name="connsiteX9" fmla="*/ 213868 w 421639"/>
              <a:gd name="connsiteY9" fmla="*/ 313436 h 335280"/>
              <a:gd name="connsiteX10" fmla="*/ 283972 w 421639"/>
              <a:gd name="connsiteY10" fmla="*/ 303784 h 335280"/>
              <a:gd name="connsiteX11" fmla="*/ 399288 w 421639"/>
              <a:gd name="connsiteY11" fmla="*/ 233172 h 335280"/>
              <a:gd name="connsiteX12" fmla="*/ 404368 w 421639"/>
              <a:gd name="connsiteY12" fmla="*/ 224536 h 335280"/>
              <a:gd name="connsiteX13" fmla="*/ 400812 w 421639"/>
              <a:gd name="connsiteY13" fmla="*/ 215392 h 335280"/>
              <a:gd name="connsiteX14" fmla="*/ 388112 w 421639"/>
              <a:gd name="connsiteY14" fmla="*/ 214376 h 335280"/>
              <a:gd name="connsiteX15" fmla="*/ 283972 w 421639"/>
              <a:gd name="connsiteY15" fmla="*/ 264668 h 335280"/>
              <a:gd name="connsiteX16" fmla="*/ 260096 w 421639"/>
              <a:gd name="connsiteY16" fmla="*/ 269748 h 335280"/>
              <a:gd name="connsiteX17" fmla="*/ 188976 w 421639"/>
              <a:gd name="connsiteY17" fmla="*/ 254508 h 335280"/>
              <a:gd name="connsiteX18" fmla="*/ 181864 w 421639"/>
              <a:gd name="connsiteY18" fmla="*/ 243840 h 335280"/>
              <a:gd name="connsiteX19" fmla="*/ 192532 w 421639"/>
              <a:gd name="connsiteY19" fmla="*/ 236728 h 335280"/>
              <a:gd name="connsiteX20" fmla="*/ 263652 w 421639"/>
              <a:gd name="connsiteY20" fmla="*/ 251968 h 335280"/>
              <a:gd name="connsiteX21" fmla="*/ 277876 w 421639"/>
              <a:gd name="connsiteY21" fmla="*/ 242824 h 335280"/>
              <a:gd name="connsiteX22" fmla="*/ 270256 w 421639"/>
              <a:gd name="connsiteY22" fmla="*/ 228600 h 335280"/>
              <a:gd name="connsiteX23" fmla="*/ 209296 w 421639"/>
              <a:gd name="connsiteY23" fmla="*/ 213868 h 335280"/>
              <a:gd name="connsiteX24" fmla="*/ 207772 w 421639"/>
              <a:gd name="connsiteY24" fmla="*/ 213360 h 335280"/>
              <a:gd name="connsiteX25" fmla="*/ 206248 w 421639"/>
              <a:gd name="connsiteY25" fmla="*/ 212344 h 335280"/>
              <a:gd name="connsiteX26" fmla="*/ 103632 w 421639"/>
              <a:gd name="connsiteY26" fmla="*/ 197104 h 335280"/>
              <a:gd name="connsiteX27" fmla="*/ 53848 w 421639"/>
              <a:gd name="connsiteY27" fmla="*/ 208788 h 335280"/>
              <a:gd name="connsiteX28" fmla="*/ 9652 w 421639"/>
              <a:gd name="connsiteY28" fmla="*/ 208788 h 335280"/>
              <a:gd name="connsiteX29" fmla="*/ 508 w 421639"/>
              <a:gd name="connsiteY29" fmla="*/ 199644 h 335280"/>
              <a:gd name="connsiteX30" fmla="*/ 9652 w 421639"/>
              <a:gd name="connsiteY30" fmla="*/ 190500 h 335280"/>
              <a:gd name="connsiteX31" fmla="*/ 9652 w 421639"/>
              <a:gd name="connsiteY31" fmla="*/ 190500 h 335280"/>
              <a:gd name="connsiteX32" fmla="*/ 54356 w 421639"/>
              <a:gd name="connsiteY32" fmla="*/ 190500 h 335280"/>
              <a:gd name="connsiteX33" fmla="*/ 97536 w 421639"/>
              <a:gd name="connsiteY33" fmla="*/ 180340 h 335280"/>
              <a:gd name="connsiteX34" fmla="*/ 215392 w 421639"/>
              <a:gd name="connsiteY34" fmla="*/ 196088 h 335280"/>
              <a:gd name="connsiteX35" fmla="*/ 275844 w 421639"/>
              <a:gd name="connsiteY35" fmla="*/ 210820 h 335280"/>
              <a:gd name="connsiteX36" fmla="*/ 297180 w 421639"/>
              <a:gd name="connsiteY36" fmla="*/ 237744 h 335280"/>
              <a:gd name="connsiteX37" fmla="*/ 379984 w 421639"/>
              <a:gd name="connsiteY37" fmla="*/ 198120 h 335280"/>
              <a:gd name="connsiteX38" fmla="*/ 413004 w 421639"/>
              <a:gd name="connsiteY38" fmla="*/ 201676 h 335280"/>
              <a:gd name="connsiteX39" fmla="*/ 423164 w 421639"/>
              <a:gd name="connsiteY39" fmla="*/ 226060 h 335280"/>
              <a:gd name="connsiteX40" fmla="*/ 409448 w 421639"/>
              <a:gd name="connsiteY40" fmla="*/ 248412 h 335280"/>
              <a:gd name="connsiteX41" fmla="*/ 294132 w 421639"/>
              <a:gd name="connsiteY41" fmla="*/ 319024 h 335280"/>
              <a:gd name="connsiteX42" fmla="*/ 237744 w 421639"/>
              <a:gd name="connsiteY42" fmla="*/ 335280 h 335280"/>
              <a:gd name="connsiteX43" fmla="*/ 255016 w 421639"/>
              <a:gd name="connsiteY43" fmla="*/ 160020 h 335280"/>
              <a:gd name="connsiteX44" fmla="*/ 249428 w 421639"/>
              <a:gd name="connsiteY44" fmla="*/ 155956 h 335280"/>
              <a:gd name="connsiteX45" fmla="*/ 166116 w 421639"/>
              <a:gd name="connsiteY45" fmla="*/ 48260 h 335280"/>
              <a:gd name="connsiteX46" fmla="*/ 214884 w 421639"/>
              <a:gd name="connsiteY46" fmla="*/ 0 h 335280"/>
              <a:gd name="connsiteX47" fmla="*/ 254508 w 421639"/>
              <a:gd name="connsiteY47" fmla="*/ 20320 h 335280"/>
              <a:gd name="connsiteX48" fmla="*/ 294132 w 421639"/>
              <a:gd name="connsiteY48" fmla="*/ 0 h 335280"/>
              <a:gd name="connsiteX49" fmla="*/ 342900 w 421639"/>
              <a:gd name="connsiteY49" fmla="*/ 48260 h 335280"/>
              <a:gd name="connsiteX50" fmla="*/ 259588 w 421639"/>
              <a:gd name="connsiteY50" fmla="*/ 155956 h 335280"/>
              <a:gd name="connsiteX51" fmla="*/ 255016 w 421639"/>
              <a:gd name="connsiteY51" fmla="*/ 160020 h 335280"/>
              <a:gd name="connsiteX52" fmla="*/ 214884 w 421639"/>
              <a:gd name="connsiteY52" fmla="*/ 18796 h 335280"/>
              <a:gd name="connsiteX53" fmla="*/ 184404 w 421639"/>
              <a:gd name="connsiteY53" fmla="*/ 48768 h 335280"/>
              <a:gd name="connsiteX54" fmla="*/ 254508 w 421639"/>
              <a:gd name="connsiteY54" fmla="*/ 137668 h 335280"/>
              <a:gd name="connsiteX55" fmla="*/ 324612 w 421639"/>
              <a:gd name="connsiteY55" fmla="*/ 48768 h 335280"/>
              <a:gd name="connsiteX56" fmla="*/ 294132 w 421639"/>
              <a:gd name="connsiteY56" fmla="*/ 18796 h 335280"/>
              <a:gd name="connsiteX57" fmla="*/ 264668 w 421639"/>
              <a:gd name="connsiteY57" fmla="*/ 41656 h 335280"/>
              <a:gd name="connsiteX58" fmla="*/ 254508 w 421639"/>
              <a:gd name="connsiteY58" fmla="*/ 49276 h 335280"/>
              <a:gd name="connsiteX59" fmla="*/ 244348 w 421639"/>
              <a:gd name="connsiteY59" fmla="*/ 41656 h 335280"/>
              <a:gd name="connsiteX60" fmla="*/ 214884 w 421639"/>
              <a:gd name="connsiteY60" fmla="*/ 18796 h 335280"/>
              <a:gd name="connsiteX61" fmla="*/ 247396 w 421639"/>
              <a:gd name="connsiteY61" fmla="*/ 36576 h 335280"/>
              <a:gd name="connsiteX62" fmla="*/ 247396 w 421639"/>
              <a:gd name="connsiteY62" fmla="*/ 36576 h 335280"/>
              <a:gd name="connsiteX63" fmla="*/ 247396 w 421639"/>
              <a:gd name="connsiteY63" fmla="*/ 36576 h 335280"/>
              <a:gd name="connsiteX64" fmla="*/ 262636 w 421639"/>
              <a:gd name="connsiteY64" fmla="*/ 36576 h 335280"/>
              <a:gd name="connsiteX65" fmla="*/ 262636 w 421639"/>
              <a:gd name="connsiteY65" fmla="*/ 36576 h 335280"/>
              <a:gd name="connsiteX66" fmla="*/ 262636 w 421639"/>
              <a:gd name="connsiteY66" fmla="*/ 36576 h 335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421639" h="335280">
                <a:moveTo>
                  <a:pt x="237744" y="335280"/>
                </a:moveTo>
                <a:cubicBezTo>
                  <a:pt x="228092" y="335280"/>
                  <a:pt x="218440" y="333756"/>
                  <a:pt x="208788" y="331216"/>
                </a:cubicBezTo>
                <a:lnTo>
                  <a:pt x="161544" y="317500"/>
                </a:lnTo>
                <a:cubicBezTo>
                  <a:pt x="122428" y="306324"/>
                  <a:pt x="81788" y="300736"/>
                  <a:pt x="41148" y="300736"/>
                </a:cubicBezTo>
                <a:lnTo>
                  <a:pt x="9144" y="300736"/>
                </a:lnTo>
                <a:cubicBezTo>
                  <a:pt x="4064" y="300736"/>
                  <a:pt x="0" y="296672"/>
                  <a:pt x="0" y="291592"/>
                </a:cubicBezTo>
                <a:cubicBezTo>
                  <a:pt x="0" y="286512"/>
                  <a:pt x="4064" y="282448"/>
                  <a:pt x="9144" y="282448"/>
                </a:cubicBezTo>
                <a:lnTo>
                  <a:pt x="41148" y="282448"/>
                </a:lnTo>
                <a:cubicBezTo>
                  <a:pt x="83312" y="282448"/>
                  <a:pt x="125984" y="288544"/>
                  <a:pt x="166624" y="299720"/>
                </a:cubicBezTo>
                <a:lnTo>
                  <a:pt x="213868" y="313436"/>
                </a:lnTo>
                <a:cubicBezTo>
                  <a:pt x="237236" y="320040"/>
                  <a:pt x="263144" y="316484"/>
                  <a:pt x="283972" y="303784"/>
                </a:cubicBezTo>
                <a:lnTo>
                  <a:pt x="399288" y="233172"/>
                </a:lnTo>
                <a:cubicBezTo>
                  <a:pt x="402336" y="231140"/>
                  <a:pt x="404368" y="228092"/>
                  <a:pt x="404368" y="224536"/>
                </a:cubicBezTo>
                <a:cubicBezTo>
                  <a:pt x="404876" y="220980"/>
                  <a:pt x="403352" y="217932"/>
                  <a:pt x="400812" y="215392"/>
                </a:cubicBezTo>
                <a:cubicBezTo>
                  <a:pt x="397256" y="212344"/>
                  <a:pt x="392176" y="211836"/>
                  <a:pt x="388112" y="214376"/>
                </a:cubicBezTo>
                <a:lnTo>
                  <a:pt x="283972" y="264668"/>
                </a:lnTo>
                <a:cubicBezTo>
                  <a:pt x="277368" y="269240"/>
                  <a:pt x="268732" y="271272"/>
                  <a:pt x="260096" y="269748"/>
                </a:cubicBezTo>
                <a:lnTo>
                  <a:pt x="188976" y="254508"/>
                </a:lnTo>
                <a:cubicBezTo>
                  <a:pt x="183896" y="253492"/>
                  <a:pt x="180848" y="248412"/>
                  <a:pt x="181864" y="243840"/>
                </a:cubicBezTo>
                <a:cubicBezTo>
                  <a:pt x="182880" y="239268"/>
                  <a:pt x="187960" y="235712"/>
                  <a:pt x="192532" y="236728"/>
                </a:cubicBezTo>
                <a:lnTo>
                  <a:pt x="263652" y="251968"/>
                </a:lnTo>
                <a:cubicBezTo>
                  <a:pt x="270256" y="253492"/>
                  <a:pt x="276352" y="249428"/>
                  <a:pt x="277876" y="242824"/>
                </a:cubicBezTo>
                <a:cubicBezTo>
                  <a:pt x="279400" y="236728"/>
                  <a:pt x="275844" y="230632"/>
                  <a:pt x="270256" y="228600"/>
                </a:cubicBezTo>
                <a:lnTo>
                  <a:pt x="209296" y="213868"/>
                </a:lnTo>
                <a:cubicBezTo>
                  <a:pt x="208788" y="213868"/>
                  <a:pt x="208280" y="213360"/>
                  <a:pt x="207772" y="213360"/>
                </a:cubicBezTo>
                <a:cubicBezTo>
                  <a:pt x="207264" y="213360"/>
                  <a:pt x="206756" y="212852"/>
                  <a:pt x="206248" y="212344"/>
                </a:cubicBezTo>
                <a:cubicBezTo>
                  <a:pt x="182372" y="197104"/>
                  <a:pt x="144780" y="182880"/>
                  <a:pt x="103632" y="197104"/>
                </a:cubicBezTo>
                <a:cubicBezTo>
                  <a:pt x="84836" y="205232"/>
                  <a:pt x="71120" y="208788"/>
                  <a:pt x="53848" y="208788"/>
                </a:cubicBezTo>
                <a:lnTo>
                  <a:pt x="9652" y="208788"/>
                </a:lnTo>
                <a:cubicBezTo>
                  <a:pt x="4572" y="208788"/>
                  <a:pt x="508" y="204724"/>
                  <a:pt x="508" y="199644"/>
                </a:cubicBezTo>
                <a:cubicBezTo>
                  <a:pt x="508" y="194564"/>
                  <a:pt x="4572" y="190500"/>
                  <a:pt x="9652" y="190500"/>
                </a:cubicBezTo>
                <a:cubicBezTo>
                  <a:pt x="9652" y="190500"/>
                  <a:pt x="9652" y="190500"/>
                  <a:pt x="9652" y="190500"/>
                </a:cubicBezTo>
                <a:lnTo>
                  <a:pt x="54356" y="190500"/>
                </a:lnTo>
                <a:cubicBezTo>
                  <a:pt x="69088" y="190500"/>
                  <a:pt x="80264" y="187960"/>
                  <a:pt x="97536" y="180340"/>
                </a:cubicBezTo>
                <a:cubicBezTo>
                  <a:pt x="136144" y="166624"/>
                  <a:pt x="176784" y="172212"/>
                  <a:pt x="215392" y="196088"/>
                </a:cubicBezTo>
                <a:lnTo>
                  <a:pt x="275844" y="210820"/>
                </a:lnTo>
                <a:cubicBezTo>
                  <a:pt x="288544" y="214884"/>
                  <a:pt x="296672" y="226060"/>
                  <a:pt x="297180" y="237744"/>
                </a:cubicBezTo>
                <a:lnTo>
                  <a:pt x="379984" y="198120"/>
                </a:lnTo>
                <a:cubicBezTo>
                  <a:pt x="390144" y="192532"/>
                  <a:pt x="403352" y="193548"/>
                  <a:pt x="413004" y="201676"/>
                </a:cubicBezTo>
                <a:cubicBezTo>
                  <a:pt x="420116" y="207772"/>
                  <a:pt x="423672" y="216916"/>
                  <a:pt x="423164" y="226060"/>
                </a:cubicBezTo>
                <a:cubicBezTo>
                  <a:pt x="422656" y="235712"/>
                  <a:pt x="417576" y="243840"/>
                  <a:pt x="409448" y="248412"/>
                </a:cubicBezTo>
                <a:lnTo>
                  <a:pt x="294132" y="319024"/>
                </a:lnTo>
                <a:cubicBezTo>
                  <a:pt x="276352" y="329692"/>
                  <a:pt x="257048" y="335280"/>
                  <a:pt x="237744" y="335280"/>
                </a:cubicBezTo>
                <a:close/>
                <a:moveTo>
                  <a:pt x="255016" y="160020"/>
                </a:moveTo>
                <a:lnTo>
                  <a:pt x="249428" y="155956"/>
                </a:lnTo>
                <a:cubicBezTo>
                  <a:pt x="240792" y="149860"/>
                  <a:pt x="166116" y="94996"/>
                  <a:pt x="166116" y="48260"/>
                </a:cubicBezTo>
                <a:cubicBezTo>
                  <a:pt x="166116" y="21336"/>
                  <a:pt x="187960" y="0"/>
                  <a:pt x="214884" y="0"/>
                </a:cubicBezTo>
                <a:cubicBezTo>
                  <a:pt x="231140" y="0"/>
                  <a:pt x="245872" y="7620"/>
                  <a:pt x="254508" y="20320"/>
                </a:cubicBezTo>
                <a:cubicBezTo>
                  <a:pt x="263652" y="8128"/>
                  <a:pt x="277876" y="0"/>
                  <a:pt x="294132" y="0"/>
                </a:cubicBezTo>
                <a:cubicBezTo>
                  <a:pt x="321056" y="0"/>
                  <a:pt x="342900" y="21844"/>
                  <a:pt x="342900" y="48260"/>
                </a:cubicBezTo>
                <a:cubicBezTo>
                  <a:pt x="342900" y="94996"/>
                  <a:pt x="268224" y="149860"/>
                  <a:pt x="259588" y="155956"/>
                </a:cubicBezTo>
                <a:lnTo>
                  <a:pt x="255016" y="160020"/>
                </a:lnTo>
                <a:close/>
                <a:moveTo>
                  <a:pt x="214884" y="18796"/>
                </a:moveTo>
                <a:cubicBezTo>
                  <a:pt x="198120" y="18796"/>
                  <a:pt x="184404" y="32512"/>
                  <a:pt x="184404" y="48768"/>
                </a:cubicBezTo>
                <a:cubicBezTo>
                  <a:pt x="184404" y="77724"/>
                  <a:pt x="231140" y="119380"/>
                  <a:pt x="254508" y="137668"/>
                </a:cubicBezTo>
                <a:cubicBezTo>
                  <a:pt x="278384" y="119380"/>
                  <a:pt x="324612" y="77724"/>
                  <a:pt x="324612" y="48768"/>
                </a:cubicBezTo>
                <a:cubicBezTo>
                  <a:pt x="324612" y="32004"/>
                  <a:pt x="310896" y="18796"/>
                  <a:pt x="294132" y="18796"/>
                </a:cubicBezTo>
                <a:cubicBezTo>
                  <a:pt x="279908" y="18796"/>
                  <a:pt x="267716" y="27940"/>
                  <a:pt x="264668" y="41656"/>
                </a:cubicBezTo>
                <a:cubicBezTo>
                  <a:pt x="263652" y="46228"/>
                  <a:pt x="259588" y="49276"/>
                  <a:pt x="254508" y="49276"/>
                </a:cubicBezTo>
                <a:cubicBezTo>
                  <a:pt x="249428" y="49276"/>
                  <a:pt x="245364" y="46228"/>
                  <a:pt x="244348" y="41656"/>
                </a:cubicBezTo>
                <a:cubicBezTo>
                  <a:pt x="241300" y="27940"/>
                  <a:pt x="229108" y="18796"/>
                  <a:pt x="214884" y="18796"/>
                </a:cubicBezTo>
                <a:close/>
                <a:moveTo>
                  <a:pt x="247396" y="36576"/>
                </a:moveTo>
                <a:cubicBezTo>
                  <a:pt x="247396" y="36576"/>
                  <a:pt x="247396" y="36576"/>
                  <a:pt x="247396" y="36576"/>
                </a:cubicBezTo>
                <a:cubicBezTo>
                  <a:pt x="247396" y="36576"/>
                  <a:pt x="247396" y="36576"/>
                  <a:pt x="247396" y="36576"/>
                </a:cubicBezTo>
                <a:close/>
                <a:moveTo>
                  <a:pt x="262636" y="36576"/>
                </a:moveTo>
                <a:cubicBezTo>
                  <a:pt x="262636" y="36576"/>
                  <a:pt x="262636" y="36576"/>
                  <a:pt x="262636" y="36576"/>
                </a:cubicBezTo>
                <a:cubicBezTo>
                  <a:pt x="262636" y="36576"/>
                  <a:pt x="262636" y="36576"/>
                  <a:pt x="262636" y="36576"/>
                </a:cubicBezTo>
                <a:close/>
              </a:path>
            </a:pathLst>
          </a:custGeom>
          <a:solidFill>
            <a:srgbClr val="FFFFFF"/>
          </a:solidFill>
          <a:ln w="5078" cap="flat">
            <a:noFill/>
            <a:prstDash val="solid"/>
            <a:miter/>
          </a:ln>
        </p:spPr>
        <p:txBody>
          <a:bodyPr rtlCol="0" anchor="ctr"/>
          <a:lstStyle/>
          <a:p>
            <a:endParaRPr lang="en-GB" sz="2400"/>
          </a:p>
        </p:txBody>
      </p:sp>
      <p:pic>
        <p:nvPicPr>
          <p:cNvPr id="49" name="Picture 48">
            <a:extLst>
              <a:ext uri="{FF2B5EF4-FFF2-40B4-BE49-F238E27FC236}">
                <a16:creationId xmlns:a16="http://schemas.microsoft.com/office/drawing/2014/main" id="{3BC913C4-A320-480A-B87A-1A6502D736D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846902" y="2333997"/>
            <a:ext cx="1513481" cy="1511808"/>
          </a:xfrm>
          <a:prstGeom prst="rect">
            <a:avLst/>
          </a:prstGeom>
        </p:spPr>
      </p:pic>
      <p:sp>
        <p:nvSpPr>
          <p:cNvPr id="50" name="Freeform: Shape 49">
            <a:extLst>
              <a:ext uri="{FF2B5EF4-FFF2-40B4-BE49-F238E27FC236}">
                <a16:creationId xmlns:a16="http://schemas.microsoft.com/office/drawing/2014/main" id="{5F5C7D1A-A820-4A96-8456-F3F70C8FEB70}"/>
              </a:ext>
            </a:extLst>
          </p:cNvPr>
          <p:cNvSpPr/>
          <p:nvPr/>
        </p:nvSpPr>
        <p:spPr>
          <a:xfrm>
            <a:off x="8832000" y="2319096"/>
            <a:ext cx="1544320" cy="1544320"/>
          </a:xfrm>
          <a:custGeom>
            <a:avLst/>
            <a:gdLst>
              <a:gd name="connsiteX0" fmla="*/ 579120 w 1158239"/>
              <a:gd name="connsiteY0" fmla="*/ 1158240 h 1158240"/>
              <a:gd name="connsiteX1" fmla="*/ 0 w 1158239"/>
              <a:gd name="connsiteY1" fmla="*/ 579120 h 1158240"/>
              <a:gd name="connsiteX2" fmla="*/ 579120 w 1158239"/>
              <a:gd name="connsiteY2" fmla="*/ 0 h 1158240"/>
              <a:gd name="connsiteX3" fmla="*/ 1158240 w 1158239"/>
              <a:gd name="connsiteY3" fmla="*/ 579120 h 1158240"/>
              <a:gd name="connsiteX4" fmla="*/ 579120 w 1158239"/>
              <a:gd name="connsiteY4" fmla="*/ 1158240 h 1158240"/>
              <a:gd name="connsiteX5" fmla="*/ 579120 w 1158239"/>
              <a:gd name="connsiteY5" fmla="*/ 22860 h 1158240"/>
              <a:gd name="connsiteX6" fmla="*/ 22860 w 1158239"/>
              <a:gd name="connsiteY6" fmla="*/ 579120 h 1158240"/>
              <a:gd name="connsiteX7" fmla="*/ 579120 w 1158239"/>
              <a:gd name="connsiteY7" fmla="*/ 1135380 h 1158240"/>
              <a:gd name="connsiteX8" fmla="*/ 1135380 w 1158239"/>
              <a:gd name="connsiteY8" fmla="*/ 579120 h 1158240"/>
              <a:gd name="connsiteX9" fmla="*/ 579120 w 1158239"/>
              <a:gd name="connsiteY9" fmla="*/ 22860 h 115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8239" h="1158240">
                <a:moveTo>
                  <a:pt x="579120" y="1158240"/>
                </a:moveTo>
                <a:cubicBezTo>
                  <a:pt x="259588" y="1158240"/>
                  <a:pt x="0" y="898652"/>
                  <a:pt x="0" y="579120"/>
                </a:cubicBezTo>
                <a:cubicBezTo>
                  <a:pt x="0" y="259588"/>
                  <a:pt x="259588" y="0"/>
                  <a:pt x="579120" y="0"/>
                </a:cubicBezTo>
                <a:cubicBezTo>
                  <a:pt x="898651" y="0"/>
                  <a:pt x="1158240" y="259588"/>
                  <a:pt x="1158240" y="579120"/>
                </a:cubicBezTo>
                <a:cubicBezTo>
                  <a:pt x="1158240" y="898652"/>
                  <a:pt x="898144" y="1158240"/>
                  <a:pt x="579120" y="1158240"/>
                </a:cubicBezTo>
                <a:close/>
                <a:moveTo>
                  <a:pt x="579120" y="22860"/>
                </a:moveTo>
                <a:cubicBezTo>
                  <a:pt x="272288" y="22860"/>
                  <a:pt x="22860" y="272288"/>
                  <a:pt x="22860" y="579120"/>
                </a:cubicBezTo>
                <a:cubicBezTo>
                  <a:pt x="22860" y="885952"/>
                  <a:pt x="272288" y="1135380"/>
                  <a:pt x="579120" y="1135380"/>
                </a:cubicBezTo>
                <a:cubicBezTo>
                  <a:pt x="885951" y="1135380"/>
                  <a:pt x="1135380" y="885952"/>
                  <a:pt x="1135380" y="579120"/>
                </a:cubicBezTo>
                <a:cubicBezTo>
                  <a:pt x="1135380" y="272288"/>
                  <a:pt x="885951" y="22860"/>
                  <a:pt x="579120" y="22860"/>
                </a:cubicBezTo>
                <a:close/>
              </a:path>
            </a:pathLst>
          </a:custGeom>
          <a:solidFill>
            <a:srgbClr val="EEA7BF"/>
          </a:solidFill>
          <a:ln w="5078" cap="flat">
            <a:noFill/>
            <a:prstDash val="solid"/>
            <a:miter/>
          </a:ln>
        </p:spPr>
        <p:txBody>
          <a:bodyPr rtlCol="0" anchor="ctr"/>
          <a:lstStyle/>
          <a:p>
            <a:endParaRPr lang="en-GB" sz="2400"/>
          </a:p>
        </p:txBody>
      </p:sp>
      <p:sp>
        <p:nvSpPr>
          <p:cNvPr id="51" name="Freeform: Shape 50">
            <a:extLst>
              <a:ext uri="{FF2B5EF4-FFF2-40B4-BE49-F238E27FC236}">
                <a16:creationId xmlns:a16="http://schemas.microsoft.com/office/drawing/2014/main" id="{CBA87D76-834F-42A7-9BC0-F84CA20914AA}"/>
              </a:ext>
            </a:extLst>
          </p:cNvPr>
          <p:cNvSpPr/>
          <p:nvPr/>
        </p:nvSpPr>
        <p:spPr>
          <a:xfrm>
            <a:off x="8364641" y="3195565"/>
            <a:ext cx="731520" cy="731520"/>
          </a:xfrm>
          <a:custGeom>
            <a:avLst/>
            <a:gdLst>
              <a:gd name="connsiteX0" fmla="*/ 548640 w 548639"/>
              <a:gd name="connsiteY0" fmla="*/ 274320 h 548640"/>
              <a:gd name="connsiteX1" fmla="*/ 274320 w 548639"/>
              <a:gd name="connsiteY1" fmla="*/ 548640 h 548640"/>
              <a:gd name="connsiteX2" fmla="*/ 0 w 548639"/>
              <a:gd name="connsiteY2" fmla="*/ 274320 h 548640"/>
              <a:gd name="connsiteX3" fmla="*/ 274320 w 548639"/>
              <a:gd name="connsiteY3" fmla="*/ 0 h 548640"/>
              <a:gd name="connsiteX4" fmla="*/ 548640 w 548639"/>
              <a:gd name="connsiteY4" fmla="*/ 274320 h 548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639" h="548640">
                <a:moveTo>
                  <a:pt x="548640" y="274320"/>
                </a:moveTo>
                <a:cubicBezTo>
                  <a:pt x="548640" y="425704"/>
                  <a:pt x="425704" y="548640"/>
                  <a:pt x="274320" y="548640"/>
                </a:cubicBezTo>
                <a:cubicBezTo>
                  <a:pt x="122936" y="548640"/>
                  <a:pt x="0" y="425704"/>
                  <a:pt x="0" y="274320"/>
                </a:cubicBezTo>
                <a:cubicBezTo>
                  <a:pt x="0" y="122936"/>
                  <a:pt x="122936" y="0"/>
                  <a:pt x="274320" y="0"/>
                </a:cubicBezTo>
                <a:cubicBezTo>
                  <a:pt x="425704" y="0"/>
                  <a:pt x="548640" y="122936"/>
                  <a:pt x="548640" y="274320"/>
                </a:cubicBezTo>
              </a:path>
            </a:pathLst>
          </a:custGeom>
          <a:solidFill>
            <a:srgbClr val="F2BDCF"/>
          </a:solidFill>
          <a:ln w="5078" cap="flat">
            <a:noFill/>
            <a:prstDash val="solid"/>
            <a:miter/>
          </a:ln>
        </p:spPr>
        <p:txBody>
          <a:bodyPr rtlCol="0" anchor="ctr"/>
          <a:lstStyle/>
          <a:p>
            <a:endParaRPr lang="en-GB" sz="2400"/>
          </a:p>
        </p:txBody>
      </p:sp>
      <p:sp>
        <p:nvSpPr>
          <p:cNvPr id="52" name="Freeform: Shape 51">
            <a:extLst>
              <a:ext uri="{FF2B5EF4-FFF2-40B4-BE49-F238E27FC236}">
                <a16:creationId xmlns:a16="http://schemas.microsoft.com/office/drawing/2014/main" id="{20D032F3-0CBC-4855-B076-C8D2B9D10A21}"/>
              </a:ext>
            </a:extLst>
          </p:cNvPr>
          <p:cNvSpPr/>
          <p:nvPr/>
        </p:nvSpPr>
        <p:spPr>
          <a:xfrm>
            <a:off x="8581388" y="3403507"/>
            <a:ext cx="352213" cy="331893"/>
          </a:xfrm>
          <a:custGeom>
            <a:avLst/>
            <a:gdLst>
              <a:gd name="connsiteX0" fmla="*/ 164084 w 264159"/>
              <a:gd name="connsiteY0" fmla="*/ 251460 h 248920"/>
              <a:gd name="connsiteX1" fmla="*/ 154940 w 264159"/>
              <a:gd name="connsiteY1" fmla="*/ 242316 h 248920"/>
              <a:gd name="connsiteX2" fmla="*/ 154940 w 264159"/>
              <a:gd name="connsiteY2" fmla="*/ 190500 h 248920"/>
              <a:gd name="connsiteX3" fmla="*/ 109220 w 264159"/>
              <a:gd name="connsiteY3" fmla="*/ 164084 h 248920"/>
              <a:gd name="connsiteX4" fmla="*/ 64008 w 264159"/>
              <a:gd name="connsiteY4" fmla="*/ 164084 h 248920"/>
              <a:gd name="connsiteX5" fmla="*/ 18288 w 264159"/>
              <a:gd name="connsiteY5" fmla="*/ 190500 h 248920"/>
              <a:gd name="connsiteX6" fmla="*/ 18288 w 264159"/>
              <a:gd name="connsiteY6" fmla="*/ 242316 h 248920"/>
              <a:gd name="connsiteX7" fmla="*/ 9144 w 264159"/>
              <a:gd name="connsiteY7" fmla="*/ 251460 h 248920"/>
              <a:gd name="connsiteX8" fmla="*/ 0 w 264159"/>
              <a:gd name="connsiteY8" fmla="*/ 242316 h 248920"/>
              <a:gd name="connsiteX9" fmla="*/ 0 w 264159"/>
              <a:gd name="connsiteY9" fmla="*/ 190500 h 248920"/>
              <a:gd name="connsiteX10" fmla="*/ 64008 w 264159"/>
              <a:gd name="connsiteY10" fmla="*/ 145796 h 248920"/>
              <a:gd name="connsiteX11" fmla="*/ 109220 w 264159"/>
              <a:gd name="connsiteY11" fmla="*/ 145796 h 248920"/>
              <a:gd name="connsiteX12" fmla="*/ 173228 w 264159"/>
              <a:gd name="connsiteY12" fmla="*/ 190500 h 248920"/>
              <a:gd name="connsiteX13" fmla="*/ 173228 w 264159"/>
              <a:gd name="connsiteY13" fmla="*/ 242316 h 248920"/>
              <a:gd name="connsiteX14" fmla="*/ 164084 w 264159"/>
              <a:gd name="connsiteY14" fmla="*/ 251460 h 248920"/>
              <a:gd name="connsiteX15" fmla="*/ 86360 w 264159"/>
              <a:gd name="connsiteY15" fmla="*/ 115316 h 248920"/>
              <a:gd name="connsiteX16" fmla="*/ 36576 w 264159"/>
              <a:gd name="connsiteY16" fmla="*/ 65532 h 248920"/>
              <a:gd name="connsiteX17" fmla="*/ 86360 w 264159"/>
              <a:gd name="connsiteY17" fmla="*/ 15748 h 248920"/>
              <a:gd name="connsiteX18" fmla="*/ 136144 w 264159"/>
              <a:gd name="connsiteY18" fmla="*/ 65532 h 248920"/>
              <a:gd name="connsiteX19" fmla="*/ 86360 w 264159"/>
              <a:gd name="connsiteY19" fmla="*/ 115316 h 248920"/>
              <a:gd name="connsiteX20" fmla="*/ 86360 w 264159"/>
              <a:gd name="connsiteY20" fmla="*/ 34036 h 248920"/>
              <a:gd name="connsiteX21" fmla="*/ 54864 w 264159"/>
              <a:gd name="connsiteY21" fmla="*/ 65532 h 248920"/>
              <a:gd name="connsiteX22" fmla="*/ 86360 w 264159"/>
              <a:gd name="connsiteY22" fmla="*/ 97028 h 248920"/>
              <a:gd name="connsiteX23" fmla="*/ 117856 w 264159"/>
              <a:gd name="connsiteY23" fmla="*/ 65532 h 248920"/>
              <a:gd name="connsiteX24" fmla="*/ 86360 w 264159"/>
              <a:gd name="connsiteY24" fmla="*/ 34036 h 248920"/>
              <a:gd name="connsiteX25" fmla="*/ 221488 w 264159"/>
              <a:gd name="connsiteY25" fmla="*/ 93472 h 248920"/>
              <a:gd name="connsiteX26" fmla="*/ 212344 w 264159"/>
              <a:gd name="connsiteY26" fmla="*/ 84328 h 248920"/>
              <a:gd name="connsiteX27" fmla="*/ 212344 w 264159"/>
              <a:gd name="connsiteY27" fmla="*/ 55880 h 248920"/>
              <a:gd name="connsiteX28" fmla="*/ 183896 w 264159"/>
              <a:gd name="connsiteY28" fmla="*/ 55880 h 248920"/>
              <a:gd name="connsiteX29" fmla="*/ 174751 w 264159"/>
              <a:gd name="connsiteY29" fmla="*/ 46736 h 248920"/>
              <a:gd name="connsiteX30" fmla="*/ 183896 w 264159"/>
              <a:gd name="connsiteY30" fmla="*/ 37592 h 248920"/>
              <a:gd name="connsiteX31" fmla="*/ 212344 w 264159"/>
              <a:gd name="connsiteY31" fmla="*/ 37592 h 248920"/>
              <a:gd name="connsiteX32" fmla="*/ 212344 w 264159"/>
              <a:gd name="connsiteY32" fmla="*/ 9144 h 248920"/>
              <a:gd name="connsiteX33" fmla="*/ 221488 w 264159"/>
              <a:gd name="connsiteY33" fmla="*/ 0 h 248920"/>
              <a:gd name="connsiteX34" fmla="*/ 230631 w 264159"/>
              <a:gd name="connsiteY34" fmla="*/ 9144 h 248920"/>
              <a:gd name="connsiteX35" fmla="*/ 230631 w 264159"/>
              <a:gd name="connsiteY35" fmla="*/ 37592 h 248920"/>
              <a:gd name="connsiteX36" fmla="*/ 259080 w 264159"/>
              <a:gd name="connsiteY36" fmla="*/ 37592 h 248920"/>
              <a:gd name="connsiteX37" fmla="*/ 268224 w 264159"/>
              <a:gd name="connsiteY37" fmla="*/ 46736 h 248920"/>
              <a:gd name="connsiteX38" fmla="*/ 259080 w 264159"/>
              <a:gd name="connsiteY38" fmla="*/ 55880 h 248920"/>
              <a:gd name="connsiteX39" fmla="*/ 230631 w 264159"/>
              <a:gd name="connsiteY39" fmla="*/ 55880 h 248920"/>
              <a:gd name="connsiteX40" fmla="*/ 230631 w 264159"/>
              <a:gd name="connsiteY40" fmla="*/ 84328 h 248920"/>
              <a:gd name="connsiteX41" fmla="*/ 221488 w 264159"/>
              <a:gd name="connsiteY41" fmla="*/ 93472 h 24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4159" h="248920">
                <a:moveTo>
                  <a:pt x="164084" y="251460"/>
                </a:moveTo>
                <a:cubicBezTo>
                  <a:pt x="159004" y="251460"/>
                  <a:pt x="154940" y="247396"/>
                  <a:pt x="154940" y="242316"/>
                </a:cubicBezTo>
                <a:lnTo>
                  <a:pt x="154940" y="190500"/>
                </a:lnTo>
                <a:cubicBezTo>
                  <a:pt x="154940" y="176276"/>
                  <a:pt x="134111" y="164084"/>
                  <a:pt x="109220" y="164084"/>
                </a:cubicBezTo>
                <a:lnTo>
                  <a:pt x="64008" y="164084"/>
                </a:lnTo>
                <a:cubicBezTo>
                  <a:pt x="39116" y="164084"/>
                  <a:pt x="18288" y="176276"/>
                  <a:pt x="18288" y="190500"/>
                </a:cubicBezTo>
                <a:lnTo>
                  <a:pt x="18288" y="242316"/>
                </a:lnTo>
                <a:cubicBezTo>
                  <a:pt x="18288" y="247396"/>
                  <a:pt x="14224" y="251460"/>
                  <a:pt x="9144" y="251460"/>
                </a:cubicBezTo>
                <a:cubicBezTo>
                  <a:pt x="4064" y="251460"/>
                  <a:pt x="0" y="247396"/>
                  <a:pt x="0" y="242316"/>
                </a:cubicBezTo>
                <a:lnTo>
                  <a:pt x="0" y="190500"/>
                </a:lnTo>
                <a:cubicBezTo>
                  <a:pt x="0" y="165608"/>
                  <a:pt x="27940" y="145796"/>
                  <a:pt x="64008" y="145796"/>
                </a:cubicBezTo>
                <a:lnTo>
                  <a:pt x="109220" y="145796"/>
                </a:lnTo>
                <a:cubicBezTo>
                  <a:pt x="145288" y="145796"/>
                  <a:pt x="173228" y="165608"/>
                  <a:pt x="173228" y="190500"/>
                </a:cubicBezTo>
                <a:lnTo>
                  <a:pt x="173228" y="242316"/>
                </a:lnTo>
                <a:cubicBezTo>
                  <a:pt x="173228" y="247396"/>
                  <a:pt x="169164" y="251460"/>
                  <a:pt x="164084" y="251460"/>
                </a:cubicBezTo>
                <a:close/>
                <a:moveTo>
                  <a:pt x="86360" y="115316"/>
                </a:moveTo>
                <a:cubicBezTo>
                  <a:pt x="58928" y="115316"/>
                  <a:pt x="36576" y="92964"/>
                  <a:pt x="36576" y="65532"/>
                </a:cubicBezTo>
                <a:cubicBezTo>
                  <a:pt x="36576" y="38100"/>
                  <a:pt x="58928" y="15748"/>
                  <a:pt x="86360" y="15748"/>
                </a:cubicBezTo>
                <a:cubicBezTo>
                  <a:pt x="113791" y="15748"/>
                  <a:pt x="136144" y="38100"/>
                  <a:pt x="136144" y="65532"/>
                </a:cubicBezTo>
                <a:cubicBezTo>
                  <a:pt x="136144" y="92964"/>
                  <a:pt x="113791" y="115316"/>
                  <a:pt x="86360" y="115316"/>
                </a:cubicBezTo>
                <a:close/>
                <a:moveTo>
                  <a:pt x="86360" y="34036"/>
                </a:moveTo>
                <a:cubicBezTo>
                  <a:pt x="69088" y="34036"/>
                  <a:pt x="54864" y="48260"/>
                  <a:pt x="54864" y="65532"/>
                </a:cubicBezTo>
                <a:cubicBezTo>
                  <a:pt x="54864" y="82804"/>
                  <a:pt x="69088" y="97028"/>
                  <a:pt x="86360" y="97028"/>
                </a:cubicBezTo>
                <a:cubicBezTo>
                  <a:pt x="103631" y="97028"/>
                  <a:pt x="117856" y="82804"/>
                  <a:pt x="117856" y="65532"/>
                </a:cubicBezTo>
                <a:cubicBezTo>
                  <a:pt x="117856" y="48260"/>
                  <a:pt x="103631" y="34036"/>
                  <a:pt x="86360" y="34036"/>
                </a:cubicBezTo>
                <a:close/>
                <a:moveTo>
                  <a:pt x="221488" y="93472"/>
                </a:moveTo>
                <a:cubicBezTo>
                  <a:pt x="216408" y="93472"/>
                  <a:pt x="212344" y="89408"/>
                  <a:pt x="212344" y="84328"/>
                </a:cubicBezTo>
                <a:lnTo>
                  <a:pt x="212344" y="55880"/>
                </a:lnTo>
                <a:lnTo>
                  <a:pt x="183896" y="55880"/>
                </a:lnTo>
                <a:cubicBezTo>
                  <a:pt x="178816" y="55880"/>
                  <a:pt x="174751" y="51816"/>
                  <a:pt x="174751" y="46736"/>
                </a:cubicBezTo>
                <a:cubicBezTo>
                  <a:pt x="174751" y="41656"/>
                  <a:pt x="178816" y="37592"/>
                  <a:pt x="183896" y="37592"/>
                </a:cubicBezTo>
                <a:lnTo>
                  <a:pt x="212344" y="37592"/>
                </a:lnTo>
                <a:lnTo>
                  <a:pt x="212344" y="9144"/>
                </a:lnTo>
                <a:cubicBezTo>
                  <a:pt x="212344" y="4064"/>
                  <a:pt x="216408" y="0"/>
                  <a:pt x="221488" y="0"/>
                </a:cubicBezTo>
                <a:cubicBezTo>
                  <a:pt x="226568" y="0"/>
                  <a:pt x="230631" y="4064"/>
                  <a:pt x="230631" y="9144"/>
                </a:cubicBezTo>
                <a:lnTo>
                  <a:pt x="230631" y="37592"/>
                </a:lnTo>
                <a:lnTo>
                  <a:pt x="259080" y="37592"/>
                </a:lnTo>
                <a:cubicBezTo>
                  <a:pt x="264160" y="37592"/>
                  <a:pt x="268224" y="41656"/>
                  <a:pt x="268224" y="46736"/>
                </a:cubicBezTo>
                <a:cubicBezTo>
                  <a:pt x="268224" y="51816"/>
                  <a:pt x="264160" y="55880"/>
                  <a:pt x="259080" y="55880"/>
                </a:cubicBezTo>
                <a:lnTo>
                  <a:pt x="230631" y="55880"/>
                </a:lnTo>
                <a:lnTo>
                  <a:pt x="230631" y="84328"/>
                </a:lnTo>
                <a:cubicBezTo>
                  <a:pt x="230631" y="89408"/>
                  <a:pt x="226568" y="93472"/>
                  <a:pt x="221488" y="93472"/>
                </a:cubicBezTo>
                <a:close/>
              </a:path>
            </a:pathLst>
          </a:custGeom>
          <a:solidFill>
            <a:srgbClr val="FFFFFF"/>
          </a:solidFill>
          <a:ln w="5078" cap="flat">
            <a:noFill/>
            <a:prstDash val="solid"/>
            <a:miter/>
          </a:ln>
        </p:spPr>
        <p:txBody>
          <a:bodyPr rtlCol="0" anchor="ctr"/>
          <a:lstStyle/>
          <a:p>
            <a:endParaRPr lang="en-GB" sz="2400"/>
          </a:p>
        </p:txBody>
      </p:sp>
      <p:sp>
        <p:nvSpPr>
          <p:cNvPr id="53" name="Freeform: Shape 52">
            <a:extLst>
              <a:ext uri="{FF2B5EF4-FFF2-40B4-BE49-F238E27FC236}">
                <a16:creationId xmlns:a16="http://schemas.microsoft.com/office/drawing/2014/main" id="{CE830C3A-E1B5-42C9-8C13-2FC1B9CB05E7}"/>
              </a:ext>
            </a:extLst>
          </p:cNvPr>
          <p:cNvSpPr/>
          <p:nvPr/>
        </p:nvSpPr>
        <p:spPr>
          <a:xfrm>
            <a:off x="1959828" y="4155799"/>
            <a:ext cx="1232747" cy="115147"/>
          </a:xfrm>
          <a:custGeom>
            <a:avLst/>
            <a:gdLst>
              <a:gd name="connsiteX0" fmla="*/ 928624 w 924559"/>
              <a:gd name="connsiteY0" fmla="*/ 1524 h 86360"/>
              <a:gd name="connsiteX1" fmla="*/ 911860 w 924559"/>
              <a:gd name="connsiteY1" fmla="*/ 1524 h 86360"/>
              <a:gd name="connsiteX2" fmla="*/ 911860 w 924559"/>
              <a:gd name="connsiteY2" fmla="*/ 42672 h 86360"/>
              <a:gd name="connsiteX3" fmla="*/ 912368 w 924559"/>
              <a:gd name="connsiteY3" fmla="*/ 54864 h 86360"/>
              <a:gd name="connsiteX4" fmla="*/ 912876 w 924559"/>
              <a:gd name="connsiteY4" fmla="*/ 67056 h 86360"/>
              <a:gd name="connsiteX5" fmla="*/ 912876 w 924559"/>
              <a:gd name="connsiteY5" fmla="*/ 67056 h 86360"/>
              <a:gd name="connsiteX6" fmla="*/ 875284 w 924559"/>
              <a:gd name="connsiteY6" fmla="*/ 2032 h 86360"/>
              <a:gd name="connsiteX7" fmla="*/ 851916 w 924559"/>
              <a:gd name="connsiteY7" fmla="*/ 2032 h 86360"/>
              <a:gd name="connsiteX8" fmla="*/ 851916 w 924559"/>
              <a:gd name="connsiteY8" fmla="*/ 88900 h 86360"/>
              <a:gd name="connsiteX9" fmla="*/ 868172 w 924559"/>
              <a:gd name="connsiteY9" fmla="*/ 88900 h 86360"/>
              <a:gd name="connsiteX10" fmla="*/ 868172 w 924559"/>
              <a:gd name="connsiteY10" fmla="*/ 47752 h 86360"/>
              <a:gd name="connsiteX11" fmla="*/ 867664 w 924559"/>
              <a:gd name="connsiteY11" fmla="*/ 35560 h 86360"/>
              <a:gd name="connsiteX12" fmla="*/ 867156 w 924559"/>
              <a:gd name="connsiteY12" fmla="*/ 23368 h 86360"/>
              <a:gd name="connsiteX13" fmla="*/ 867664 w 924559"/>
              <a:gd name="connsiteY13" fmla="*/ 23368 h 86360"/>
              <a:gd name="connsiteX14" fmla="*/ 905764 w 924559"/>
              <a:gd name="connsiteY14" fmla="*/ 89408 h 86360"/>
              <a:gd name="connsiteX15" fmla="*/ 929132 w 924559"/>
              <a:gd name="connsiteY15" fmla="*/ 89408 h 86360"/>
              <a:gd name="connsiteX16" fmla="*/ 929132 w 924559"/>
              <a:gd name="connsiteY16" fmla="*/ 1524 h 86360"/>
              <a:gd name="connsiteX17" fmla="*/ 756920 w 924559"/>
              <a:gd name="connsiteY17" fmla="*/ 23368 h 86360"/>
              <a:gd name="connsiteX18" fmla="*/ 773684 w 924559"/>
              <a:gd name="connsiteY18" fmla="*/ 15748 h 86360"/>
              <a:gd name="connsiteX19" fmla="*/ 790448 w 924559"/>
              <a:gd name="connsiteY19" fmla="*/ 23368 h 86360"/>
              <a:gd name="connsiteX20" fmla="*/ 795528 w 924559"/>
              <a:gd name="connsiteY20" fmla="*/ 44704 h 86360"/>
              <a:gd name="connsiteX21" fmla="*/ 790448 w 924559"/>
              <a:gd name="connsiteY21" fmla="*/ 66040 h 86360"/>
              <a:gd name="connsiteX22" fmla="*/ 773684 w 924559"/>
              <a:gd name="connsiteY22" fmla="*/ 73660 h 86360"/>
              <a:gd name="connsiteX23" fmla="*/ 756920 w 924559"/>
              <a:gd name="connsiteY23" fmla="*/ 66040 h 86360"/>
              <a:gd name="connsiteX24" fmla="*/ 751840 w 924559"/>
              <a:gd name="connsiteY24" fmla="*/ 44704 h 86360"/>
              <a:gd name="connsiteX25" fmla="*/ 756920 w 924559"/>
              <a:gd name="connsiteY25" fmla="*/ 23368 h 86360"/>
              <a:gd name="connsiteX26" fmla="*/ 810768 w 924559"/>
              <a:gd name="connsiteY26" fmla="*/ 21336 h 86360"/>
              <a:gd name="connsiteX27" fmla="*/ 797052 w 924559"/>
              <a:gd name="connsiteY27" fmla="*/ 5588 h 86360"/>
              <a:gd name="connsiteX28" fmla="*/ 773684 w 924559"/>
              <a:gd name="connsiteY28" fmla="*/ 0 h 86360"/>
              <a:gd name="connsiteX29" fmla="*/ 750316 w 924559"/>
              <a:gd name="connsiteY29" fmla="*/ 5588 h 86360"/>
              <a:gd name="connsiteX30" fmla="*/ 736600 w 924559"/>
              <a:gd name="connsiteY30" fmla="*/ 21336 h 86360"/>
              <a:gd name="connsiteX31" fmla="*/ 732028 w 924559"/>
              <a:gd name="connsiteY31" fmla="*/ 44704 h 86360"/>
              <a:gd name="connsiteX32" fmla="*/ 736600 w 924559"/>
              <a:gd name="connsiteY32" fmla="*/ 68580 h 86360"/>
              <a:gd name="connsiteX33" fmla="*/ 750316 w 924559"/>
              <a:gd name="connsiteY33" fmla="*/ 84328 h 86360"/>
              <a:gd name="connsiteX34" fmla="*/ 773684 w 924559"/>
              <a:gd name="connsiteY34" fmla="*/ 89916 h 86360"/>
              <a:gd name="connsiteX35" fmla="*/ 797052 w 924559"/>
              <a:gd name="connsiteY35" fmla="*/ 84328 h 86360"/>
              <a:gd name="connsiteX36" fmla="*/ 810768 w 924559"/>
              <a:gd name="connsiteY36" fmla="*/ 68580 h 86360"/>
              <a:gd name="connsiteX37" fmla="*/ 815340 w 924559"/>
              <a:gd name="connsiteY37" fmla="*/ 45212 h 86360"/>
              <a:gd name="connsiteX38" fmla="*/ 810768 w 924559"/>
              <a:gd name="connsiteY38" fmla="*/ 21336 h 86360"/>
              <a:gd name="connsiteX39" fmla="*/ 703072 w 924559"/>
              <a:gd name="connsiteY39" fmla="*/ 78232 h 86360"/>
              <a:gd name="connsiteX40" fmla="*/ 692404 w 924559"/>
              <a:gd name="connsiteY40" fmla="*/ 73152 h 86360"/>
              <a:gd name="connsiteX41" fmla="*/ 692404 w 924559"/>
              <a:gd name="connsiteY41" fmla="*/ 17272 h 86360"/>
              <a:gd name="connsiteX42" fmla="*/ 703072 w 924559"/>
              <a:gd name="connsiteY42" fmla="*/ 12192 h 86360"/>
              <a:gd name="connsiteX43" fmla="*/ 703072 w 924559"/>
              <a:gd name="connsiteY43" fmla="*/ 1524 h 86360"/>
              <a:gd name="connsiteX44" fmla="*/ 663448 w 924559"/>
              <a:gd name="connsiteY44" fmla="*/ 1524 h 86360"/>
              <a:gd name="connsiteX45" fmla="*/ 663448 w 924559"/>
              <a:gd name="connsiteY45" fmla="*/ 12192 h 86360"/>
              <a:gd name="connsiteX46" fmla="*/ 674116 w 924559"/>
              <a:gd name="connsiteY46" fmla="*/ 17272 h 86360"/>
              <a:gd name="connsiteX47" fmla="*/ 674116 w 924559"/>
              <a:gd name="connsiteY47" fmla="*/ 73152 h 86360"/>
              <a:gd name="connsiteX48" fmla="*/ 663448 w 924559"/>
              <a:gd name="connsiteY48" fmla="*/ 78232 h 86360"/>
              <a:gd name="connsiteX49" fmla="*/ 663448 w 924559"/>
              <a:gd name="connsiteY49" fmla="*/ 88900 h 86360"/>
              <a:gd name="connsiteX50" fmla="*/ 703072 w 924559"/>
              <a:gd name="connsiteY50" fmla="*/ 88900 h 86360"/>
              <a:gd name="connsiteX51" fmla="*/ 703072 w 924559"/>
              <a:gd name="connsiteY51" fmla="*/ 78232 h 86360"/>
              <a:gd name="connsiteX52" fmla="*/ 615188 w 924559"/>
              <a:gd name="connsiteY52" fmla="*/ 17272 h 86360"/>
              <a:gd name="connsiteX53" fmla="*/ 639064 w 924559"/>
              <a:gd name="connsiteY53" fmla="*/ 17272 h 86360"/>
              <a:gd name="connsiteX54" fmla="*/ 639064 w 924559"/>
              <a:gd name="connsiteY54" fmla="*/ 2032 h 86360"/>
              <a:gd name="connsiteX55" fmla="*/ 573532 w 924559"/>
              <a:gd name="connsiteY55" fmla="*/ 2032 h 86360"/>
              <a:gd name="connsiteX56" fmla="*/ 573532 w 924559"/>
              <a:gd name="connsiteY56" fmla="*/ 17272 h 86360"/>
              <a:gd name="connsiteX57" fmla="*/ 597408 w 924559"/>
              <a:gd name="connsiteY57" fmla="*/ 17272 h 86360"/>
              <a:gd name="connsiteX58" fmla="*/ 597408 w 924559"/>
              <a:gd name="connsiteY58" fmla="*/ 88900 h 86360"/>
              <a:gd name="connsiteX59" fmla="*/ 615696 w 924559"/>
              <a:gd name="connsiteY59" fmla="*/ 88900 h 86360"/>
              <a:gd name="connsiteX60" fmla="*/ 615696 w 924559"/>
              <a:gd name="connsiteY60" fmla="*/ 17272 h 86360"/>
              <a:gd name="connsiteX61" fmla="*/ 541528 w 924559"/>
              <a:gd name="connsiteY61" fmla="*/ 1524 h 86360"/>
              <a:gd name="connsiteX62" fmla="*/ 524764 w 924559"/>
              <a:gd name="connsiteY62" fmla="*/ 1524 h 86360"/>
              <a:gd name="connsiteX63" fmla="*/ 524764 w 924559"/>
              <a:gd name="connsiteY63" fmla="*/ 42672 h 86360"/>
              <a:gd name="connsiteX64" fmla="*/ 525272 w 924559"/>
              <a:gd name="connsiteY64" fmla="*/ 54864 h 86360"/>
              <a:gd name="connsiteX65" fmla="*/ 525780 w 924559"/>
              <a:gd name="connsiteY65" fmla="*/ 67056 h 86360"/>
              <a:gd name="connsiteX66" fmla="*/ 525272 w 924559"/>
              <a:gd name="connsiteY66" fmla="*/ 67056 h 86360"/>
              <a:gd name="connsiteX67" fmla="*/ 487680 w 924559"/>
              <a:gd name="connsiteY67" fmla="*/ 2032 h 86360"/>
              <a:gd name="connsiteX68" fmla="*/ 464312 w 924559"/>
              <a:gd name="connsiteY68" fmla="*/ 2032 h 86360"/>
              <a:gd name="connsiteX69" fmla="*/ 464312 w 924559"/>
              <a:gd name="connsiteY69" fmla="*/ 88900 h 86360"/>
              <a:gd name="connsiteX70" fmla="*/ 480568 w 924559"/>
              <a:gd name="connsiteY70" fmla="*/ 88900 h 86360"/>
              <a:gd name="connsiteX71" fmla="*/ 480568 w 924559"/>
              <a:gd name="connsiteY71" fmla="*/ 47752 h 86360"/>
              <a:gd name="connsiteX72" fmla="*/ 480060 w 924559"/>
              <a:gd name="connsiteY72" fmla="*/ 35560 h 86360"/>
              <a:gd name="connsiteX73" fmla="*/ 479552 w 924559"/>
              <a:gd name="connsiteY73" fmla="*/ 23368 h 86360"/>
              <a:gd name="connsiteX74" fmla="*/ 480060 w 924559"/>
              <a:gd name="connsiteY74" fmla="*/ 23368 h 86360"/>
              <a:gd name="connsiteX75" fmla="*/ 518160 w 924559"/>
              <a:gd name="connsiteY75" fmla="*/ 89408 h 86360"/>
              <a:gd name="connsiteX76" fmla="*/ 541528 w 924559"/>
              <a:gd name="connsiteY76" fmla="*/ 89408 h 86360"/>
              <a:gd name="connsiteX77" fmla="*/ 541528 w 924559"/>
              <a:gd name="connsiteY77" fmla="*/ 1524 h 86360"/>
              <a:gd name="connsiteX78" fmla="*/ 427736 w 924559"/>
              <a:gd name="connsiteY78" fmla="*/ 73660 h 86360"/>
              <a:gd name="connsiteX79" fmla="*/ 396240 w 924559"/>
              <a:gd name="connsiteY79" fmla="*/ 73660 h 86360"/>
              <a:gd name="connsiteX80" fmla="*/ 396240 w 924559"/>
              <a:gd name="connsiteY80" fmla="*/ 51308 h 86360"/>
              <a:gd name="connsiteX81" fmla="*/ 425704 w 924559"/>
              <a:gd name="connsiteY81" fmla="*/ 51308 h 86360"/>
              <a:gd name="connsiteX82" fmla="*/ 425704 w 924559"/>
              <a:gd name="connsiteY82" fmla="*/ 36068 h 86360"/>
              <a:gd name="connsiteX83" fmla="*/ 396240 w 924559"/>
              <a:gd name="connsiteY83" fmla="*/ 36068 h 86360"/>
              <a:gd name="connsiteX84" fmla="*/ 396240 w 924559"/>
              <a:gd name="connsiteY84" fmla="*/ 16764 h 86360"/>
              <a:gd name="connsiteX85" fmla="*/ 427736 w 924559"/>
              <a:gd name="connsiteY85" fmla="*/ 16764 h 86360"/>
              <a:gd name="connsiteX86" fmla="*/ 427736 w 924559"/>
              <a:gd name="connsiteY86" fmla="*/ 1524 h 86360"/>
              <a:gd name="connsiteX87" fmla="*/ 377444 w 924559"/>
              <a:gd name="connsiteY87" fmla="*/ 1524 h 86360"/>
              <a:gd name="connsiteX88" fmla="*/ 377444 w 924559"/>
              <a:gd name="connsiteY88" fmla="*/ 88392 h 86360"/>
              <a:gd name="connsiteX89" fmla="*/ 427736 w 924559"/>
              <a:gd name="connsiteY89" fmla="*/ 88392 h 86360"/>
              <a:gd name="connsiteX90" fmla="*/ 427736 w 924559"/>
              <a:gd name="connsiteY90" fmla="*/ 73660 h 86360"/>
              <a:gd name="connsiteX91" fmla="*/ 329692 w 924559"/>
              <a:gd name="connsiteY91" fmla="*/ 1524 h 86360"/>
              <a:gd name="connsiteX92" fmla="*/ 313436 w 924559"/>
              <a:gd name="connsiteY92" fmla="*/ 53340 h 86360"/>
              <a:gd name="connsiteX93" fmla="*/ 311912 w 924559"/>
              <a:gd name="connsiteY93" fmla="*/ 58420 h 86360"/>
              <a:gd name="connsiteX94" fmla="*/ 309880 w 924559"/>
              <a:gd name="connsiteY94" fmla="*/ 66040 h 86360"/>
              <a:gd name="connsiteX95" fmla="*/ 308356 w 924559"/>
              <a:gd name="connsiteY95" fmla="*/ 72644 h 86360"/>
              <a:gd name="connsiteX96" fmla="*/ 306832 w 924559"/>
              <a:gd name="connsiteY96" fmla="*/ 66040 h 86360"/>
              <a:gd name="connsiteX97" fmla="*/ 304800 w 924559"/>
              <a:gd name="connsiteY97" fmla="*/ 58420 h 86360"/>
              <a:gd name="connsiteX98" fmla="*/ 303276 w 924559"/>
              <a:gd name="connsiteY98" fmla="*/ 53340 h 86360"/>
              <a:gd name="connsiteX99" fmla="*/ 287020 w 924559"/>
              <a:gd name="connsiteY99" fmla="*/ 1524 h 86360"/>
              <a:gd name="connsiteX100" fmla="*/ 268224 w 924559"/>
              <a:gd name="connsiteY100" fmla="*/ 1524 h 86360"/>
              <a:gd name="connsiteX101" fmla="*/ 297688 w 924559"/>
              <a:gd name="connsiteY101" fmla="*/ 88392 h 86360"/>
              <a:gd name="connsiteX102" fmla="*/ 318008 w 924559"/>
              <a:gd name="connsiteY102" fmla="*/ 88392 h 86360"/>
              <a:gd name="connsiteX103" fmla="*/ 347472 w 924559"/>
              <a:gd name="connsiteY103" fmla="*/ 1524 h 86360"/>
              <a:gd name="connsiteX104" fmla="*/ 329692 w 924559"/>
              <a:gd name="connsiteY104" fmla="*/ 1524 h 86360"/>
              <a:gd name="connsiteX105" fmla="*/ 243840 w 924559"/>
              <a:gd name="connsiteY105" fmla="*/ 73660 h 86360"/>
              <a:gd name="connsiteX106" fmla="*/ 211836 w 924559"/>
              <a:gd name="connsiteY106" fmla="*/ 73660 h 86360"/>
              <a:gd name="connsiteX107" fmla="*/ 211836 w 924559"/>
              <a:gd name="connsiteY107" fmla="*/ 51308 h 86360"/>
              <a:gd name="connsiteX108" fmla="*/ 241300 w 924559"/>
              <a:gd name="connsiteY108" fmla="*/ 51308 h 86360"/>
              <a:gd name="connsiteX109" fmla="*/ 241300 w 924559"/>
              <a:gd name="connsiteY109" fmla="*/ 36068 h 86360"/>
              <a:gd name="connsiteX110" fmla="*/ 211836 w 924559"/>
              <a:gd name="connsiteY110" fmla="*/ 36068 h 86360"/>
              <a:gd name="connsiteX111" fmla="*/ 211836 w 924559"/>
              <a:gd name="connsiteY111" fmla="*/ 16764 h 86360"/>
              <a:gd name="connsiteX112" fmla="*/ 243332 w 924559"/>
              <a:gd name="connsiteY112" fmla="*/ 16764 h 86360"/>
              <a:gd name="connsiteX113" fmla="*/ 243332 w 924559"/>
              <a:gd name="connsiteY113" fmla="*/ 1524 h 86360"/>
              <a:gd name="connsiteX114" fmla="*/ 193040 w 924559"/>
              <a:gd name="connsiteY114" fmla="*/ 1524 h 86360"/>
              <a:gd name="connsiteX115" fmla="*/ 193040 w 924559"/>
              <a:gd name="connsiteY115" fmla="*/ 88392 h 86360"/>
              <a:gd name="connsiteX116" fmla="*/ 243332 w 924559"/>
              <a:gd name="connsiteY116" fmla="*/ 88392 h 86360"/>
              <a:gd name="connsiteX117" fmla="*/ 243332 w 924559"/>
              <a:gd name="connsiteY117" fmla="*/ 73660 h 86360"/>
              <a:gd name="connsiteX118" fmla="*/ 132080 w 924559"/>
              <a:gd name="connsiteY118" fmla="*/ 19304 h 86360"/>
              <a:gd name="connsiteX119" fmla="*/ 136144 w 924559"/>
              <a:gd name="connsiteY119" fmla="*/ 27940 h 86360"/>
              <a:gd name="connsiteX120" fmla="*/ 132080 w 924559"/>
              <a:gd name="connsiteY120" fmla="*/ 37084 h 86360"/>
              <a:gd name="connsiteX121" fmla="*/ 118872 w 924559"/>
              <a:gd name="connsiteY121" fmla="*/ 40132 h 86360"/>
              <a:gd name="connsiteX122" fmla="*/ 112776 w 924559"/>
              <a:gd name="connsiteY122" fmla="*/ 40132 h 86360"/>
              <a:gd name="connsiteX123" fmla="*/ 112776 w 924559"/>
              <a:gd name="connsiteY123" fmla="*/ 16764 h 86360"/>
              <a:gd name="connsiteX124" fmla="*/ 118364 w 924559"/>
              <a:gd name="connsiteY124" fmla="*/ 16764 h 86360"/>
              <a:gd name="connsiteX125" fmla="*/ 132080 w 924559"/>
              <a:gd name="connsiteY125" fmla="*/ 19304 h 86360"/>
              <a:gd name="connsiteX126" fmla="*/ 94996 w 924559"/>
              <a:gd name="connsiteY126" fmla="*/ 1524 h 86360"/>
              <a:gd name="connsiteX127" fmla="*/ 94996 w 924559"/>
              <a:gd name="connsiteY127" fmla="*/ 88392 h 86360"/>
              <a:gd name="connsiteX128" fmla="*/ 113284 w 924559"/>
              <a:gd name="connsiteY128" fmla="*/ 88392 h 86360"/>
              <a:gd name="connsiteX129" fmla="*/ 113284 w 924559"/>
              <a:gd name="connsiteY129" fmla="*/ 54864 h 86360"/>
              <a:gd name="connsiteX130" fmla="*/ 122936 w 924559"/>
              <a:gd name="connsiteY130" fmla="*/ 54864 h 86360"/>
              <a:gd name="connsiteX131" fmla="*/ 143764 w 924559"/>
              <a:gd name="connsiteY131" fmla="*/ 88392 h 86360"/>
              <a:gd name="connsiteX132" fmla="*/ 164084 w 924559"/>
              <a:gd name="connsiteY132" fmla="*/ 88392 h 86360"/>
              <a:gd name="connsiteX133" fmla="*/ 138684 w 924559"/>
              <a:gd name="connsiteY133" fmla="*/ 50292 h 86360"/>
              <a:gd name="connsiteX134" fmla="*/ 146812 w 924559"/>
              <a:gd name="connsiteY134" fmla="*/ 45212 h 86360"/>
              <a:gd name="connsiteX135" fmla="*/ 152908 w 924559"/>
              <a:gd name="connsiteY135" fmla="*/ 37592 h 86360"/>
              <a:gd name="connsiteX136" fmla="*/ 154940 w 924559"/>
              <a:gd name="connsiteY136" fmla="*/ 26924 h 86360"/>
              <a:gd name="connsiteX137" fmla="*/ 146304 w 924559"/>
              <a:gd name="connsiteY137" fmla="*/ 7112 h 86360"/>
              <a:gd name="connsiteX138" fmla="*/ 119888 w 924559"/>
              <a:gd name="connsiteY138" fmla="*/ 508 h 86360"/>
              <a:gd name="connsiteX139" fmla="*/ 94996 w 924559"/>
              <a:gd name="connsiteY139" fmla="*/ 508 h 86360"/>
              <a:gd name="connsiteX140" fmla="*/ 41656 w 924559"/>
              <a:gd name="connsiteY140" fmla="*/ 29464 h 86360"/>
              <a:gd name="connsiteX141" fmla="*/ 37084 w 924559"/>
              <a:gd name="connsiteY141" fmla="*/ 39624 h 86360"/>
              <a:gd name="connsiteX142" fmla="*/ 24892 w 924559"/>
              <a:gd name="connsiteY142" fmla="*/ 42672 h 86360"/>
              <a:gd name="connsiteX143" fmla="*/ 18796 w 924559"/>
              <a:gd name="connsiteY143" fmla="*/ 42672 h 86360"/>
              <a:gd name="connsiteX144" fmla="*/ 18796 w 924559"/>
              <a:gd name="connsiteY144" fmla="*/ 16764 h 86360"/>
              <a:gd name="connsiteX145" fmla="*/ 27432 w 924559"/>
              <a:gd name="connsiteY145" fmla="*/ 16764 h 86360"/>
              <a:gd name="connsiteX146" fmla="*/ 41656 w 924559"/>
              <a:gd name="connsiteY146" fmla="*/ 29464 h 86360"/>
              <a:gd name="connsiteX147" fmla="*/ 0 w 924559"/>
              <a:gd name="connsiteY147" fmla="*/ 1524 h 86360"/>
              <a:gd name="connsiteX148" fmla="*/ 0 w 924559"/>
              <a:gd name="connsiteY148" fmla="*/ 88392 h 86360"/>
              <a:gd name="connsiteX149" fmla="*/ 18288 w 924559"/>
              <a:gd name="connsiteY149" fmla="*/ 88392 h 86360"/>
              <a:gd name="connsiteX150" fmla="*/ 18288 w 924559"/>
              <a:gd name="connsiteY150" fmla="*/ 57912 h 86360"/>
              <a:gd name="connsiteX151" fmla="*/ 26416 w 924559"/>
              <a:gd name="connsiteY151" fmla="*/ 57912 h 86360"/>
              <a:gd name="connsiteX152" fmla="*/ 46228 w 924559"/>
              <a:gd name="connsiteY152" fmla="*/ 53848 h 86360"/>
              <a:gd name="connsiteX153" fmla="*/ 56896 w 924559"/>
              <a:gd name="connsiteY153" fmla="*/ 43180 h 86360"/>
              <a:gd name="connsiteX154" fmla="*/ 59944 w 924559"/>
              <a:gd name="connsiteY154" fmla="*/ 28956 h 86360"/>
              <a:gd name="connsiteX155" fmla="*/ 52324 w 924559"/>
              <a:gd name="connsiteY155" fmla="*/ 9144 h 86360"/>
              <a:gd name="connsiteX156" fmla="*/ 27940 w 924559"/>
              <a:gd name="connsiteY156" fmla="*/ 2032 h 86360"/>
              <a:gd name="connsiteX157" fmla="*/ 0 w 924559"/>
              <a:gd name="connsiteY157" fmla="*/ 2032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924559" h="86360">
                <a:moveTo>
                  <a:pt x="928624" y="1524"/>
                </a:moveTo>
                <a:lnTo>
                  <a:pt x="911860" y="1524"/>
                </a:lnTo>
                <a:lnTo>
                  <a:pt x="911860" y="42672"/>
                </a:lnTo>
                <a:cubicBezTo>
                  <a:pt x="911860" y="46736"/>
                  <a:pt x="911860" y="50800"/>
                  <a:pt x="912368" y="54864"/>
                </a:cubicBezTo>
                <a:cubicBezTo>
                  <a:pt x="912368" y="58928"/>
                  <a:pt x="912876" y="62992"/>
                  <a:pt x="912876" y="67056"/>
                </a:cubicBezTo>
                <a:lnTo>
                  <a:pt x="912876" y="67056"/>
                </a:lnTo>
                <a:lnTo>
                  <a:pt x="875284" y="2032"/>
                </a:lnTo>
                <a:lnTo>
                  <a:pt x="851916" y="2032"/>
                </a:lnTo>
                <a:lnTo>
                  <a:pt x="851916" y="88900"/>
                </a:lnTo>
                <a:lnTo>
                  <a:pt x="868172" y="88900"/>
                </a:lnTo>
                <a:lnTo>
                  <a:pt x="868172" y="47752"/>
                </a:lnTo>
                <a:cubicBezTo>
                  <a:pt x="868172" y="43688"/>
                  <a:pt x="867664" y="39624"/>
                  <a:pt x="867664" y="35560"/>
                </a:cubicBezTo>
                <a:cubicBezTo>
                  <a:pt x="867664" y="31496"/>
                  <a:pt x="867156" y="27432"/>
                  <a:pt x="867156" y="23368"/>
                </a:cubicBezTo>
                <a:lnTo>
                  <a:pt x="867664" y="23368"/>
                </a:lnTo>
                <a:lnTo>
                  <a:pt x="905764" y="89408"/>
                </a:lnTo>
                <a:lnTo>
                  <a:pt x="929132" y="89408"/>
                </a:lnTo>
                <a:lnTo>
                  <a:pt x="929132" y="1524"/>
                </a:lnTo>
                <a:close/>
                <a:moveTo>
                  <a:pt x="756920" y="23368"/>
                </a:moveTo>
                <a:cubicBezTo>
                  <a:pt x="760476" y="18288"/>
                  <a:pt x="766064" y="15748"/>
                  <a:pt x="773684" y="15748"/>
                </a:cubicBezTo>
                <a:cubicBezTo>
                  <a:pt x="781304" y="15748"/>
                  <a:pt x="786892" y="18288"/>
                  <a:pt x="790448" y="23368"/>
                </a:cubicBezTo>
                <a:cubicBezTo>
                  <a:pt x="794004" y="28448"/>
                  <a:pt x="795528" y="35560"/>
                  <a:pt x="795528" y="44704"/>
                </a:cubicBezTo>
                <a:cubicBezTo>
                  <a:pt x="795528" y="53848"/>
                  <a:pt x="794004" y="60960"/>
                  <a:pt x="790448" y="66040"/>
                </a:cubicBezTo>
                <a:cubicBezTo>
                  <a:pt x="786892" y="71120"/>
                  <a:pt x="781304" y="73660"/>
                  <a:pt x="773684" y="73660"/>
                </a:cubicBezTo>
                <a:cubicBezTo>
                  <a:pt x="766064" y="73660"/>
                  <a:pt x="760476" y="71120"/>
                  <a:pt x="756920" y="66040"/>
                </a:cubicBezTo>
                <a:cubicBezTo>
                  <a:pt x="753364" y="60960"/>
                  <a:pt x="751840" y="53848"/>
                  <a:pt x="751840" y="44704"/>
                </a:cubicBezTo>
                <a:cubicBezTo>
                  <a:pt x="751840" y="36068"/>
                  <a:pt x="753364" y="28956"/>
                  <a:pt x="756920" y="23368"/>
                </a:cubicBezTo>
                <a:moveTo>
                  <a:pt x="810768" y="21336"/>
                </a:moveTo>
                <a:cubicBezTo>
                  <a:pt x="807720" y="14732"/>
                  <a:pt x="803148" y="9652"/>
                  <a:pt x="797052" y="5588"/>
                </a:cubicBezTo>
                <a:cubicBezTo>
                  <a:pt x="790956" y="2032"/>
                  <a:pt x="783336" y="0"/>
                  <a:pt x="773684" y="0"/>
                </a:cubicBezTo>
                <a:cubicBezTo>
                  <a:pt x="764032" y="0"/>
                  <a:pt x="756412" y="2032"/>
                  <a:pt x="750316" y="5588"/>
                </a:cubicBezTo>
                <a:cubicBezTo>
                  <a:pt x="744220" y="9144"/>
                  <a:pt x="739648" y="14224"/>
                  <a:pt x="736600" y="21336"/>
                </a:cubicBezTo>
                <a:cubicBezTo>
                  <a:pt x="733552" y="27940"/>
                  <a:pt x="732028" y="36068"/>
                  <a:pt x="732028" y="44704"/>
                </a:cubicBezTo>
                <a:cubicBezTo>
                  <a:pt x="732028" y="53848"/>
                  <a:pt x="733552" y="61468"/>
                  <a:pt x="736600" y="68580"/>
                </a:cubicBezTo>
                <a:cubicBezTo>
                  <a:pt x="739648" y="75184"/>
                  <a:pt x="744220" y="80772"/>
                  <a:pt x="750316" y="84328"/>
                </a:cubicBezTo>
                <a:cubicBezTo>
                  <a:pt x="756412" y="87884"/>
                  <a:pt x="764032" y="89916"/>
                  <a:pt x="773684" y="89916"/>
                </a:cubicBezTo>
                <a:cubicBezTo>
                  <a:pt x="783336" y="89916"/>
                  <a:pt x="790956" y="87884"/>
                  <a:pt x="797052" y="84328"/>
                </a:cubicBezTo>
                <a:cubicBezTo>
                  <a:pt x="803148" y="80772"/>
                  <a:pt x="807720" y="75184"/>
                  <a:pt x="810768" y="68580"/>
                </a:cubicBezTo>
                <a:cubicBezTo>
                  <a:pt x="813816" y="61976"/>
                  <a:pt x="815340" y="53848"/>
                  <a:pt x="815340" y="45212"/>
                </a:cubicBezTo>
                <a:cubicBezTo>
                  <a:pt x="815340" y="36068"/>
                  <a:pt x="813816" y="28448"/>
                  <a:pt x="810768" y="21336"/>
                </a:cubicBezTo>
                <a:moveTo>
                  <a:pt x="703072" y="78232"/>
                </a:moveTo>
                <a:lnTo>
                  <a:pt x="692404" y="73152"/>
                </a:lnTo>
                <a:lnTo>
                  <a:pt x="692404" y="17272"/>
                </a:lnTo>
                <a:lnTo>
                  <a:pt x="703072" y="12192"/>
                </a:lnTo>
                <a:lnTo>
                  <a:pt x="703072" y="1524"/>
                </a:lnTo>
                <a:lnTo>
                  <a:pt x="663448" y="1524"/>
                </a:lnTo>
                <a:lnTo>
                  <a:pt x="663448" y="12192"/>
                </a:lnTo>
                <a:lnTo>
                  <a:pt x="674116" y="17272"/>
                </a:lnTo>
                <a:lnTo>
                  <a:pt x="674116" y="73152"/>
                </a:lnTo>
                <a:lnTo>
                  <a:pt x="663448" y="78232"/>
                </a:lnTo>
                <a:lnTo>
                  <a:pt x="663448" y="88900"/>
                </a:lnTo>
                <a:lnTo>
                  <a:pt x="703072" y="88900"/>
                </a:lnTo>
                <a:lnTo>
                  <a:pt x="703072" y="78232"/>
                </a:lnTo>
                <a:close/>
                <a:moveTo>
                  <a:pt x="615188" y="17272"/>
                </a:moveTo>
                <a:lnTo>
                  <a:pt x="639064" y="17272"/>
                </a:lnTo>
                <a:lnTo>
                  <a:pt x="639064" y="2032"/>
                </a:lnTo>
                <a:lnTo>
                  <a:pt x="573532" y="2032"/>
                </a:lnTo>
                <a:lnTo>
                  <a:pt x="573532" y="17272"/>
                </a:lnTo>
                <a:lnTo>
                  <a:pt x="597408" y="17272"/>
                </a:lnTo>
                <a:lnTo>
                  <a:pt x="597408" y="88900"/>
                </a:lnTo>
                <a:lnTo>
                  <a:pt x="615696" y="88900"/>
                </a:lnTo>
                <a:lnTo>
                  <a:pt x="615696" y="17272"/>
                </a:lnTo>
                <a:close/>
                <a:moveTo>
                  <a:pt x="541528" y="1524"/>
                </a:moveTo>
                <a:lnTo>
                  <a:pt x="524764" y="1524"/>
                </a:lnTo>
                <a:lnTo>
                  <a:pt x="524764" y="42672"/>
                </a:lnTo>
                <a:cubicBezTo>
                  <a:pt x="524764" y="46736"/>
                  <a:pt x="524764" y="50800"/>
                  <a:pt x="525272" y="54864"/>
                </a:cubicBezTo>
                <a:cubicBezTo>
                  <a:pt x="525272" y="58928"/>
                  <a:pt x="525780" y="62992"/>
                  <a:pt x="525780" y="67056"/>
                </a:cubicBezTo>
                <a:lnTo>
                  <a:pt x="525272" y="67056"/>
                </a:lnTo>
                <a:lnTo>
                  <a:pt x="487680" y="2032"/>
                </a:lnTo>
                <a:lnTo>
                  <a:pt x="464312" y="2032"/>
                </a:lnTo>
                <a:lnTo>
                  <a:pt x="464312" y="88900"/>
                </a:lnTo>
                <a:lnTo>
                  <a:pt x="480568" y="88900"/>
                </a:lnTo>
                <a:lnTo>
                  <a:pt x="480568" y="47752"/>
                </a:lnTo>
                <a:cubicBezTo>
                  <a:pt x="480568" y="43688"/>
                  <a:pt x="480060" y="39624"/>
                  <a:pt x="480060" y="35560"/>
                </a:cubicBezTo>
                <a:cubicBezTo>
                  <a:pt x="480060" y="31496"/>
                  <a:pt x="479552" y="27432"/>
                  <a:pt x="479552" y="23368"/>
                </a:cubicBezTo>
                <a:lnTo>
                  <a:pt x="480060" y="23368"/>
                </a:lnTo>
                <a:lnTo>
                  <a:pt x="518160" y="89408"/>
                </a:lnTo>
                <a:lnTo>
                  <a:pt x="541528" y="89408"/>
                </a:lnTo>
                <a:lnTo>
                  <a:pt x="541528" y="1524"/>
                </a:lnTo>
                <a:close/>
                <a:moveTo>
                  <a:pt x="427736" y="73660"/>
                </a:moveTo>
                <a:lnTo>
                  <a:pt x="396240" y="73660"/>
                </a:lnTo>
                <a:lnTo>
                  <a:pt x="396240" y="51308"/>
                </a:lnTo>
                <a:lnTo>
                  <a:pt x="425704" y="51308"/>
                </a:lnTo>
                <a:lnTo>
                  <a:pt x="425704" y="36068"/>
                </a:lnTo>
                <a:lnTo>
                  <a:pt x="396240" y="36068"/>
                </a:lnTo>
                <a:lnTo>
                  <a:pt x="396240" y="16764"/>
                </a:lnTo>
                <a:lnTo>
                  <a:pt x="427736" y="16764"/>
                </a:lnTo>
                <a:lnTo>
                  <a:pt x="427736" y="1524"/>
                </a:lnTo>
                <a:lnTo>
                  <a:pt x="377444" y="1524"/>
                </a:lnTo>
                <a:lnTo>
                  <a:pt x="377444" y="88392"/>
                </a:lnTo>
                <a:lnTo>
                  <a:pt x="427736" y="88392"/>
                </a:lnTo>
                <a:lnTo>
                  <a:pt x="427736" y="73660"/>
                </a:lnTo>
                <a:close/>
                <a:moveTo>
                  <a:pt x="329692" y="1524"/>
                </a:moveTo>
                <a:lnTo>
                  <a:pt x="313436" y="53340"/>
                </a:lnTo>
                <a:cubicBezTo>
                  <a:pt x="312928" y="54356"/>
                  <a:pt x="312420" y="55880"/>
                  <a:pt x="311912" y="58420"/>
                </a:cubicBezTo>
                <a:cubicBezTo>
                  <a:pt x="311404" y="60960"/>
                  <a:pt x="310896" y="63500"/>
                  <a:pt x="309880" y="66040"/>
                </a:cubicBezTo>
                <a:cubicBezTo>
                  <a:pt x="309372" y="68580"/>
                  <a:pt x="308864" y="71120"/>
                  <a:pt x="308356" y="72644"/>
                </a:cubicBezTo>
                <a:cubicBezTo>
                  <a:pt x="308356" y="70612"/>
                  <a:pt x="307848" y="68580"/>
                  <a:pt x="306832" y="66040"/>
                </a:cubicBezTo>
                <a:cubicBezTo>
                  <a:pt x="306324" y="63500"/>
                  <a:pt x="305308" y="60960"/>
                  <a:pt x="304800" y="58420"/>
                </a:cubicBezTo>
                <a:cubicBezTo>
                  <a:pt x="304292" y="55880"/>
                  <a:pt x="303784" y="54356"/>
                  <a:pt x="303276" y="53340"/>
                </a:cubicBezTo>
                <a:lnTo>
                  <a:pt x="287020" y="1524"/>
                </a:lnTo>
                <a:lnTo>
                  <a:pt x="268224" y="1524"/>
                </a:lnTo>
                <a:lnTo>
                  <a:pt x="297688" y="88392"/>
                </a:lnTo>
                <a:lnTo>
                  <a:pt x="318008" y="88392"/>
                </a:lnTo>
                <a:lnTo>
                  <a:pt x="347472" y="1524"/>
                </a:lnTo>
                <a:lnTo>
                  <a:pt x="329692" y="1524"/>
                </a:lnTo>
                <a:close/>
                <a:moveTo>
                  <a:pt x="243840" y="73660"/>
                </a:moveTo>
                <a:lnTo>
                  <a:pt x="211836" y="73660"/>
                </a:lnTo>
                <a:lnTo>
                  <a:pt x="211836" y="51308"/>
                </a:lnTo>
                <a:lnTo>
                  <a:pt x="241300" y="51308"/>
                </a:lnTo>
                <a:lnTo>
                  <a:pt x="241300" y="36068"/>
                </a:lnTo>
                <a:lnTo>
                  <a:pt x="211836" y="36068"/>
                </a:lnTo>
                <a:lnTo>
                  <a:pt x="211836" y="16764"/>
                </a:lnTo>
                <a:lnTo>
                  <a:pt x="243332" y="16764"/>
                </a:lnTo>
                <a:lnTo>
                  <a:pt x="243332" y="1524"/>
                </a:lnTo>
                <a:lnTo>
                  <a:pt x="193040" y="1524"/>
                </a:lnTo>
                <a:lnTo>
                  <a:pt x="193040" y="88392"/>
                </a:lnTo>
                <a:lnTo>
                  <a:pt x="243332" y="88392"/>
                </a:lnTo>
                <a:lnTo>
                  <a:pt x="243332" y="73660"/>
                </a:lnTo>
                <a:close/>
                <a:moveTo>
                  <a:pt x="132080" y="19304"/>
                </a:moveTo>
                <a:cubicBezTo>
                  <a:pt x="135128" y="20828"/>
                  <a:pt x="136144" y="23876"/>
                  <a:pt x="136144" y="27940"/>
                </a:cubicBezTo>
                <a:cubicBezTo>
                  <a:pt x="136144" y="32004"/>
                  <a:pt x="134620" y="35052"/>
                  <a:pt x="132080" y="37084"/>
                </a:cubicBezTo>
                <a:cubicBezTo>
                  <a:pt x="129540" y="39116"/>
                  <a:pt x="124968" y="40132"/>
                  <a:pt x="118872" y="40132"/>
                </a:cubicBezTo>
                <a:lnTo>
                  <a:pt x="112776" y="40132"/>
                </a:lnTo>
                <a:lnTo>
                  <a:pt x="112776" y="16764"/>
                </a:lnTo>
                <a:lnTo>
                  <a:pt x="118364" y="16764"/>
                </a:lnTo>
                <a:cubicBezTo>
                  <a:pt x="124968" y="16764"/>
                  <a:pt x="129032" y="17780"/>
                  <a:pt x="132080" y="19304"/>
                </a:cubicBezTo>
                <a:moveTo>
                  <a:pt x="94996" y="1524"/>
                </a:moveTo>
                <a:lnTo>
                  <a:pt x="94996" y="88392"/>
                </a:lnTo>
                <a:lnTo>
                  <a:pt x="113284" y="88392"/>
                </a:lnTo>
                <a:lnTo>
                  <a:pt x="113284" y="54864"/>
                </a:lnTo>
                <a:lnTo>
                  <a:pt x="122936" y="54864"/>
                </a:lnTo>
                <a:lnTo>
                  <a:pt x="143764" y="88392"/>
                </a:lnTo>
                <a:lnTo>
                  <a:pt x="164084" y="88392"/>
                </a:lnTo>
                <a:lnTo>
                  <a:pt x="138684" y="50292"/>
                </a:lnTo>
                <a:cubicBezTo>
                  <a:pt x="141732" y="48768"/>
                  <a:pt x="144272" y="47244"/>
                  <a:pt x="146812" y="45212"/>
                </a:cubicBezTo>
                <a:cubicBezTo>
                  <a:pt x="149352" y="43180"/>
                  <a:pt x="151384" y="40640"/>
                  <a:pt x="152908" y="37592"/>
                </a:cubicBezTo>
                <a:cubicBezTo>
                  <a:pt x="154432" y="34544"/>
                  <a:pt x="154940" y="30988"/>
                  <a:pt x="154940" y="26924"/>
                </a:cubicBezTo>
                <a:cubicBezTo>
                  <a:pt x="154940" y="18288"/>
                  <a:pt x="151892" y="11684"/>
                  <a:pt x="146304" y="7112"/>
                </a:cubicBezTo>
                <a:cubicBezTo>
                  <a:pt x="140716" y="3048"/>
                  <a:pt x="132080" y="508"/>
                  <a:pt x="119888" y="508"/>
                </a:cubicBezTo>
                <a:lnTo>
                  <a:pt x="94996" y="508"/>
                </a:lnTo>
                <a:close/>
                <a:moveTo>
                  <a:pt x="41656" y="29464"/>
                </a:moveTo>
                <a:cubicBezTo>
                  <a:pt x="41656" y="34036"/>
                  <a:pt x="40132" y="37592"/>
                  <a:pt x="37084" y="39624"/>
                </a:cubicBezTo>
                <a:cubicBezTo>
                  <a:pt x="34036" y="41656"/>
                  <a:pt x="29972" y="42672"/>
                  <a:pt x="24892" y="42672"/>
                </a:cubicBezTo>
                <a:lnTo>
                  <a:pt x="18796" y="42672"/>
                </a:lnTo>
                <a:lnTo>
                  <a:pt x="18796" y="16764"/>
                </a:lnTo>
                <a:lnTo>
                  <a:pt x="27432" y="16764"/>
                </a:lnTo>
                <a:cubicBezTo>
                  <a:pt x="36576" y="16764"/>
                  <a:pt x="41656" y="20828"/>
                  <a:pt x="41656" y="29464"/>
                </a:cubicBezTo>
                <a:moveTo>
                  <a:pt x="0" y="1524"/>
                </a:moveTo>
                <a:lnTo>
                  <a:pt x="0" y="88392"/>
                </a:lnTo>
                <a:lnTo>
                  <a:pt x="18288" y="88392"/>
                </a:lnTo>
                <a:lnTo>
                  <a:pt x="18288" y="57912"/>
                </a:lnTo>
                <a:lnTo>
                  <a:pt x="26416" y="57912"/>
                </a:lnTo>
                <a:cubicBezTo>
                  <a:pt x="35052" y="57912"/>
                  <a:pt x="41656" y="56388"/>
                  <a:pt x="46228" y="53848"/>
                </a:cubicBezTo>
                <a:cubicBezTo>
                  <a:pt x="51308" y="51308"/>
                  <a:pt x="54864" y="47752"/>
                  <a:pt x="56896" y="43180"/>
                </a:cubicBezTo>
                <a:cubicBezTo>
                  <a:pt x="58928" y="38608"/>
                  <a:pt x="59944" y="34036"/>
                  <a:pt x="59944" y="28956"/>
                </a:cubicBezTo>
                <a:cubicBezTo>
                  <a:pt x="59944" y="20320"/>
                  <a:pt x="57404" y="13716"/>
                  <a:pt x="52324" y="9144"/>
                </a:cubicBezTo>
                <a:cubicBezTo>
                  <a:pt x="47244" y="4064"/>
                  <a:pt x="39116" y="2032"/>
                  <a:pt x="27940" y="2032"/>
                </a:cubicBezTo>
                <a:lnTo>
                  <a:pt x="0" y="2032"/>
                </a:lnTo>
                <a:close/>
              </a:path>
            </a:pathLst>
          </a:custGeom>
          <a:solidFill>
            <a:srgbClr val="3B97DE"/>
          </a:solidFill>
          <a:ln w="5078" cap="flat">
            <a:noFill/>
            <a:prstDash val="solid"/>
            <a:miter/>
          </a:ln>
        </p:spPr>
        <p:txBody>
          <a:bodyPr rtlCol="0" anchor="ctr"/>
          <a:lstStyle/>
          <a:p>
            <a:endParaRPr lang="en-GB" sz="2400"/>
          </a:p>
        </p:txBody>
      </p:sp>
      <p:sp>
        <p:nvSpPr>
          <p:cNvPr id="54" name="Freeform: Shape 53">
            <a:extLst>
              <a:ext uri="{FF2B5EF4-FFF2-40B4-BE49-F238E27FC236}">
                <a16:creationId xmlns:a16="http://schemas.microsoft.com/office/drawing/2014/main" id="{09C5A97A-C6CE-4580-AF6C-509FDB1F0016}"/>
              </a:ext>
            </a:extLst>
          </p:cNvPr>
          <p:cNvSpPr/>
          <p:nvPr/>
        </p:nvSpPr>
        <p:spPr>
          <a:xfrm>
            <a:off x="4660055" y="4155799"/>
            <a:ext cx="2871893" cy="115147"/>
          </a:xfrm>
          <a:custGeom>
            <a:avLst/>
            <a:gdLst>
              <a:gd name="connsiteX0" fmla="*/ 2098040 w 2153919"/>
              <a:gd name="connsiteY0" fmla="*/ 1524 h 86360"/>
              <a:gd name="connsiteX1" fmla="*/ 2078228 w 2153919"/>
              <a:gd name="connsiteY1" fmla="*/ 1524 h 86360"/>
              <a:gd name="connsiteX2" fmla="*/ 2107184 w 2153919"/>
              <a:gd name="connsiteY2" fmla="*/ 55372 h 86360"/>
              <a:gd name="connsiteX3" fmla="*/ 2107184 w 2153919"/>
              <a:gd name="connsiteY3" fmla="*/ 88900 h 86360"/>
              <a:gd name="connsiteX4" fmla="*/ 2125472 w 2153919"/>
              <a:gd name="connsiteY4" fmla="*/ 88900 h 86360"/>
              <a:gd name="connsiteX5" fmla="*/ 2125472 w 2153919"/>
              <a:gd name="connsiteY5" fmla="*/ 54864 h 86360"/>
              <a:gd name="connsiteX6" fmla="*/ 2154428 w 2153919"/>
              <a:gd name="connsiteY6" fmla="*/ 1524 h 86360"/>
              <a:gd name="connsiteX7" fmla="*/ 2134616 w 2153919"/>
              <a:gd name="connsiteY7" fmla="*/ 1524 h 86360"/>
              <a:gd name="connsiteX8" fmla="*/ 2116328 w 2153919"/>
              <a:gd name="connsiteY8" fmla="*/ 37592 h 86360"/>
              <a:gd name="connsiteX9" fmla="*/ 2098040 w 2153919"/>
              <a:gd name="connsiteY9" fmla="*/ 1524 h 86360"/>
              <a:gd name="connsiteX10" fmla="*/ 2033524 w 2153919"/>
              <a:gd name="connsiteY10" fmla="*/ 17272 h 86360"/>
              <a:gd name="connsiteX11" fmla="*/ 2057400 w 2153919"/>
              <a:gd name="connsiteY11" fmla="*/ 17272 h 86360"/>
              <a:gd name="connsiteX12" fmla="*/ 2057400 w 2153919"/>
              <a:gd name="connsiteY12" fmla="*/ 2032 h 86360"/>
              <a:gd name="connsiteX13" fmla="*/ 1991868 w 2153919"/>
              <a:gd name="connsiteY13" fmla="*/ 2032 h 86360"/>
              <a:gd name="connsiteX14" fmla="*/ 1991868 w 2153919"/>
              <a:gd name="connsiteY14" fmla="*/ 17272 h 86360"/>
              <a:gd name="connsiteX15" fmla="*/ 2015744 w 2153919"/>
              <a:gd name="connsiteY15" fmla="*/ 17272 h 86360"/>
              <a:gd name="connsiteX16" fmla="*/ 2015744 w 2153919"/>
              <a:gd name="connsiteY16" fmla="*/ 88900 h 86360"/>
              <a:gd name="connsiteX17" fmla="*/ 2034032 w 2153919"/>
              <a:gd name="connsiteY17" fmla="*/ 88900 h 86360"/>
              <a:gd name="connsiteX18" fmla="*/ 2034032 w 2153919"/>
              <a:gd name="connsiteY18" fmla="*/ 17272 h 86360"/>
              <a:gd name="connsiteX19" fmla="*/ 1966976 w 2153919"/>
              <a:gd name="connsiteY19" fmla="*/ 78232 h 86360"/>
              <a:gd name="connsiteX20" fmla="*/ 1956308 w 2153919"/>
              <a:gd name="connsiteY20" fmla="*/ 73152 h 86360"/>
              <a:gd name="connsiteX21" fmla="*/ 1956308 w 2153919"/>
              <a:gd name="connsiteY21" fmla="*/ 17272 h 86360"/>
              <a:gd name="connsiteX22" fmla="*/ 1966976 w 2153919"/>
              <a:gd name="connsiteY22" fmla="*/ 12192 h 86360"/>
              <a:gd name="connsiteX23" fmla="*/ 1966976 w 2153919"/>
              <a:gd name="connsiteY23" fmla="*/ 1524 h 86360"/>
              <a:gd name="connsiteX24" fmla="*/ 1927352 w 2153919"/>
              <a:gd name="connsiteY24" fmla="*/ 1524 h 86360"/>
              <a:gd name="connsiteX25" fmla="*/ 1927352 w 2153919"/>
              <a:gd name="connsiteY25" fmla="*/ 12192 h 86360"/>
              <a:gd name="connsiteX26" fmla="*/ 1938020 w 2153919"/>
              <a:gd name="connsiteY26" fmla="*/ 17272 h 86360"/>
              <a:gd name="connsiteX27" fmla="*/ 1938020 w 2153919"/>
              <a:gd name="connsiteY27" fmla="*/ 73152 h 86360"/>
              <a:gd name="connsiteX28" fmla="*/ 1927352 w 2153919"/>
              <a:gd name="connsiteY28" fmla="*/ 78232 h 86360"/>
              <a:gd name="connsiteX29" fmla="*/ 1927352 w 2153919"/>
              <a:gd name="connsiteY29" fmla="*/ 88900 h 86360"/>
              <a:gd name="connsiteX30" fmla="*/ 1966976 w 2153919"/>
              <a:gd name="connsiteY30" fmla="*/ 88900 h 86360"/>
              <a:gd name="connsiteX31" fmla="*/ 1966976 w 2153919"/>
              <a:gd name="connsiteY31" fmla="*/ 78232 h 86360"/>
              <a:gd name="connsiteX32" fmla="*/ 1900936 w 2153919"/>
              <a:gd name="connsiteY32" fmla="*/ 88900 h 86360"/>
              <a:gd name="connsiteX33" fmla="*/ 1900936 w 2153919"/>
              <a:gd name="connsiteY33" fmla="*/ 73660 h 86360"/>
              <a:gd name="connsiteX34" fmla="*/ 1865376 w 2153919"/>
              <a:gd name="connsiteY34" fmla="*/ 73660 h 86360"/>
              <a:gd name="connsiteX35" fmla="*/ 1865376 w 2153919"/>
              <a:gd name="connsiteY35" fmla="*/ 2032 h 86360"/>
              <a:gd name="connsiteX36" fmla="*/ 1847088 w 2153919"/>
              <a:gd name="connsiteY36" fmla="*/ 2032 h 86360"/>
              <a:gd name="connsiteX37" fmla="*/ 1847088 w 2153919"/>
              <a:gd name="connsiteY37" fmla="*/ 88900 h 86360"/>
              <a:gd name="connsiteX38" fmla="*/ 1900936 w 2153919"/>
              <a:gd name="connsiteY38" fmla="*/ 88900 h 86360"/>
              <a:gd name="connsiteX39" fmla="*/ 1814068 w 2153919"/>
              <a:gd name="connsiteY39" fmla="*/ 78232 h 86360"/>
              <a:gd name="connsiteX40" fmla="*/ 1803400 w 2153919"/>
              <a:gd name="connsiteY40" fmla="*/ 73152 h 86360"/>
              <a:gd name="connsiteX41" fmla="*/ 1803400 w 2153919"/>
              <a:gd name="connsiteY41" fmla="*/ 17272 h 86360"/>
              <a:gd name="connsiteX42" fmla="*/ 1814068 w 2153919"/>
              <a:gd name="connsiteY42" fmla="*/ 12192 h 86360"/>
              <a:gd name="connsiteX43" fmla="*/ 1814068 w 2153919"/>
              <a:gd name="connsiteY43" fmla="*/ 1524 h 86360"/>
              <a:gd name="connsiteX44" fmla="*/ 1774444 w 2153919"/>
              <a:gd name="connsiteY44" fmla="*/ 1524 h 86360"/>
              <a:gd name="connsiteX45" fmla="*/ 1774444 w 2153919"/>
              <a:gd name="connsiteY45" fmla="*/ 12192 h 86360"/>
              <a:gd name="connsiteX46" fmla="*/ 1785112 w 2153919"/>
              <a:gd name="connsiteY46" fmla="*/ 17272 h 86360"/>
              <a:gd name="connsiteX47" fmla="*/ 1785112 w 2153919"/>
              <a:gd name="connsiteY47" fmla="*/ 73152 h 86360"/>
              <a:gd name="connsiteX48" fmla="*/ 1774444 w 2153919"/>
              <a:gd name="connsiteY48" fmla="*/ 78232 h 86360"/>
              <a:gd name="connsiteX49" fmla="*/ 1774444 w 2153919"/>
              <a:gd name="connsiteY49" fmla="*/ 88900 h 86360"/>
              <a:gd name="connsiteX50" fmla="*/ 1814068 w 2153919"/>
              <a:gd name="connsiteY50" fmla="*/ 88900 h 86360"/>
              <a:gd name="connsiteX51" fmla="*/ 1814068 w 2153919"/>
              <a:gd name="connsiteY51" fmla="*/ 78232 h 86360"/>
              <a:gd name="connsiteX52" fmla="*/ 1711452 w 2153919"/>
              <a:gd name="connsiteY52" fmla="*/ 50800 h 86360"/>
              <a:gd name="connsiteX53" fmla="*/ 1723644 w 2153919"/>
              <a:gd name="connsiteY53" fmla="*/ 53848 h 86360"/>
              <a:gd name="connsiteX54" fmla="*/ 1727200 w 2153919"/>
              <a:gd name="connsiteY54" fmla="*/ 61468 h 86360"/>
              <a:gd name="connsiteX55" fmla="*/ 1724152 w 2153919"/>
              <a:gd name="connsiteY55" fmla="*/ 70104 h 86360"/>
              <a:gd name="connsiteX56" fmla="*/ 1712468 w 2153919"/>
              <a:gd name="connsiteY56" fmla="*/ 73152 h 86360"/>
              <a:gd name="connsiteX57" fmla="*/ 1700276 w 2153919"/>
              <a:gd name="connsiteY57" fmla="*/ 73152 h 86360"/>
              <a:gd name="connsiteX58" fmla="*/ 1700276 w 2153919"/>
              <a:gd name="connsiteY58" fmla="*/ 50292 h 86360"/>
              <a:gd name="connsiteX59" fmla="*/ 1711452 w 2153919"/>
              <a:gd name="connsiteY59" fmla="*/ 50292 h 86360"/>
              <a:gd name="connsiteX60" fmla="*/ 1699768 w 2153919"/>
              <a:gd name="connsiteY60" fmla="*/ 16764 h 86360"/>
              <a:gd name="connsiteX61" fmla="*/ 1709420 w 2153919"/>
              <a:gd name="connsiteY61" fmla="*/ 16764 h 86360"/>
              <a:gd name="connsiteX62" fmla="*/ 1721104 w 2153919"/>
              <a:gd name="connsiteY62" fmla="*/ 18796 h 86360"/>
              <a:gd name="connsiteX63" fmla="*/ 1724660 w 2153919"/>
              <a:gd name="connsiteY63" fmla="*/ 25908 h 86360"/>
              <a:gd name="connsiteX64" fmla="*/ 1721612 w 2153919"/>
              <a:gd name="connsiteY64" fmla="*/ 33528 h 86360"/>
              <a:gd name="connsiteX65" fmla="*/ 1710436 w 2153919"/>
              <a:gd name="connsiteY65" fmla="*/ 36068 h 86360"/>
              <a:gd name="connsiteX66" fmla="*/ 1699768 w 2153919"/>
              <a:gd name="connsiteY66" fmla="*/ 36068 h 86360"/>
              <a:gd name="connsiteX67" fmla="*/ 1699768 w 2153919"/>
              <a:gd name="connsiteY67" fmla="*/ 16764 h 86360"/>
              <a:gd name="connsiteX68" fmla="*/ 1681480 w 2153919"/>
              <a:gd name="connsiteY68" fmla="*/ 88900 h 86360"/>
              <a:gd name="connsiteX69" fmla="*/ 1713992 w 2153919"/>
              <a:gd name="connsiteY69" fmla="*/ 88900 h 86360"/>
              <a:gd name="connsiteX70" fmla="*/ 1737360 w 2153919"/>
              <a:gd name="connsiteY70" fmla="*/ 82296 h 86360"/>
              <a:gd name="connsiteX71" fmla="*/ 1745996 w 2153919"/>
              <a:gd name="connsiteY71" fmla="*/ 64008 h 86360"/>
              <a:gd name="connsiteX72" fmla="*/ 1743964 w 2153919"/>
              <a:gd name="connsiteY72" fmla="*/ 52832 h 86360"/>
              <a:gd name="connsiteX73" fmla="*/ 1738376 w 2153919"/>
              <a:gd name="connsiteY73" fmla="*/ 46736 h 86360"/>
              <a:gd name="connsiteX74" fmla="*/ 1730756 w 2153919"/>
              <a:gd name="connsiteY74" fmla="*/ 43688 h 86360"/>
              <a:gd name="connsiteX75" fmla="*/ 1730756 w 2153919"/>
              <a:gd name="connsiteY75" fmla="*/ 42672 h 86360"/>
              <a:gd name="connsiteX76" fmla="*/ 1740916 w 2153919"/>
              <a:gd name="connsiteY76" fmla="*/ 36576 h 86360"/>
              <a:gd name="connsiteX77" fmla="*/ 1744472 w 2153919"/>
              <a:gd name="connsiteY77" fmla="*/ 23876 h 86360"/>
              <a:gd name="connsiteX78" fmla="*/ 1735328 w 2153919"/>
              <a:gd name="connsiteY78" fmla="*/ 6604 h 86360"/>
              <a:gd name="connsiteX79" fmla="*/ 1708912 w 2153919"/>
              <a:gd name="connsiteY79" fmla="*/ 1524 h 86360"/>
              <a:gd name="connsiteX80" fmla="*/ 1681480 w 2153919"/>
              <a:gd name="connsiteY80" fmla="*/ 1524 h 86360"/>
              <a:gd name="connsiteX81" fmla="*/ 1681480 w 2153919"/>
              <a:gd name="connsiteY81" fmla="*/ 88900 h 86360"/>
              <a:gd name="connsiteX82" fmla="*/ 1598676 w 2153919"/>
              <a:gd name="connsiteY82" fmla="*/ 52324 h 86360"/>
              <a:gd name="connsiteX83" fmla="*/ 1604772 w 2153919"/>
              <a:gd name="connsiteY83" fmla="*/ 32004 h 86360"/>
              <a:gd name="connsiteX84" fmla="*/ 1606296 w 2153919"/>
              <a:gd name="connsiteY84" fmla="*/ 27432 h 86360"/>
              <a:gd name="connsiteX85" fmla="*/ 1608328 w 2153919"/>
              <a:gd name="connsiteY85" fmla="*/ 20828 h 86360"/>
              <a:gd name="connsiteX86" fmla="*/ 1609852 w 2153919"/>
              <a:gd name="connsiteY86" fmla="*/ 14732 h 86360"/>
              <a:gd name="connsiteX87" fmla="*/ 1611376 w 2153919"/>
              <a:gd name="connsiteY87" fmla="*/ 20320 h 86360"/>
              <a:gd name="connsiteX88" fmla="*/ 1613408 w 2153919"/>
              <a:gd name="connsiteY88" fmla="*/ 26924 h 86360"/>
              <a:gd name="connsiteX89" fmla="*/ 1614932 w 2153919"/>
              <a:gd name="connsiteY89" fmla="*/ 32004 h 86360"/>
              <a:gd name="connsiteX90" fmla="*/ 1621028 w 2153919"/>
              <a:gd name="connsiteY90" fmla="*/ 52324 h 86360"/>
              <a:gd name="connsiteX91" fmla="*/ 1598676 w 2153919"/>
              <a:gd name="connsiteY91" fmla="*/ 52324 h 86360"/>
              <a:gd name="connsiteX92" fmla="*/ 1652016 w 2153919"/>
              <a:gd name="connsiteY92" fmla="*/ 88900 h 86360"/>
              <a:gd name="connsiteX93" fmla="*/ 1621028 w 2153919"/>
              <a:gd name="connsiteY93" fmla="*/ 1524 h 86360"/>
              <a:gd name="connsiteX94" fmla="*/ 1598676 w 2153919"/>
              <a:gd name="connsiteY94" fmla="*/ 1524 h 86360"/>
              <a:gd name="connsiteX95" fmla="*/ 1568196 w 2153919"/>
              <a:gd name="connsiteY95" fmla="*/ 88900 h 86360"/>
              <a:gd name="connsiteX96" fmla="*/ 1588008 w 2153919"/>
              <a:gd name="connsiteY96" fmla="*/ 88900 h 86360"/>
              <a:gd name="connsiteX97" fmla="*/ 1594104 w 2153919"/>
              <a:gd name="connsiteY97" fmla="*/ 68072 h 86360"/>
              <a:gd name="connsiteX98" fmla="*/ 1625600 w 2153919"/>
              <a:gd name="connsiteY98" fmla="*/ 68072 h 86360"/>
              <a:gd name="connsiteX99" fmla="*/ 1631696 w 2153919"/>
              <a:gd name="connsiteY99" fmla="*/ 88900 h 86360"/>
              <a:gd name="connsiteX100" fmla="*/ 1652016 w 2153919"/>
              <a:gd name="connsiteY100" fmla="*/ 88900 h 86360"/>
              <a:gd name="connsiteX101" fmla="*/ 1499108 w 2153919"/>
              <a:gd name="connsiteY101" fmla="*/ 73660 h 86360"/>
              <a:gd name="connsiteX102" fmla="*/ 1490980 w 2153919"/>
              <a:gd name="connsiteY102" fmla="*/ 73660 h 86360"/>
              <a:gd name="connsiteX103" fmla="*/ 1490980 w 2153919"/>
              <a:gd name="connsiteY103" fmla="*/ 16764 h 86360"/>
              <a:gd name="connsiteX104" fmla="*/ 1500632 w 2153919"/>
              <a:gd name="connsiteY104" fmla="*/ 16764 h 86360"/>
              <a:gd name="connsiteX105" fmla="*/ 1518920 w 2153919"/>
              <a:gd name="connsiteY105" fmla="*/ 23368 h 86360"/>
              <a:gd name="connsiteX106" fmla="*/ 1525016 w 2153919"/>
              <a:gd name="connsiteY106" fmla="*/ 44704 h 86360"/>
              <a:gd name="connsiteX107" fmla="*/ 1499108 w 2153919"/>
              <a:gd name="connsiteY107" fmla="*/ 73660 h 86360"/>
              <a:gd name="connsiteX108" fmla="*/ 1539748 w 2153919"/>
              <a:gd name="connsiteY108" fmla="*/ 20828 h 86360"/>
              <a:gd name="connsiteX109" fmla="*/ 1524000 w 2153919"/>
              <a:gd name="connsiteY109" fmla="*/ 6604 h 86360"/>
              <a:gd name="connsiteX110" fmla="*/ 1500124 w 2153919"/>
              <a:gd name="connsiteY110" fmla="*/ 1524 h 86360"/>
              <a:gd name="connsiteX111" fmla="*/ 1472692 w 2153919"/>
              <a:gd name="connsiteY111" fmla="*/ 1524 h 86360"/>
              <a:gd name="connsiteX112" fmla="*/ 1472692 w 2153919"/>
              <a:gd name="connsiteY112" fmla="*/ 88392 h 86360"/>
              <a:gd name="connsiteX113" fmla="*/ 1497076 w 2153919"/>
              <a:gd name="connsiteY113" fmla="*/ 88392 h 86360"/>
              <a:gd name="connsiteX114" fmla="*/ 1532128 w 2153919"/>
              <a:gd name="connsiteY114" fmla="*/ 77216 h 86360"/>
              <a:gd name="connsiteX115" fmla="*/ 1544828 w 2153919"/>
              <a:gd name="connsiteY115" fmla="*/ 44196 h 86360"/>
              <a:gd name="connsiteX116" fmla="*/ 1539748 w 2153919"/>
              <a:gd name="connsiteY116" fmla="*/ 20828 h 86360"/>
              <a:gd name="connsiteX117" fmla="*/ 1411224 w 2153919"/>
              <a:gd name="connsiteY117" fmla="*/ 19304 h 86360"/>
              <a:gd name="connsiteX118" fmla="*/ 1415288 w 2153919"/>
              <a:gd name="connsiteY118" fmla="*/ 27940 h 86360"/>
              <a:gd name="connsiteX119" fmla="*/ 1411224 w 2153919"/>
              <a:gd name="connsiteY119" fmla="*/ 37084 h 86360"/>
              <a:gd name="connsiteX120" fmla="*/ 1398016 w 2153919"/>
              <a:gd name="connsiteY120" fmla="*/ 40132 h 86360"/>
              <a:gd name="connsiteX121" fmla="*/ 1391920 w 2153919"/>
              <a:gd name="connsiteY121" fmla="*/ 40132 h 86360"/>
              <a:gd name="connsiteX122" fmla="*/ 1391920 w 2153919"/>
              <a:gd name="connsiteY122" fmla="*/ 16764 h 86360"/>
              <a:gd name="connsiteX123" fmla="*/ 1397508 w 2153919"/>
              <a:gd name="connsiteY123" fmla="*/ 16764 h 86360"/>
              <a:gd name="connsiteX124" fmla="*/ 1411224 w 2153919"/>
              <a:gd name="connsiteY124" fmla="*/ 19304 h 86360"/>
              <a:gd name="connsiteX125" fmla="*/ 1374140 w 2153919"/>
              <a:gd name="connsiteY125" fmla="*/ 1524 h 86360"/>
              <a:gd name="connsiteX126" fmla="*/ 1374140 w 2153919"/>
              <a:gd name="connsiteY126" fmla="*/ 88392 h 86360"/>
              <a:gd name="connsiteX127" fmla="*/ 1392428 w 2153919"/>
              <a:gd name="connsiteY127" fmla="*/ 88392 h 86360"/>
              <a:gd name="connsiteX128" fmla="*/ 1392428 w 2153919"/>
              <a:gd name="connsiteY128" fmla="*/ 54864 h 86360"/>
              <a:gd name="connsiteX129" fmla="*/ 1402080 w 2153919"/>
              <a:gd name="connsiteY129" fmla="*/ 54864 h 86360"/>
              <a:gd name="connsiteX130" fmla="*/ 1422908 w 2153919"/>
              <a:gd name="connsiteY130" fmla="*/ 88392 h 86360"/>
              <a:gd name="connsiteX131" fmla="*/ 1443228 w 2153919"/>
              <a:gd name="connsiteY131" fmla="*/ 88392 h 86360"/>
              <a:gd name="connsiteX132" fmla="*/ 1417828 w 2153919"/>
              <a:gd name="connsiteY132" fmla="*/ 50292 h 86360"/>
              <a:gd name="connsiteX133" fmla="*/ 1425956 w 2153919"/>
              <a:gd name="connsiteY133" fmla="*/ 45212 h 86360"/>
              <a:gd name="connsiteX134" fmla="*/ 1432052 w 2153919"/>
              <a:gd name="connsiteY134" fmla="*/ 37592 h 86360"/>
              <a:gd name="connsiteX135" fmla="*/ 1434084 w 2153919"/>
              <a:gd name="connsiteY135" fmla="*/ 26924 h 86360"/>
              <a:gd name="connsiteX136" fmla="*/ 1425448 w 2153919"/>
              <a:gd name="connsiteY136" fmla="*/ 7112 h 86360"/>
              <a:gd name="connsiteX137" fmla="*/ 1399032 w 2153919"/>
              <a:gd name="connsiteY137" fmla="*/ 508 h 86360"/>
              <a:gd name="connsiteX138" fmla="*/ 1374140 w 2153919"/>
              <a:gd name="connsiteY138" fmla="*/ 508 h 86360"/>
              <a:gd name="connsiteX139" fmla="*/ 1279652 w 2153919"/>
              <a:gd name="connsiteY139" fmla="*/ 23368 h 86360"/>
              <a:gd name="connsiteX140" fmla="*/ 1296416 w 2153919"/>
              <a:gd name="connsiteY140" fmla="*/ 15748 h 86360"/>
              <a:gd name="connsiteX141" fmla="*/ 1313180 w 2153919"/>
              <a:gd name="connsiteY141" fmla="*/ 23368 h 86360"/>
              <a:gd name="connsiteX142" fmla="*/ 1318260 w 2153919"/>
              <a:gd name="connsiteY142" fmla="*/ 44704 h 86360"/>
              <a:gd name="connsiteX143" fmla="*/ 1313180 w 2153919"/>
              <a:gd name="connsiteY143" fmla="*/ 66040 h 86360"/>
              <a:gd name="connsiteX144" fmla="*/ 1296416 w 2153919"/>
              <a:gd name="connsiteY144" fmla="*/ 73660 h 86360"/>
              <a:gd name="connsiteX145" fmla="*/ 1279652 w 2153919"/>
              <a:gd name="connsiteY145" fmla="*/ 66040 h 86360"/>
              <a:gd name="connsiteX146" fmla="*/ 1274572 w 2153919"/>
              <a:gd name="connsiteY146" fmla="*/ 44704 h 86360"/>
              <a:gd name="connsiteX147" fmla="*/ 1279652 w 2153919"/>
              <a:gd name="connsiteY147" fmla="*/ 23368 h 86360"/>
              <a:gd name="connsiteX148" fmla="*/ 1333500 w 2153919"/>
              <a:gd name="connsiteY148" fmla="*/ 21336 h 86360"/>
              <a:gd name="connsiteX149" fmla="*/ 1319784 w 2153919"/>
              <a:gd name="connsiteY149" fmla="*/ 5588 h 86360"/>
              <a:gd name="connsiteX150" fmla="*/ 1296416 w 2153919"/>
              <a:gd name="connsiteY150" fmla="*/ 0 h 86360"/>
              <a:gd name="connsiteX151" fmla="*/ 1273048 w 2153919"/>
              <a:gd name="connsiteY151" fmla="*/ 5588 h 86360"/>
              <a:gd name="connsiteX152" fmla="*/ 1259332 w 2153919"/>
              <a:gd name="connsiteY152" fmla="*/ 21336 h 86360"/>
              <a:gd name="connsiteX153" fmla="*/ 1254760 w 2153919"/>
              <a:gd name="connsiteY153" fmla="*/ 44704 h 86360"/>
              <a:gd name="connsiteX154" fmla="*/ 1259332 w 2153919"/>
              <a:gd name="connsiteY154" fmla="*/ 68580 h 86360"/>
              <a:gd name="connsiteX155" fmla="*/ 1273048 w 2153919"/>
              <a:gd name="connsiteY155" fmla="*/ 84328 h 86360"/>
              <a:gd name="connsiteX156" fmla="*/ 1296416 w 2153919"/>
              <a:gd name="connsiteY156" fmla="*/ 89916 h 86360"/>
              <a:gd name="connsiteX157" fmla="*/ 1319784 w 2153919"/>
              <a:gd name="connsiteY157" fmla="*/ 84328 h 86360"/>
              <a:gd name="connsiteX158" fmla="*/ 1333500 w 2153919"/>
              <a:gd name="connsiteY158" fmla="*/ 68580 h 86360"/>
              <a:gd name="connsiteX159" fmla="*/ 1338072 w 2153919"/>
              <a:gd name="connsiteY159" fmla="*/ 45212 h 86360"/>
              <a:gd name="connsiteX160" fmla="*/ 1333500 w 2153919"/>
              <a:gd name="connsiteY160" fmla="*/ 21336 h 86360"/>
              <a:gd name="connsiteX161" fmla="*/ 1191768 w 2153919"/>
              <a:gd name="connsiteY161" fmla="*/ 54356 h 86360"/>
              <a:gd name="connsiteX162" fmla="*/ 1221232 w 2153919"/>
              <a:gd name="connsiteY162" fmla="*/ 54356 h 86360"/>
              <a:gd name="connsiteX163" fmla="*/ 1221232 w 2153919"/>
              <a:gd name="connsiteY163" fmla="*/ 39116 h 86360"/>
              <a:gd name="connsiteX164" fmla="*/ 1191768 w 2153919"/>
              <a:gd name="connsiteY164" fmla="*/ 39116 h 86360"/>
              <a:gd name="connsiteX165" fmla="*/ 1191768 w 2153919"/>
              <a:gd name="connsiteY165" fmla="*/ 16764 h 86360"/>
              <a:gd name="connsiteX166" fmla="*/ 1223264 w 2153919"/>
              <a:gd name="connsiteY166" fmla="*/ 16764 h 86360"/>
              <a:gd name="connsiteX167" fmla="*/ 1223264 w 2153919"/>
              <a:gd name="connsiteY167" fmla="*/ 1524 h 86360"/>
              <a:gd name="connsiteX168" fmla="*/ 1173480 w 2153919"/>
              <a:gd name="connsiteY168" fmla="*/ 1524 h 86360"/>
              <a:gd name="connsiteX169" fmla="*/ 1173480 w 2153919"/>
              <a:gd name="connsiteY169" fmla="*/ 88392 h 86360"/>
              <a:gd name="connsiteX170" fmla="*/ 1191768 w 2153919"/>
              <a:gd name="connsiteY170" fmla="*/ 88392 h 86360"/>
              <a:gd name="connsiteX171" fmla="*/ 1191768 w 2153919"/>
              <a:gd name="connsiteY171" fmla="*/ 54356 h 86360"/>
              <a:gd name="connsiteX172" fmla="*/ 1106424 w 2153919"/>
              <a:gd name="connsiteY172" fmla="*/ 54356 h 86360"/>
              <a:gd name="connsiteX173" fmla="*/ 1135888 w 2153919"/>
              <a:gd name="connsiteY173" fmla="*/ 54356 h 86360"/>
              <a:gd name="connsiteX174" fmla="*/ 1135888 w 2153919"/>
              <a:gd name="connsiteY174" fmla="*/ 39116 h 86360"/>
              <a:gd name="connsiteX175" fmla="*/ 1106424 w 2153919"/>
              <a:gd name="connsiteY175" fmla="*/ 39116 h 86360"/>
              <a:gd name="connsiteX176" fmla="*/ 1106424 w 2153919"/>
              <a:gd name="connsiteY176" fmla="*/ 16764 h 86360"/>
              <a:gd name="connsiteX177" fmla="*/ 1137920 w 2153919"/>
              <a:gd name="connsiteY177" fmla="*/ 16764 h 86360"/>
              <a:gd name="connsiteX178" fmla="*/ 1137920 w 2153919"/>
              <a:gd name="connsiteY178" fmla="*/ 1524 h 86360"/>
              <a:gd name="connsiteX179" fmla="*/ 1088136 w 2153919"/>
              <a:gd name="connsiteY179" fmla="*/ 1524 h 86360"/>
              <a:gd name="connsiteX180" fmla="*/ 1088136 w 2153919"/>
              <a:gd name="connsiteY180" fmla="*/ 88392 h 86360"/>
              <a:gd name="connsiteX181" fmla="*/ 1106424 w 2153919"/>
              <a:gd name="connsiteY181" fmla="*/ 88392 h 86360"/>
              <a:gd name="connsiteX182" fmla="*/ 1106424 w 2153919"/>
              <a:gd name="connsiteY182" fmla="*/ 54356 h 86360"/>
              <a:gd name="connsiteX183" fmla="*/ 1005840 w 2153919"/>
              <a:gd name="connsiteY183" fmla="*/ 52324 h 86360"/>
              <a:gd name="connsiteX184" fmla="*/ 1011936 w 2153919"/>
              <a:gd name="connsiteY184" fmla="*/ 32004 h 86360"/>
              <a:gd name="connsiteX185" fmla="*/ 1013460 w 2153919"/>
              <a:gd name="connsiteY185" fmla="*/ 27432 h 86360"/>
              <a:gd name="connsiteX186" fmla="*/ 1015492 w 2153919"/>
              <a:gd name="connsiteY186" fmla="*/ 20828 h 86360"/>
              <a:gd name="connsiteX187" fmla="*/ 1017016 w 2153919"/>
              <a:gd name="connsiteY187" fmla="*/ 14732 h 86360"/>
              <a:gd name="connsiteX188" fmla="*/ 1018540 w 2153919"/>
              <a:gd name="connsiteY188" fmla="*/ 20320 h 86360"/>
              <a:gd name="connsiteX189" fmla="*/ 1020572 w 2153919"/>
              <a:gd name="connsiteY189" fmla="*/ 26924 h 86360"/>
              <a:gd name="connsiteX190" fmla="*/ 1022096 w 2153919"/>
              <a:gd name="connsiteY190" fmla="*/ 32004 h 86360"/>
              <a:gd name="connsiteX191" fmla="*/ 1028192 w 2153919"/>
              <a:gd name="connsiteY191" fmla="*/ 52324 h 86360"/>
              <a:gd name="connsiteX192" fmla="*/ 1005840 w 2153919"/>
              <a:gd name="connsiteY192" fmla="*/ 52324 h 86360"/>
              <a:gd name="connsiteX193" fmla="*/ 1059180 w 2153919"/>
              <a:gd name="connsiteY193" fmla="*/ 88900 h 86360"/>
              <a:gd name="connsiteX194" fmla="*/ 1028192 w 2153919"/>
              <a:gd name="connsiteY194" fmla="*/ 1524 h 86360"/>
              <a:gd name="connsiteX195" fmla="*/ 1005840 w 2153919"/>
              <a:gd name="connsiteY195" fmla="*/ 1524 h 86360"/>
              <a:gd name="connsiteX196" fmla="*/ 975360 w 2153919"/>
              <a:gd name="connsiteY196" fmla="*/ 88900 h 86360"/>
              <a:gd name="connsiteX197" fmla="*/ 995172 w 2153919"/>
              <a:gd name="connsiteY197" fmla="*/ 88900 h 86360"/>
              <a:gd name="connsiteX198" fmla="*/ 1001776 w 2153919"/>
              <a:gd name="connsiteY198" fmla="*/ 68072 h 86360"/>
              <a:gd name="connsiteX199" fmla="*/ 1033272 w 2153919"/>
              <a:gd name="connsiteY199" fmla="*/ 68072 h 86360"/>
              <a:gd name="connsiteX200" fmla="*/ 1039876 w 2153919"/>
              <a:gd name="connsiteY200" fmla="*/ 88900 h 86360"/>
              <a:gd name="connsiteX201" fmla="*/ 1059180 w 2153919"/>
              <a:gd name="connsiteY201" fmla="*/ 88900 h 86360"/>
              <a:gd name="connsiteX202" fmla="*/ 853948 w 2153919"/>
              <a:gd name="connsiteY202" fmla="*/ 73660 h 86360"/>
              <a:gd name="connsiteX203" fmla="*/ 845820 w 2153919"/>
              <a:gd name="connsiteY203" fmla="*/ 73660 h 86360"/>
              <a:gd name="connsiteX204" fmla="*/ 845820 w 2153919"/>
              <a:gd name="connsiteY204" fmla="*/ 16764 h 86360"/>
              <a:gd name="connsiteX205" fmla="*/ 855472 w 2153919"/>
              <a:gd name="connsiteY205" fmla="*/ 16764 h 86360"/>
              <a:gd name="connsiteX206" fmla="*/ 873760 w 2153919"/>
              <a:gd name="connsiteY206" fmla="*/ 23368 h 86360"/>
              <a:gd name="connsiteX207" fmla="*/ 879856 w 2153919"/>
              <a:gd name="connsiteY207" fmla="*/ 44704 h 86360"/>
              <a:gd name="connsiteX208" fmla="*/ 853948 w 2153919"/>
              <a:gd name="connsiteY208" fmla="*/ 73660 h 86360"/>
              <a:gd name="connsiteX209" fmla="*/ 894080 w 2153919"/>
              <a:gd name="connsiteY209" fmla="*/ 20828 h 86360"/>
              <a:gd name="connsiteX210" fmla="*/ 878332 w 2153919"/>
              <a:gd name="connsiteY210" fmla="*/ 6604 h 86360"/>
              <a:gd name="connsiteX211" fmla="*/ 854456 w 2153919"/>
              <a:gd name="connsiteY211" fmla="*/ 1524 h 86360"/>
              <a:gd name="connsiteX212" fmla="*/ 827024 w 2153919"/>
              <a:gd name="connsiteY212" fmla="*/ 1524 h 86360"/>
              <a:gd name="connsiteX213" fmla="*/ 827024 w 2153919"/>
              <a:gd name="connsiteY213" fmla="*/ 88392 h 86360"/>
              <a:gd name="connsiteX214" fmla="*/ 851408 w 2153919"/>
              <a:gd name="connsiteY214" fmla="*/ 88392 h 86360"/>
              <a:gd name="connsiteX215" fmla="*/ 886460 w 2153919"/>
              <a:gd name="connsiteY215" fmla="*/ 77216 h 86360"/>
              <a:gd name="connsiteX216" fmla="*/ 899160 w 2153919"/>
              <a:gd name="connsiteY216" fmla="*/ 44196 h 86360"/>
              <a:gd name="connsiteX217" fmla="*/ 894080 w 2153919"/>
              <a:gd name="connsiteY217" fmla="*/ 20828 h 86360"/>
              <a:gd name="connsiteX218" fmla="*/ 787400 w 2153919"/>
              <a:gd name="connsiteY218" fmla="*/ 1524 h 86360"/>
              <a:gd name="connsiteX219" fmla="*/ 770636 w 2153919"/>
              <a:gd name="connsiteY219" fmla="*/ 1524 h 86360"/>
              <a:gd name="connsiteX220" fmla="*/ 770636 w 2153919"/>
              <a:gd name="connsiteY220" fmla="*/ 42672 h 86360"/>
              <a:gd name="connsiteX221" fmla="*/ 771144 w 2153919"/>
              <a:gd name="connsiteY221" fmla="*/ 54864 h 86360"/>
              <a:gd name="connsiteX222" fmla="*/ 771652 w 2153919"/>
              <a:gd name="connsiteY222" fmla="*/ 67056 h 86360"/>
              <a:gd name="connsiteX223" fmla="*/ 771144 w 2153919"/>
              <a:gd name="connsiteY223" fmla="*/ 67056 h 86360"/>
              <a:gd name="connsiteX224" fmla="*/ 733552 w 2153919"/>
              <a:gd name="connsiteY224" fmla="*/ 2032 h 86360"/>
              <a:gd name="connsiteX225" fmla="*/ 710184 w 2153919"/>
              <a:gd name="connsiteY225" fmla="*/ 2032 h 86360"/>
              <a:gd name="connsiteX226" fmla="*/ 710184 w 2153919"/>
              <a:gd name="connsiteY226" fmla="*/ 88900 h 86360"/>
              <a:gd name="connsiteX227" fmla="*/ 726440 w 2153919"/>
              <a:gd name="connsiteY227" fmla="*/ 88900 h 86360"/>
              <a:gd name="connsiteX228" fmla="*/ 726440 w 2153919"/>
              <a:gd name="connsiteY228" fmla="*/ 47752 h 86360"/>
              <a:gd name="connsiteX229" fmla="*/ 725932 w 2153919"/>
              <a:gd name="connsiteY229" fmla="*/ 35560 h 86360"/>
              <a:gd name="connsiteX230" fmla="*/ 725424 w 2153919"/>
              <a:gd name="connsiteY230" fmla="*/ 23368 h 86360"/>
              <a:gd name="connsiteX231" fmla="*/ 725932 w 2153919"/>
              <a:gd name="connsiteY231" fmla="*/ 23368 h 86360"/>
              <a:gd name="connsiteX232" fmla="*/ 764032 w 2153919"/>
              <a:gd name="connsiteY232" fmla="*/ 89408 h 86360"/>
              <a:gd name="connsiteX233" fmla="*/ 787400 w 2153919"/>
              <a:gd name="connsiteY233" fmla="*/ 89408 h 86360"/>
              <a:gd name="connsiteX234" fmla="*/ 787400 w 2153919"/>
              <a:gd name="connsiteY234" fmla="*/ 1524 h 86360"/>
              <a:gd name="connsiteX235" fmla="*/ 627380 w 2153919"/>
              <a:gd name="connsiteY235" fmla="*/ 52324 h 86360"/>
              <a:gd name="connsiteX236" fmla="*/ 633476 w 2153919"/>
              <a:gd name="connsiteY236" fmla="*/ 32004 h 86360"/>
              <a:gd name="connsiteX237" fmla="*/ 635000 w 2153919"/>
              <a:gd name="connsiteY237" fmla="*/ 27432 h 86360"/>
              <a:gd name="connsiteX238" fmla="*/ 637032 w 2153919"/>
              <a:gd name="connsiteY238" fmla="*/ 20828 h 86360"/>
              <a:gd name="connsiteX239" fmla="*/ 638556 w 2153919"/>
              <a:gd name="connsiteY239" fmla="*/ 14732 h 86360"/>
              <a:gd name="connsiteX240" fmla="*/ 640080 w 2153919"/>
              <a:gd name="connsiteY240" fmla="*/ 20320 h 86360"/>
              <a:gd name="connsiteX241" fmla="*/ 642112 w 2153919"/>
              <a:gd name="connsiteY241" fmla="*/ 26924 h 86360"/>
              <a:gd name="connsiteX242" fmla="*/ 643636 w 2153919"/>
              <a:gd name="connsiteY242" fmla="*/ 32004 h 86360"/>
              <a:gd name="connsiteX243" fmla="*/ 649732 w 2153919"/>
              <a:gd name="connsiteY243" fmla="*/ 52324 h 86360"/>
              <a:gd name="connsiteX244" fmla="*/ 627380 w 2153919"/>
              <a:gd name="connsiteY244" fmla="*/ 52324 h 86360"/>
              <a:gd name="connsiteX245" fmla="*/ 680720 w 2153919"/>
              <a:gd name="connsiteY245" fmla="*/ 88900 h 86360"/>
              <a:gd name="connsiteX246" fmla="*/ 649732 w 2153919"/>
              <a:gd name="connsiteY246" fmla="*/ 1524 h 86360"/>
              <a:gd name="connsiteX247" fmla="*/ 627380 w 2153919"/>
              <a:gd name="connsiteY247" fmla="*/ 1524 h 86360"/>
              <a:gd name="connsiteX248" fmla="*/ 596900 w 2153919"/>
              <a:gd name="connsiteY248" fmla="*/ 88900 h 86360"/>
              <a:gd name="connsiteX249" fmla="*/ 616712 w 2153919"/>
              <a:gd name="connsiteY249" fmla="*/ 88900 h 86360"/>
              <a:gd name="connsiteX250" fmla="*/ 622808 w 2153919"/>
              <a:gd name="connsiteY250" fmla="*/ 68072 h 86360"/>
              <a:gd name="connsiteX251" fmla="*/ 654304 w 2153919"/>
              <a:gd name="connsiteY251" fmla="*/ 68072 h 86360"/>
              <a:gd name="connsiteX252" fmla="*/ 660400 w 2153919"/>
              <a:gd name="connsiteY252" fmla="*/ 88900 h 86360"/>
              <a:gd name="connsiteX253" fmla="*/ 680720 w 2153919"/>
              <a:gd name="connsiteY253" fmla="*/ 88900 h 86360"/>
              <a:gd name="connsiteX254" fmla="*/ 520700 w 2153919"/>
              <a:gd name="connsiteY254" fmla="*/ 53340 h 86360"/>
              <a:gd name="connsiteX255" fmla="*/ 513588 w 2153919"/>
              <a:gd name="connsiteY255" fmla="*/ 45212 h 86360"/>
              <a:gd name="connsiteX256" fmla="*/ 502412 w 2153919"/>
              <a:gd name="connsiteY256" fmla="*/ 38608 h 86360"/>
              <a:gd name="connsiteX257" fmla="*/ 490220 w 2153919"/>
              <a:gd name="connsiteY257" fmla="*/ 32004 h 86360"/>
              <a:gd name="connsiteX258" fmla="*/ 486156 w 2153919"/>
              <a:gd name="connsiteY258" fmla="*/ 24892 h 86360"/>
              <a:gd name="connsiteX259" fmla="*/ 489204 w 2153919"/>
              <a:gd name="connsiteY259" fmla="*/ 18796 h 86360"/>
              <a:gd name="connsiteX260" fmla="*/ 497332 w 2153919"/>
              <a:gd name="connsiteY260" fmla="*/ 16256 h 86360"/>
              <a:gd name="connsiteX261" fmla="*/ 506984 w 2153919"/>
              <a:gd name="connsiteY261" fmla="*/ 17780 h 86360"/>
              <a:gd name="connsiteX262" fmla="*/ 517652 w 2153919"/>
              <a:gd name="connsiteY262" fmla="*/ 21336 h 86360"/>
              <a:gd name="connsiteX263" fmla="*/ 523748 w 2153919"/>
              <a:gd name="connsiteY263" fmla="*/ 7112 h 86360"/>
              <a:gd name="connsiteX264" fmla="*/ 511048 w 2153919"/>
              <a:gd name="connsiteY264" fmla="*/ 2540 h 86360"/>
              <a:gd name="connsiteX265" fmla="*/ 498348 w 2153919"/>
              <a:gd name="connsiteY265" fmla="*/ 1016 h 86360"/>
              <a:gd name="connsiteX266" fmla="*/ 477012 w 2153919"/>
              <a:gd name="connsiteY266" fmla="*/ 7620 h 86360"/>
              <a:gd name="connsiteX267" fmla="*/ 468884 w 2153919"/>
              <a:gd name="connsiteY267" fmla="*/ 25908 h 86360"/>
              <a:gd name="connsiteX268" fmla="*/ 470916 w 2153919"/>
              <a:gd name="connsiteY268" fmla="*/ 36068 h 86360"/>
              <a:gd name="connsiteX269" fmla="*/ 475996 w 2153919"/>
              <a:gd name="connsiteY269" fmla="*/ 43180 h 86360"/>
              <a:gd name="connsiteX270" fmla="*/ 482600 w 2153919"/>
              <a:gd name="connsiteY270" fmla="*/ 48260 h 86360"/>
              <a:gd name="connsiteX271" fmla="*/ 489204 w 2153919"/>
              <a:gd name="connsiteY271" fmla="*/ 51816 h 86360"/>
              <a:gd name="connsiteX272" fmla="*/ 497840 w 2153919"/>
              <a:gd name="connsiteY272" fmla="*/ 56388 h 86360"/>
              <a:gd name="connsiteX273" fmla="*/ 503936 w 2153919"/>
              <a:gd name="connsiteY273" fmla="*/ 60960 h 86360"/>
              <a:gd name="connsiteX274" fmla="*/ 505968 w 2153919"/>
              <a:gd name="connsiteY274" fmla="*/ 66548 h 86360"/>
              <a:gd name="connsiteX275" fmla="*/ 502920 w 2153919"/>
              <a:gd name="connsiteY275" fmla="*/ 73152 h 86360"/>
              <a:gd name="connsiteX276" fmla="*/ 493268 w 2153919"/>
              <a:gd name="connsiteY276" fmla="*/ 75692 h 86360"/>
              <a:gd name="connsiteX277" fmla="*/ 480060 w 2153919"/>
              <a:gd name="connsiteY277" fmla="*/ 73660 h 86360"/>
              <a:gd name="connsiteX278" fmla="*/ 467360 w 2153919"/>
              <a:gd name="connsiteY278" fmla="*/ 68580 h 86360"/>
              <a:gd name="connsiteX279" fmla="*/ 467360 w 2153919"/>
              <a:gd name="connsiteY279" fmla="*/ 85852 h 86360"/>
              <a:gd name="connsiteX280" fmla="*/ 491744 w 2153919"/>
              <a:gd name="connsiteY280" fmla="*/ 90932 h 86360"/>
              <a:gd name="connsiteX281" fmla="*/ 515620 w 2153919"/>
              <a:gd name="connsiteY281" fmla="*/ 83820 h 86360"/>
              <a:gd name="connsiteX282" fmla="*/ 523748 w 2153919"/>
              <a:gd name="connsiteY282" fmla="*/ 65532 h 86360"/>
              <a:gd name="connsiteX283" fmla="*/ 520700 w 2153919"/>
              <a:gd name="connsiteY283" fmla="*/ 53340 h 86360"/>
              <a:gd name="connsiteX284" fmla="*/ 435356 w 2153919"/>
              <a:gd name="connsiteY284" fmla="*/ 53340 h 86360"/>
              <a:gd name="connsiteX285" fmla="*/ 428244 w 2153919"/>
              <a:gd name="connsiteY285" fmla="*/ 45212 h 86360"/>
              <a:gd name="connsiteX286" fmla="*/ 417068 w 2153919"/>
              <a:gd name="connsiteY286" fmla="*/ 38608 h 86360"/>
              <a:gd name="connsiteX287" fmla="*/ 404876 w 2153919"/>
              <a:gd name="connsiteY287" fmla="*/ 32004 h 86360"/>
              <a:gd name="connsiteX288" fmla="*/ 400812 w 2153919"/>
              <a:gd name="connsiteY288" fmla="*/ 24892 h 86360"/>
              <a:gd name="connsiteX289" fmla="*/ 403860 w 2153919"/>
              <a:gd name="connsiteY289" fmla="*/ 18796 h 86360"/>
              <a:gd name="connsiteX290" fmla="*/ 411988 w 2153919"/>
              <a:gd name="connsiteY290" fmla="*/ 16256 h 86360"/>
              <a:gd name="connsiteX291" fmla="*/ 421640 w 2153919"/>
              <a:gd name="connsiteY291" fmla="*/ 17780 h 86360"/>
              <a:gd name="connsiteX292" fmla="*/ 432308 w 2153919"/>
              <a:gd name="connsiteY292" fmla="*/ 21336 h 86360"/>
              <a:gd name="connsiteX293" fmla="*/ 438404 w 2153919"/>
              <a:gd name="connsiteY293" fmla="*/ 7112 h 86360"/>
              <a:gd name="connsiteX294" fmla="*/ 425704 w 2153919"/>
              <a:gd name="connsiteY294" fmla="*/ 2540 h 86360"/>
              <a:gd name="connsiteX295" fmla="*/ 413004 w 2153919"/>
              <a:gd name="connsiteY295" fmla="*/ 1016 h 86360"/>
              <a:gd name="connsiteX296" fmla="*/ 391668 w 2153919"/>
              <a:gd name="connsiteY296" fmla="*/ 7620 h 86360"/>
              <a:gd name="connsiteX297" fmla="*/ 383540 w 2153919"/>
              <a:gd name="connsiteY297" fmla="*/ 25908 h 86360"/>
              <a:gd name="connsiteX298" fmla="*/ 385572 w 2153919"/>
              <a:gd name="connsiteY298" fmla="*/ 36068 h 86360"/>
              <a:gd name="connsiteX299" fmla="*/ 390652 w 2153919"/>
              <a:gd name="connsiteY299" fmla="*/ 43180 h 86360"/>
              <a:gd name="connsiteX300" fmla="*/ 397256 w 2153919"/>
              <a:gd name="connsiteY300" fmla="*/ 48260 h 86360"/>
              <a:gd name="connsiteX301" fmla="*/ 403860 w 2153919"/>
              <a:gd name="connsiteY301" fmla="*/ 51816 h 86360"/>
              <a:gd name="connsiteX302" fmla="*/ 412496 w 2153919"/>
              <a:gd name="connsiteY302" fmla="*/ 56388 h 86360"/>
              <a:gd name="connsiteX303" fmla="*/ 418592 w 2153919"/>
              <a:gd name="connsiteY303" fmla="*/ 60960 h 86360"/>
              <a:gd name="connsiteX304" fmla="*/ 420624 w 2153919"/>
              <a:gd name="connsiteY304" fmla="*/ 66548 h 86360"/>
              <a:gd name="connsiteX305" fmla="*/ 417576 w 2153919"/>
              <a:gd name="connsiteY305" fmla="*/ 73152 h 86360"/>
              <a:gd name="connsiteX306" fmla="*/ 407924 w 2153919"/>
              <a:gd name="connsiteY306" fmla="*/ 75692 h 86360"/>
              <a:gd name="connsiteX307" fmla="*/ 394716 w 2153919"/>
              <a:gd name="connsiteY307" fmla="*/ 73660 h 86360"/>
              <a:gd name="connsiteX308" fmla="*/ 382016 w 2153919"/>
              <a:gd name="connsiteY308" fmla="*/ 68580 h 86360"/>
              <a:gd name="connsiteX309" fmla="*/ 382016 w 2153919"/>
              <a:gd name="connsiteY309" fmla="*/ 85852 h 86360"/>
              <a:gd name="connsiteX310" fmla="*/ 406400 w 2153919"/>
              <a:gd name="connsiteY310" fmla="*/ 90932 h 86360"/>
              <a:gd name="connsiteX311" fmla="*/ 430276 w 2153919"/>
              <a:gd name="connsiteY311" fmla="*/ 83820 h 86360"/>
              <a:gd name="connsiteX312" fmla="*/ 438404 w 2153919"/>
              <a:gd name="connsiteY312" fmla="*/ 65532 h 86360"/>
              <a:gd name="connsiteX313" fmla="*/ 435356 w 2153919"/>
              <a:gd name="connsiteY313" fmla="*/ 53340 h 86360"/>
              <a:gd name="connsiteX314" fmla="*/ 350012 w 2153919"/>
              <a:gd name="connsiteY314" fmla="*/ 73660 h 86360"/>
              <a:gd name="connsiteX315" fmla="*/ 318516 w 2153919"/>
              <a:gd name="connsiteY315" fmla="*/ 73660 h 86360"/>
              <a:gd name="connsiteX316" fmla="*/ 318516 w 2153919"/>
              <a:gd name="connsiteY316" fmla="*/ 51308 h 86360"/>
              <a:gd name="connsiteX317" fmla="*/ 347980 w 2153919"/>
              <a:gd name="connsiteY317" fmla="*/ 51308 h 86360"/>
              <a:gd name="connsiteX318" fmla="*/ 347980 w 2153919"/>
              <a:gd name="connsiteY318" fmla="*/ 36068 h 86360"/>
              <a:gd name="connsiteX319" fmla="*/ 318516 w 2153919"/>
              <a:gd name="connsiteY319" fmla="*/ 36068 h 86360"/>
              <a:gd name="connsiteX320" fmla="*/ 318516 w 2153919"/>
              <a:gd name="connsiteY320" fmla="*/ 16764 h 86360"/>
              <a:gd name="connsiteX321" fmla="*/ 350012 w 2153919"/>
              <a:gd name="connsiteY321" fmla="*/ 16764 h 86360"/>
              <a:gd name="connsiteX322" fmla="*/ 350012 w 2153919"/>
              <a:gd name="connsiteY322" fmla="*/ 1524 h 86360"/>
              <a:gd name="connsiteX323" fmla="*/ 299720 w 2153919"/>
              <a:gd name="connsiteY323" fmla="*/ 1524 h 86360"/>
              <a:gd name="connsiteX324" fmla="*/ 299720 w 2153919"/>
              <a:gd name="connsiteY324" fmla="*/ 88392 h 86360"/>
              <a:gd name="connsiteX325" fmla="*/ 350012 w 2153919"/>
              <a:gd name="connsiteY325" fmla="*/ 88392 h 86360"/>
              <a:gd name="connsiteX326" fmla="*/ 350012 w 2153919"/>
              <a:gd name="connsiteY326" fmla="*/ 73660 h 86360"/>
              <a:gd name="connsiteX327" fmla="*/ 250952 w 2153919"/>
              <a:gd name="connsiteY327" fmla="*/ 17780 h 86360"/>
              <a:gd name="connsiteX328" fmla="*/ 260604 w 2153919"/>
              <a:gd name="connsiteY328" fmla="*/ 21844 h 86360"/>
              <a:gd name="connsiteX329" fmla="*/ 266700 w 2153919"/>
              <a:gd name="connsiteY329" fmla="*/ 6604 h 86360"/>
              <a:gd name="connsiteX330" fmla="*/ 254000 w 2153919"/>
              <a:gd name="connsiteY330" fmla="*/ 2032 h 86360"/>
              <a:gd name="connsiteX331" fmla="*/ 240792 w 2153919"/>
              <a:gd name="connsiteY331" fmla="*/ 508 h 86360"/>
              <a:gd name="connsiteX332" fmla="*/ 218440 w 2153919"/>
              <a:gd name="connsiteY332" fmla="*/ 6096 h 86360"/>
              <a:gd name="connsiteX333" fmla="*/ 204724 w 2153919"/>
              <a:gd name="connsiteY333" fmla="*/ 21844 h 86360"/>
              <a:gd name="connsiteX334" fmla="*/ 200152 w 2153919"/>
              <a:gd name="connsiteY334" fmla="*/ 45212 h 86360"/>
              <a:gd name="connsiteX335" fmla="*/ 204216 w 2153919"/>
              <a:gd name="connsiteY335" fmla="*/ 68580 h 86360"/>
              <a:gd name="connsiteX336" fmla="*/ 216916 w 2153919"/>
              <a:gd name="connsiteY336" fmla="*/ 84328 h 86360"/>
              <a:gd name="connsiteX337" fmla="*/ 239268 w 2153919"/>
              <a:gd name="connsiteY337" fmla="*/ 89916 h 86360"/>
              <a:gd name="connsiteX338" fmla="*/ 251968 w 2153919"/>
              <a:gd name="connsiteY338" fmla="*/ 88900 h 86360"/>
              <a:gd name="connsiteX339" fmla="*/ 263144 w 2153919"/>
              <a:gd name="connsiteY339" fmla="*/ 85344 h 86360"/>
              <a:gd name="connsiteX340" fmla="*/ 263144 w 2153919"/>
              <a:gd name="connsiteY340" fmla="*/ 70104 h 86360"/>
              <a:gd name="connsiteX341" fmla="*/ 251460 w 2153919"/>
              <a:gd name="connsiteY341" fmla="*/ 73660 h 86360"/>
              <a:gd name="connsiteX342" fmla="*/ 240792 w 2153919"/>
              <a:gd name="connsiteY342" fmla="*/ 74676 h 86360"/>
              <a:gd name="connsiteX343" fmla="*/ 224028 w 2153919"/>
              <a:gd name="connsiteY343" fmla="*/ 67056 h 86360"/>
              <a:gd name="connsiteX344" fmla="*/ 218948 w 2153919"/>
              <a:gd name="connsiteY344" fmla="*/ 45720 h 86360"/>
              <a:gd name="connsiteX345" fmla="*/ 224536 w 2153919"/>
              <a:gd name="connsiteY345" fmla="*/ 23876 h 86360"/>
              <a:gd name="connsiteX346" fmla="*/ 240792 w 2153919"/>
              <a:gd name="connsiteY346" fmla="*/ 15748 h 86360"/>
              <a:gd name="connsiteX347" fmla="*/ 250952 w 2153919"/>
              <a:gd name="connsiteY347" fmla="*/ 17780 h 86360"/>
              <a:gd name="connsiteX348" fmla="*/ 157480 w 2153919"/>
              <a:gd name="connsiteY348" fmla="*/ 17780 h 86360"/>
              <a:gd name="connsiteX349" fmla="*/ 167132 w 2153919"/>
              <a:gd name="connsiteY349" fmla="*/ 21844 h 86360"/>
              <a:gd name="connsiteX350" fmla="*/ 173228 w 2153919"/>
              <a:gd name="connsiteY350" fmla="*/ 6604 h 86360"/>
              <a:gd name="connsiteX351" fmla="*/ 160528 w 2153919"/>
              <a:gd name="connsiteY351" fmla="*/ 2032 h 86360"/>
              <a:gd name="connsiteX352" fmla="*/ 147320 w 2153919"/>
              <a:gd name="connsiteY352" fmla="*/ 508 h 86360"/>
              <a:gd name="connsiteX353" fmla="*/ 124968 w 2153919"/>
              <a:gd name="connsiteY353" fmla="*/ 6096 h 86360"/>
              <a:gd name="connsiteX354" fmla="*/ 111252 w 2153919"/>
              <a:gd name="connsiteY354" fmla="*/ 21844 h 86360"/>
              <a:gd name="connsiteX355" fmla="*/ 106680 w 2153919"/>
              <a:gd name="connsiteY355" fmla="*/ 45212 h 86360"/>
              <a:gd name="connsiteX356" fmla="*/ 110744 w 2153919"/>
              <a:gd name="connsiteY356" fmla="*/ 68580 h 86360"/>
              <a:gd name="connsiteX357" fmla="*/ 123444 w 2153919"/>
              <a:gd name="connsiteY357" fmla="*/ 84328 h 86360"/>
              <a:gd name="connsiteX358" fmla="*/ 145796 w 2153919"/>
              <a:gd name="connsiteY358" fmla="*/ 89916 h 86360"/>
              <a:gd name="connsiteX359" fmla="*/ 158496 w 2153919"/>
              <a:gd name="connsiteY359" fmla="*/ 88900 h 86360"/>
              <a:gd name="connsiteX360" fmla="*/ 169672 w 2153919"/>
              <a:gd name="connsiteY360" fmla="*/ 85344 h 86360"/>
              <a:gd name="connsiteX361" fmla="*/ 169672 w 2153919"/>
              <a:gd name="connsiteY361" fmla="*/ 70104 h 86360"/>
              <a:gd name="connsiteX362" fmla="*/ 157988 w 2153919"/>
              <a:gd name="connsiteY362" fmla="*/ 73660 h 86360"/>
              <a:gd name="connsiteX363" fmla="*/ 147320 w 2153919"/>
              <a:gd name="connsiteY363" fmla="*/ 74676 h 86360"/>
              <a:gd name="connsiteX364" fmla="*/ 130556 w 2153919"/>
              <a:gd name="connsiteY364" fmla="*/ 67056 h 86360"/>
              <a:gd name="connsiteX365" fmla="*/ 125476 w 2153919"/>
              <a:gd name="connsiteY365" fmla="*/ 45720 h 86360"/>
              <a:gd name="connsiteX366" fmla="*/ 131064 w 2153919"/>
              <a:gd name="connsiteY366" fmla="*/ 23876 h 86360"/>
              <a:gd name="connsiteX367" fmla="*/ 147320 w 2153919"/>
              <a:gd name="connsiteY367" fmla="*/ 15748 h 86360"/>
              <a:gd name="connsiteX368" fmla="*/ 157480 w 2153919"/>
              <a:gd name="connsiteY368" fmla="*/ 17780 h 86360"/>
              <a:gd name="connsiteX369" fmla="*/ 30480 w 2153919"/>
              <a:gd name="connsiteY369" fmla="*/ 52324 h 86360"/>
              <a:gd name="connsiteX370" fmla="*/ 36576 w 2153919"/>
              <a:gd name="connsiteY370" fmla="*/ 32004 h 86360"/>
              <a:gd name="connsiteX371" fmla="*/ 38100 w 2153919"/>
              <a:gd name="connsiteY371" fmla="*/ 27432 h 86360"/>
              <a:gd name="connsiteX372" fmla="*/ 40132 w 2153919"/>
              <a:gd name="connsiteY372" fmla="*/ 20828 h 86360"/>
              <a:gd name="connsiteX373" fmla="*/ 41656 w 2153919"/>
              <a:gd name="connsiteY373" fmla="*/ 14732 h 86360"/>
              <a:gd name="connsiteX374" fmla="*/ 43180 w 2153919"/>
              <a:gd name="connsiteY374" fmla="*/ 20320 h 86360"/>
              <a:gd name="connsiteX375" fmla="*/ 45212 w 2153919"/>
              <a:gd name="connsiteY375" fmla="*/ 26924 h 86360"/>
              <a:gd name="connsiteX376" fmla="*/ 46736 w 2153919"/>
              <a:gd name="connsiteY376" fmla="*/ 32004 h 86360"/>
              <a:gd name="connsiteX377" fmla="*/ 52832 w 2153919"/>
              <a:gd name="connsiteY377" fmla="*/ 52324 h 86360"/>
              <a:gd name="connsiteX378" fmla="*/ 30480 w 2153919"/>
              <a:gd name="connsiteY378" fmla="*/ 52324 h 86360"/>
              <a:gd name="connsiteX379" fmla="*/ 83820 w 2153919"/>
              <a:gd name="connsiteY379" fmla="*/ 88900 h 86360"/>
              <a:gd name="connsiteX380" fmla="*/ 52832 w 2153919"/>
              <a:gd name="connsiteY380" fmla="*/ 1524 h 86360"/>
              <a:gd name="connsiteX381" fmla="*/ 30480 w 2153919"/>
              <a:gd name="connsiteY381" fmla="*/ 1524 h 86360"/>
              <a:gd name="connsiteX382" fmla="*/ 0 w 2153919"/>
              <a:gd name="connsiteY382" fmla="*/ 88900 h 86360"/>
              <a:gd name="connsiteX383" fmla="*/ 19812 w 2153919"/>
              <a:gd name="connsiteY383" fmla="*/ 88900 h 86360"/>
              <a:gd name="connsiteX384" fmla="*/ 25908 w 2153919"/>
              <a:gd name="connsiteY384" fmla="*/ 68072 h 86360"/>
              <a:gd name="connsiteX385" fmla="*/ 57404 w 2153919"/>
              <a:gd name="connsiteY385" fmla="*/ 68072 h 86360"/>
              <a:gd name="connsiteX386" fmla="*/ 63500 w 2153919"/>
              <a:gd name="connsiteY386" fmla="*/ 88900 h 86360"/>
              <a:gd name="connsiteX387" fmla="*/ 83820 w 2153919"/>
              <a:gd name="connsiteY387" fmla="*/ 88900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Lst>
            <a:rect l="l" t="t" r="r" b="b"/>
            <a:pathLst>
              <a:path w="2153919" h="86360">
                <a:moveTo>
                  <a:pt x="2098040" y="1524"/>
                </a:moveTo>
                <a:lnTo>
                  <a:pt x="2078228" y="1524"/>
                </a:lnTo>
                <a:lnTo>
                  <a:pt x="2107184" y="55372"/>
                </a:lnTo>
                <a:lnTo>
                  <a:pt x="2107184" y="88900"/>
                </a:lnTo>
                <a:lnTo>
                  <a:pt x="2125472" y="88900"/>
                </a:lnTo>
                <a:lnTo>
                  <a:pt x="2125472" y="54864"/>
                </a:lnTo>
                <a:lnTo>
                  <a:pt x="2154428" y="1524"/>
                </a:lnTo>
                <a:lnTo>
                  <a:pt x="2134616" y="1524"/>
                </a:lnTo>
                <a:lnTo>
                  <a:pt x="2116328" y="37592"/>
                </a:lnTo>
                <a:lnTo>
                  <a:pt x="2098040" y="1524"/>
                </a:lnTo>
                <a:close/>
                <a:moveTo>
                  <a:pt x="2033524" y="17272"/>
                </a:moveTo>
                <a:lnTo>
                  <a:pt x="2057400" y="17272"/>
                </a:lnTo>
                <a:lnTo>
                  <a:pt x="2057400" y="2032"/>
                </a:lnTo>
                <a:lnTo>
                  <a:pt x="1991868" y="2032"/>
                </a:lnTo>
                <a:lnTo>
                  <a:pt x="1991868" y="17272"/>
                </a:lnTo>
                <a:lnTo>
                  <a:pt x="2015744" y="17272"/>
                </a:lnTo>
                <a:lnTo>
                  <a:pt x="2015744" y="88900"/>
                </a:lnTo>
                <a:lnTo>
                  <a:pt x="2034032" y="88900"/>
                </a:lnTo>
                <a:lnTo>
                  <a:pt x="2034032" y="17272"/>
                </a:lnTo>
                <a:close/>
                <a:moveTo>
                  <a:pt x="1966976" y="78232"/>
                </a:moveTo>
                <a:lnTo>
                  <a:pt x="1956308" y="73152"/>
                </a:lnTo>
                <a:lnTo>
                  <a:pt x="1956308" y="17272"/>
                </a:lnTo>
                <a:lnTo>
                  <a:pt x="1966976" y="12192"/>
                </a:lnTo>
                <a:lnTo>
                  <a:pt x="1966976" y="1524"/>
                </a:lnTo>
                <a:lnTo>
                  <a:pt x="1927352" y="1524"/>
                </a:lnTo>
                <a:lnTo>
                  <a:pt x="1927352" y="12192"/>
                </a:lnTo>
                <a:lnTo>
                  <a:pt x="1938020" y="17272"/>
                </a:lnTo>
                <a:lnTo>
                  <a:pt x="1938020" y="73152"/>
                </a:lnTo>
                <a:lnTo>
                  <a:pt x="1927352" y="78232"/>
                </a:lnTo>
                <a:lnTo>
                  <a:pt x="1927352" y="88900"/>
                </a:lnTo>
                <a:lnTo>
                  <a:pt x="1966976" y="88900"/>
                </a:lnTo>
                <a:lnTo>
                  <a:pt x="1966976" y="78232"/>
                </a:lnTo>
                <a:close/>
                <a:moveTo>
                  <a:pt x="1900936" y="88900"/>
                </a:moveTo>
                <a:lnTo>
                  <a:pt x="1900936" y="73660"/>
                </a:lnTo>
                <a:lnTo>
                  <a:pt x="1865376" y="73660"/>
                </a:lnTo>
                <a:lnTo>
                  <a:pt x="1865376" y="2032"/>
                </a:lnTo>
                <a:lnTo>
                  <a:pt x="1847088" y="2032"/>
                </a:lnTo>
                <a:lnTo>
                  <a:pt x="1847088" y="88900"/>
                </a:lnTo>
                <a:lnTo>
                  <a:pt x="1900936" y="88900"/>
                </a:lnTo>
                <a:close/>
                <a:moveTo>
                  <a:pt x="1814068" y="78232"/>
                </a:moveTo>
                <a:lnTo>
                  <a:pt x="1803400" y="73152"/>
                </a:lnTo>
                <a:lnTo>
                  <a:pt x="1803400" y="17272"/>
                </a:lnTo>
                <a:lnTo>
                  <a:pt x="1814068" y="12192"/>
                </a:lnTo>
                <a:lnTo>
                  <a:pt x="1814068" y="1524"/>
                </a:lnTo>
                <a:lnTo>
                  <a:pt x="1774444" y="1524"/>
                </a:lnTo>
                <a:lnTo>
                  <a:pt x="1774444" y="12192"/>
                </a:lnTo>
                <a:lnTo>
                  <a:pt x="1785112" y="17272"/>
                </a:lnTo>
                <a:lnTo>
                  <a:pt x="1785112" y="73152"/>
                </a:lnTo>
                <a:lnTo>
                  <a:pt x="1774444" y="78232"/>
                </a:lnTo>
                <a:lnTo>
                  <a:pt x="1774444" y="88900"/>
                </a:lnTo>
                <a:lnTo>
                  <a:pt x="1814068" y="88900"/>
                </a:lnTo>
                <a:lnTo>
                  <a:pt x="1814068" y="78232"/>
                </a:lnTo>
                <a:close/>
                <a:moveTo>
                  <a:pt x="1711452" y="50800"/>
                </a:moveTo>
                <a:cubicBezTo>
                  <a:pt x="1717548" y="50800"/>
                  <a:pt x="1721104" y="51816"/>
                  <a:pt x="1723644" y="53848"/>
                </a:cubicBezTo>
                <a:cubicBezTo>
                  <a:pt x="1725676" y="55880"/>
                  <a:pt x="1727200" y="58420"/>
                  <a:pt x="1727200" y="61468"/>
                </a:cubicBezTo>
                <a:cubicBezTo>
                  <a:pt x="1727200" y="65024"/>
                  <a:pt x="1726184" y="68072"/>
                  <a:pt x="1724152" y="70104"/>
                </a:cubicBezTo>
                <a:cubicBezTo>
                  <a:pt x="1722120" y="72136"/>
                  <a:pt x="1718056" y="73152"/>
                  <a:pt x="1712468" y="73152"/>
                </a:cubicBezTo>
                <a:lnTo>
                  <a:pt x="1700276" y="73152"/>
                </a:lnTo>
                <a:lnTo>
                  <a:pt x="1700276" y="50292"/>
                </a:lnTo>
                <a:lnTo>
                  <a:pt x="1711452" y="50292"/>
                </a:lnTo>
                <a:close/>
                <a:moveTo>
                  <a:pt x="1699768" y="16764"/>
                </a:moveTo>
                <a:lnTo>
                  <a:pt x="1709420" y="16764"/>
                </a:lnTo>
                <a:cubicBezTo>
                  <a:pt x="1714500" y="16764"/>
                  <a:pt x="1718564" y="17272"/>
                  <a:pt x="1721104" y="18796"/>
                </a:cubicBezTo>
                <a:cubicBezTo>
                  <a:pt x="1723644" y="20320"/>
                  <a:pt x="1724660" y="22860"/>
                  <a:pt x="1724660" y="25908"/>
                </a:cubicBezTo>
                <a:cubicBezTo>
                  <a:pt x="1724660" y="29464"/>
                  <a:pt x="1723644" y="31496"/>
                  <a:pt x="1721612" y="33528"/>
                </a:cubicBezTo>
                <a:cubicBezTo>
                  <a:pt x="1719580" y="35052"/>
                  <a:pt x="1716024" y="36068"/>
                  <a:pt x="1710436" y="36068"/>
                </a:cubicBezTo>
                <a:lnTo>
                  <a:pt x="1699768" y="36068"/>
                </a:lnTo>
                <a:lnTo>
                  <a:pt x="1699768" y="16764"/>
                </a:lnTo>
                <a:close/>
                <a:moveTo>
                  <a:pt x="1681480" y="88900"/>
                </a:moveTo>
                <a:lnTo>
                  <a:pt x="1713992" y="88900"/>
                </a:lnTo>
                <a:cubicBezTo>
                  <a:pt x="1723644" y="88900"/>
                  <a:pt x="1731772" y="86868"/>
                  <a:pt x="1737360" y="82296"/>
                </a:cubicBezTo>
                <a:cubicBezTo>
                  <a:pt x="1742948" y="77724"/>
                  <a:pt x="1745996" y="71628"/>
                  <a:pt x="1745996" y="64008"/>
                </a:cubicBezTo>
                <a:cubicBezTo>
                  <a:pt x="1745996" y="59436"/>
                  <a:pt x="1745488" y="55880"/>
                  <a:pt x="1743964" y="52832"/>
                </a:cubicBezTo>
                <a:cubicBezTo>
                  <a:pt x="1742440" y="50292"/>
                  <a:pt x="1740916" y="47752"/>
                  <a:pt x="1738376" y="46736"/>
                </a:cubicBezTo>
                <a:cubicBezTo>
                  <a:pt x="1735836" y="45212"/>
                  <a:pt x="1733296" y="44196"/>
                  <a:pt x="1730756" y="43688"/>
                </a:cubicBezTo>
                <a:lnTo>
                  <a:pt x="1730756" y="42672"/>
                </a:lnTo>
                <a:cubicBezTo>
                  <a:pt x="1734820" y="42164"/>
                  <a:pt x="1738376" y="39624"/>
                  <a:pt x="1740916" y="36576"/>
                </a:cubicBezTo>
                <a:cubicBezTo>
                  <a:pt x="1743456" y="33020"/>
                  <a:pt x="1744472" y="28956"/>
                  <a:pt x="1744472" y="23876"/>
                </a:cubicBezTo>
                <a:cubicBezTo>
                  <a:pt x="1744472" y="15748"/>
                  <a:pt x="1741424" y="10160"/>
                  <a:pt x="1735328" y="6604"/>
                </a:cubicBezTo>
                <a:cubicBezTo>
                  <a:pt x="1729232" y="3556"/>
                  <a:pt x="1720596" y="1524"/>
                  <a:pt x="1708912" y="1524"/>
                </a:cubicBezTo>
                <a:lnTo>
                  <a:pt x="1681480" y="1524"/>
                </a:lnTo>
                <a:lnTo>
                  <a:pt x="1681480" y="88900"/>
                </a:lnTo>
                <a:close/>
                <a:moveTo>
                  <a:pt x="1598676" y="52324"/>
                </a:moveTo>
                <a:lnTo>
                  <a:pt x="1604772" y="32004"/>
                </a:lnTo>
                <a:cubicBezTo>
                  <a:pt x="1605280" y="30988"/>
                  <a:pt x="1605788" y="29464"/>
                  <a:pt x="1606296" y="27432"/>
                </a:cubicBezTo>
                <a:cubicBezTo>
                  <a:pt x="1606804" y="25400"/>
                  <a:pt x="1607312" y="22860"/>
                  <a:pt x="1608328" y="20828"/>
                </a:cubicBezTo>
                <a:cubicBezTo>
                  <a:pt x="1608836" y="18288"/>
                  <a:pt x="1609344" y="16256"/>
                  <a:pt x="1609852" y="14732"/>
                </a:cubicBezTo>
                <a:cubicBezTo>
                  <a:pt x="1610360" y="16256"/>
                  <a:pt x="1610868" y="18288"/>
                  <a:pt x="1611376" y="20320"/>
                </a:cubicBezTo>
                <a:cubicBezTo>
                  <a:pt x="1611884" y="22352"/>
                  <a:pt x="1612900" y="24892"/>
                  <a:pt x="1613408" y="26924"/>
                </a:cubicBezTo>
                <a:cubicBezTo>
                  <a:pt x="1613916" y="28956"/>
                  <a:pt x="1614424" y="30988"/>
                  <a:pt x="1614932" y="32004"/>
                </a:cubicBezTo>
                <a:lnTo>
                  <a:pt x="1621028" y="52324"/>
                </a:lnTo>
                <a:lnTo>
                  <a:pt x="1598676" y="52324"/>
                </a:lnTo>
                <a:close/>
                <a:moveTo>
                  <a:pt x="1652016" y="88900"/>
                </a:moveTo>
                <a:lnTo>
                  <a:pt x="1621028" y="1524"/>
                </a:lnTo>
                <a:lnTo>
                  <a:pt x="1598676" y="1524"/>
                </a:lnTo>
                <a:lnTo>
                  <a:pt x="1568196" y="88900"/>
                </a:lnTo>
                <a:lnTo>
                  <a:pt x="1588008" y="88900"/>
                </a:lnTo>
                <a:lnTo>
                  <a:pt x="1594104" y="68072"/>
                </a:lnTo>
                <a:lnTo>
                  <a:pt x="1625600" y="68072"/>
                </a:lnTo>
                <a:lnTo>
                  <a:pt x="1631696" y="88900"/>
                </a:lnTo>
                <a:lnTo>
                  <a:pt x="1652016" y="88900"/>
                </a:lnTo>
                <a:close/>
                <a:moveTo>
                  <a:pt x="1499108" y="73660"/>
                </a:moveTo>
                <a:lnTo>
                  <a:pt x="1490980" y="73660"/>
                </a:lnTo>
                <a:lnTo>
                  <a:pt x="1490980" y="16764"/>
                </a:lnTo>
                <a:lnTo>
                  <a:pt x="1500632" y="16764"/>
                </a:lnTo>
                <a:cubicBezTo>
                  <a:pt x="1508760" y="16764"/>
                  <a:pt x="1514856" y="18796"/>
                  <a:pt x="1518920" y="23368"/>
                </a:cubicBezTo>
                <a:cubicBezTo>
                  <a:pt x="1522984" y="27940"/>
                  <a:pt x="1525016" y="35052"/>
                  <a:pt x="1525016" y="44704"/>
                </a:cubicBezTo>
                <a:cubicBezTo>
                  <a:pt x="1526032" y="64008"/>
                  <a:pt x="1516888" y="73660"/>
                  <a:pt x="1499108" y="73660"/>
                </a:cubicBezTo>
                <a:moveTo>
                  <a:pt x="1539748" y="20828"/>
                </a:moveTo>
                <a:cubicBezTo>
                  <a:pt x="1536192" y="14732"/>
                  <a:pt x="1530604" y="9652"/>
                  <a:pt x="1524000" y="6604"/>
                </a:cubicBezTo>
                <a:cubicBezTo>
                  <a:pt x="1517396" y="3556"/>
                  <a:pt x="1509268" y="1524"/>
                  <a:pt x="1500124" y="1524"/>
                </a:cubicBezTo>
                <a:lnTo>
                  <a:pt x="1472692" y="1524"/>
                </a:lnTo>
                <a:lnTo>
                  <a:pt x="1472692" y="88392"/>
                </a:lnTo>
                <a:lnTo>
                  <a:pt x="1497076" y="88392"/>
                </a:lnTo>
                <a:cubicBezTo>
                  <a:pt x="1511808" y="88392"/>
                  <a:pt x="1523492" y="84836"/>
                  <a:pt x="1532128" y="77216"/>
                </a:cubicBezTo>
                <a:cubicBezTo>
                  <a:pt x="1540256" y="69596"/>
                  <a:pt x="1544828" y="58928"/>
                  <a:pt x="1544828" y="44196"/>
                </a:cubicBezTo>
                <a:cubicBezTo>
                  <a:pt x="1544828" y="35052"/>
                  <a:pt x="1543304" y="27432"/>
                  <a:pt x="1539748" y="20828"/>
                </a:cubicBezTo>
                <a:moveTo>
                  <a:pt x="1411224" y="19304"/>
                </a:moveTo>
                <a:cubicBezTo>
                  <a:pt x="1414272" y="20828"/>
                  <a:pt x="1415288" y="23876"/>
                  <a:pt x="1415288" y="27940"/>
                </a:cubicBezTo>
                <a:cubicBezTo>
                  <a:pt x="1415288" y="32004"/>
                  <a:pt x="1413764" y="35052"/>
                  <a:pt x="1411224" y="37084"/>
                </a:cubicBezTo>
                <a:cubicBezTo>
                  <a:pt x="1408684" y="39116"/>
                  <a:pt x="1404112" y="40132"/>
                  <a:pt x="1398016" y="40132"/>
                </a:cubicBezTo>
                <a:lnTo>
                  <a:pt x="1391920" y="40132"/>
                </a:lnTo>
                <a:lnTo>
                  <a:pt x="1391920" y="16764"/>
                </a:lnTo>
                <a:lnTo>
                  <a:pt x="1397508" y="16764"/>
                </a:lnTo>
                <a:cubicBezTo>
                  <a:pt x="1404112" y="16764"/>
                  <a:pt x="1408684" y="17780"/>
                  <a:pt x="1411224" y="19304"/>
                </a:cubicBezTo>
                <a:moveTo>
                  <a:pt x="1374140" y="1524"/>
                </a:moveTo>
                <a:lnTo>
                  <a:pt x="1374140" y="88392"/>
                </a:lnTo>
                <a:lnTo>
                  <a:pt x="1392428" y="88392"/>
                </a:lnTo>
                <a:lnTo>
                  <a:pt x="1392428" y="54864"/>
                </a:lnTo>
                <a:lnTo>
                  <a:pt x="1402080" y="54864"/>
                </a:lnTo>
                <a:lnTo>
                  <a:pt x="1422908" y="88392"/>
                </a:lnTo>
                <a:lnTo>
                  <a:pt x="1443228" y="88392"/>
                </a:lnTo>
                <a:lnTo>
                  <a:pt x="1417828" y="50292"/>
                </a:lnTo>
                <a:cubicBezTo>
                  <a:pt x="1420876" y="48768"/>
                  <a:pt x="1423416" y="47244"/>
                  <a:pt x="1425956" y="45212"/>
                </a:cubicBezTo>
                <a:cubicBezTo>
                  <a:pt x="1428496" y="43180"/>
                  <a:pt x="1430528" y="40640"/>
                  <a:pt x="1432052" y="37592"/>
                </a:cubicBezTo>
                <a:cubicBezTo>
                  <a:pt x="1433576" y="34544"/>
                  <a:pt x="1434084" y="30988"/>
                  <a:pt x="1434084" y="26924"/>
                </a:cubicBezTo>
                <a:cubicBezTo>
                  <a:pt x="1434084" y="18288"/>
                  <a:pt x="1431036" y="11684"/>
                  <a:pt x="1425448" y="7112"/>
                </a:cubicBezTo>
                <a:cubicBezTo>
                  <a:pt x="1419860" y="3048"/>
                  <a:pt x="1411224" y="508"/>
                  <a:pt x="1399032" y="508"/>
                </a:cubicBezTo>
                <a:lnTo>
                  <a:pt x="1374140" y="508"/>
                </a:lnTo>
                <a:close/>
                <a:moveTo>
                  <a:pt x="1279652" y="23368"/>
                </a:moveTo>
                <a:cubicBezTo>
                  <a:pt x="1283208" y="18288"/>
                  <a:pt x="1288796" y="15748"/>
                  <a:pt x="1296416" y="15748"/>
                </a:cubicBezTo>
                <a:cubicBezTo>
                  <a:pt x="1304036" y="15748"/>
                  <a:pt x="1309624" y="18288"/>
                  <a:pt x="1313180" y="23368"/>
                </a:cubicBezTo>
                <a:cubicBezTo>
                  <a:pt x="1316736" y="28448"/>
                  <a:pt x="1318260" y="35560"/>
                  <a:pt x="1318260" y="44704"/>
                </a:cubicBezTo>
                <a:cubicBezTo>
                  <a:pt x="1318260" y="53848"/>
                  <a:pt x="1316736" y="60960"/>
                  <a:pt x="1313180" y="66040"/>
                </a:cubicBezTo>
                <a:cubicBezTo>
                  <a:pt x="1309624" y="71120"/>
                  <a:pt x="1304036" y="73660"/>
                  <a:pt x="1296416" y="73660"/>
                </a:cubicBezTo>
                <a:cubicBezTo>
                  <a:pt x="1288796" y="73660"/>
                  <a:pt x="1283208" y="71120"/>
                  <a:pt x="1279652" y="66040"/>
                </a:cubicBezTo>
                <a:cubicBezTo>
                  <a:pt x="1276096" y="60960"/>
                  <a:pt x="1274572" y="53848"/>
                  <a:pt x="1274572" y="44704"/>
                </a:cubicBezTo>
                <a:cubicBezTo>
                  <a:pt x="1274064" y="36068"/>
                  <a:pt x="1276096" y="28956"/>
                  <a:pt x="1279652" y="23368"/>
                </a:cubicBezTo>
                <a:moveTo>
                  <a:pt x="1333500" y="21336"/>
                </a:moveTo>
                <a:cubicBezTo>
                  <a:pt x="1330452" y="14732"/>
                  <a:pt x="1325880" y="9652"/>
                  <a:pt x="1319784" y="5588"/>
                </a:cubicBezTo>
                <a:cubicBezTo>
                  <a:pt x="1313688" y="2032"/>
                  <a:pt x="1306068" y="0"/>
                  <a:pt x="1296416" y="0"/>
                </a:cubicBezTo>
                <a:cubicBezTo>
                  <a:pt x="1286764" y="0"/>
                  <a:pt x="1279144" y="2032"/>
                  <a:pt x="1273048" y="5588"/>
                </a:cubicBezTo>
                <a:cubicBezTo>
                  <a:pt x="1266952" y="9144"/>
                  <a:pt x="1262380" y="14224"/>
                  <a:pt x="1259332" y="21336"/>
                </a:cubicBezTo>
                <a:cubicBezTo>
                  <a:pt x="1256284" y="27940"/>
                  <a:pt x="1254760" y="36068"/>
                  <a:pt x="1254760" y="44704"/>
                </a:cubicBezTo>
                <a:cubicBezTo>
                  <a:pt x="1254760" y="53848"/>
                  <a:pt x="1256284" y="61468"/>
                  <a:pt x="1259332" y="68580"/>
                </a:cubicBezTo>
                <a:cubicBezTo>
                  <a:pt x="1262380" y="75184"/>
                  <a:pt x="1266952" y="80772"/>
                  <a:pt x="1273048" y="84328"/>
                </a:cubicBezTo>
                <a:cubicBezTo>
                  <a:pt x="1279144" y="87884"/>
                  <a:pt x="1286764" y="89916"/>
                  <a:pt x="1296416" y="89916"/>
                </a:cubicBezTo>
                <a:cubicBezTo>
                  <a:pt x="1306068" y="89916"/>
                  <a:pt x="1313688" y="87884"/>
                  <a:pt x="1319784" y="84328"/>
                </a:cubicBezTo>
                <a:cubicBezTo>
                  <a:pt x="1325880" y="80772"/>
                  <a:pt x="1330452" y="75184"/>
                  <a:pt x="1333500" y="68580"/>
                </a:cubicBezTo>
                <a:cubicBezTo>
                  <a:pt x="1336548" y="61976"/>
                  <a:pt x="1338072" y="53848"/>
                  <a:pt x="1338072" y="45212"/>
                </a:cubicBezTo>
                <a:cubicBezTo>
                  <a:pt x="1338072" y="36576"/>
                  <a:pt x="1336548" y="28448"/>
                  <a:pt x="1333500" y="21336"/>
                </a:cubicBezTo>
                <a:moveTo>
                  <a:pt x="1191768" y="54356"/>
                </a:moveTo>
                <a:lnTo>
                  <a:pt x="1221232" y="54356"/>
                </a:lnTo>
                <a:lnTo>
                  <a:pt x="1221232" y="39116"/>
                </a:lnTo>
                <a:lnTo>
                  <a:pt x="1191768" y="39116"/>
                </a:lnTo>
                <a:lnTo>
                  <a:pt x="1191768" y="16764"/>
                </a:lnTo>
                <a:lnTo>
                  <a:pt x="1223264" y="16764"/>
                </a:lnTo>
                <a:lnTo>
                  <a:pt x="1223264" y="1524"/>
                </a:lnTo>
                <a:lnTo>
                  <a:pt x="1173480" y="1524"/>
                </a:lnTo>
                <a:lnTo>
                  <a:pt x="1173480" y="88392"/>
                </a:lnTo>
                <a:lnTo>
                  <a:pt x="1191768" y="88392"/>
                </a:lnTo>
                <a:lnTo>
                  <a:pt x="1191768" y="54356"/>
                </a:lnTo>
                <a:close/>
                <a:moveTo>
                  <a:pt x="1106424" y="54356"/>
                </a:moveTo>
                <a:lnTo>
                  <a:pt x="1135888" y="54356"/>
                </a:lnTo>
                <a:lnTo>
                  <a:pt x="1135888" y="39116"/>
                </a:lnTo>
                <a:lnTo>
                  <a:pt x="1106424" y="39116"/>
                </a:lnTo>
                <a:lnTo>
                  <a:pt x="1106424" y="16764"/>
                </a:lnTo>
                <a:lnTo>
                  <a:pt x="1137920" y="16764"/>
                </a:lnTo>
                <a:lnTo>
                  <a:pt x="1137920" y="1524"/>
                </a:lnTo>
                <a:lnTo>
                  <a:pt x="1088136" y="1524"/>
                </a:lnTo>
                <a:lnTo>
                  <a:pt x="1088136" y="88392"/>
                </a:lnTo>
                <a:lnTo>
                  <a:pt x="1106424" y="88392"/>
                </a:lnTo>
                <a:lnTo>
                  <a:pt x="1106424" y="54356"/>
                </a:lnTo>
                <a:close/>
                <a:moveTo>
                  <a:pt x="1005840" y="52324"/>
                </a:moveTo>
                <a:lnTo>
                  <a:pt x="1011936" y="32004"/>
                </a:lnTo>
                <a:cubicBezTo>
                  <a:pt x="1012444" y="30988"/>
                  <a:pt x="1012952" y="29464"/>
                  <a:pt x="1013460" y="27432"/>
                </a:cubicBezTo>
                <a:cubicBezTo>
                  <a:pt x="1013968" y="25400"/>
                  <a:pt x="1014476" y="22860"/>
                  <a:pt x="1015492" y="20828"/>
                </a:cubicBezTo>
                <a:cubicBezTo>
                  <a:pt x="1016000" y="18288"/>
                  <a:pt x="1016508" y="16256"/>
                  <a:pt x="1017016" y="14732"/>
                </a:cubicBezTo>
                <a:cubicBezTo>
                  <a:pt x="1017524" y="16256"/>
                  <a:pt x="1018032" y="18288"/>
                  <a:pt x="1018540" y="20320"/>
                </a:cubicBezTo>
                <a:cubicBezTo>
                  <a:pt x="1019048" y="22352"/>
                  <a:pt x="1020064" y="24892"/>
                  <a:pt x="1020572" y="26924"/>
                </a:cubicBezTo>
                <a:cubicBezTo>
                  <a:pt x="1021080" y="28956"/>
                  <a:pt x="1021588" y="30988"/>
                  <a:pt x="1022096" y="32004"/>
                </a:cubicBezTo>
                <a:lnTo>
                  <a:pt x="1028192" y="52324"/>
                </a:lnTo>
                <a:lnTo>
                  <a:pt x="1005840" y="52324"/>
                </a:lnTo>
                <a:close/>
                <a:moveTo>
                  <a:pt x="1059180" y="88900"/>
                </a:moveTo>
                <a:lnTo>
                  <a:pt x="1028192" y="1524"/>
                </a:lnTo>
                <a:lnTo>
                  <a:pt x="1005840" y="1524"/>
                </a:lnTo>
                <a:lnTo>
                  <a:pt x="975360" y="88900"/>
                </a:lnTo>
                <a:lnTo>
                  <a:pt x="995172" y="88900"/>
                </a:lnTo>
                <a:lnTo>
                  <a:pt x="1001776" y="68072"/>
                </a:lnTo>
                <a:lnTo>
                  <a:pt x="1033272" y="68072"/>
                </a:lnTo>
                <a:lnTo>
                  <a:pt x="1039876" y="88900"/>
                </a:lnTo>
                <a:lnTo>
                  <a:pt x="1059180" y="88900"/>
                </a:lnTo>
                <a:close/>
                <a:moveTo>
                  <a:pt x="853948" y="73660"/>
                </a:moveTo>
                <a:lnTo>
                  <a:pt x="845820" y="73660"/>
                </a:lnTo>
                <a:lnTo>
                  <a:pt x="845820" y="16764"/>
                </a:lnTo>
                <a:lnTo>
                  <a:pt x="855472" y="16764"/>
                </a:lnTo>
                <a:cubicBezTo>
                  <a:pt x="863600" y="16764"/>
                  <a:pt x="869696" y="18796"/>
                  <a:pt x="873760" y="23368"/>
                </a:cubicBezTo>
                <a:cubicBezTo>
                  <a:pt x="877824" y="27940"/>
                  <a:pt x="879856" y="35052"/>
                  <a:pt x="879856" y="44704"/>
                </a:cubicBezTo>
                <a:cubicBezTo>
                  <a:pt x="880364" y="64008"/>
                  <a:pt x="871728" y="73660"/>
                  <a:pt x="853948" y="73660"/>
                </a:cubicBezTo>
                <a:moveTo>
                  <a:pt x="894080" y="20828"/>
                </a:moveTo>
                <a:cubicBezTo>
                  <a:pt x="890524" y="14732"/>
                  <a:pt x="884936" y="9652"/>
                  <a:pt x="878332" y="6604"/>
                </a:cubicBezTo>
                <a:cubicBezTo>
                  <a:pt x="871728" y="3556"/>
                  <a:pt x="863600" y="1524"/>
                  <a:pt x="854456" y="1524"/>
                </a:cubicBezTo>
                <a:lnTo>
                  <a:pt x="827024" y="1524"/>
                </a:lnTo>
                <a:lnTo>
                  <a:pt x="827024" y="88392"/>
                </a:lnTo>
                <a:lnTo>
                  <a:pt x="851408" y="88392"/>
                </a:lnTo>
                <a:cubicBezTo>
                  <a:pt x="866140" y="88392"/>
                  <a:pt x="877824" y="84836"/>
                  <a:pt x="886460" y="77216"/>
                </a:cubicBezTo>
                <a:cubicBezTo>
                  <a:pt x="894588" y="69596"/>
                  <a:pt x="899160" y="58928"/>
                  <a:pt x="899160" y="44196"/>
                </a:cubicBezTo>
                <a:cubicBezTo>
                  <a:pt x="899668" y="35052"/>
                  <a:pt x="897636" y="27432"/>
                  <a:pt x="894080" y="20828"/>
                </a:cubicBezTo>
                <a:moveTo>
                  <a:pt x="787400" y="1524"/>
                </a:moveTo>
                <a:lnTo>
                  <a:pt x="770636" y="1524"/>
                </a:lnTo>
                <a:lnTo>
                  <a:pt x="770636" y="42672"/>
                </a:lnTo>
                <a:cubicBezTo>
                  <a:pt x="770636" y="46736"/>
                  <a:pt x="770636" y="50800"/>
                  <a:pt x="771144" y="54864"/>
                </a:cubicBezTo>
                <a:cubicBezTo>
                  <a:pt x="771144" y="58928"/>
                  <a:pt x="771652" y="62992"/>
                  <a:pt x="771652" y="67056"/>
                </a:cubicBezTo>
                <a:lnTo>
                  <a:pt x="771144" y="67056"/>
                </a:lnTo>
                <a:lnTo>
                  <a:pt x="733552" y="2032"/>
                </a:lnTo>
                <a:lnTo>
                  <a:pt x="710184" y="2032"/>
                </a:lnTo>
                <a:lnTo>
                  <a:pt x="710184" y="88900"/>
                </a:lnTo>
                <a:lnTo>
                  <a:pt x="726440" y="88900"/>
                </a:lnTo>
                <a:lnTo>
                  <a:pt x="726440" y="47752"/>
                </a:lnTo>
                <a:cubicBezTo>
                  <a:pt x="726440" y="43688"/>
                  <a:pt x="725932" y="39624"/>
                  <a:pt x="725932" y="35560"/>
                </a:cubicBezTo>
                <a:cubicBezTo>
                  <a:pt x="725932" y="31496"/>
                  <a:pt x="725424" y="27432"/>
                  <a:pt x="725424" y="23368"/>
                </a:cubicBezTo>
                <a:lnTo>
                  <a:pt x="725932" y="23368"/>
                </a:lnTo>
                <a:lnTo>
                  <a:pt x="764032" y="89408"/>
                </a:lnTo>
                <a:lnTo>
                  <a:pt x="787400" y="89408"/>
                </a:lnTo>
                <a:lnTo>
                  <a:pt x="787400" y="1524"/>
                </a:lnTo>
                <a:close/>
                <a:moveTo>
                  <a:pt x="627380" y="52324"/>
                </a:moveTo>
                <a:lnTo>
                  <a:pt x="633476" y="32004"/>
                </a:lnTo>
                <a:cubicBezTo>
                  <a:pt x="633984" y="30988"/>
                  <a:pt x="634492" y="29464"/>
                  <a:pt x="635000" y="27432"/>
                </a:cubicBezTo>
                <a:cubicBezTo>
                  <a:pt x="635508" y="25400"/>
                  <a:pt x="636016" y="22860"/>
                  <a:pt x="637032" y="20828"/>
                </a:cubicBezTo>
                <a:cubicBezTo>
                  <a:pt x="637540" y="18288"/>
                  <a:pt x="638048" y="16256"/>
                  <a:pt x="638556" y="14732"/>
                </a:cubicBezTo>
                <a:cubicBezTo>
                  <a:pt x="639064" y="16256"/>
                  <a:pt x="639572" y="18288"/>
                  <a:pt x="640080" y="20320"/>
                </a:cubicBezTo>
                <a:cubicBezTo>
                  <a:pt x="640588" y="22352"/>
                  <a:pt x="641604" y="24892"/>
                  <a:pt x="642112" y="26924"/>
                </a:cubicBezTo>
                <a:cubicBezTo>
                  <a:pt x="642620" y="28956"/>
                  <a:pt x="643128" y="30988"/>
                  <a:pt x="643636" y="32004"/>
                </a:cubicBezTo>
                <a:lnTo>
                  <a:pt x="649732" y="52324"/>
                </a:lnTo>
                <a:lnTo>
                  <a:pt x="627380" y="52324"/>
                </a:lnTo>
                <a:close/>
                <a:moveTo>
                  <a:pt x="680720" y="88900"/>
                </a:moveTo>
                <a:lnTo>
                  <a:pt x="649732" y="1524"/>
                </a:lnTo>
                <a:lnTo>
                  <a:pt x="627380" y="1524"/>
                </a:lnTo>
                <a:lnTo>
                  <a:pt x="596900" y="88900"/>
                </a:lnTo>
                <a:lnTo>
                  <a:pt x="616712" y="88900"/>
                </a:lnTo>
                <a:lnTo>
                  <a:pt x="622808" y="68072"/>
                </a:lnTo>
                <a:lnTo>
                  <a:pt x="654304" y="68072"/>
                </a:lnTo>
                <a:lnTo>
                  <a:pt x="660400" y="88900"/>
                </a:lnTo>
                <a:lnTo>
                  <a:pt x="680720" y="88900"/>
                </a:lnTo>
                <a:close/>
                <a:moveTo>
                  <a:pt x="520700" y="53340"/>
                </a:moveTo>
                <a:cubicBezTo>
                  <a:pt x="519176" y="50292"/>
                  <a:pt x="516636" y="47752"/>
                  <a:pt x="513588" y="45212"/>
                </a:cubicBezTo>
                <a:cubicBezTo>
                  <a:pt x="510540" y="43180"/>
                  <a:pt x="506476" y="40640"/>
                  <a:pt x="502412" y="38608"/>
                </a:cubicBezTo>
                <a:cubicBezTo>
                  <a:pt x="496824" y="36068"/>
                  <a:pt x="492760" y="34036"/>
                  <a:pt x="490220" y="32004"/>
                </a:cubicBezTo>
                <a:cubicBezTo>
                  <a:pt x="487680" y="29972"/>
                  <a:pt x="486156" y="27940"/>
                  <a:pt x="486156" y="24892"/>
                </a:cubicBezTo>
                <a:cubicBezTo>
                  <a:pt x="486156" y="22352"/>
                  <a:pt x="487172" y="20320"/>
                  <a:pt x="489204" y="18796"/>
                </a:cubicBezTo>
                <a:cubicBezTo>
                  <a:pt x="491236" y="17272"/>
                  <a:pt x="493776" y="16256"/>
                  <a:pt x="497332" y="16256"/>
                </a:cubicBezTo>
                <a:cubicBezTo>
                  <a:pt x="500888" y="16256"/>
                  <a:pt x="503936" y="16764"/>
                  <a:pt x="506984" y="17780"/>
                </a:cubicBezTo>
                <a:cubicBezTo>
                  <a:pt x="510032" y="18796"/>
                  <a:pt x="513588" y="19812"/>
                  <a:pt x="517652" y="21336"/>
                </a:cubicBezTo>
                <a:lnTo>
                  <a:pt x="523748" y="7112"/>
                </a:lnTo>
                <a:cubicBezTo>
                  <a:pt x="519176" y="5080"/>
                  <a:pt x="515112" y="3556"/>
                  <a:pt x="511048" y="2540"/>
                </a:cubicBezTo>
                <a:cubicBezTo>
                  <a:pt x="506984" y="1524"/>
                  <a:pt x="502920" y="1016"/>
                  <a:pt x="498348" y="1016"/>
                </a:cubicBezTo>
                <a:cubicBezTo>
                  <a:pt x="489204" y="1016"/>
                  <a:pt x="482092" y="3048"/>
                  <a:pt x="477012" y="7620"/>
                </a:cubicBezTo>
                <a:cubicBezTo>
                  <a:pt x="471932" y="12192"/>
                  <a:pt x="468884" y="18288"/>
                  <a:pt x="468884" y="25908"/>
                </a:cubicBezTo>
                <a:cubicBezTo>
                  <a:pt x="468884" y="29972"/>
                  <a:pt x="469392" y="33528"/>
                  <a:pt x="470916" y="36068"/>
                </a:cubicBezTo>
                <a:cubicBezTo>
                  <a:pt x="472440" y="39116"/>
                  <a:pt x="473964" y="41148"/>
                  <a:pt x="475996" y="43180"/>
                </a:cubicBezTo>
                <a:cubicBezTo>
                  <a:pt x="478028" y="45212"/>
                  <a:pt x="480568" y="46736"/>
                  <a:pt x="482600" y="48260"/>
                </a:cubicBezTo>
                <a:cubicBezTo>
                  <a:pt x="485140" y="49784"/>
                  <a:pt x="487172" y="50800"/>
                  <a:pt x="489204" y="51816"/>
                </a:cubicBezTo>
                <a:cubicBezTo>
                  <a:pt x="492252" y="53340"/>
                  <a:pt x="495300" y="54864"/>
                  <a:pt x="497840" y="56388"/>
                </a:cubicBezTo>
                <a:cubicBezTo>
                  <a:pt x="500380" y="57912"/>
                  <a:pt x="502412" y="58928"/>
                  <a:pt x="503936" y="60960"/>
                </a:cubicBezTo>
                <a:cubicBezTo>
                  <a:pt x="505460" y="62484"/>
                  <a:pt x="505968" y="64516"/>
                  <a:pt x="505968" y="66548"/>
                </a:cubicBezTo>
                <a:cubicBezTo>
                  <a:pt x="505968" y="69088"/>
                  <a:pt x="504952" y="71628"/>
                  <a:pt x="502920" y="73152"/>
                </a:cubicBezTo>
                <a:cubicBezTo>
                  <a:pt x="500888" y="74676"/>
                  <a:pt x="497840" y="75692"/>
                  <a:pt x="493268" y="75692"/>
                </a:cubicBezTo>
                <a:cubicBezTo>
                  <a:pt x="488696" y="75692"/>
                  <a:pt x="484632" y="75184"/>
                  <a:pt x="480060" y="73660"/>
                </a:cubicBezTo>
                <a:cubicBezTo>
                  <a:pt x="475488" y="72136"/>
                  <a:pt x="471424" y="70612"/>
                  <a:pt x="467360" y="68580"/>
                </a:cubicBezTo>
                <a:lnTo>
                  <a:pt x="467360" y="85852"/>
                </a:lnTo>
                <a:cubicBezTo>
                  <a:pt x="474472" y="89408"/>
                  <a:pt x="482600" y="90932"/>
                  <a:pt x="491744" y="90932"/>
                </a:cubicBezTo>
                <a:cubicBezTo>
                  <a:pt x="501904" y="90932"/>
                  <a:pt x="510032" y="88392"/>
                  <a:pt x="515620" y="83820"/>
                </a:cubicBezTo>
                <a:cubicBezTo>
                  <a:pt x="521208" y="79248"/>
                  <a:pt x="523748" y="73152"/>
                  <a:pt x="523748" y="65532"/>
                </a:cubicBezTo>
                <a:cubicBezTo>
                  <a:pt x="523748" y="59944"/>
                  <a:pt x="522732" y="56388"/>
                  <a:pt x="520700" y="53340"/>
                </a:cubicBezTo>
                <a:moveTo>
                  <a:pt x="435356" y="53340"/>
                </a:moveTo>
                <a:cubicBezTo>
                  <a:pt x="433832" y="50292"/>
                  <a:pt x="431292" y="47752"/>
                  <a:pt x="428244" y="45212"/>
                </a:cubicBezTo>
                <a:cubicBezTo>
                  <a:pt x="425196" y="43180"/>
                  <a:pt x="421132" y="40640"/>
                  <a:pt x="417068" y="38608"/>
                </a:cubicBezTo>
                <a:cubicBezTo>
                  <a:pt x="411480" y="36068"/>
                  <a:pt x="407416" y="34036"/>
                  <a:pt x="404876" y="32004"/>
                </a:cubicBezTo>
                <a:cubicBezTo>
                  <a:pt x="402336" y="29972"/>
                  <a:pt x="400812" y="27940"/>
                  <a:pt x="400812" y="24892"/>
                </a:cubicBezTo>
                <a:cubicBezTo>
                  <a:pt x="400812" y="22352"/>
                  <a:pt x="401828" y="20320"/>
                  <a:pt x="403860" y="18796"/>
                </a:cubicBezTo>
                <a:cubicBezTo>
                  <a:pt x="405892" y="17272"/>
                  <a:pt x="408432" y="16256"/>
                  <a:pt x="411988" y="16256"/>
                </a:cubicBezTo>
                <a:cubicBezTo>
                  <a:pt x="415544" y="16256"/>
                  <a:pt x="418592" y="16764"/>
                  <a:pt x="421640" y="17780"/>
                </a:cubicBezTo>
                <a:cubicBezTo>
                  <a:pt x="424688" y="18796"/>
                  <a:pt x="428244" y="19812"/>
                  <a:pt x="432308" y="21336"/>
                </a:cubicBezTo>
                <a:lnTo>
                  <a:pt x="438404" y="7112"/>
                </a:lnTo>
                <a:cubicBezTo>
                  <a:pt x="433832" y="5080"/>
                  <a:pt x="429768" y="3556"/>
                  <a:pt x="425704" y="2540"/>
                </a:cubicBezTo>
                <a:cubicBezTo>
                  <a:pt x="421640" y="1524"/>
                  <a:pt x="417576" y="1016"/>
                  <a:pt x="413004" y="1016"/>
                </a:cubicBezTo>
                <a:cubicBezTo>
                  <a:pt x="403860" y="1016"/>
                  <a:pt x="396748" y="3048"/>
                  <a:pt x="391668" y="7620"/>
                </a:cubicBezTo>
                <a:cubicBezTo>
                  <a:pt x="386588" y="12192"/>
                  <a:pt x="383540" y="18288"/>
                  <a:pt x="383540" y="25908"/>
                </a:cubicBezTo>
                <a:cubicBezTo>
                  <a:pt x="383540" y="29972"/>
                  <a:pt x="384048" y="33528"/>
                  <a:pt x="385572" y="36068"/>
                </a:cubicBezTo>
                <a:cubicBezTo>
                  <a:pt x="387096" y="39116"/>
                  <a:pt x="388620" y="41148"/>
                  <a:pt x="390652" y="43180"/>
                </a:cubicBezTo>
                <a:cubicBezTo>
                  <a:pt x="392684" y="45212"/>
                  <a:pt x="395224" y="46736"/>
                  <a:pt x="397256" y="48260"/>
                </a:cubicBezTo>
                <a:cubicBezTo>
                  <a:pt x="399288" y="49784"/>
                  <a:pt x="401828" y="50800"/>
                  <a:pt x="403860" y="51816"/>
                </a:cubicBezTo>
                <a:cubicBezTo>
                  <a:pt x="406908" y="53340"/>
                  <a:pt x="409956" y="54864"/>
                  <a:pt x="412496" y="56388"/>
                </a:cubicBezTo>
                <a:cubicBezTo>
                  <a:pt x="415036" y="57912"/>
                  <a:pt x="417068" y="58928"/>
                  <a:pt x="418592" y="60960"/>
                </a:cubicBezTo>
                <a:cubicBezTo>
                  <a:pt x="420116" y="62484"/>
                  <a:pt x="420624" y="64516"/>
                  <a:pt x="420624" y="66548"/>
                </a:cubicBezTo>
                <a:cubicBezTo>
                  <a:pt x="420624" y="69088"/>
                  <a:pt x="419608" y="71628"/>
                  <a:pt x="417576" y="73152"/>
                </a:cubicBezTo>
                <a:cubicBezTo>
                  <a:pt x="415544" y="74676"/>
                  <a:pt x="412496" y="75692"/>
                  <a:pt x="407924" y="75692"/>
                </a:cubicBezTo>
                <a:cubicBezTo>
                  <a:pt x="403352" y="75692"/>
                  <a:pt x="399288" y="75184"/>
                  <a:pt x="394716" y="73660"/>
                </a:cubicBezTo>
                <a:cubicBezTo>
                  <a:pt x="390144" y="72136"/>
                  <a:pt x="386080" y="70612"/>
                  <a:pt x="382016" y="68580"/>
                </a:cubicBezTo>
                <a:lnTo>
                  <a:pt x="382016" y="85852"/>
                </a:lnTo>
                <a:cubicBezTo>
                  <a:pt x="389128" y="89408"/>
                  <a:pt x="397256" y="90932"/>
                  <a:pt x="406400" y="90932"/>
                </a:cubicBezTo>
                <a:cubicBezTo>
                  <a:pt x="416560" y="90932"/>
                  <a:pt x="424688" y="88392"/>
                  <a:pt x="430276" y="83820"/>
                </a:cubicBezTo>
                <a:cubicBezTo>
                  <a:pt x="435864" y="79248"/>
                  <a:pt x="438404" y="73152"/>
                  <a:pt x="438404" y="65532"/>
                </a:cubicBezTo>
                <a:cubicBezTo>
                  <a:pt x="437896" y="59944"/>
                  <a:pt x="437388" y="56388"/>
                  <a:pt x="435356" y="53340"/>
                </a:cubicBezTo>
                <a:moveTo>
                  <a:pt x="350012" y="73660"/>
                </a:moveTo>
                <a:lnTo>
                  <a:pt x="318516" y="73660"/>
                </a:lnTo>
                <a:lnTo>
                  <a:pt x="318516" y="51308"/>
                </a:lnTo>
                <a:lnTo>
                  <a:pt x="347980" y="51308"/>
                </a:lnTo>
                <a:lnTo>
                  <a:pt x="347980" y="36068"/>
                </a:lnTo>
                <a:lnTo>
                  <a:pt x="318516" y="36068"/>
                </a:lnTo>
                <a:lnTo>
                  <a:pt x="318516" y="16764"/>
                </a:lnTo>
                <a:lnTo>
                  <a:pt x="350012" y="16764"/>
                </a:lnTo>
                <a:lnTo>
                  <a:pt x="350012" y="1524"/>
                </a:lnTo>
                <a:lnTo>
                  <a:pt x="299720" y="1524"/>
                </a:lnTo>
                <a:lnTo>
                  <a:pt x="299720" y="88392"/>
                </a:lnTo>
                <a:lnTo>
                  <a:pt x="350012" y="88392"/>
                </a:lnTo>
                <a:lnTo>
                  <a:pt x="350012" y="73660"/>
                </a:lnTo>
                <a:close/>
                <a:moveTo>
                  <a:pt x="250952" y="17780"/>
                </a:moveTo>
                <a:cubicBezTo>
                  <a:pt x="254000" y="18796"/>
                  <a:pt x="257556" y="20320"/>
                  <a:pt x="260604" y="21844"/>
                </a:cubicBezTo>
                <a:lnTo>
                  <a:pt x="266700" y="6604"/>
                </a:lnTo>
                <a:cubicBezTo>
                  <a:pt x="262636" y="4572"/>
                  <a:pt x="258572" y="3048"/>
                  <a:pt x="254000" y="2032"/>
                </a:cubicBezTo>
                <a:cubicBezTo>
                  <a:pt x="249428" y="1016"/>
                  <a:pt x="245364" y="508"/>
                  <a:pt x="240792" y="508"/>
                </a:cubicBezTo>
                <a:cubicBezTo>
                  <a:pt x="232156" y="508"/>
                  <a:pt x="224536" y="2540"/>
                  <a:pt x="218440" y="6096"/>
                </a:cubicBezTo>
                <a:cubicBezTo>
                  <a:pt x="212344" y="10160"/>
                  <a:pt x="207772" y="15240"/>
                  <a:pt x="204724" y="21844"/>
                </a:cubicBezTo>
                <a:cubicBezTo>
                  <a:pt x="201676" y="28448"/>
                  <a:pt x="200152" y="36576"/>
                  <a:pt x="200152" y="45212"/>
                </a:cubicBezTo>
                <a:cubicBezTo>
                  <a:pt x="200152" y="54356"/>
                  <a:pt x="201676" y="61976"/>
                  <a:pt x="204216" y="68580"/>
                </a:cubicBezTo>
                <a:cubicBezTo>
                  <a:pt x="206756" y="75184"/>
                  <a:pt x="211328" y="80264"/>
                  <a:pt x="216916" y="84328"/>
                </a:cubicBezTo>
                <a:cubicBezTo>
                  <a:pt x="222504" y="87884"/>
                  <a:pt x="230124" y="89916"/>
                  <a:pt x="239268" y="89916"/>
                </a:cubicBezTo>
                <a:cubicBezTo>
                  <a:pt x="243840" y="89916"/>
                  <a:pt x="247904" y="89408"/>
                  <a:pt x="251968" y="88900"/>
                </a:cubicBezTo>
                <a:cubicBezTo>
                  <a:pt x="255524" y="88392"/>
                  <a:pt x="259588" y="86868"/>
                  <a:pt x="263144" y="85344"/>
                </a:cubicBezTo>
                <a:lnTo>
                  <a:pt x="263144" y="70104"/>
                </a:lnTo>
                <a:cubicBezTo>
                  <a:pt x="259080" y="71628"/>
                  <a:pt x="255016" y="72644"/>
                  <a:pt x="251460" y="73660"/>
                </a:cubicBezTo>
                <a:cubicBezTo>
                  <a:pt x="247904" y="74676"/>
                  <a:pt x="244348" y="74676"/>
                  <a:pt x="240792" y="74676"/>
                </a:cubicBezTo>
                <a:cubicBezTo>
                  <a:pt x="233172" y="74676"/>
                  <a:pt x="227584" y="72136"/>
                  <a:pt x="224028" y="67056"/>
                </a:cubicBezTo>
                <a:cubicBezTo>
                  <a:pt x="220472" y="61976"/>
                  <a:pt x="218948" y="54864"/>
                  <a:pt x="218948" y="45720"/>
                </a:cubicBezTo>
                <a:cubicBezTo>
                  <a:pt x="218948" y="36576"/>
                  <a:pt x="220980" y="29464"/>
                  <a:pt x="224536" y="23876"/>
                </a:cubicBezTo>
                <a:cubicBezTo>
                  <a:pt x="228092" y="18796"/>
                  <a:pt x="233680" y="15748"/>
                  <a:pt x="240792" y="15748"/>
                </a:cubicBezTo>
                <a:cubicBezTo>
                  <a:pt x="244348" y="15748"/>
                  <a:pt x="247396" y="16256"/>
                  <a:pt x="250952" y="17780"/>
                </a:cubicBezTo>
                <a:moveTo>
                  <a:pt x="157480" y="17780"/>
                </a:moveTo>
                <a:cubicBezTo>
                  <a:pt x="160528" y="18796"/>
                  <a:pt x="164084" y="20320"/>
                  <a:pt x="167132" y="21844"/>
                </a:cubicBezTo>
                <a:lnTo>
                  <a:pt x="173228" y="6604"/>
                </a:lnTo>
                <a:cubicBezTo>
                  <a:pt x="169164" y="4572"/>
                  <a:pt x="165100" y="3048"/>
                  <a:pt x="160528" y="2032"/>
                </a:cubicBezTo>
                <a:cubicBezTo>
                  <a:pt x="155956" y="1016"/>
                  <a:pt x="151892" y="508"/>
                  <a:pt x="147320" y="508"/>
                </a:cubicBezTo>
                <a:cubicBezTo>
                  <a:pt x="138684" y="508"/>
                  <a:pt x="131064" y="2540"/>
                  <a:pt x="124968" y="6096"/>
                </a:cubicBezTo>
                <a:cubicBezTo>
                  <a:pt x="118872" y="9652"/>
                  <a:pt x="114300" y="15240"/>
                  <a:pt x="111252" y="21844"/>
                </a:cubicBezTo>
                <a:cubicBezTo>
                  <a:pt x="108204" y="28448"/>
                  <a:pt x="106680" y="36576"/>
                  <a:pt x="106680" y="45212"/>
                </a:cubicBezTo>
                <a:cubicBezTo>
                  <a:pt x="106680" y="54356"/>
                  <a:pt x="108204" y="61976"/>
                  <a:pt x="110744" y="68580"/>
                </a:cubicBezTo>
                <a:cubicBezTo>
                  <a:pt x="113284" y="75184"/>
                  <a:pt x="117856" y="80264"/>
                  <a:pt x="123444" y="84328"/>
                </a:cubicBezTo>
                <a:cubicBezTo>
                  <a:pt x="129032" y="87884"/>
                  <a:pt x="136652" y="89916"/>
                  <a:pt x="145796" y="89916"/>
                </a:cubicBezTo>
                <a:cubicBezTo>
                  <a:pt x="150368" y="89916"/>
                  <a:pt x="154432" y="89408"/>
                  <a:pt x="158496" y="88900"/>
                </a:cubicBezTo>
                <a:cubicBezTo>
                  <a:pt x="162560" y="88392"/>
                  <a:pt x="166116" y="86868"/>
                  <a:pt x="169672" y="85344"/>
                </a:cubicBezTo>
                <a:lnTo>
                  <a:pt x="169672" y="70104"/>
                </a:lnTo>
                <a:cubicBezTo>
                  <a:pt x="165608" y="71628"/>
                  <a:pt x="161544" y="72644"/>
                  <a:pt x="157988" y="73660"/>
                </a:cubicBezTo>
                <a:cubicBezTo>
                  <a:pt x="154432" y="74676"/>
                  <a:pt x="150876" y="74676"/>
                  <a:pt x="147320" y="74676"/>
                </a:cubicBezTo>
                <a:cubicBezTo>
                  <a:pt x="139700" y="74676"/>
                  <a:pt x="134112" y="72136"/>
                  <a:pt x="130556" y="67056"/>
                </a:cubicBezTo>
                <a:cubicBezTo>
                  <a:pt x="127000" y="61976"/>
                  <a:pt x="125476" y="54864"/>
                  <a:pt x="125476" y="45720"/>
                </a:cubicBezTo>
                <a:cubicBezTo>
                  <a:pt x="125476" y="36576"/>
                  <a:pt x="127508" y="29464"/>
                  <a:pt x="131064" y="23876"/>
                </a:cubicBezTo>
                <a:cubicBezTo>
                  <a:pt x="134620" y="18796"/>
                  <a:pt x="140208" y="15748"/>
                  <a:pt x="147320" y="15748"/>
                </a:cubicBezTo>
                <a:cubicBezTo>
                  <a:pt x="150876" y="15748"/>
                  <a:pt x="153924" y="16256"/>
                  <a:pt x="157480" y="17780"/>
                </a:cubicBezTo>
                <a:moveTo>
                  <a:pt x="30480" y="52324"/>
                </a:moveTo>
                <a:lnTo>
                  <a:pt x="36576" y="32004"/>
                </a:lnTo>
                <a:cubicBezTo>
                  <a:pt x="37084" y="30988"/>
                  <a:pt x="37592" y="29464"/>
                  <a:pt x="38100" y="27432"/>
                </a:cubicBezTo>
                <a:cubicBezTo>
                  <a:pt x="38608" y="25400"/>
                  <a:pt x="39116" y="22860"/>
                  <a:pt x="40132" y="20828"/>
                </a:cubicBezTo>
                <a:cubicBezTo>
                  <a:pt x="40640" y="18288"/>
                  <a:pt x="41148" y="16256"/>
                  <a:pt x="41656" y="14732"/>
                </a:cubicBezTo>
                <a:cubicBezTo>
                  <a:pt x="42164" y="16256"/>
                  <a:pt x="42672" y="18288"/>
                  <a:pt x="43180" y="20320"/>
                </a:cubicBezTo>
                <a:cubicBezTo>
                  <a:pt x="43688" y="22352"/>
                  <a:pt x="44704" y="24892"/>
                  <a:pt x="45212" y="26924"/>
                </a:cubicBezTo>
                <a:cubicBezTo>
                  <a:pt x="45720" y="28956"/>
                  <a:pt x="46228" y="30988"/>
                  <a:pt x="46736" y="32004"/>
                </a:cubicBezTo>
                <a:lnTo>
                  <a:pt x="52832" y="52324"/>
                </a:lnTo>
                <a:lnTo>
                  <a:pt x="30480" y="52324"/>
                </a:lnTo>
                <a:close/>
                <a:moveTo>
                  <a:pt x="83820" y="88900"/>
                </a:moveTo>
                <a:lnTo>
                  <a:pt x="52832" y="1524"/>
                </a:lnTo>
                <a:lnTo>
                  <a:pt x="30480" y="1524"/>
                </a:lnTo>
                <a:lnTo>
                  <a:pt x="0" y="88900"/>
                </a:lnTo>
                <a:lnTo>
                  <a:pt x="19812" y="88900"/>
                </a:lnTo>
                <a:lnTo>
                  <a:pt x="25908" y="68072"/>
                </a:lnTo>
                <a:lnTo>
                  <a:pt x="57404" y="68072"/>
                </a:lnTo>
                <a:lnTo>
                  <a:pt x="63500" y="88900"/>
                </a:lnTo>
                <a:lnTo>
                  <a:pt x="83820" y="88900"/>
                </a:lnTo>
                <a:close/>
              </a:path>
            </a:pathLst>
          </a:custGeom>
          <a:solidFill>
            <a:srgbClr val="939AA7"/>
          </a:solidFill>
          <a:ln w="5078" cap="flat">
            <a:noFill/>
            <a:prstDash val="solid"/>
            <a:miter/>
          </a:ln>
        </p:spPr>
        <p:txBody>
          <a:bodyPr rtlCol="0" anchor="ctr"/>
          <a:lstStyle/>
          <a:p>
            <a:endParaRPr lang="en-GB" sz="2400"/>
          </a:p>
        </p:txBody>
      </p:sp>
      <p:sp>
        <p:nvSpPr>
          <p:cNvPr id="55" name="Freeform: Shape 54">
            <a:extLst>
              <a:ext uri="{FF2B5EF4-FFF2-40B4-BE49-F238E27FC236}">
                <a16:creationId xmlns:a16="http://schemas.microsoft.com/office/drawing/2014/main" id="{340E27FC-6A31-4B2D-BA47-DBD38053E8FB}"/>
              </a:ext>
            </a:extLst>
          </p:cNvPr>
          <p:cNvSpPr/>
          <p:nvPr/>
        </p:nvSpPr>
        <p:spPr>
          <a:xfrm>
            <a:off x="8962048" y="4155799"/>
            <a:ext cx="1273387" cy="115147"/>
          </a:xfrm>
          <a:custGeom>
            <a:avLst/>
            <a:gdLst>
              <a:gd name="connsiteX0" fmla="*/ 955548 w 955039"/>
              <a:gd name="connsiteY0" fmla="*/ 1524 h 86360"/>
              <a:gd name="connsiteX1" fmla="*/ 938784 w 955039"/>
              <a:gd name="connsiteY1" fmla="*/ 1524 h 86360"/>
              <a:gd name="connsiteX2" fmla="*/ 938784 w 955039"/>
              <a:gd name="connsiteY2" fmla="*/ 42672 h 86360"/>
              <a:gd name="connsiteX3" fmla="*/ 939292 w 955039"/>
              <a:gd name="connsiteY3" fmla="*/ 54864 h 86360"/>
              <a:gd name="connsiteX4" fmla="*/ 939800 w 955039"/>
              <a:gd name="connsiteY4" fmla="*/ 67056 h 86360"/>
              <a:gd name="connsiteX5" fmla="*/ 939292 w 955039"/>
              <a:gd name="connsiteY5" fmla="*/ 67056 h 86360"/>
              <a:gd name="connsiteX6" fmla="*/ 901700 w 955039"/>
              <a:gd name="connsiteY6" fmla="*/ 2032 h 86360"/>
              <a:gd name="connsiteX7" fmla="*/ 878332 w 955039"/>
              <a:gd name="connsiteY7" fmla="*/ 2032 h 86360"/>
              <a:gd name="connsiteX8" fmla="*/ 878332 w 955039"/>
              <a:gd name="connsiteY8" fmla="*/ 88900 h 86360"/>
              <a:gd name="connsiteX9" fmla="*/ 894588 w 955039"/>
              <a:gd name="connsiteY9" fmla="*/ 88900 h 86360"/>
              <a:gd name="connsiteX10" fmla="*/ 894588 w 955039"/>
              <a:gd name="connsiteY10" fmla="*/ 47752 h 86360"/>
              <a:gd name="connsiteX11" fmla="*/ 894080 w 955039"/>
              <a:gd name="connsiteY11" fmla="*/ 35560 h 86360"/>
              <a:gd name="connsiteX12" fmla="*/ 893572 w 955039"/>
              <a:gd name="connsiteY12" fmla="*/ 23368 h 86360"/>
              <a:gd name="connsiteX13" fmla="*/ 894080 w 955039"/>
              <a:gd name="connsiteY13" fmla="*/ 23368 h 86360"/>
              <a:gd name="connsiteX14" fmla="*/ 932180 w 955039"/>
              <a:gd name="connsiteY14" fmla="*/ 89408 h 86360"/>
              <a:gd name="connsiteX15" fmla="*/ 955548 w 955039"/>
              <a:gd name="connsiteY15" fmla="*/ 89408 h 86360"/>
              <a:gd name="connsiteX16" fmla="*/ 955548 w 955039"/>
              <a:gd name="connsiteY16" fmla="*/ 1524 h 86360"/>
              <a:gd name="connsiteX17" fmla="*/ 783844 w 955039"/>
              <a:gd name="connsiteY17" fmla="*/ 23368 h 86360"/>
              <a:gd name="connsiteX18" fmla="*/ 800608 w 955039"/>
              <a:gd name="connsiteY18" fmla="*/ 15748 h 86360"/>
              <a:gd name="connsiteX19" fmla="*/ 817372 w 955039"/>
              <a:gd name="connsiteY19" fmla="*/ 23368 h 86360"/>
              <a:gd name="connsiteX20" fmla="*/ 822452 w 955039"/>
              <a:gd name="connsiteY20" fmla="*/ 44704 h 86360"/>
              <a:gd name="connsiteX21" fmla="*/ 817372 w 955039"/>
              <a:gd name="connsiteY21" fmla="*/ 66040 h 86360"/>
              <a:gd name="connsiteX22" fmla="*/ 800608 w 955039"/>
              <a:gd name="connsiteY22" fmla="*/ 73660 h 86360"/>
              <a:gd name="connsiteX23" fmla="*/ 783844 w 955039"/>
              <a:gd name="connsiteY23" fmla="*/ 66040 h 86360"/>
              <a:gd name="connsiteX24" fmla="*/ 778764 w 955039"/>
              <a:gd name="connsiteY24" fmla="*/ 44704 h 86360"/>
              <a:gd name="connsiteX25" fmla="*/ 783844 w 955039"/>
              <a:gd name="connsiteY25" fmla="*/ 23368 h 86360"/>
              <a:gd name="connsiteX26" fmla="*/ 837692 w 955039"/>
              <a:gd name="connsiteY26" fmla="*/ 21336 h 86360"/>
              <a:gd name="connsiteX27" fmla="*/ 823976 w 955039"/>
              <a:gd name="connsiteY27" fmla="*/ 5588 h 86360"/>
              <a:gd name="connsiteX28" fmla="*/ 800608 w 955039"/>
              <a:gd name="connsiteY28" fmla="*/ 0 h 86360"/>
              <a:gd name="connsiteX29" fmla="*/ 777240 w 955039"/>
              <a:gd name="connsiteY29" fmla="*/ 5588 h 86360"/>
              <a:gd name="connsiteX30" fmla="*/ 763524 w 955039"/>
              <a:gd name="connsiteY30" fmla="*/ 21336 h 86360"/>
              <a:gd name="connsiteX31" fmla="*/ 758952 w 955039"/>
              <a:gd name="connsiteY31" fmla="*/ 44704 h 86360"/>
              <a:gd name="connsiteX32" fmla="*/ 763524 w 955039"/>
              <a:gd name="connsiteY32" fmla="*/ 68580 h 86360"/>
              <a:gd name="connsiteX33" fmla="*/ 777240 w 955039"/>
              <a:gd name="connsiteY33" fmla="*/ 84328 h 86360"/>
              <a:gd name="connsiteX34" fmla="*/ 800608 w 955039"/>
              <a:gd name="connsiteY34" fmla="*/ 89916 h 86360"/>
              <a:gd name="connsiteX35" fmla="*/ 823976 w 955039"/>
              <a:gd name="connsiteY35" fmla="*/ 84328 h 86360"/>
              <a:gd name="connsiteX36" fmla="*/ 837692 w 955039"/>
              <a:gd name="connsiteY36" fmla="*/ 68580 h 86360"/>
              <a:gd name="connsiteX37" fmla="*/ 842264 w 955039"/>
              <a:gd name="connsiteY37" fmla="*/ 45212 h 86360"/>
              <a:gd name="connsiteX38" fmla="*/ 837692 w 955039"/>
              <a:gd name="connsiteY38" fmla="*/ 21336 h 86360"/>
              <a:gd name="connsiteX39" fmla="*/ 729996 w 955039"/>
              <a:gd name="connsiteY39" fmla="*/ 78232 h 86360"/>
              <a:gd name="connsiteX40" fmla="*/ 719328 w 955039"/>
              <a:gd name="connsiteY40" fmla="*/ 73152 h 86360"/>
              <a:gd name="connsiteX41" fmla="*/ 719328 w 955039"/>
              <a:gd name="connsiteY41" fmla="*/ 17272 h 86360"/>
              <a:gd name="connsiteX42" fmla="*/ 729996 w 955039"/>
              <a:gd name="connsiteY42" fmla="*/ 12192 h 86360"/>
              <a:gd name="connsiteX43" fmla="*/ 729996 w 955039"/>
              <a:gd name="connsiteY43" fmla="*/ 1524 h 86360"/>
              <a:gd name="connsiteX44" fmla="*/ 690372 w 955039"/>
              <a:gd name="connsiteY44" fmla="*/ 1524 h 86360"/>
              <a:gd name="connsiteX45" fmla="*/ 690372 w 955039"/>
              <a:gd name="connsiteY45" fmla="*/ 12192 h 86360"/>
              <a:gd name="connsiteX46" fmla="*/ 701040 w 955039"/>
              <a:gd name="connsiteY46" fmla="*/ 17272 h 86360"/>
              <a:gd name="connsiteX47" fmla="*/ 701040 w 955039"/>
              <a:gd name="connsiteY47" fmla="*/ 73152 h 86360"/>
              <a:gd name="connsiteX48" fmla="*/ 690372 w 955039"/>
              <a:gd name="connsiteY48" fmla="*/ 78232 h 86360"/>
              <a:gd name="connsiteX49" fmla="*/ 690372 w 955039"/>
              <a:gd name="connsiteY49" fmla="*/ 88900 h 86360"/>
              <a:gd name="connsiteX50" fmla="*/ 729996 w 955039"/>
              <a:gd name="connsiteY50" fmla="*/ 88900 h 86360"/>
              <a:gd name="connsiteX51" fmla="*/ 729996 w 955039"/>
              <a:gd name="connsiteY51" fmla="*/ 78232 h 86360"/>
              <a:gd name="connsiteX52" fmla="*/ 642112 w 955039"/>
              <a:gd name="connsiteY52" fmla="*/ 17272 h 86360"/>
              <a:gd name="connsiteX53" fmla="*/ 665988 w 955039"/>
              <a:gd name="connsiteY53" fmla="*/ 17272 h 86360"/>
              <a:gd name="connsiteX54" fmla="*/ 665988 w 955039"/>
              <a:gd name="connsiteY54" fmla="*/ 2032 h 86360"/>
              <a:gd name="connsiteX55" fmla="*/ 600456 w 955039"/>
              <a:gd name="connsiteY55" fmla="*/ 2032 h 86360"/>
              <a:gd name="connsiteX56" fmla="*/ 600456 w 955039"/>
              <a:gd name="connsiteY56" fmla="*/ 17272 h 86360"/>
              <a:gd name="connsiteX57" fmla="*/ 624332 w 955039"/>
              <a:gd name="connsiteY57" fmla="*/ 17272 h 86360"/>
              <a:gd name="connsiteX58" fmla="*/ 624332 w 955039"/>
              <a:gd name="connsiteY58" fmla="*/ 88900 h 86360"/>
              <a:gd name="connsiteX59" fmla="*/ 642620 w 955039"/>
              <a:gd name="connsiteY59" fmla="*/ 88900 h 86360"/>
              <a:gd name="connsiteX60" fmla="*/ 642620 w 955039"/>
              <a:gd name="connsiteY60" fmla="*/ 17272 h 86360"/>
              <a:gd name="connsiteX61" fmla="*/ 534416 w 955039"/>
              <a:gd name="connsiteY61" fmla="*/ 52324 h 86360"/>
              <a:gd name="connsiteX62" fmla="*/ 540512 w 955039"/>
              <a:gd name="connsiteY62" fmla="*/ 32004 h 86360"/>
              <a:gd name="connsiteX63" fmla="*/ 542036 w 955039"/>
              <a:gd name="connsiteY63" fmla="*/ 27432 h 86360"/>
              <a:gd name="connsiteX64" fmla="*/ 544068 w 955039"/>
              <a:gd name="connsiteY64" fmla="*/ 20828 h 86360"/>
              <a:gd name="connsiteX65" fmla="*/ 545592 w 955039"/>
              <a:gd name="connsiteY65" fmla="*/ 14732 h 86360"/>
              <a:gd name="connsiteX66" fmla="*/ 547116 w 955039"/>
              <a:gd name="connsiteY66" fmla="*/ 20320 h 86360"/>
              <a:gd name="connsiteX67" fmla="*/ 549148 w 955039"/>
              <a:gd name="connsiteY67" fmla="*/ 26924 h 86360"/>
              <a:gd name="connsiteX68" fmla="*/ 550672 w 955039"/>
              <a:gd name="connsiteY68" fmla="*/ 32004 h 86360"/>
              <a:gd name="connsiteX69" fmla="*/ 556768 w 955039"/>
              <a:gd name="connsiteY69" fmla="*/ 52324 h 86360"/>
              <a:gd name="connsiteX70" fmla="*/ 534416 w 955039"/>
              <a:gd name="connsiteY70" fmla="*/ 52324 h 86360"/>
              <a:gd name="connsiteX71" fmla="*/ 587756 w 955039"/>
              <a:gd name="connsiteY71" fmla="*/ 88900 h 86360"/>
              <a:gd name="connsiteX72" fmla="*/ 556768 w 955039"/>
              <a:gd name="connsiteY72" fmla="*/ 1524 h 86360"/>
              <a:gd name="connsiteX73" fmla="*/ 534416 w 955039"/>
              <a:gd name="connsiteY73" fmla="*/ 1524 h 86360"/>
              <a:gd name="connsiteX74" fmla="*/ 503936 w 955039"/>
              <a:gd name="connsiteY74" fmla="*/ 88900 h 86360"/>
              <a:gd name="connsiteX75" fmla="*/ 523748 w 955039"/>
              <a:gd name="connsiteY75" fmla="*/ 88900 h 86360"/>
              <a:gd name="connsiteX76" fmla="*/ 529844 w 955039"/>
              <a:gd name="connsiteY76" fmla="*/ 68072 h 86360"/>
              <a:gd name="connsiteX77" fmla="*/ 561340 w 955039"/>
              <a:gd name="connsiteY77" fmla="*/ 68072 h 86360"/>
              <a:gd name="connsiteX78" fmla="*/ 567436 w 955039"/>
              <a:gd name="connsiteY78" fmla="*/ 88900 h 86360"/>
              <a:gd name="connsiteX79" fmla="*/ 587756 w 955039"/>
              <a:gd name="connsiteY79" fmla="*/ 88900 h 86360"/>
              <a:gd name="connsiteX80" fmla="*/ 471424 w 955039"/>
              <a:gd name="connsiteY80" fmla="*/ 1524 h 86360"/>
              <a:gd name="connsiteX81" fmla="*/ 455168 w 955039"/>
              <a:gd name="connsiteY81" fmla="*/ 53340 h 86360"/>
              <a:gd name="connsiteX82" fmla="*/ 453644 w 955039"/>
              <a:gd name="connsiteY82" fmla="*/ 58420 h 86360"/>
              <a:gd name="connsiteX83" fmla="*/ 451612 w 955039"/>
              <a:gd name="connsiteY83" fmla="*/ 66040 h 86360"/>
              <a:gd name="connsiteX84" fmla="*/ 450088 w 955039"/>
              <a:gd name="connsiteY84" fmla="*/ 72644 h 86360"/>
              <a:gd name="connsiteX85" fmla="*/ 448564 w 955039"/>
              <a:gd name="connsiteY85" fmla="*/ 66040 h 86360"/>
              <a:gd name="connsiteX86" fmla="*/ 446532 w 955039"/>
              <a:gd name="connsiteY86" fmla="*/ 58420 h 86360"/>
              <a:gd name="connsiteX87" fmla="*/ 445008 w 955039"/>
              <a:gd name="connsiteY87" fmla="*/ 53340 h 86360"/>
              <a:gd name="connsiteX88" fmla="*/ 428752 w 955039"/>
              <a:gd name="connsiteY88" fmla="*/ 1524 h 86360"/>
              <a:gd name="connsiteX89" fmla="*/ 409956 w 955039"/>
              <a:gd name="connsiteY89" fmla="*/ 1524 h 86360"/>
              <a:gd name="connsiteX90" fmla="*/ 439420 w 955039"/>
              <a:gd name="connsiteY90" fmla="*/ 88392 h 86360"/>
              <a:gd name="connsiteX91" fmla="*/ 459740 w 955039"/>
              <a:gd name="connsiteY91" fmla="*/ 88392 h 86360"/>
              <a:gd name="connsiteX92" fmla="*/ 489204 w 955039"/>
              <a:gd name="connsiteY92" fmla="*/ 1524 h 86360"/>
              <a:gd name="connsiteX93" fmla="*/ 471424 w 955039"/>
              <a:gd name="connsiteY93" fmla="*/ 1524 h 86360"/>
              <a:gd name="connsiteX94" fmla="*/ 328676 w 955039"/>
              <a:gd name="connsiteY94" fmla="*/ 23368 h 86360"/>
              <a:gd name="connsiteX95" fmla="*/ 345440 w 955039"/>
              <a:gd name="connsiteY95" fmla="*/ 15748 h 86360"/>
              <a:gd name="connsiteX96" fmla="*/ 362204 w 955039"/>
              <a:gd name="connsiteY96" fmla="*/ 23368 h 86360"/>
              <a:gd name="connsiteX97" fmla="*/ 367284 w 955039"/>
              <a:gd name="connsiteY97" fmla="*/ 44704 h 86360"/>
              <a:gd name="connsiteX98" fmla="*/ 362204 w 955039"/>
              <a:gd name="connsiteY98" fmla="*/ 66040 h 86360"/>
              <a:gd name="connsiteX99" fmla="*/ 345440 w 955039"/>
              <a:gd name="connsiteY99" fmla="*/ 73660 h 86360"/>
              <a:gd name="connsiteX100" fmla="*/ 328676 w 955039"/>
              <a:gd name="connsiteY100" fmla="*/ 66040 h 86360"/>
              <a:gd name="connsiteX101" fmla="*/ 323596 w 955039"/>
              <a:gd name="connsiteY101" fmla="*/ 44704 h 86360"/>
              <a:gd name="connsiteX102" fmla="*/ 328676 w 955039"/>
              <a:gd name="connsiteY102" fmla="*/ 23368 h 86360"/>
              <a:gd name="connsiteX103" fmla="*/ 382524 w 955039"/>
              <a:gd name="connsiteY103" fmla="*/ 21336 h 86360"/>
              <a:gd name="connsiteX104" fmla="*/ 368808 w 955039"/>
              <a:gd name="connsiteY104" fmla="*/ 5588 h 86360"/>
              <a:gd name="connsiteX105" fmla="*/ 345440 w 955039"/>
              <a:gd name="connsiteY105" fmla="*/ 0 h 86360"/>
              <a:gd name="connsiteX106" fmla="*/ 322072 w 955039"/>
              <a:gd name="connsiteY106" fmla="*/ 5588 h 86360"/>
              <a:gd name="connsiteX107" fmla="*/ 308356 w 955039"/>
              <a:gd name="connsiteY107" fmla="*/ 21336 h 86360"/>
              <a:gd name="connsiteX108" fmla="*/ 303784 w 955039"/>
              <a:gd name="connsiteY108" fmla="*/ 44704 h 86360"/>
              <a:gd name="connsiteX109" fmla="*/ 308356 w 955039"/>
              <a:gd name="connsiteY109" fmla="*/ 68580 h 86360"/>
              <a:gd name="connsiteX110" fmla="*/ 322072 w 955039"/>
              <a:gd name="connsiteY110" fmla="*/ 84328 h 86360"/>
              <a:gd name="connsiteX111" fmla="*/ 345440 w 955039"/>
              <a:gd name="connsiteY111" fmla="*/ 89916 h 86360"/>
              <a:gd name="connsiteX112" fmla="*/ 368808 w 955039"/>
              <a:gd name="connsiteY112" fmla="*/ 84328 h 86360"/>
              <a:gd name="connsiteX113" fmla="*/ 382524 w 955039"/>
              <a:gd name="connsiteY113" fmla="*/ 68580 h 86360"/>
              <a:gd name="connsiteX114" fmla="*/ 387096 w 955039"/>
              <a:gd name="connsiteY114" fmla="*/ 45212 h 86360"/>
              <a:gd name="connsiteX115" fmla="*/ 382524 w 955039"/>
              <a:gd name="connsiteY115" fmla="*/ 21336 h 86360"/>
              <a:gd name="connsiteX116" fmla="*/ 267716 w 955039"/>
              <a:gd name="connsiteY116" fmla="*/ 1524 h 86360"/>
              <a:gd name="connsiteX117" fmla="*/ 250952 w 955039"/>
              <a:gd name="connsiteY117" fmla="*/ 1524 h 86360"/>
              <a:gd name="connsiteX118" fmla="*/ 250952 w 955039"/>
              <a:gd name="connsiteY118" fmla="*/ 42672 h 86360"/>
              <a:gd name="connsiteX119" fmla="*/ 251460 w 955039"/>
              <a:gd name="connsiteY119" fmla="*/ 54864 h 86360"/>
              <a:gd name="connsiteX120" fmla="*/ 251968 w 955039"/>
              <a:gd name="connsiteY120" fmla="*/ 67056 h 86360"/>
              <a:gd name="connsiteX121" fmla="*/ 251460 w 955039"/>
              <a:gd name="connsiteY121" fmla="*/ 67056 h 86360"/>
              <a:gd name="connsiteX122" fmla="*/ 213868 w 955039"/>
              <a:gd name="connsiteY122" fmla="*/ 2032 h 86360"/>
              <a:gd name="connsiteX123" fmla="*/ 190500 w 955039"/>
              <a:gd name="connsiteY123" fmla="*/ 2032 h 86360"/>
              <a:gd name="connsiteX124" fmla="*/ 190500 w 955039"/>
              <a:gd name="connsiteY124" fmla="*/ 88900 h 86360"/>
              <a:gd name="connsiteX125" fmla="*/ 206756 w 955039"/>
              <a:gd name="connsiteY125" fmla="*/ 88900 h 86360"/>
              <a:gd name="connsiteX126" fmla="*/ 206756 w 955039"/>
              <a:gd name="connsiteY126" fmla="*/ 47752 h 86360"/>
              <a:gd name="connsiteX127" fmla="*/ 206248 w 955039"/>
              <a:gd name="connsiteY127" fmla="*/ 35560 h 86360"/>
              <a:gd name="connsiteX128" fmla="*/ 205740 w 955039"/>
              <a:gd name="connsiteY128" fmla="*/ 23368 h 86360"/>
              <a:gd name="connsiteX129" fmla="*/ 206248 w 955039"/>
              <a:gd name="connsiteY129" fmla="*/ 23368 h 86360"/>
              <a:gd name="connsiteX130" fmla="*/ 244348 w 955039"/>
              <a:gd name="connsiteY130" fmla="*/ 89408 h 86360"/>
              <a:gd name="connsiteX131" fmla="*/ 267716 w 955039"/>
              <a:gd name="connsiteY131" fmla="*/ 89408 h 86360"/>
              <a:gd name="connsiteX132" fmla="*/ 267716 w 955039"/>
              <a:gd name="connsiteY132" fmla="*/ 1524 h 86360"/>
              <a:gd name="connsiteX133" fmla="*/ 150368 w 955039"/>
              <a:gd name="connsiteY133" fmla="*/ 1524 h 86360"/>
              <a:gd name="connsiteX134" fmla="*/ 133604 w 955039"/>
              <a:gd name="connsiteY134" fmla="*/ 1524 h 86360"/>
              <a:gd name="connsiteX135" fmla="*/ 133604 w 955039"/>
              <a:gd name="connsiteY135" fmla="*/ 42672 h 86360"/>
              <a:gd name="connsiteX136" fmla="*/ 134112 w 955039"/>
              <a:gd name="connsiteY136" fmla="*/ 54864 h 86360"/>
              <a:gd name="connsiteX137" fmla="*/ 134620 w 955039"/>
              <a:gd name="connsiteY137" fmla="*/ 67056 h 86360"/>
              <a:gd name="connsiteX138" fmla="*/ 134112 w 955039"/>
              <a:gd name="connsiteY138" fmla="*/ 67056 h 86360"/>
              <a:gd name="connsiteX139" fmla="*/ 96520 w 955039"/>
              <a:gd name="connsiteY139" fmla="*/ 2032 h 86360"/>
              <a:gd name="connsiteX140" fmla="*/ 73152 w 955039"/>
              <a:gd name="connsiteY140" fmla="*/ 2032 h 86360"/>
              <a:gd name="connsiteX141" fmla="*/ 73152 w 955039"/>
              <a:gd name="connsiteY141" fmla="*/ 88900 h 86360"/>
              <a:gd name="connsiteX142" fmla="*/ 89408 w 955039"/>
              <a:gd name="connsiteY142" fmla="*/ 88900 h 86360"/>
              <a:gd name="connsiteX143" fmla="*/ 89408 w 955039"/>
              <a:gd name="connsiteY143" fmla="*/ 47752 h 86360"/>
              <a:gd name="connsiteX144" fmla="*/ 88900 w 955039"/>
              <a:gd name="connsiteY144" fmla="*/ 35560 h 86360"/>
              <a:gd name="connsiteX145" fmla="*/ 88392 w 955039"/>
              <a:gd name="connsiteY145" fmla="*/ 23368 h 86360"/>
              <a:gd name="connsiteX146" fmla="*/ 88900 w 955039"/>
              <a:gd name="connsiteY146" fmla="*/ 23368 h 86360"/>
              <a:gd name="connsiteX147" fmla="*/ 127000 w 955039"/>
              <a:gd name="connsiteY147" fmla="*/ 89408 h 86360"/>
              <a:gd name="connsiteX148" fmla="*/ 150368 w 955039"/>
              <a:gd name="connsiteY148" fmla="*/ 89408 h 86360"/>
              <a:gd name="connsiteX149" fmla="*/ 150368 w 955039"/>
              <a:gd name="connsiteY149" fmla="*/ 1524 h 86360"/>
              <a:gd name="connsiteX150" fmla="*/ 39624 w 955039"/>
              <a:gd name="connsiteY150" fmla="*/ 78232 h 86360"/>
              <a:gd name="connsiteX151" fmla="*/ 28956 w 955039"/>
              <a:gd name="connsiteY151" fmla="*/ 73152 h 86360"/>
              <a:gd name="connsiteX152" fmla="*/ 28956 w 955039"/>
              <a:gd name="connsiteY152" fmla="*/ 17272 h 86360"/>
              <a:gd name="connsiteX153" fmla="*/ 39624 w 955039"/>
              <a:gd name="connsiteY153" fmla="*/ 12192 h 86360"/>
              <a:gd name="connsiteX154" fmla="*/ 39624 w 955039"/>
              <a:gd name="connsiteY154" fmla="*/ 1524 h 86360"/>
              <a:gd name="connsiteX155" fmla="*/ 0 w 955039"/>
              <a:gd name="connsiteY155" fmla="*/ 1524 h 86360"/>
              <a:gd name="connsiteX156" fmla="*/ 0 w 955039"/>
              <a:gd name="connsiteY156" fmla="*/ 12192 h 86360"/>
              <a:gd name="connsiteX157" fmla="*/ 10668 w 955039"/>
              <a:gd name="connsiteY157" fmla="*/ 17272 h 86360"/>
              <a:gd name="connsiteX158" fmla="*/ 10668 w 955039"/>
              <a:gd name="connsiteY158" fmla="*/ 73152 h 86360"/>
              <a:gd name="connsiteX159" fmla="*/ 0 w 955039"/>
              <a:gd name="connsiteY159" fmla="*/ 78232 h 86360"/>
              <a:gd name="connsiteX160" fmla="*/ 0 w 955039"/>
              <a:gd name="connsiteY160" fmla="*/ 88900 h 86360"/>
              <a:gd name="connsiteX161" fmla="*/ 39624 w 955039"/>
              <a:gd name="connsiteY161" fmla="*/ 88900 h 86360"/>
              <a:gd name="connsiteX162" fmla="*/ 39624 w 955039"/>
              <a:gd name="connsiteY162" fmla="*/ 78232 h 8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955039" h="86360">
                <a:moveTo>
                  <a:pt x="955548" y="1524"/>
                </a:moveTo>
                <a:lnTo>
                  <a:pt x="938784" y="1524"/>
                </a:lnTo>
                <a:lnTo>
                  <a:pt x="938784" y="42672"/>
                </a:lnTo>
                <a:cubicBezTo>
                  <a:pt x="938784" y="46736"/>
                  <a:pt x="938784" y="50800"/>
                  <a:pt x="939292" y="54864"/>
                </a:cubicBezTo>
                <a:cubicBezTo>
                  <a:pt x="939292" y="58928"/>
                  <a:pt x="939800" y="62992"/>
                  <a:pt x="939800" y="67056"/>
                </a:cubicBezTo>
                <a:lnTo>
                  <a:pt x="939292" y="67056"/>
                </a:lnTo>
                <a:lnTo>
                  <a:pt x="901700" y="2032"/>
                </a:lnTo>
                <a:lnTo>
                  <a:pt x="878332" y="2032"/>
                </a:lnTo>
                <a:lnTo>
                  <a:pt x="878332" y="88900"/>
                </a:lnTo>
                <a:lnTo>
                  <a:pt x="894588" y="88900"/>
                </a:lnTo>
                <a:lnTo>
                  <a:pt x="894588" y="47752"/>
                </a:lnTo>
                <a:cubicBezTo>
                  <a:pt x="894588" y="43688"/>
                  <a:pt x="894080" y="39624"/>
                  <a:pt x="894080" y="35560"/>
                </a:cubicBezTo>
                <a:cubicBezTo>
                  <a:pt x="894080" y="31496"/>
                  <a:pt x="893572" y="27432"/>
                  <a:pt x="893572" y="23368"/>
                </a:cubicBezTo>
                <a:lnTo>
                  <a:pt x="894080" y="23368"/>
                </a:lnTo>
                <a:lnTo>
                  <a:pt x="932180" y="89408"/>
                </a:lnTo>
                <a:lnTo>
                  <a:pt x="955548" y="89408"/>
                </a:lnTo>
                <a:lnTo>
                  <a:pt x="955548" y="1524"/>
                </a:lnTo>
                <a:close/>
                <a:moveTo>
                  <a:pt x="783844" y="23368"/>
                </a:moveTo>
                <a:cubicBezTo>
                  <a:pt x="787400" y="18288"/>
                  <a:pt x="792988" y="15748"/>
                  <a:pt x="800608" y="15748"/>
                </a:cubicBezTo>
                <a:cubicBezTo>
                  <a:pt x="808228" y="15748"/>
                  <a:pt x="813816" y="18288"/>
                  <a:pt x="817372" y="23368"/>
                </a:cubicBezTo>
                <a:cubicBezTo>
                  <a:pt x="820928" y="28448"/>
                  <a:pt x="822452" y="35560"/>
                  <a:pt x="822452" y="44704"/>
                </a:cubicBezTo>
                <a:cubicBezTo>
                  <a:pt x="822452" y="53848"/>
                  <a:pt x="820928" y="60960"/>
                  <a:pt x="817372" y="66040"/>
                </a:cubicBezTo>
                <a:cubicBezTo>
                  <a:pt x="813816" y="71120"/>
                  <a:pt x="808228" y="73660"/>
                  <a:pt x="800608" y="73660"/>
                </a:cubicBezTo>
                <a:cubicBezTo>
                  <a:pt x="792988" y="73660"/>
                  <a:pt x="787400" y="71120"/>
                  <a:pt x="783844" y="66040"/>
                </a:cubicBezTo>
                <a:cubicBezTo>
                  <a:pt x="780288" y="60960"/>
                  <a:pt x="778764" y="53848"/>
                  <a:pt x="778764" y="44704"/>
                </a:cubicBezTo>
                <a:cubicBezTo>
                  <a:pt x="778764" y="36068"/>
                  <a:pt x="780288" y="28956"/>
                  <a:pt x="783844" y="23368"/>
                </a:cubicBezTo>
                <a:moveTo>
                  <a:pt x="837692" y="21336"/>
                </a:moveTo>
                <a:cubicBezTo>
                  <a:pt x="834644" y="14732"/>
                  <a:pt x="830072" y="9652"/>
                  <a:pt x="823976" y="5588"/>
                </a:cubicBezTo>
                <a:cubicBezTo>
                  <a:pt x="817880" y="2032"/>
                  <a:pt x="810260" y="0"/>
                  <a:pt x="800608" y="0"/>
                </a:cubicBezTo>
                <a:cubicBezTo>
                  <a:pt x="790956" y="0"/>
                  <a:pt x="783336" y="2032"/>
                  <a:pt x="777240" y="5588"/>
                </a:cubicBezTo>
                <a:cubicBezTo>
                  <a:pt x="771144" y="9144"/>
                  <a:pt x="766572" y="14224"/>
                  <a:pt x="763524" y="21336"/>
                </a:cubicBezTo>
                <a:cubicBezTo>
                  <a:pt x="760476" y="27940"/>
                  <a:pt x="758952" y="36068"/>
                  <a:pt x="758952" y="44704"/>
                </a:cubicBezTo>
                <a:cubicBezTo>
                  <a:pt x="758952" y="53848"/>
                  <a:pt x="760476" y="61468"/>
                  <a:pt x="763524" y="68580"/>
                </a:cubicBezTo>
                <a:cubicBezTo>
                  <a:pt x="766572" y="75184"/>
                  <a:pt x="771144" y="80772"/>
                  <a:pt x="777240" y="84328"/>
                </a:cubicBezTo>
                <a:cubicBezTo>
                  <a:pt x="783336" y="87884"/>
                  <a:pt x="790956" y="89916"/>
                  <a:pt x="800608" y="89916"/>
                </a:cubicBezTo>
                <a:cubicBezTo>
                  <a:pt x="810260" y="89916"/>
                  <a:pt x="817880" y="87884"/>
                  <a:pt x="823976" y="84328"/>
                </a:cubicBezTo>
                <a:cubicBezTo>
                  <a:pt x="830072" y="80772"/>
                  <a:pt x="834644" y="75184"/>
                  <a:pt x="837692" y="68580"/>
                </a:cubicBezTo>
                <a:cubicBezTo>
                  <a:pt x="840740" y="61976"/>
                  <a:pt x="842264" y="53848"/>
                  <a:pt x="842264" y="45212"/>
                </a:cubicBezTo>
                <a:cubicBezTo>
                  <a:pt x="842264" y="36068"/>
                  <a:pt x="840740" y="28448"/>
                  <a:pt x="837692" y="21336"/>
                </a:cubicBezTo>
                <a:moveTo>
                  <a:pt x="729996" y="78232"/>
                </a:moveTo>
                <a:lnTo>
                  <a:pt x="719328" y="73152"/>
                </a:lnTo>
                <a:lnTo>
                  <a:pt x="719328" y="17272"/>
                </a:lnTo>
                <a:lnTo>
                  <a:pt x="729996" y="12192"/>
                </a:lnTo>
                <a:lnTo>
                  <a:pt x="729996" y="1524"/>
                </a:lnTo>
                <a:lnTo>
                  <a:pt x="690372" y="1524"/>
                </a:lnTo>
                <a:lnTo>
                  <a:pt x="690372" y="12192"/>
                </a:lnTo>
                <a:lnTo>
                  <a:pt x="701040" y="17272"/>
                </a:lnTo>
                <a:lnTo>
                  <a:pt x="701040" y="73152"/>
                </a:lnTo>
                <a:lnTo>
                  <a:pt x="690372" y="78232"/>
                </a:lnTo>
                <a:lnTo>
                  <a:pt x="690372" y="88900"/>
                </a:lnTo>
                <a:lnTo>
                  <a:pt x="729996" y="88900"/>
                </a:lnTo>
                <a:lnTo>
                  <a:pt x="729996" y="78232"/>
                </a:lnTo>
                <a:close/>
                <a:moveTo>
                  <a:pt x="642112" y="17272"/>
                </a:moveTo>
                <a:lnTo>
                  <a:pt x="665988" y="17272"/>
                </a:lnTo>
                <a:lnTo>
                  <a:pt x="665988" y="2032"/>
                </a:lnTo>
                <a:lnTo>
                  <a:pt x="600456" y="2032"/>
                </a:lnTo>
                <a:lnTo>
                  <a:pt x="600456" y="17272"/>
                </a:lnTo>
                <a:lnTo>
                  <a:pt x="624332" y="17272"/>
                </a:lnTo>
                <a:lnTo>
                  <a:pt x="624332" y="88900"/>
                </a:lnTo>
                <a:lnTo>
                  <a:pt x="642620" y="88900"/>
                </a:lnTo>
                <a:lnTo>
                  <a:pt x="642620" y="17272"/>
                </a:lnTo>
                <a:close/>
                <a:moveTo>
                  <a:pt x="534416" y="52324"/>
                </a:moveTo>
                <a:lnTo>
                  <a:pt x="540512" y="32004"/>
                </a:lnTo>
                <a:cubicBezTo>
                  <a:pt x="541020" y="30988"/>
                  <a:pt x="541528" y="29464"/>
                  <a:pt x="542036" y="27432"/>
                </a:cubicBezTo>
                <a:cubicBezTo>
                  <a:pt x="542544" y="25400"/>
                  <a:pt x="543052" y="22860"/>
                  <a:pt x="544068" y="20828"/>
                </a:cubicBezTo>
                <a:cubicBezTo>
                  <a:pt x="544576" y="18288"/>
                  <a:pt x="545084" y="16256"/>
                  <a:pt x="545592" y="14732"/>
                </a:cubicBezTo>
                <a:cubicBezTo>
                  <a:pt x="546100" y="16256"/>
                  <a:pt x="546608" y="18288"/>
                  <a:pt x="547116" y="20320"/>
                </a:cubicBezTo>
                <a:cubicBezTo>
                  <a:pt x="547624" y="22352"/>
                  <a:pt x="548640" y="24892"/>
                  <a:pt x="549148" y="26924"/>
                </a:cubicBezTo>
                <a:cubicBezTo>
                  <a:pt x="549656" y="28956"/>
                  <a:pt x="550164" y="30988"/>
                  <a:pt x="550672" y="32004"/>
                </a:cubicBezTo>
                <a:lnTo>
                  <a:pt x="556768" y="52324"/>
                </a:lnTo>
                <a:lnTo>
                  <a:pt x="534416" y="52324"/>
                </a:lnTo>
                <a:close/>
                <a:moveTo>
                  <a:pt x="587756" y="88900"/>
                </a:moveTo>
                <a:lnTo>
                  <a:pt x="556768" y="1524"/>
                </a:lnTo>
                <a:lnTo>
                  <a:pt x="534416" y="1524"/>
                </a:lnTo>
                <a:lnTo>
                  <a:pt x="503936" y="88900"/>
                </a:lnTo>
                <a:lnTo>
                  <a:pt x="523748" y="88900"/>
                </a:lnTo>
                <a:lnTo>
                  <a:pt x="529844" y="68072"/>
                </a:lnTo>
                <a:lnTo>
                  <a:pt x="561340" y="68072"/>
                </a:lnTo>
                <a:lnTo>
                  <a:pt x="567436" y="88900"/>
                </a:lnTo>
                <a:lnTo>
                  <a:pt x="587756" y="88900"/>
                </a:lnTo>
                <a:close/>
                <a:moveTo>
                  <a:pt x="471424" y="1524"/>
                </a:moveTo>
                <a:lnTo>
                  <a:pt x="455168" y="53340"/>
                </a:lnTo>
                <a:cubicBezTo>
                  <a:pt x="454660" y="54356"/>
                  <a:pt x="454152" y="55880"/>
                  <a:pt x="453644" y="58420"/>
                </a:cubicBezTo>
                <a:cubicBezTo>
                  <a:pt x="453136" y="60960"/>
                  <a:pt x="452628" y="63500"/>
                  <a:pt x="451612" y="66040"/>
                </a:cubicBezTo>
                <a:cubicBezTo>
                  <a:pt x="450596" y="68580"/>
                  <a:pt x="450596" y="71120"/>
                  <a:pt x="450088" y="72644"/>
                </a:cubicBezTo>
                <a:cubicBezTo>
                  <a:pt x="450088" y="70612"/>
                  <a:pt x="449580" y="68580"/>
                  <a:pt x="448564" y="66040"/>
                </a:cubicBezTo>
                <a:cubicBezTo>
                  <a:pt x="448056" y="63500"/>
                  <a:pt x="447040" y="60960"/>
                  <a:pt x="446532" y="58420"/>
                </a:cubicBezTo>
                <a:cubicBezTo>
                  <a:pt x="446024" y="55880"/>
                  <a:pt x="445516" y="54356"/>
                  <a:pt x="445008" y="53340"/>
                </a:cubicBezTo>
                <a:lnTo>
                  <a:pt x="428752" y="1524"/>
                </a:lnTo>
                <a:lnTo>
                  <a:pt x="409956" y="1524"/>
                </a:lnTo>
                <a:lnTo>
                  <a:pt x="439420" y="88392"/>
                </a:lnTo>
                <a:lnTo>
                  <a:pt x="459740" y="88392"/>
                </a:lnTo>
                <a:lnTo>
                  <a:pt x="489204" y="1524"/>
                </a:lnTo>
                <a:lnTo>
                  <a:pt x="471424" y="1524"/>
                </a:lnTo>
                <a:close/>
                <a:moveTo>
                  <a:pt x="328676" y="23368"/>
                </a:moveTo>
                <a:cubicBezTo>
                  <a:pt x="332232" y="18288"/>
                  <a:pt x="337820" y="15748"/>
                  <a:pt x="345440" y="15748"/>
                </a:cubicBezTo>
                <a:cubicBezTo>
                  <a:pt x="353060" y="15748"/>
                  <a:pt x="358648" y="18288"/>
                  <a:pt x="362204" y="23368"/>
                </a:cubicBezTo>
                <a:cubicBezTo>
                  <a:pt x="365760" y="28448"/>
                  <a:pt x="367284" y="35560"/>
                  <a:pt x="367284" y="44704"/>
                </a:cubicBezTo>
                <a:cubicBezTo>
                  <a:pt x="367284" y="53848"/>
                  <a:pt x="365760" y="60960"/>
                  <a:pt x="362204" y="66040"/>
                </a:cubicBezTo>
                <a:cubicBezTo>
                  <a:pt x="358648" y="71120"/>
                  <a:pt x="353060" y="73660"/>
                  <a:pt x="345440" y="73660"/>
                </a:cubicBezTo>
                <a:cubicBezTo>
                  <a:pt x="337820" y="73660"/>
                  <a:pt x="332232" y="71120"/>
                  <a:pt x="328676" y="66040"/>
                </a:cubicBezTo>
                <a:cubicBezTo>
                  <a:pt x="325120" y="60960"/>
                  <a:pt x="323596" y="53848"/>
                  <a:pt x="323596" y="44704"/>
                </a:cubicBezTo>
                <a:cubicBezTo>
                  <a:pt x="323088" y="36068"/>
                  <a:pt x="325120" y="28956"/>
                  <a:pt x="328676" y="23368"/>
                </a:cubicBezTo>
                <a:moveTo>
                  <a:pt x="382524" y="21336"/>
                </a:moveTo>
                <a:cubicBezTo>
                  <a:pt x="379476" y="14732"/>
                  <a:pt x="374904" y="9652"/>
                  <a:pt x="368808" y="5588"/>
                </a:cubicBezTo>
                <a:cubicBezTo>
                  <a:pt x="362712" y="1524"/>
                  <a:pt x="355092" y="0"/>
                  <a:pt x="345440" y="0"/>
                </a:cubicBezTo>
                <a:cubicBezTo>
                  <a:pt x="335788" y="0"/>
                  <a:pt x="328168" y="2032"/>
                  <a:pt x="322072" y="5588"/>
                </a:cubicBezTo>
                <a:cubicBezTo>
                  <a:pt x="315976" y="9144"/>
                  <a:pt x="311404" y="14224"/>
                  <a:pt x="308356" y="21336"/>
                </a:cubicBezTo>
                <a:cubicBezTo>
                  <a:pt x="305308" y="27940"/>
                  <a:pt x="303784" y="36068"/>
                  <a:pt x="303784" y="44704"/>
                </a:cubicBezTo>
                <a:cubicBezTo>
                  <a:pt x="303784" y="53848"/>
                  <a:pt x="305308" y="61468"/>
                  <a:pt x="308356" y="68580"/>
                </a:cubicBezTo>
                <a:cubicBezTo>
                  <a:pt x="311404" y="75184"/>
                  <a:pt x="315976" y="80772"/>
                  <a:pt x="322072" y="84328"/>
                </a:cubicBezTo>
                <a:cubicBezTo>
                  <a:pt x="328168" y="87884"/>
                  <a:pt x="335788" y="89916"/>
                  <a:pt x="345440" y="89916"/>
                </a:cubicBezTo>
                <a:cubicBezTo>
                  <a:pt x="355092" y="89916"/>
                  <a:pt x="362712" y="87884"/>
                  <a:pt x="368808" y="84328"/>
                </a:cubicBezTo>
                <a:cubicBezTo>
                  <a:pt x="374904" y="80772"/>
                  <a:pt x="379476" y="75184"/>
                  <a:pt x="382524" y="68580"/>
                </a:cubicBezTo>
                <a:cubicBezTo>
                  <a:pt x="385572" y="61976"/>
                  <a:pt x="387096" y="53848"/>
                  <a:pt x="387096" y="45212"/>
                </a:cubicBezTo>
                <a:cubicBezTo>
                  <a:pt x="387096" y="36068"/>
                  <a:pt x="385572" y="28448"/>
                  <a:pt x="382524" y="21336"/>
                </a:cubicBezTo>
                <a:moveTo>
                  <a:pt x="267716" y="1524"/>
                </a:moveTo>
                <a:lnTo>
                  <a:pt x="250952" y="1524"/>
                </a:lnTo>
                <a:lnTo>
                  <a:pt x="250952" y="42672"/>
                </a:lnTo>
                <a:cubicBezTo>
                  <a:pt x="250952" y="46736"/>
                  <a:pt x="250952" y="50800"/>
                  <a:pt x="251460" y="54864"/>
                </a:cubicBezTo>
                <a:cubicBezTo>
                  <a:pt x="251460" y="58928"/>
                  <a:pt x="251968" y="62992"/>
                  <a:pt x="251968" y="67056"/>
                </a:cubicBezTo>
                <a:lnTo>
                  <a:pt x="251460" y="67056"/>
                </a:lnTo>
                <a:lnTo>
                  <a:pt x="213868" y="2032"/>
                </a:lnTo>
                <a:lnTo>
                  <a:pt x="190500" y="2032"/>
                </a:lnTo>
                <a:lnTo>
                  <a:pt x="190500" y="88900"/>
                </a:lnTo>
                <a:lnTo>
                  <a:pt x="206756" y="88900"/>
                </a:lnTo>
                <a:lnTo>
                  <a:pt x="206756" y="47752"/>
                </a:lnTo>
                <a:cubicBezTo>
                  <a:pt x="206756" y="43688"/>
                  <a:pt x="206248" y="39624"/>
                  <a:pt x="206248" y="35560"/>
                </a:cubicBezTo>
                <a:cubicBezTo>
                  <a:pt x="206248" y="31496"/>
                  <a:pt x="205740" y="27432"/>
                  <a:pt x="205740" y="23368"/>
                </a:cubicBezTo>
                <a:lnTo>
                  <a:pt x="206248" y="23368"/>
                </a:lnTo>
                <a:lnTo>
                  <a:pt x="244348" y="89408"/>
                </a:lnTo>
                <a:lnTo>
                  <a:pt x="267716" y="89408"/>
                </a:lnTo>
                <a:lnTo>
                  <a:pt x="267716" y="1524"/>
                </a:lnTo>
                <a:close/>
                <a:moveTo>
                  <a:pt x="150368" y="1524"/>
                </a:moveTo>
                <a:lnTo>
                  <a:pt x="133604" y="1524"/>
                </a:lnTo>
                <a:lnTo>
                  <a:pt x="133604" y="42672"/>
                </a:lnTo>
                <a:cubicBezTo>
                  <a:pt x="133604" y="46736"/>
                  <a:pt x="133604" y="50800"/>
                  <a:pt x="134112" y="54864"/>
                </a:cubicBezTo>
                <a:cubicBezTo>
                  <a:pt x="134620" y="58928"/>
                  <a:pt x="134620" y="62992"/>
                  <a:pt x="134620" y="67056"/>
                </a:cubicBezTo>
                <a:lnTo>
                  <a:pt x="134112" y="67056"/>
                </a:lnTo>
                <a:lnTo>
                  <a:pt x="96520" y="2032"/>
                </a:lnTo>
                <a:lnTo>
                  <a:pt x="73152" y="2032"/>
                </a:lnTo>
                <a:lnTo>
                  <a:pt x="73152" y="88900"/>
                </a:lnTo>
                <a:lnTo>
                  <a:pt x="89408" y="88900"/>
                </a:lnTo>
                <a:lnTo>
                  <a:pt x="89408" y="47752"/>
                </a:lnTo>
                <a:cubicBezTo>
                  <a:pt x="89408" y="43688"/>
                  <a:pt x="88900" y="39624"/>
                  <a:pt x="88900" y="35560"/>
                </a:cubicBezTo>
                <a:cubicBezTo>
                  <a:pt x="88900" y="31496"/>
                  <a:pt x="88392" y="27432"/>
                  <a:pt x="88392" y="23368"/>
                </a:cubicBezTo>
                <a:lnTo>
                  <a:pt x="88900" y="23368"/>
                </a:lnTo>
                <a:lnTo>
                  <a:pt x="127000" y="89408"/>
                </a:lnTo>
                <a:lnTo>
                  <a:pt x="150368" y="89408"/>
                </a:lnTo>
                <a:lnTo>
                  <a:pt x="150368" y="1524"/>
                </a:lnTo>
                <a:close/>
                <a:moveTo>
                  <a:pt x="39624" y="78232"/>
                </a:moveTo>
                <a:lnTo>
                  <a:pt x="28956" y="73152"/>
                </a:lnTo>
                <a:lnTo>
                  <a:pt x="28956" y="17272"/>
                </a:lnTo>
                <a:lnTo>
                  <a:pt x="39624" y="12192"/>
                </a:lnTo>
                <a:lnTo>
                  <a:pt x="39624" y="1524"/>
                </a:lnTo>
                <a:lnTo>
                  <a:pt x="0" y="1524"/>
                </a:lnTo>
                <a:lnTo>
                  <a:pt x="0" y="12192"/>
                </a:lnTo>
                <a:lnTo>
                  <a:pt x="10668" y="17272"/>
                </a:lnTo>
                <a:lnTo>
                  <a:pt x="10668" y="73152"/>
                </a:lnTo>
                <a:lnTo>
                  <a:pt x="0" y="78232"/>
                </a:lnTo>
                <a:lnTo>
                  <a:pt x="0" y="88900"/>
                </a:lnTo>
                <a:lnTo>
                  <a:pt x="39624" y="88900"/>
                </a:lnTo>
                <a:lnTo>
                  <a:pt x="39624" y="78232"/>
                </a:lnTo>
                <a:close/>
              </a:path>
            </a:pathLst>
          </a:custGeom>
          <a:solidFill>
            <a:srgbClr val="EEA7BF"/>
          </a:solidFill>
          <a:ln w="5078" cap="flat">
            <a:noFill/>
            <a:prstDash val="solid"/>
            <a:miter/>
          </a:ln>
        </p:spPr>
        <p:txBody>
          <a:bodyPr rtlCol="0" anchor="ctr"/>
          <a:lstStyle/>
          <a:p>
            <a:endParaRPr lang="en-GB" sz="2400"/>
          </a:p>
        </p:txBody>
      </p:sp>
      <p:graphicFrame>
        <p:nvGraphicFramePr>
          <p:cNvPr id="56" name="Table 55">
            <a:extLst>
              <a:ext uri="{FF2B5EF4-FFF2-40B4-BE49-F238E27FC236}">
                <a16:creationId xmlns:a16="http://schemas.microsoft.com/office/drawing/2014/main" id="{96DDC5B9-5DD0-46B4-B2AB-07C10E7536F2}"/>
              </a:ext>
            </a:extLst>
          </p:cNvPr>
          <p:cNvGraphicFramePr>
            <a:graphicFrameLocks noGrp="1"/>
          </p:cNvGraphicFramePr>
          <p:nvPr>
            <p:extLst>
              <p:ext uri="{D42A27DB-BD31-4B8C-83A1-F6EECF244321}">
                <p14:modId xmlns:p14="http://schemas.microsoft.com/office/powerpoint/2010/main" val="3071091416"/>
              </p:ext>
            </p:extLst>
          </p:nvPr>
        </p:nvGraphicFramePr>
        <p:xfrm>
          <a:off x="1065747" y="4526239"/>
          <a:ext cx="3062240" cy="1432560"/>
        </p:xfrm>
        <a:graphic>
          <a:graphicData uri="http://schemas.openxmlformats.org/drawingml/2006/table">
            <a:tbl>
              <a:tblPr firstRow="1" bandRow="1">
                <a:tableStyleId>{5C22544A-7EE6-4342-B048-85BDC9FD1C3A}</a:tableStyleId>
              </a:tblPr>
              <a:tblGrid>
                <a:gridCol w="426720">
                  <a:extLst>
                    <a:ext uri="{9D8B030D-6E8A-4147-A177-3AD203B41FA5}">
                      <a16:colId xmlns:a16="http://schemas.microsoft.com/office/drawing/2014/main" val="1721366476"/>
                    </a:ext>
                  </a:extLst>
                </a:gridCol>
                <a:gridCol w="2635520">
                  <a:extLst>
                    <a:ext uri="{9D8B030D-6E8A-4147-A177-3AD203B41FA5}">
                      <a16:colId xmlns:a16="http://schemas.microsoft.com/office/drawing/2014/main" val="3486853586"/>
                    </a:ext>
                  </a:extLst>
                </a:gridCol>
              </a:tblGrid>
              <a:tr h="447040">
                <a:tc>
                  <a:txBody>
                    <a:bodyPr/>
                    <a:lstStyle/>
                    <a:p>
                      <a:r>
                        <a:rPr lang="en-GB" sz="1300" b="1">
                          <a:solidFill>
                            <a:srgbClr val="001965"/>
                          </a:solidFill>
                        </a:rPr>
                        <a:t>1</a:t>
                      </a:r>
                      <a:endParaRPr lang="en-GB" sz="1300" b="1" dirty="0">
                        <a:solidFill>
                          <a:srgbClr val="001965"/>
                        </a:solidFill>
                      </a:endParaRPr>
                    </a:p>
                  </a:txBody>
                  <a:tcPr marL="121920" marR="12192" marT="60960" marB="60960" anchor="ctr">
                    <a:lnR w="12700" cap="flat" cmpd="sng" algn="ctr">
                      <a:solidFill>
                        <a:srgbClr val="001965"/>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001965"/>
                          </a:solidFill>
                          <a:ea typeface="+mn-lt"/>
                          <a:cs typeface="+mn-lt"/>
                        </a:rPr>
                        <a:t>Reduce overweight and </a:t>
                      </a:r>
                      <a:br>
                        <a:rPr lang="en-GB" sz="1100" b="0" dirty="0">
                          <a:solidFill>
                            <a:srgbClr val="001965"/>
                          </a:solidFill>
                          <a:ea typeface="+mn-lt"/>
                          <a:cs typeface="+mn-lt"/>
                        </a:rPr>
                      </a:br>
                      <a:r>
                        <a:rPr lang="en-GB" sz="1100" b="0" dirty="0">
                          <a:solidFill>
                            <a:srgbClr val="001965"/>
                          </a:solidFill>
                          <a:ea typeface="+mn-lt"/>
                          <a:cs typeface="+mn-lt"/>
                        </a:rPr>
                        <a:t>obesity in children</a:t>
                      </a:r>
                      <a:endParaRPr lang="en-GB" sz="1100" b="0" dirty="0">
                        <a:solidFill>
                          <a:srgbClr val="001965"/>
                        </a:solidFill>
                      </a:endParaRPr>
                    </a:p>
                  </a:txBody>
                  <a:tcPr marL="121920" marR="12192" marT="60960" marB="60960" anchor="ctr">
                    <a:lnL w="12700" cap="flat" cmpd="sng" algn="ctr">
                      <a:solidFill>
                        <a:srgbClr val="001965"/>
                      </a:solidFill>
                      <a:prstDash val="solid"/>
                      <a:round/>
                      <a:headEnd type="none" w="med" len="med"/>
                      <a:tailEnd type="none" w="med" len="med"/>
                    </a:lnL>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664945823"/>
                  </a:ext>
                </a:extLst>
              </a:tr>
              <a:tr h="487680">
                <a:tc>
                  <a:txBody>
                    <a:bodyPr/>
                    <a:lstStyle/>
                    <a:p>
                      <a:r>
                        <a:rPr lang="en-GB" sz="1300" b="1">
                          <a:solidFill>
                            <a:srgbClr val="001965"/>
                          </a:solidFill>
                        </a:rPr>
                        <a:t>2</a:t>
                      </a:r>
                      <a:endParaRPr lang="en-GB" sz="1300" b="1" dirty="0">
                        <a:solidFill>
                          <a:srgbClr val="001965"/>
                        </a:solidFill>
                      </a:endParaRPr>
                    </a:p>
                  </a:txBody>
                  <a:tcPr marL="121920" marR="12192" marT="60960" marB="60960" anchor="ctr">
                    <a:lnR w="12700" cap="flat" cmpd="sng" algn="ctr">
                      <a:solidFill>
                        <a:srgbClr val="001965"/>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001965"/>
                          </a:solidFill>
                          <a:ea typeface="+mn-lt"/>
                          <a:cs typeface="+mn-lt"/>
                        </a:rPr>
                        <a:t>Strengthen prevention by focusing on health inequality in cities</a:t>
                      </a:r>
                    </a:p>
                  </a:txBody>
                  <a:tcPr marL="121920" marR="12192" marT="60960" marB="60960" anchor="ctr">
                    <a:lnL w="12700" cap="flat" cmpd="sng" algn="ctr">
                      <a:solidFill>
                        <a:srgbClr val="001965"/>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4292597616"/>
                  </a:ext>
                </a:extLst>
              </a:tr>
              <a:tr h="4876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b="1">
                          <a:solidFill>
                            <a:srgbClr val="001965"/>
                          </a:solidFill>
                        </a:rPr>
                        <a:t>3</a:t>
                      </a:r>
                      <a:endParaRPr lang="en-GB" sz="1300" b="1" dirty="0">
                        <a:solidFill>
                          <a:srgbClr val="001965"/>
                        </a:solidFill>
                      </a:endParaRPr>
                    </a:p>
                  </a:txBody>
                  <a:tcPr marL="121920" marR="12192" marT="60960" marB="60960" anchor="ctr">
                    <a:lnR w="12700" cap="flat" cmpd="sng" algn="ctr">
                      <a:solidFill>
                        <a:srgbClr val="001965"/>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001965"/>
                          </a:solidFill>
                          <a:ea typeface="+mn-lt"/>
                          <a:cs typeface="+mn-lt"/>
                        </a:rPr>
                        <a:t>Bend the global obesity curve</a:t>
                      </a:r>
                    </a:p>
                  </a:txBody>
                  <a:tcPr marL="121920" marR="12192" marT="60960" marB="60960" anchor="ctr">
                    <a:lnL w="12700" cap="flat" cmpd="sng" algn="ctr">
                      <a:solidFill>
                        <a:srgbClr val="001965"/>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026992536"/>
                  </a:ext>
                </a:extLst>
              </a:tr>
            </a:tbl>
          </a:graphicData>
        </a:graphic>
      </p:graphicFrame>
      <p:graphicFrame>
        <p:nvGraphicFramePr>
          <p:cNvPr id="57" name="Table 56">
            <a:extLst>
              <a:ext uri="{FF2B5EF4-FFF2-40B4-BE49-F238E27FC236}">
                <a16:creationId xmlns:a16="http://schemas.microsoft.com/office/drawing/2014/main" id="{ED6E14E0-738D-4199-870A-D205EDBC35C2}"/>
              </a:ext>
            </a:extLst>
          </p:cNvPr>
          <p:cNvGraphicFramePr>
            <a:graphicFrameLocks noGrp="1"/>
          </p:cNvGraphicFramePr>
          <p:nvPr>
            <p:extLst>
              <p:ext uri="{D42A27DB-BD31-4B8C-83A1-F6EECF244321}">
                <p14:modId xmlns:p14="http://schemas.microsoft.com/office/powerpoint/2010/main" val="2888094471"/>
              </p:ext>
            </p:extLst>
          </p:nvPr>
        </p:nvGraphicFramePr>
        <p:xfrm>
          <a:off x="4225125" y="4526239"/>
          <a:ext cx="3664547" cy="1463040"/>
        </p:xfrm>
        <a:graphic>
          <a:graphicData uri="http://schemas.openxmlformats.org/drawingml/2006/table">
            <a:tbl>
              <a:tblPr firstRow="1" bandRow="1">
                <a:tableStyleId>{5C22544A-7EE6-4342-B048-85BDC9FD1C3A}</a:tableStyleId>
              </a:tblPr>
              <a:tblGrid>
                <a:gridCol w="426720">
                  <a:extLst>
                    <a:ext uri="{9D8B030D-6E8A-4147-A177-3AD203B41FA5}">
                      <a16:colId xmlns:a16="http://schemas.microsoft.com/office/drawing/2014/main" val="1721366476"/>
                    </a:ext>
                  </a:extLst>
                </a:gridCol>
                <a:gridCol w="3237827">
                  <a:extLst>
                    <a:ext uri="{9D8B030D-6E8A-4147-A177-3AD203B41FA5}">
                      <a16:colId xmlns:a16="http://schemas.microsoft.com/office/drawing/2014/main" val="3486853586"/>
                    </a:ext>
                  </a:extLst>
                </a:gridCol>
              </a:tblGrid>
              <a:tr h="487680">
                <a:tc>
                  <a:txBody>
                    <a:bodyPr/>
                    <a:lstStyle/>
                    <a:p>
                      <a:r>
                        <a:rPr lang="en-GB" sz="1300" b="1">
                          <a:solidFill>
                            <a:srgbClr val="001965"/>
                          </a:solidFill>
                        </a:rPr>
                        <a:t>4</a:t>
                      </a:r>
                      <a:endParaRPr lang="en-GB" sz="1300" b="1" dirty="0">
                        <a:solidFill>
                          <a:srgbClr val="001965"/>
                        </a:solidFill>
                      </a:endParaRPr>
                    </a:p>
                  </a:txBody>
                  <a:tcPr marL="121920" marR="12192" marT="60960" marB="60960" anchor="ctr">
                    <a:lnR w="12700" cap="flat" cmpd="sng" algn="ctr">
                      <a:solidFill>
                        <a:srgbClr val="001965"/>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001965"/>
                          </a:solidFill>
                          <a:ea typeface="+mn-lt"/>
                          <a:cs typeface="+mn-lt"/>
                        </a:rPr>
                        <a:t>Offer affordable insulin to vulnerable patients in every country</a:t>
                      </a:r>
                      <a:endParaRPr lang="en-GB" sz="1100" b="0" dirty="0">
                        <a:solidFill>
                          <a:srgbClr val="001965"/>
                        </a:solidFill>
                      </a:endParaRPr>
                    </a:p>
                  </a:txBody>
                  <a:tcPr marL="121920" marR="12192" marT="60960" marB="60960" anchor="ctr">
                    <a:lnL w="12700" cap="flat" cmpd="sng" algn="ctr">
                      <a:solidFill>
                        <a:srgbClr val="001965"/>
                      </a:solidFill>
                      <a:prstDash val="solid"/>
                      <a:round/>
                      <a:headEnd type="none" w="med" len="med"/>
                      <a:tailEnd type="none" w="med" len="med"/>
                    </a:lnL>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664945823"/>
                  </a:ext>
                </a:extLst>
              </a:tr>
              <a:tr h="487680">
                <a:tc>
                  <a:txBody>
                    <a:bodyPr/>
                    <a:lstStyle/>
                    <a:p>
                      <a:r>
                        <a:rPr lang="en-GB" sz="1300" b="1">
                          <a:solidFill>
                            <a:srgbClr val="001965"/>
                          </a:solidFill>
                        </a:rPr>
                        <a:t>5</a:t>
                      </a:r>
                      <a:endParaRPr lang="en-GB" sz="1300" b="1" dirty="0">
                        <a:solidFill>
                          <a:srgbClr val="001965"/>
                        </a:solidFill>
                      </a:endParaRPr>
                    </a:p>
                  </a:txBody>
                  <a:tcPr marL="121920" marR="12192" marT="60960" marB="60960" anchor="ctr">
                    <a:lnR w="12700" cap="flat" cmpd="sng" algn="ctr">
                      <a:solidFill>
                        <a:srgbClr val="001965"/>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001965"/>
                          </a:solidFill>
                          <a:ea typeface="+mn-lt"/>
                          <a:cs typeface="+mn-lt"/>
                        </a:rPr>
                        <a:t>Expand patient access through supply chain improvements and heat stable insulins</a:t>
                      </a:r>
                    </a:p>
                  </a:txBody>
                  <a:tcPr marL="121920" marR="12192" marT="60960" marB="60960" anchor="ctr">
                    <a:lnL w="12700" cap="flat" cmpd="sng" algn="ctr">
                      <a:solidFill>
                        <a:srgbClr val="001965"/>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4292597616"/>
                  </a:ext>
                </a:extLst>
              </a:tr>
              <a:tr h="4876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b="1">
                          <a:solidFill>
                            <a:srgbClr val="001965"/>
                          </a:solidFill>
                        </a:rPr>
                        <a:t>6</a:t>
                      </a:r>
                      <a:endParaRPr lang="en-GB" sz="1300" b="1" dirty="0">
                        <a:solidFill>
                          <a:srgbClr val="001965"/>
                        </a:solidFill>
                      </a:endParaRPr>
                    </a:p>
                  </a:txBody>
                  <a:tcPr marL="121920" marR="12192" marT="60960" marB="60960" anchor="ctr">
                    <a:lnR w="12700" cap="flat" cmpd="sng" algn="ctr">
                      <a:solidFill>
                        <a:srgbClr val="001965"/>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001965"/>
                          </a:solidFill>
                          <a:ea typeface="+mn-lt"/>
                          <a:cs typeface="+mn-lt"/>
                        </a:rPr>
                        <a:t>Strengthen capacity to treat diabetes</a:t>
                      </a:r>
                    </a:p>
                  </a:txBody>
                  <a:tcPr marL="121920" marR="12192" marT="60960" marB="60960" anchor="ctr">
                    <a:lnL w="12700" cap="flat" cmpd="sng" algn="ctr">
                      <a:solidFill>
                        <a:srgbClr val="001965"/>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026992536"/>
                  </a:ext>
                </a:extLst>
              </a:tr>
            </a:tbl>
          </a:graphicData>
        </a:graphic>
      </p:graphicFrame>
      <p:graphicFrame>
        <p:nvGraphicFramePr>
          <p:cNvPr id="58" name="Table 57">
            <a:extLst>
              <a:ext uri="{FF2B5EF4-FFF2-40B4-BE49-F238E27FC236}">
                <a16:creationId xmlns:a16="http://schemas.microsoft.com/office/drawing/2014/main" id="{B4088698-0CF8-431A-B561-4BDCE711114E}"/>
              </a:ext>
            </a:extLst>
          </p:cNvPr>
          <p:cNvGraphicFramePr>
            <a:graphicFrameLocks noGrp="1"/>
          </p:cNvGraphicFramePr>
          <p:nvPr>
            <p:extLst>
              <p:ext uri="{D42A27DB-BD31-4B8C-83A1-F6EECF244321}">
                <p14:modId xmlns:p14="http://schemas.microsoft.com/office/powerpoint/2010/main" val="3579421603"/>
              </p:ext>
            </p:extLst>
          </p:nvPr>
        </p:nvGraphicFramePr>
        <p:xfrm>
          <a:off x="8071653" y="4526239"/>
          <a:ext cx="3062240" cy="1463040"/>
        </p:xfrm>
        <a:graphic>
          <a:graphicData uri="http://schemas.openxmlformats.org/drawingml/2006/table">
            <a:tbl>
              <a:tblPr firstRow="1" bandRow="1">
                <a:tableStyleId>{5C22544A-7EE6-4342-B048-85BDC9FD1C3A}</a:tableStyleId>
              </a:tblPr>
              <a:tblGrid>
                <a:gridCol w="426720">
                  <a:extLst>
                    <a:ext uri="{9D8B030D-6E8A-4147-A177-3AD203B41FA5}">
                      <a16:colId xmlns:a16="http://schemas.microsoft.com/office/drawing/2014/main" val="1721366476"/>
                    </a:ext>
                  </a:extLst>
                </a:gridCol>
                <a:gridCol w="2635520">
                  <a:extLst>
                    <a:ext uri="{9D8B030D-6E8A-4147-A177-3AD203B41FA5}">
                      <a16:colId xmlns:a16="http://schemas.microsoft.com/office/drawing/2014/main" val="3486853586"/>
                    </a:ext>
                  </a:extLst>
                </a:gridCol>
              </a:tblGrid>
              <a:tr h="487680">
                <a:tc>
                  <a:txBody>
                    <a:bodyPr/>
                    <a:lstStyle/>
                    <a:p>
                      <a:r>
                        <a:rPr lang="en-GB" sz="1300" b="1">
                          <a:solidFill>
                            <a:srgbClr val="001965"/>
                          </a:solidFill>
                        </a:rPr>
                        <a:t>7</a:t>
                      </a:r>
                      <a:endParaRPr lang="en-GB" sz="1300" b="1" dirty="0">
                        <a:solidFill>
                          <a:srgbClr val="001965"/>
                        </a:solidFill>
                      </a:endParaRPr>
                    </a:p>
                  </a:txBody>
                  <a:tcPr marL="121920" marR="12192" marT="60960" marB="60960" anchor="ctr">
                    <a:lnR w="12700" cap="flat" cmpd="sng" algn="ctr">
                      <a:solidFill>
                        <a:srgbClr val="001965"/>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001965"/>
                          </a:solidFill>
                          <a:ea typeface="+mn-lt"/>
                          <a:cs typeface="+mn-lt"/>
                        </a:rPr>
                        <a:t>Keep people at high risk from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001965"/>
                          </a:solidFill>
                          <a:ea typeface="+mn-lt"/>
                          <a:cs typeface="+mn-lt"/>
                        </a:rPr>
                        <a:t>developing diabetes</a:t>
                      </a:r>
                      <a:endParaRPr lang="en-GB" sz="1100" b="0" dirty="0">
                        <a:solidFill>
                          <a:srgbClr val="001965"/>
                        </a:solidFill>
                      </a:endParaRPr>
                    </a:p>
                  </a:txBody>
                  <a:tcPr marL="121920" marR="12192" marT="60960" marB="60960" anchor="ctr">
                    <a:lnL w="12700" cap="flat" cmpd="sng" algn="ctr">
                      <a:solidFill>
                        <a:srgbClr val="001965"/>
                      </a:solidFill>
                      <a:prstDash val="solid"/>
                      <a:round/>
                      <a:headEnd type="none" w="med" len="med"/>
                      <a:tailEnd type="none" w="med" len="med"/>
                    </a:lnL>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1664945823"/>
                  </a:ext>
                </a:extLst>
              </a:tr>
              <a:tr h="487680">
                <a:tc>
                  <a:txBody>
                    <a:bodyPr/>
                    <a:lstStyle/>
                    <a:p>
                      <a:r>
                        <a:rPr lang="en-GB" sz="1300" b="1">
                          <a:solidFill>
                            <a:srgbClr val="001965"/>
                          </a:solidFill>
                        </a:rPr>
                        <a:t>8</a:t>
                      </a:r>
                      <a:endParaRPr lang="en-GB" sz="1300" b="1" dirty="0">
                        <a:solidFill>
                          <a:srgbClr val="001965"/>
                        </a:solidFill>
                      </a:endParaRPr>
                    </a:p>
                  </a:txBody>
                  <a:tcPr marL="121920" marR="12192" marT="60960" marB="60960" anchor="ctr">
                    <a:lnR w="12700" cap="flat" cmpd="sng" algn="ctr">
                      <a:solidFill>
                        <a:srgbClr val="001965"/>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001965"/>
                          </a:solidFill>
                          <a:ea typeface="+mn-lt"/>
                          <a:cs typeface="+mn-lt"/>
                        </a:rPr>
                        <a:t>Explore transformative treatments for people living with diabetes</a:t>
                      </a:r>
                    </a:p>
                  </a:txBody>
                  <a:tcPr marL="121920" marR="12192" marT="60960" marB="60960" anchor="ctr">
                    <a:lnL w="12700" cap="flat" cmpd="sng" algn="ctr">
                      <a:solidFill>
                        <a:srgbClr val="001965"/>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FFFF"/>
                    </a:solidFill>
                  </a:tcPr>
                </a:tc>
                <a:extLst>
                  <a:ext uri="{0D108BD9-81ED-4DB2-BD59-A6C34878D82A}">
                    <a16:rowId xmlns:a16="http://schemas.microsoft.com/office/drawing/2014/main" val="4292597616"/>
                  </a:ext>
                </a:extLst>
              </a:tr>
              <a:tr h="4876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b="1">
                          <a:solidFill>
                            <a:srgbClr val="001965"/>
                          </a:solidFill>
                        </a:rPr>
                        <a:t>9</a:t>
                      </a:r>
                      <a:endParaRPr lang="en-GB" sz="1300" b="1" dirty="0">
                        <a:solidFill>
                          <a:srgbClr val="001965"/>
                        </a:solidFill>
                      </a:endParaRPr>
                    </a:p>
                  </a:txBody>
                  <a:tcPr marL="121920" marR="12192" marT="60960" marB="60960" anchor="ctr">
                    <a:lnR w="12700" cap="flat" cmpd="sng" algn="ctr">
                      <a:solidFill>
                        <a:srgbClr val="001965"/>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001965"/>
                          </a:solidFill>
                          <a:ea typeface="+mn-lt"/>
                          <a:cs typeface="+mn-lt"/>
                        </a:rPr>
                        <a:t>Strive for curative therapie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dirty="0">
                          <a:solidFill>
                            <a:srgbClr val="001965"/>
                          </a:solidFill>
                          <a:ea typeface="+mn-lt"/>
                          <a:cs typeface="+mn-lt"/>
                        </a:rPr>
                        <a:t>starting with type 1 diabetes</a:t>
                      </a:r>
                    </a:p>
                  </a:txBody>
                  <a:tcPr marL="121920" marR="12192" marT="60960" marB="60960" anchor="ctr">
                    <a:lnL w="12700" cap="flat" cmpd="sng" algn="ctr">
                      <a:solidFill>
                        <a:srgbClr val="001965"/>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026992536"/>
                  </a:ext>
                </a:extLst>
              </a:tr>
            </a:tbl>
          </a:graphicData>
        </a:graphic>
      </p:graphicFrame>
    </p:spTree>
    <p:custDataLst>
      <p:tags r:id="rId1"/>
    </p:custDataLst>
    <p:extLst>
      <p:ext uri="{BB962C8B-B14F-4D97-AF65-F5344CB8AC3E}">
        <p14:creationId xmlns:p14="http://schemas.microsoft.com/office/powerpoint/2010/main" val="22608615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BEFA9A7-5A9F-412D-B180-732F27770C4E}"/>
              </a:ext>
            </a:extLst>
          </p:cNvPr>
          <p:cNvGraphicFramePr>
            <a:graphicFrameLocks noChangeAspect="1"/>
          </p:cNvGraphicFramePr>
          <p:nvPr>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9" name="think-cell Slide" r:id="rId9" imgW="421" imgH="423" progId="TCLayout.ActiveDocument.1">
                  <p:embed/>
                </p:oleObj>
              </mc:Choice>
              <mc:Fallback>
                <p:oleObj name="think-cell Slide" r:id="rId9" imgW="421" imgH="423" progId="TCLayout.ActiveDocument.1">
                  <p:embed/>
                  <p:pic>
                    <p:nvPicPr>
                      <p:cNvPr id="12" name="Object 11" hidden="1">
                        <a:extLst>
                          <a:ext uri="{FF2B5EF4-FFF2-40B4-BE49-F238E27FC236}">
                            <a16:creationId xmlns:a16="http://schemas.microsoft.com/office/drawing/2014/main" id="{9BEFA9A7-5A9F-412D-B180-732F27770C4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8F1475D9-01A7-4015-8B78-D9D79705356F}"/>
              </a:ext>
            </a:extLst>
          </p:cNvPr>
          <p:cNvSpPr/>
          <p:nvPr>
            <p:custDataLst>
              <p:tags r:id="rId6"/>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noProof="0" dirty="0" err="1">
              <a:latin typeface="Apis For Office" panose="020B0504010101010104" pitchFamily="34" charset="0"/>
              <a:ea typeface="+mj-ea"/>
              <a:cs typeface="+mj-cs"/>
              <a:sym typeface="Apis For Office" panose="020B0504010101010104" pitchFamily="34" charset="0"/>
            </a:endParaRPr>
          </a:p>
        </p:txBody>
      </p:sp>
      <p:sp>
        <p:nvSpPr>
          <p:cNvPr id="2" name="Title 1">
            <a:extLst>
              <a:ext uri="{FF2B5EF4-FFF2-40B4-BE49-F238E27FC236}">
                <a16:creationId xmlns:a16="http://schemas.microsoft.com/office/drawing/2014/main" id="{E1E55A30-0784-4B47-905B-2A2316945859}"/>
              </a:ext>
            </a:extLst>
          </p:cNvPr>
          <p:cNvSpPr>
            <a:spLocks noGrp="1"/>
          </p:cNvSpPr>
          <p:nvPr>
            <p:ph type="title"/>
          </p:nvPr>
        </p:nvSpPr>
        <p:spPr/>
        <p:txBody>
          <a:bodyPr/>
          <a:lstStyle/>
          <a:p>
            <a:r>
              <a:rPr lang="en-GB" dirty="0"/>
              <a:t>Novo Nordisk Graduate Programme</a:t>
            </a:r>
          </a:p>
        </p:txBody>
      </p:sp>
      <p:pic>
        <p:nvPicPr>
          <p:cNvPr id="9" name="Picture Placeholder 4">
            <a:extLst>
              <a:ext uri="{FF2B5EF4-FFF2-40B4-BE49-F238E27FC236}">
                <a16:creationId xmlns:a16="http://schemas.microsoft.com/office/drawing/2014/main" id="{B1754E82-331E-4A8E-A3A4-A08D0A16779E}"/>
              </a:ext>
            </a:extLst>
          </p:cNvPr>
          <p:cNvPicPr>
            <a:picLocks noChangeAspect="1"/>
          </p:cNvPicPr>
          <p:nvPr/>
        </p:nvPicPr>
        <p:blipFill>
          <a:blip r:embed="rId11" cstate="print">
            <a:extLst>
              <a:ext uri="{28A0092B-C50C-407E-A947-70E740481C1C}">
                <a14:useLocalDpi xmlns:a14="http://schemas.microsoft.com/office/drawing/2010/main" val="0"/>
              </a:ext>
            </a:extLst>
          </a:blip>
          <a:srcRect l="16655" r="16655"/>
          <a:stretch>
            <a:fillRect/>
          </a:stretch>
        </p:blipFill>
        <p:spPr>
          <a:xfrm>
            <a:off x="5592452" y="276256"/>
            <a:ext cx="6261037" cy="6257744"/>
          </a:xfrm>
          <a:prstGeom prst="rect">
            <a:avLst/>
          </a:prstGeom>
        </p:spPr>
      </p:pic>
      <p:grpSp>
        <p:nvGrpSpPr>
          <p:cNvPr id="11" name="Graphic 2">
            <a:extLst>
              <a:ext uri="{FF2B5EF4-FFF2-40B4-BE49-F238E27FC236}">
                <a16:creationId xmlns:a16="http://schemas.microsoft.com/office/drawing/2014/main" id="{3D86BA08-A7D1-4887-85E4-85029D677774}"/>
              </a:ext>
            </a:extLst>
          </p:cNvPr>
          <p:cNvGrpSpPr/>
          <p:nvPr/>
        </p:nvGrpSpPr>
        <p:grpSpPr>
          <a:xfrm>
            <a:off x="490911" y="3763812"/>
            <a:ext cx="4138613" cy="2770188"/>
            <a:chOff x="3051987" y="1317626"/>
            <a:chExt cx="6728563" cy="4500562"/>
          </a:xfrm>
        </p:grpSpPr>
        <p:sp>
          <p:nvSpPr>
            <p:cNvPr id="13" name="Freeform: Shape 12">
              <a:extLst>
                <a:ext uri="{FF2B5EF4-FFF2-40B4-BE49-F238E27FC236}">
                  <a16:creationId xmlns:a16="http://schemas.microsoft.com/office/drawing/2014/main" id="{E673DA29-2B58-425F-A12B-39E5A73A380C}"/>
                </a:ext>
              </a:extLst>
            </p:cNvPr>
            <p:cNvSpPr/>
            <p:nvPr/>
          </p:nvSpPr>
          <p:spPr>
            <a:xfrm>
              <a:off x="4485520" y="5292726"/>
              <a:ext cx="190972" cy="515623"/>
            </a:xfrm>
            <a:custGeom>
              <a:avLst/>
              <a:gdLst>
                <a:gd name="connsiteX0" fmla="*/ 122661 w 190971"/>
                <a:gd name="connsiteY0" fmla="*/ 89909 h 515623"/>
                <a:gd name="connsiteX1" fmla="*/ 122661 w 190971"/>
                <a:gd name="connsiteY1" fmla="*/ 16799 h 515623"/>
                <a:gd name="connsiteX2" fmla="*/ 105862 w 190971"/>
                <a:gd name="connsiteY2" fmla="*/ 0 h 515623"/>
                <a:gd name="connsiteX3" fmla="*/ 67387 w 190971"/>
                <a:gd name="connsiteY3" fmla="*/ 0 h 515623"/>
                <a:gd name="connsiteX4" fmla="*/ 50588 w 190971"/>
                <a:gd name="connsiteY4" fmla="*/ 16799 h 515623"/>
                <a:gd name="connsiteX5" fmla="*/ 50588 w 190971"/>
                <a:gd name="connsiteY5" fmla="*/ 89394 h 515623"/>
                <a:gd name="connsiteX6" fmla="*/ 95 w 190971"/>
                <a:gd name="connsiteY6" fmla="*/ 89037 h 515623"/>
                <a:gd name="connsiteX7" fmla="*/ 0 w 190971"/>
                <a:gd name="connsiteY7" fmla="*/ 101769 h 515623"/>
                <a:gd name="connsiteX8" fmla="*/ 50588 w 190971"/>
                <a:gd name="connsiteY8" fmla="*/ 102131 h 515623"/>
                <a:gd name="connsiteX9" fmla="*/ 50588 w 190971"/>
                <a:gd name="connsiteY9" fmla="*/ 285706 h 515623"/>
                <a:gd name="connsiteX10" fmla="*/ 86625 w 190971"/>
                <a:gd name="connsiteY10" fmla="*/ 321742 h 515623"/>
                <a:gd name="connsiteX11" fmla="*/ 122661 w 190971"/>
                <a:gd name="connsiteY11" fmla="*/ 285706 h 515623"/>
                <a:gd name="connsiteX12" fmla="*/ 122661 w 190971"/>
                <a:gd name="connsiteY12" fmla="*/ 102641 h 515623"/>
                <a:gd name="connsiteX13" fmla="*/ 181569 w 190971"/>
                <a:gd name="connsiteY13" fmla="*/ 103061 h 515623"/>
                <a:gd name="connsiteX14" fmla="*/ 183963 w 190971"/>
                <a:gd name="connsiteY14" fmla="*/ 521008 h 515623"/>
                <a:gd name="connsiteX15" fmla="*/ 196694 w 190971"/>
                <a:gd name="connsiteY15" fmla="*/ 520938 h 515623"/>
                <a:gd name="connsiteX16" fmla="*/ 194231 w 190971"/>
                <a:gd name="connsiteY16" fmla="*/ 90419 h 515623"/>
                <a:gd name="connsiteX17" fmla="*/ 63320 w 190971"/>
                <a:gd name="connsiteY17" fmla="*/ 16799 h 515623"/>
                <a:gd name="connsiteX18" fmla="*/ 67387 w 190971"/>
                <a:gd name="connsiteY18" fmla="*/ 12731 h 515623"/>
                <a:gd name="connsiteX19" fmla="*/ 105862 w 190971"/>
                <a:gd name="connsiteY19" fmla="*/ 12731 h 515623"/>
                <a:gd name="connsiteX20" fmla="*/ 109930 w 190971"/>
                <a:gd name="connsiteY20" fmla="*/ 16799 h 515623"/>
                <a:gd name="connsiteX21" fmla="*/ 109930 w 190971"/>
                <a:gd name="connsiteY21" fmla="*/ 89820 h 515623"/>
                <a:gd name="connsiteX22" fmla="*/ 63320 w 190971"/>
                <a:gd name="connsiteY22" fmla="*/ 89489 h 515623"/>
                <a:gd name="connsiteX23" fmla="*/ 109930 w 190971"/>
                <a:gd name="connsiteY23" fmla="*/ 285706 h 515623"/>
                <a:gd name="connsiteX24" fmla="*/ 86625 w 190971"/>
                <a:gd name="connsiteY24" fmla="*/ 309011 h 515623"/>
                <a:gd name="connsiteX25" fmla="*/ 63320 w 190971"/>
                <a:gd name="connsiteY25" fmla="*/ 285706 h 515623"/>
                <a:gd name="connsiteX26" fmla="*/ 63320 w 190971"/>
                <a:gd name="connsiteY26" fmla="*/ 102221 h 515623"/>
                <a:gd name="connsiteX27" fmla="*/ 109930 w 190971"/>
                <a:gd name="connsiteY27" fmla="*/ 102552 h 51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0971" h="515623">
                  <a:moveTo>
                    <a:pt x="122661" y="89909"/>
                  </a:moveTo>
                  <a:lnTo>
                    <a:pt x="122661" y="16799"/>
                  </a:lnTo>
                  <a:cubicBezTo>
                    <a:pt x="122655" y="7524"/>
                    <a:pt x="115137" y="12"/>
                    <a:pt x="105862" y="0"/>
                  </a:cubicBezTo>
                  <a:lnTo>
                    <a:pt x="67387" y="0"/>
                  </a:lnTo>
                  <a:cubicBezTo>
                    <a:pt x="58113" y="12"/>
                    <a:pt x="50601" y="7524"/>
                    <a:pt x="50588" y="16799"/>
                  </a:cubicBezTo>
                  <a:lnTo>
                    <a:pt x="50588" y="89394"/>
                  </a:lnTo>
                  <a:lnTo>
                    <a:pt x="95" y="89037"/>
                  </a:lnTo>
                  <a:lnTo>
                    <a:pt x="0" y="101769"/>
                  </a:lnTo>
                  <a:lnTo>
                    <a:pt x="50588" y="102131"/>
                  </a:lnTo>
                  <a:lnTo>
                    <a:pt x="50588" y="285706"/>
                  </a:lnTo>
                  <a:cubicBezTo>
                    <a:pt x="50588" y="305605"/>
                    <a:pt x="66725" y="321742"/>
                    <a:pt x="86625" y="321742"/>
                  </a:cubicBezTo>
                  <a:cubicBezTo>
                    <a:pt x="106530" y="321742"/>
                    <a:pt x="122661" y="305605"/>
                    <a:pt x="122661" y="285706"/>
                  </a:cubicBezTo>
                  <a:lnTo>
                    <a:pt x="122661" y="102641"/>
                  </a:lnTo>
                  <a:lnTo>
                    <a:pt x="181569" y="103061"/>
                  </a:lnTo>
                  <a:lnTo>
                    <a:pt x="183963" y="521008"/>
                  </a:lnTo>
                  <a:lnTo>
                    <a:pt x="196694" y="520938"/>
                  </a:lnTo>
                  <a:lnTo>
                    <a:pt x="194231" y="90419"/>
                  </a:lnTo>
                  <a:close/>
                  <a:moveTo>
                    <a:pt x="63320" y="16799"/>
                  </a:moveTo>
                  <a:cubicBezTo>
                    <a:pt x="63320" y="14552"/>
                    <a:pt x="65140" y="12731"/>
                    <a:pt x="67387" y="12731"/>
                  </a:cubicBezTo>
                  <a:lnTo>
                    <a:pt x="105862" y="12731"/>
                  </a:lnTo>
                  <a:cubicBezTo>
                    <a:pt x="108109" y="12731"/>
                    <a:pt x="109930" y="14552"/>
                    <a:pt x="109930" y="16799"/>
                  </a:cubicBezTo>
                  <a:lnTo>
                    <a:pt x="109930" y="89820"/>
                  </a:lnTo>
                  <a:lnTo>
                    <a:pt x="63320" y="89489"/>
                  </a:lnTo>
                  <a:close/>
                  <a:moveTo>
                    <a:pt x="109930" y="285706"/>
                  </a:moveTo>
                  <a:cubicBezTo>
                    <a:pt x="109930" y="298578"/>
                    <a:pt x="99496" y="309011"/>
                    <a:pt x="86625" y="309011"/>
                  </a:cubicBezTo>
                  <a:cubicBezTo>
                    <a:pt x="73753" y="309011"/>
                    <a:pt x="63320" y="298578"/>
                    <a:pt x="63320" y="285706"/>
                  </a:cubicBezTo>
                  <a:lnTo>
                    <a:pt x="63320" y="102221"/>
                  </a:lnTo>
                  <a:lnTo>
                    <a:pt x="109930" y="102552"/>
                  </a:lnTo>
                  <a:close/>
                </a:path>
              </a:pathLst>
            </a:custGeom>
            <a:solidFill>
              <a:srgbClr val="001965"/>
            </a:solidFill>
            <a:ln w="6362"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5964B78A-7AAB-42B4-9BB8-BB3687C100F4}"/>
                </a:ext>
              </a:extLst>
            </p:cNvPr>
            <p:cNvSpPr/>
            <p:nvPr/>
          </p:nvSpPr>
          <p:spPr>
            <a:xfrm>
              <a:off x="7012785" y="2266051"/>
              <a:ext cx="133680" cy="133680"/>
            </a:xfrm>
            <a:custGeom>
              <a:avLst/>
              <a:gdLst>
                <a:gd name="connsiteX0" fmla="*/ 339 w 133680"/>
                <a:gd name="connsiteY0" fmla="*/ 75293 h 133680"/>
                <a:gd name="connsiteX1" fmla="*/ 69178 w 133680"/>
                <a:gd name="connsiteY1" fmla="*/ 136977 h 133680"/>
                <a:gd name="connsiteX2" fmla="*/ 76161 w 133680"/>
                <a:gd name="connsiteY2" fmla="*/ 136633 h 133680"/>
                <a:gd name="connsiteX3" fmla="*/ 136635 w 133680"/>
                <a:gd name="connsiteY3" fmla="*/ 60906 h 133680"/>
                <a:gd name="connsiteX4" fmla="*/ 60909 w 133680"/>
                <a:gd name="connsiteY4" fmla="*/ 432 h 133680"/>
                <a:gd name="connsiteX5" fmla="*/ 339 w 133680"/>
                <a:gd name="connsiteY5" fmla="*/ 75293 h 133680"/>
                <a:gd name="connsiteX6" fmla="*/ 74901 w 133680"/>
                <a:gd name="connsiteY6" fmla="*/ 123959 h 133680"/>
                <a:gd name="connsiteX7" fmla="*/ 13013 w 133680"/>
                <a:gd name="connsiteY7" fmla="*/ 74039 h 133680"/>
                <a:gd name="connsiteX8" fmla="*/ 25356 w 133680"/>
                <a:gd name="connsiteY8" fmla="*/ 33553 h 133680"/>
                <a:gd name="connsiteX9" fmla="*/ 103839 w 133680"/>
                <a:gd name="connsiteY9" fmla="*/ 112545 h 133680"/>
                <a:gd name="connsiteX10" fmla="*/ 74901 w 133680"/>
                <a:gd name="connsiteY10" fmla="*/ 123959 h 133680"/>
                <a:gd name="connsiteX11" fmla="*/ 63888 w 133680"/>
                <a:gd name="connsiteY11" fmla="*/ 12928 h 133680"/>
                <a:gd name="connsiteX12" fmla="*/ 69605 w 133680"/>
                <a:gd name="connsiteY12" fmla="*/ 12642 h 133680"/>
                <a:gd name="connsiteX13" fmla="*/ 125775 w 133680"/>
                <a:gd name="connsiteY13" fmla="*/ 62854 h 133680"/>
                <a:gd name="connsiteX14" fmla="*/ 113082 w 133680"/>
                <a:gd name="connsiteY14" fmla="*/ 103786 h 133680"/>
                <a:gd name="connsiteX15" fmla="*/ 34491 w 133680"/>
                <a:gd name="connsiteY15" fmla="*/ 24679 h 133680"/>
                <a:gd name="connsiteX16" fmla="*/ 63888 w 133680"/>
                <a:gd name="connsiteY16" fmla="*/ 12928 h 13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3680" h="133680">
                  <a:moveTo>
                    <a:pt x="339" y="75293"/>
                  </a:moveTo>
                  <a:cubicBezTo>
                    <a:pt x="4076" y="110464"/>
                    <a:pt x="33810" y="137111"/>
                    <a:pt x="69178" y="136977"/>
                  </a:cubicBezTo>
                  <a:cubicBezTo>
                    <a:pt x="71489" y="136977"/>
                    <a:pt x="73819" y="136862"/>
                    <a:pt x="76161" y="136633"/>
                  </a:cubicBezTo>
                  <a:cubicBezTo>
                    <a:pt x="113770" y="132419"/>
                    <a:pt x="140843" y="98515"/>
                    <a:pt x="136635" y="60906"/>
                  </a:cubicBezTo>
                  <a:cubicBezTo>
                    <a:pt x="132421" y="23298"/>
                    <a:pt x="98518" y="-3782"/>
                    <a:pt x="60909" y="432"/>
                  </a:cubicBezTo>
                  <a:cubicBezTo>
                    <a:pt x="23631" y="4602"/>
                    <a:pt x="-3360" y="37971"/>
                    <a:pt x="339" y="75293"/>
                  </a:cubicBezTo>
                  <a:close/>
                  <a:moveTo>
                    <a:pt x="74901" y="123959"/>
                  </a:moveTo>
                  <a:cubicBezTo>
                    <a:pt x="44033" y="127231"/>
                    <a:pt x="16349" y="104900"/>
                    <a:pt x="13013" y="74039"/>
                  </a:cubicBezTo>
                  <a:cubicBezTo>
                    <a:pt x="11574" y="59436"/>
                    <a:pt x="16018" y="44865"/>
                    <a:pt x="25356" y="33553"/>
                  </a:cubicBezTo>
                  <a:lnTo>
                    <a:pt x="103839" y="112545"/>
                  </a:lnTo>
                  <a:cubicBezTo>
                    <a:pt x="95443" y="118968"/>
                    <a:pt x="85423" y="122921"/>
                    <a:pt x="74901" y="123959"/>
                  </a:cubicBezTo>
                  <a:close/>
                  <a:moveTo>
                    <a:pt x="63888" y="12928"/>
                  </a:moveTo>
                  <a:cubicBezTo>
                    <a:pt x="65785" y="12737"/>
                    <a:pt x="67695" y="12642"/>
                    <a:pt x="69605" y="12642"/>
                  </a:cubicBezTo>
                  <a:cubicBezTo>
                    <a:pt x="98435" y="12495"/>
                    <a:pt x="122701" y="34190"/>
                    <a:pt x="125775" y="62854"/>
                  </a:cubicBezTo>
                  <a:cubicBezTo>
                    <a:pt x="127233" y="77648"/>
                    <a:pt x="122656" y="92410"/>
                    <a:pt x="113082" y="103786"/>
                  </a:cubicBezTo>
                  <a:lnTo>
                    <a:pt x="34491" y="24679"/>
                  </a:lnTo>
                  <a:cubicBezTo>
                    <a:pt x="42983" y="18065"/>
                    <a:pt x="53174" y="13985"/>
                    <a:pt x="63888" y="12928"/>
                  </a:cubicBezTo>
                  <a:close/>
                </a:path>
              </a:pathLst>
            </a:custGeom>
            <a:solidFill>
              <a:srgbClr val="001965"/>
            </a:solidFill>
            <a:ln w="6362"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54EB1D60-E798-4216-8E34-2DA47F340154}"/>
                </a:ext>
              </a:extLst>
            </p:cNvPr>
            <p:cNvSpPr/>
            <p:nvPr/>
          </p:nvSpPr>
          <p:spPr>
            <a:xfrm>
              <a:off x="6896508" y="2380317"/>
              <a:ext cx="190972" cy="152777"/>
            </a:xfrm>
            <a:custGeom>
              <a:avLst/>
              <a:gdLst>
                <a:gd name="connsiteX0" fmla="*/ 167949 w 190971"/>
                <a:gd name="connsiteY0" fmla="*/ 64597 h 152777"/>
                <a:gd name="connsiteX1" fmla="*/ 79631 w 190971"/>
                <a:gd name="connsiteY1" fmla="*/ 8127 h 152777"/>
                <a:gd name="connsiteX2" fmla="*/ 8366 w 190971"/>
                <a:gd name="connsiteY2" fmla="*/ 23213 h 152777"/>
                <a:gd name="connsiteX3" fmla="*/ 22689 w 190971"/>
                <a:gd name="connsiteY3" fmla="*/ 93205 h 152777"/>
                <a:gd name="connsiteX4" fmla="*/ 23479 w 190971"/>
                <a:gd name="connsiteY4" fmla="*/ 93714 h 152777"/>
                <a:gd name="connsiteX5" fmla="*/ 111803 w 190971"/>
                <a:gd name="connsiteY5" fmla="*/ 150178 h 152777"/>
                <a:gd name="connsiteX6" fmla="*/ 183061 w 190971"/>
                <a:gd name="connsiteY6" fmla="*/ 135097 h 152777"/>
                <a:gd name="connsiteX7" fmla="*/ 168732 w 190971"/>
                <a:gd name="connsiteY7" fmla="*/ 65100 h 152777"/>
                <a:gd name="connsiteX8" fmla="*/ 167949 w 190971"/>
                <a:gd name="connsiteY8" fmla="*/ 64597 h 152777"/>
                <a:gd name="connsiteX9" fmla="*/ 13555 w 190971"/>
                <a:gd name="connsiteY9" fmla="*/ 58874 h 152777"/>
                <a:gd name="connsiteX10" fmla="*/ 18997 w 190971"/>
                <a:gd name="connsiteY10" fmla="*/ 30209 h 152777"/>
                <a:gd name="connsiteX11" fmla="*/ 72775 w 190971"/>
                <a:gd name="connsiteY11" fmla="*/ 18859 h 152777"/>
                <a:gd name="connsiteX12" fmla="*/ 111510 w 190971"/>
                <a:gd name="connsiteY12" fmla="*/ 43628 h 152777"/>
                <a:gd name="connsiteX13" fmla="*/ 69185 w 190971"/>
                <a:gd name="connsiteY13" fmla="*/ 107820 h 152777"/>
                <a:gd name="connsiteX14" fmla="*/ 30334 w 190971"/>
                <a:gd name="connsiteY14" fmla="*/ 82981 h 152777"/>
                <a:gd name="connsiteX15" fmla="*/ 13555 w 190971"/>
                <a:gd name="connsiteY15" fmla="*/ 58874 h 152777"/>
                <a:gd name="connsiteX16" fmla="*/ 172430 w 190971"/>
                <a:gd name="connsiteY16" fmla="*/ 128095 h 152777"/>
                <a:gd name="connsiteX17" fmla="*/ 118659 w 190971"/>
                <a:gd name="connsiteY17" fmla="*/ 139445 h 152777"/>
                <a:gd name="connsiteX18" fmla="*/ 79917 w 190971"/>
                <a:gd name="connsiteY18" fmla="*/ 114683 h 152777"/>
                <a:gd name="connsiteX19" fmla="*/ 122243 w 190971"/>
                <a:gd name="connsiteY19" fmla="*/ 50484 h 152777"/>
                <a:gd name="connsiteX20" fmla="*/ 161093 w 190971"/>
                <a:gd name="connsiteY20" fmla="*/ 75323 h 152777"/>
                <a:gd name="connsiteX21" fmla="*/ 172844 w 190971"/>
                <a:gd name="connsiteY21" fmla="*/ 127459 h 152777"/>
                <a:gd name="connsiteX22" fmla="*/ 172430 w 190971"/>
                <a:gd name="connsiteY22" fmla="*/ 128095 h 152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0971" h="152777">
                  <a:moveTo>
                    <a:pt x="167949" y="64597"/>
                  </a:moveTo>
                  <a:lnTo>
                    <a:pt x="79631" y="8127"/>
                  </a:lnTo>
                  <a:cubicBezTo>
                    <a:pt x="55727" y="-7062"/>
                    <a:pt x="24064" y="-359"/>
                    <a:pt x="8366" y="23213"/>
                  </a:cubicBezTo>
                  <a:cubicBezTo>
                    <a:pt x="-7007" y="46493"/>
                    <a:pt x="-596" y="77831"/>
                    <a:pt x="22689" y="93205"/>
                  </a:cubicBezTo>
                  <a:cubicBezTo>
                    <a:pt x="22950" y="93376"/>
                    <a:pt x="23212" y="93542"/>
                    <a:pt x="23479" y="93714"/>
                  </a:cubicBezTo>
                  <a:lnTo>
                    <a:pt x="111803" y="150178"/>
                  </a:lnTo>
                  <a:cubicBezTo>
                    <a:pt x="135700" y="165379"/>
                    <a:pt x="167370" y="158676"/>
                    <a:pt x="183061" y="135097"/>
                  </a:cubicBezTo>
                  <a:cubicBezTo>
                    <a:pt x="198434" y="111812"/>
                    <a:pt x="192018" y="80473"/>
                    <a:pt x="168732" y="65100"/>
                  </a:cubicBezTo>
                  <a:cubicBezTo>
                    <a:pt x="168477" y="64928"/>
                    <a:pt x="168216" y="64762"/>
                    <a:pt x="167949" y="64597"/>
                  </a:cubicBezTo>
                  <a:close/>
                  <a:moveTo>
                    <a:pt x="13555" y="58874"/>
                  </a:moveTo>
                  <a:cubicBezTo>
                    <a:pt x="11435" y="48976"/>
                    <a:pt x="13396" y="38644"/>
                    <a:pt x="18997" y="30209"/>
                  </a:cubicBezTo>
                  <a:cubicBezTo>
                    <a:pt x="30850" y="12424"/>
                    <a:pt x="54747" y="7382"/>
                    <a:pt x="72775" y="18859"/>
                  </a:cubicBezTo>
                  <a:lnTo>
                    <a:pt x="111510" y="43628"/>
                  </a:lnTo>
                  <a:lnTo>
                    <a:pt x="69185" y="107820"/>
                  </a:lnTo>
                  <a:lnTo>
                    <a:pt x="30334" y="82981"/>
                  </a:lnTo>
                  <a:cubicBezTo>
                    <a:pt x="21722" y="77539"/>
                    <a:pt x="15668" y="68843"/>
                    <a:pt x="13555" y="58874"/>
                  </a:cubicBezTo>
                  <a:close/>
                  <a:moveTo>
                    <a:pt x="172430" y="128095"/>
                  </a:moveTo>
                  <a:cubicBezTo>
                    <a:pt x="160584" y="145881"/>
                    <a:pt x="136687" y="150922"/>
                    <a:pt x="118659" y="139445"/>
                  </a:cubicBezTo>
                  <a:lnTo>
                    <a:pt x="79917" y="114683"/>
                  </a:lnTo>
                  <a:lnTo>
                    <a:pt x="122243" y="50484"/>
                  </a:lnTo>
                  <a:lnTo>
                    <a:pt x="161093" y="75323"/>
                  </a:lnTo>
                  <a:cubicBezTo>
                    <a:pt x="178739" y="86476"/>
                    <a:pt x="183997" y="109819"/>
                    <a:pt x="172844" y="127459"/>
                  </a:cubicBezTo>
                  <a:cubicBezTo>
                    <a:pt x="172710" y="127675"/>
                    <a:pt x="172570" y="127885"/>
                    <a:pt x="172430" y="128095"/>
                  </a:cubicBezTo>
                  <a:close/>
                </a:path>
              </a:pathLst>
            </a:custGeom>
            <a:solidFill>
              <a:srgbClr val="001965"/>
            </a:solidFill>
            <a:ln w="6362"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17097A14-755F-4600-B063-0592AF175D2A}"/>
                </a:ext>
              </a:extLst>
            </p:cNvPr>
            <p:cNvSpPr/>
            <p:nvPr/>
          </p:nvSpPr>
          <p:spPr>
            <a:xfrm>
              <a:off x="6199796" y="2350695"/>
              <a:ext cx="1164926" cy="846640"/>
            </a:xfrm>
            <a:custGeom>
              <a:avLst/>
              <a:gdLst>
                <a:gd name="connsiteX0" fmla="*/ 938268 w 1164926"/>
                <a:gd name="connsiteY0" fmla="*/ 385998 h 846640"/>
                <a:gd name="connsiteX1" fmla="*/ 900818 w 1164926"/>
                <a:gd name="connsiteY1" fmla="*/ 444429 h 846640"/>
                <a:gd name="connsiteX2" fmla="*/ 856137 w 1164926"/>
                <a:gd name="connsiteY2" fmla="*/ 514694 h 846640"/>
                <a:gd name="connsiteX3" fmla="*/ 822749 w 1164926"/>
                <a:gd name="connsiteY3" fmla="*/ 576333 h 846640"/>
                <a:gd name="connsiteX4" fmla="*/ 845659 w 1164926"/>
                <a:gd name="connsiteY4" fmla="*/ 657076 h 846640"/>
                <a:gd name="connsiteX5" fmla="*/ 666611 w 1164926"/>
                <a:gd name="connsiteY5" fmla="*/ 808262 h 846640"/>
                <a:gd name="connsiteX6" fmla="*/ 478898 w 1164926"/>
                <a:gd name="connsiteY6" fmla="*/ 805919 h 846640"/>
                <a:gd name="connsiteX7" fmla="*/ 423491 w 1164926"/>
                <a:gd name="connsiteY7" fmla="*/ 733528 h 846640"/>
                <a:gd name="connsiteX8" fmla="*/ 409232 w 1164926"/>
                <a:gd name="connsiteY8" fmla="*/ 710159 h 846640"/>
                <a:gd name="connsiteX9" fmla="*/ 319946 w 1164926"/>
                <a:gd name="connsiteY9" fmla="*/ 675250 h 846640"/>
                <a:gd name="connsiteX10" fmla="*/ 235251 w 1164926"/>
                <a:gd name="connsiteY10" fmla="*/ 697810 h 846640"/>
                <a:gd name="connsiteX11" fmla="*/ 94027 w 1164926"/>
                <a:gd name="connsiteY11" fmla="*/ 666503 h 846640"/>
                <a:gd name="connsiteX12" fmla="*/ 76553 w 1164926"/>
                <a:gd name="connsiteY12" fmla="*/ 473998 h 846640"/>
                <a:gd name="connsiteX13" fmla="*/ 129261 w 1164926"/>
                <a:gd name="connsiteY13" fmla="*/ 450814 h 846640"/>
                <a:gd name="connsiteX14" fmla="*/ 136092 w 1164926"/>
                <a:gd name="connsiteY14" fmla="*/ 452176 h 846640"/>
                <a:gd name="connsiteX15" fmla="*/ 298188 w 1164926"/>
                <a:gd name="connsiteY15" fmla="*/ 405528 h 846640"/>
                <a:gd name="connsiteX16" fmla="*/ 294623 w 1164926"/>
                <a:gd name="connsiteY16" fmla="*/ 254781 h 846640"/>
                <a:gd name="connsiteX17" fmla="*/ 360808 w 1164926"/>
                <a:gd name="connsiteY17" fmla="*/ 238027 h 846640"/>
                <a:gd name="connsiteX18" fmla="*/ 358179 w 1164926"/>
                <a:gd name="connsiteY18" fmla="*/ 231317 h 846640"/>
                <a:gd name="connsiteX19" fmla="*/ 228242 w 1164926"/>
                <a:gd name="connsiteY19" fmla="*/ 72174 h 846640"/>
                <a:gd name="connsiteX20" fmla="*/ 136009 w 1164926"/>
                <a:gd name="connsiteY20" fmla="*/ 8982 h 846640"/>
                <a:gd name="connsiteX21" fmla="*/ 119694 w 1164926"/>
                <a:gd name="connsiteY21" fmla="*/ 0 h 846640"/>
                <a:gd name="connsiteX22" fmla="*/ 127097 w 1164926"/>
                <a:gd name="connsiteY22" fmla="*/ 17086 h 846640"/>
                <a:gd name="connsiteX23" fmla="*/ 94867 w 1164926"/>
                <a:gd name="connsiteY23" fmla="*/ 213054 h 846640"/>
                <a:gd name="connsiteX24" fmla="*/ 78246 w 1164926"/>
                <a:gd name="connsiteY24" fmla="*/ 199113 h 846640"/>
                <a:gd name="connsiteX25" fmla="*/ 18491 w 1164926"/>
                <a:gd name="connsiteY25" fmla="*/ 201914 h 846640"/>
                <a:gd name="connsiteX26" fmla="*/ 158 w 1164926"/>
                <a:gd name="connsiteY26" fmla="*/ 230203 h 846640"/>
                <a:gd name="connsiteX27" fmla="*/ 37888 w 1164926"/>
                <a:gd name="connsiteY27" fmla="*/ 300844 h 846640"/>
                <a:gd name="connsiteX28" fmla="*/ 46583 w 1164926"/>
                <a:gd name="connsiteY28" fmla="*/ 291550 h 846640"/>
                <a:gd name="connsiteX29" fmla="*/ 12839 w 1164926"/>
                <a:gd name="connsiteY29" fmla="*/ 231349 h 846640"/>
                <a:gd name="connsiteX30" fmla="*/ 25360 w 1164926"/>
                <a:gd name="connsiteY30" fmla="*/ 212628 h 846640"/>
                <a:gd name="connsiteX31" fmla="*/ 89399 w 1164926"/>
                <a:gd name="connsiteY31" fmla="*/ 226658 h 846640"/>
                <a:gd name="connsiteX32" fmla="*/ 93881 w 1164926"/>
                <a:gd name="connsiteY32" fmla="*/ 233666 h 846640"/>
                <a:gd name="connsiteX33" fmla="*/ 99470 w 1164926"/>
                <a:gd name="connsiteY33" fmla="*/ 227504 h 846640"/>
                <a:gd name="connsiteX34" fmla="*/ 145290 w 1164926"/>
                <a:gd name="connsiteY34" fmla="*/ 29289 h 846640"/>
                <a:gd name="connsiteX35" fmla="*/ 343576 w 1164926"/>
                <a:gd name="connsiteY35" fmla="*/ 229255 h 846640"/>
                <a:gd name="connsiteX36" fmla="*/ 280549 w 1164926"/>
                <a:gd name="connsiteY36" fmla="*/ 245214 h 846640"/>
                <a:gd name="connsiteX37" fmla="*/ 281287 w 1164926"/>
                <a:gd name="connsiteY37" fmla="*/ 250822 h 846640"/>
                <a:gd name="connsiteX38" fmla="*/ 286017 w 1164926"/>
                <a:gd name="connsiteY38" fmla="*/ 401760 h 846640"/>
                <a:gd name="connsiteX39" fmla="*/ 138606 w 1164926"/>
                <a:gd name="connsiteY39" fmla="*/ 439699 h 846640"/>
                <a:gd name="connsiteX40" fmla="*/ 131687 w 1164926"/>
                <a:gd name="connsiteY40" fmla="*/ 438318 h 846640"/>
                <a:gd name="connsiteX41" fmla="*/ 66012 w 1164926"/>
                <a:gd name="connsiteY41" fmla="*/ 466855 h 846640"/>
                <a:gd name="connsiteX42" fmla="*/ 83320 w 1164926"/>
                <a:gd name="connsiteY42" fmla="*/ 673378 h 846640"/>
                <a:gd name="connsiteX43" fmla="*/ 238376 w 1164926"/>
                <a:gd name="connsiteY43" fmla="*/ 710153 h 846640"/>
                <a:gd name="connsiteX44" fmla="*/ 323295 w 1164926"/>
                <a:gd name="connsiteY44" fmla="*/ 687536 h 846640"/>
                <a:gd name="connsiteX45" fmla="*/ 398709 w 1164926"/>
                <a:gd name="connsiteY45" fmla="*/ 717321 h 846640"/>
                <a:gd name="connsiteX46" fmla="*/ 412491 w 1164926"/>
                <a:gd name="connsiteY46" fmla="*/ 739938 h 846640"/>
                <a:gd name="connsiteX47" fmla="*/ 471126 w 1164926"/>
                <a:gd name="connsiteY47" fmla="*/ 816002 h 846640"/>
                <a:gd name="connsiteX48" fmla="*/ 558482 w 1164926"/>
                <a:gd name="connsiteY48" fmla="*/ 847659 h 846640"/>
                <a:gd name="connsiteX49" fmla="*/ 671436 w 1164926"/>
                <a:gd name="connsiteY49" fmla="*/ 820051 h 846640"/>
                <a:gd name="connsiteX50" fmla="*/ 854298 w 1164926"/>
                <a:gd name="connsiteY50" fmla="*/ 666300 h 846640"/>
                <a:gd name="connsiteX51" fmla="*/ 876030 w 1164926"/>
                <a:gd name="connsiteY51" fmla="*/ 682010 h 846640"/>
                <a:gd name="connsiteX52" fmla="*/ 1170648 w 1164926"/>
                <a:gd name="connsiteY52" fmla="*/ 597811 h 846640"/>
                <a:gd name="connsiteX53" fmla="*/ 1162755 w 1164926"/>
                <a:gd name="connsiteY53" fmla="*/ 587817 h 846640"/>
                <a:gd name="connsiteX54" fmla="*/ 882135 w 1164926"/>
                <a:gd name="connsiteY54" fmla="*/ 670845 h 846640"/>
                <a:gd name="connsiteX55" fmla="*/ 861701 w 1164926"/>
                <a:gd name="connsiteY55" fmla="*/ 655713 h 846640"/>
                <a:gd name="connsiteX56" fmla="*/ 965532 w 1164926"/>
                <a:gd name="connsiteY56" fmla="*/ 409609 h 846640"/>
                <a:gd name="connsiteX57" fmla="*/ 960185 w 1164926"/>
                <a:gd name="connsiteY57" fmla="*/ 388761 h 846640"/>
                <a:gd name="connsiteX58" fmla="*/ 938268 w 1164926"/>
                <a:gd name="connsiteY58" fmla="*/ 385998 h 846640"/>
                <a:gd name="connsiteX59" fmla="*/ 952673 w 1164926"/>
                <a:gd name="connsiteY59" fmla="*/ 399143 h 846640"/>
                <a:gd name="connsiteX60" fmla="*/ 924759 w 1164926"/>
                <a:gd name="connsiteY60" fmla="*/ 509678 h 846640"/>
                <a:gd name="connsiteX61" fmla="*/ 853279 w 1164926"/>
                <a:gd name="connsiteY61" fmla="*/ 646101 h 846640"/>
                <a:gd name="connsiteX62" fmla="*/ 835423 w 1164926"/>
                <a:gd name="connsiteY62" fmla="*/ 577587 h 846640"/>
                <a:gd name="connsiteX63" fmla="*/ 865438 w 1164926"/>
                <a:gd name="connsiteY63" fmla="*/ 523383 h 846640"/>
                <a:gd name="connsiteX64" fmla="*/ 912875 w 1164926"/>
                <a:gd name="connsiteY64" fmla="*/ 448535 h 846640"/>
                <a:gd name="connsiteX65" fmla="*/ 942660 w 1164926"/>
                <a:gd name="connsiteY65" fmla="*/ 397947 h 846640"/>
                <a:gd name="connsiteX66" fmla="*/ 946187 w 1164926"/>
                <a:gd name="connsiteY66" fmla="*/ 397297 h 846640"/>
                <a:gd name="connsiteX67" fmla="*/ 952673 w 1164926"/>
                <a:gd name="connsiteY67" fmla="*/ 399143 h 846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64926" h="846640">
                  <a:moveTo>
                    <a:pt x="938268" y="385998"/>
                  </a:moveTo>
                  <a:cubicBezTo>
                    <a:pt x="924390" y="391110"/>
                    <a:pt x="912837" y="409125"/>
                    <a:pt x="900818" y="444429"/>
                  </a:cubicBezTo>
                  <a:cubicBezTo>
                    <a:pt x="891677" y="471050"/>
                    <a:pt x="876367" y="495125"/>
                    <a:pt x="856137" y="514694"/>
                  </a:cubicBezTo>
                  <a:cubicBezTo>
                    <a:pt x="840439" y="531487"/>
                    <a:pt x="825620" y="547350"/>
                    <a:pt x="822749" y="576333"/>
                  </a:cubicBezTo>
                  <a:cubicBezTo>
                    <a:pt x="819203" y="605233"/>
                    <a:pt x="827466" y="634344"/>
                    <a:pt x="845659" y="657076"/>
                  </a:cubicBezTo>
                  <a:cubicBezTo>
                    <a:pt x="803206" y="716856"/>
                    <a:pt x="744431" y="776408"/>
                    <a:pt x="666611" y="808262"/>
                  </a:cubicBezTo>
                  <a:cubicBezTo>
                    <a:pt x="555306" y="853840"/>
                    <a:pt x="512847" y="832101"/>
                    <a:pt x="478898" y="805919"/>
                  </a:cubicBezTo>
                  <a:cubicBezTo>
                    <a:pt x="454893" y="787414"/>
                    <a:pt x="437483" y="757539"/>
                    <a:pt x="423491" y="733528"/>
                  </a:cubicBezTo>
                  <a:cubicBezTo>
                    <a:pt x="418449" y="724877"/>
                    <a:pt x="413688" y="716703"/>
                    <a:pt x="409232" y="710159"/>
                  </a:cubicBezTo>
                  <a:cubicBezTo>
                    <a:pt x="390167" y="680425"/>
                    <a:pt x="354130" y="666331"/>
                    <a:pt x="319946" y="675250"/>
                  </a:cubicBezTo>
                  <a:cubicBezTo>
                    <a:pt x="281790" y="685658"/>
                    <a:pt x="253297" y="693246"/>
                    <a:pt x="235251" y="697810"/>
                  </a:cubicBezTo>
                  <a:cubicBezTo>
                    <a:pt x="210819" y="704010"/>
                    <a:pt x="128396" y="720033"/>
                    <a:pt x="94027" y="666503"/>
                  </a:cubicBezTo>
                  <a:cubicBezTo>
                    <a:pt x="48977" y="596315"/>
                    <a:pt x="49766" y="513510"/>
                    <a:pt x="76553" y="473998"/>
                  </a:cubicBezTo>
                  <a:cubicBezTo>
                    <a:pt x="87375" y="455811"/>
                    <a:pt x="108547" y="446498"/>
                    <a:pt x="129261" y="450814"/>
                  </a:cubicBezTo>
                  <a:lnTo>
                    <a:pt x="136092" y="452176"/>
                  </a:lnTo>
                  <a:cubicBezTo>
                    <a:pt x="177685" y="460553"/>
                    <a:pt x="275087" y="480192"/>
                    <a:pt x="298188" y="405528"/>
                  </a:cubicBezTo>
                  <a:cubicBezTo>
                    <a:pt x="308201" y="373139"/>
                    <a:pt x="297596" y="279079"/>
                    <a:pt x="294623" y="254781"/>
                  </a:cubicBezTo>
                  <a:lnTo>
                    <a:pt x="360808" y="238027"/>
                  </a:lnTo>
                  <a:lnTo>
                    <a:pt x="358179" y="231317"/>
                  </a:lnTo>
                  <a:cubicBezTo>
                    <a:pt x="332410" y="165318"/>
                    <a:pt x="273292" y="108345"/>
                    <a:pt x="228242" y="72174"/>
                  </a:cubicBezTo>
                  <a:cubicBezTo>
                    <a:pt x="199169" y="48768"/>
                    <a:pt x="168334" y="27640"/>
                    <a:pt x="136009" y="8982"/>
                  </a:cubicBezTo>
                  <a:lnTo>
                    <a:pt x="119694" y="0"/>
                  </a:lnTo>
                  <a:lnTo>
                    <a:pt x="127097" y="17086"/>
                  </a:lnTo>
                  <a:cubicBezTo>
                    <a:pt x="166985" y="109217"/>
                    <a:pt x="112029" y="190876"/>
                    <a:pt x="94867" y="213054"/>
                  </a:cubicBezTo>
                  <a:cubicBezTo>
                    <a:pt x="90068" y="207586"/>
                    <a:pt x="84466" y="202888"/>
                    <a:pt x="78246" y="199113"/>
                  </a:cubicBezTo>
                  <a:cubicBezTo>
                    <a:pt x="65165" y="191309"/>
                    <a:pt x="44164" y="185459"/>
                    <a:pt x="18491" y="201914"/>
                  </a:cubicBezTo>
                  <a:cubicBezTo>
                    <a:pt x="8160" y="207822"/>
                    <a:pt x="1329" y="218363"/>
                    <a:pt x="158" y="230203"/>
                  </a:cubicBezTo>
                  <a:cubicBezTo>
                    <a:pt x="-2783" y="262427"/>
                    <a:pt x="36226" y="299291"/>
                    <a:pt x="37888" y="300844"/>
                  </a:cubicBezTo>
                  <a:lnTo>
                    <a:pt x="46583" y="291550"/>
                  </a:lnTo>
                  <a:cubicBezTo>
                    <a:pt x="36525" y="282129"/>
                    <a:pt x="10853" y="252948"/>
                    <a:pt x="12839" y="231349"/>
                  </a:cubicBezTo>
                  <a:cubicBezTo>
                    <a:pt x="13704" y="223437"/>
                    <a:pt x="18377" y="216447"/>
                    <a:pt x="25360" y="212628"/>
                  </a:cubicBezTo>
                  <a:cubicBezTo>
                    <a:pt x="63739" y="188037"/>
                    <a:pt x="88374" y="225085"/>
                    <a:pt x="89399" y="226658"/>
                  </a:cubicBezTo>
                  <a:lnTo>
                    <a:pt x="93881" y="233666"/>
                  </a:lnTo>
                  <a:lnTo>
                    <a:pt x="99470" y="227504"/>
                  </a:lnTo>
                  <a:cubicBezTo>
                    <a:pt x="100329" y="226569"/>
                    <a:pt x="180021" y="137016"/>
                    <a:pt x="145290" y="29289"/>
                  </a:cubicBezTo>
                  <a:cubicBezTo>
                    <a:pt x="187087" y="55076"/>
                    <a:pt x="302084" y="132713"/>
                    <a:pt x="343576" y="229255"/>
                  </a:cubicBezTo>
                  <a:lnTo>
                    <a:pt x="280549" y="245214"/>
                  </a:lnTo>
                  <a:lnTo>
                    <a:pt x="281287" y="250822"/>
                  </a:lnTo>
                  <a:cubicBezTo>
                    <a:pt x="281440" y="251993"/>
                    <a:pt x="296502" y="367881"/>
                    <a:pt x="286017" y="401760"/>
                  </a:cubicBezTo>
                  <a:cubicBezTo>
                    <a:pt x="266321" y="465436"/>
                    <a:pt x="180060" y="448045"/>
                    <a:pt x="138606" y="439699"/>
                  </a:cubicBezTo>
                  <a:lnTo>
                    <a:pt x="131687" y="438318"/>
                  </a:lnTo>
                  <a:cubicBezTo>
                    <a:pt x="105269" y="433187"/>
                    <a:pt x="81958" y="443328"/>
                    <a:pt x="66012" y="466855"/>
                  </a:cubicBezTo>
                  <a:cubicBezTo>
                    <a:pt x="28950" y="521518"/>
                    <a:pt x="45705" y="614788"/>
                    <a:pt x="83320" y="673378"/>
                  </a:cubicBezTo>
                  <a:cubicBezTo>
                    <a:pt x="122278" y="734069"/>
                    <a:pt x="211857" y="716869"/>
                    <a:pt x="238376" y="710153"/>
                  </a:cubicBezTo>
                  <a:cubicBezTo>
                    <a:pt x="256493" y="705570"/>
                    <a:pt x="285069" y="697956"/>
                    <a:pt x="323295" y="687536"/>
                  </a:cubicBezTo>
                  <a:cubicBezTo>
                    <a:pt x="352233" y="680101"/>
                    <a:pt x="382668" y="692119"/>
                    <a:pt x="398709" y="717321"/>
                  </a:cubicBezTo>
                  <a:cubicBezTo>
                    <a:pt x="402911" y="723496"/>
                    <a:pt x="407564" y="731485"/>
                    <a:pt x="412491" y="739938"/>
                  </a:cubicBezTo>
                  <a:cubicBezTo>
                    <a:pt x="427037" y="764905"/>
                    <a:pt x="445141" y="795982"/>
                    <a:pt x="471126" y="816002"/>
                  </a:cubicBezTo>
                  <a:cubicBezTo>
                    <a:pt x="495589" y="836551"/>
                    <a:pt x="526539" y="847767"/>
                    <a:pt x="558482" y="847659"/>
                  </a:cubicBezTo>
                  <a:cubicBezTo>
                    <a:pt x="587892" y="847659"/>
                    <a:pt x="623979" y="839479"/>
                    <a:pt x="671436" y="820051"/>
                  </a:cubicBezTo>
                  <a:cubicBezTo>
                    <a:pt x="748289" y="788585"/>
                    <a:pt x="808713" y="730027"/>
                    <a:pt x="854298" y="666300"/>
                  </a:cubicBezTo>
                  <a:cubicBezTo>
                    <a:pt x="860841" y="672436"/>
                    <a:pt x="868149" y="677720"/>
                    <a:pt x="876030" y="682010"/>
                  </a:cubicBezTo>
                  <a:cubicBezTo>
                    <a:pt x="945563" y="720045"/>
                    <a:pt x="1055702" y="688567"/>
                    <a:pt x="1170648" y="597811"/>
                  </a:cubicBezTo>
                  <a:lnTo>
                    <a:pt x="1162755" y="587817"/>
                  </a:lnTo>
                  <a:cubicBezTo>
                    <a:pt x="1051953" y="675313"/>
                    <a:pt x="947039" y="706321"/>
                    <a:pt x="882135" y="670845"/>
                  </a:cubicBezTo>
                  <a:cubicBezTo>
                    <a:pt x="874655" y="666771"/>
                    <a:pt x="867780" y="661678"/>
                    <a:pt x="861701" y="655713"/>
                  </a:cubicBezTo>
                  <a:cubicBezTo>
                    <a:pt x="930202" y="555613"/>
                    <a:pt x="962826" y="445919"/>
                    <a:pt x="965532" y="409609"/>
                  </a:cubicBezTo>
                  <a:cubicBezTo>
                    <a:pt x="966417" y="397756"/>
                    <a:pt x="964812" y="391523"/>
                    <a:pt x="960185" y="388761"/>
                  </a:cubicBezTo>
                  <a:cubicBezTo>
                    <a:pt x="953717" y="384438"/>
                    <a:pt x="945601" y="383420"/>
                    <a:pt x="938268" y="385998"/>
                  </a:cubicBezTo>
                  <a:close/>
                  <a:moveTo>
                    <a:pt x="952673" y="399143"/>
                  </a:moveTo>
                  <a:cubicBezTo>
                    <a:pt x="954691" y="406502"/>
                    <a:pt x="949802" y="445778"/>
                    <a:pt x="924759" y="509678"/>
                  </a:cubicBezTo>
                  <a:cubicBezTo>
                    <a:pt x="905936" y="557605"/>
                    <a:pt x="881969" y="603343"/>
                    <a:pt x="853279" y="646101"/>
                  </a:cubicBezTo>
                  <a:cubicBezTo>
                    <a:pt x="838848" y="626355"/>
                    <a:pt x="832463" y="601866"/>
                    <a:pt x="835423" y="577587"/>
                  </a:cubicBezTo>
                  <a:cubicBezTo>
                    <a:pt x="837861" y="552894"/>
                    <a:pt x="850032" y="539870"/>
                    <a:pt x="865438" y="523383"/>
                  </a:cubicBezTo>
                  <a:cubicBezTo>
                    <a:pt x="886947" y="502542"/>
                    <a:pt x="903205" y="476888"/>
                    <a:pt x="912875" y="448535"/>
                  </a:cubicBezTo>
                  <a:cubicBezTo>
                    <a:pt x="923104" y="418476"/>
                    <a:pt x="933130" y="401460"/>
                    <a:pt x="942660" y="397947"/>
                  </a:cubicBezTo>
                  <a:cubicBezTo>
                    <a:pt x="943787" y="397520"/>
                    <a:pt x="944983" y="397297"/>
                    <a:pt x="946187" y="397297"/>
                  </a:cubicBezTo>
                  <a:cubicBezTo>
                    <a:pt x="948472" y="397361"/>
                    <a:pt x="950700" y="397997"/>
                    <a:pt x="952673" y="399143"/>
                  </a:cubicBezTo>
                  <a:close/>
                </a:path>
              </a:pathLst>
            </a:custGeom>
            <a:solidFill>
              <a:srgbClr val="001965"/>
            </a:solidFill>
            <a:ln w="6362"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BF486DC3-7557-428E-934D-C35196908BE0}"/>
                </a:ext>
              </a:extLst>
            </p:cNvPr>
            <p:cNvSpPr/>
            <p:nvPr/>
          </p:nvSpPr>
          <p:spPr>
            <a:xfrm>
              <a:off x="7269194" y="1945272"/>
              <a:ext cx="159143" cy="267360"/>
            </a:xfrm>
            <a:custGeom>
              <a:avLst/>
              <a:gdLst>
                <a:gd name="connsiteX0" fmla="*/ 151584 w 159142"/>
                <a:gd name="connsiteY0" fmla="*/ 33755 h 267360"/>
                <a:gd name="connsiteX1" fmla="*/ 150438 w 159142"/>
                <a:gd name="connsiteY1" fmla="*/ 13486 h 267360"/>
                <a:gd name="connsiteX2" fmla="*/ 145530 w 159142"/>
                <a:gd name="connsiteY2" fmla="*/ 3561 h 267360"/>
                <a:gd name="connsiteX3" fmla="*/ 135084 w 159142"/>
                <a:gd name="connsiteY3" fmla="*/ 30 h 267360"/>
                <a:gd name="connsiteX4" fmla="*/ 13759 w 159142"/>
                <a:gd name="connsiteY4" fmla="*/ 6887 h 267360"/>
                <a:gd name="connsiteX5" fmla="*/ 16 w 159142"/>
                <a:gd name="connsiteY5" fmla="*/ 21984 h 267360"/>
                <a:gd name="connsiteX6" fmla="*/ 1162 w 159142"/>
                <a:gd name="connsiteY6" fmla="*/ 42259 h 267360"/>
                <a:gd name="connsiteX7" fmla="*/ 15669 w 159142"/>
                <a:gd name="connsiteY7" fmla="*/ 55735 h 267360"/>
                <a:gd name="connsiteX8" fmla="*/ 16516 w 159142"/>
                <a:gd name="connsiteY8" fmla="*/ 55710 h 267360"/>
                <a:gd name="connsiteX9" fmla="*/ 20946 w 159142"/>
                <a:gd name="connsiteY9" fmla="*/ 55462 h 267360"/>
                <a:gd name="connsiteX10" fmla="*/ 21965 w 159142"/>
                <a:gd name="connsiteY10" fmla="*/ 67429 h 267360"/>
                <a:gd name="connsiteX11" fmla="*/ 12244 w 159142"/>
                <a:gd name="connsiteY11" fmla="*/ 94261 h 267360"/>
                <a:gd name="connsiteX12" fmla="*/ 1970 w 159142"/>
                <a:gd name="connsiteY12" fmla="*/ 122060 h 267360"/>
                <a:gd name="connsiteX13" fmla="*/ 7515 w 159142"/>
                <a:gd name="connsiteY13" fmla="*/ 241143 h 267360"/>
                <a:gd name="connsiteX14" fmla="*/ 17305 w 159142"/>
                <a:gd name="connsiteY14" fmla="*/ 262360 h 267360"/>
                <a:gd name="connsiteX15" fmla="*/ 37236 w 159142"/>
                <a:gd name="connsiteY15" fmla="*/ 270375 h 267360"/>
                <a:gd name="connsiteX16" fmla="*/ 38885 w 159142"/>
                <a:gd name="connsiteY16" fmla="*/ 270324 h 267360"/>
                <a:gd name="connsiteX17" fmla="*/ 137535 w 159142"/>
                <a:gd name="connsiteY17" fmla="*/ 264741 h 267360"/>
                <a:gd name="connsiteX18" fmla="*/ 158083 w 159142"/>
                <a:gd name="connsiteY18" fmla="*/ 254397 h 267360"/>
                <a:gd name="connsiteX19" fmla="*/ 165423 w 159142"/>
                <a:gd name="connsiteY19" fmla="*/ 232269 h 267360"/>
                <a:gd name="connsiteX20" fmla="*/ 159942 w 159142"/>
                <a:gd name="connsiteY20" fmla="*/ 114351 h 267360"/>
                <a:gd name="connsiteX21" fmla="*/ 147484 w 159142"/>
                <a:gd name="connsiteY21" fmla="*/ 87742 h 267360"/>
                <a:gd name="connsiteX22" fmla="*/ 135835 w 159142"/>
                <a:gd name="connsiteY22" fmla="*/ 63069 h 267360"/>
                <a:gd name="connsiteX23" fmla="*/ 135039 w 159142"/>
                <a:gd name="connsiteY23" fmla="*/ 49013 h 267360"/>
                <a:gd name="connsiteX24" fmla="*/ 137853 w 159142"/>
                <a:gd name="connsiteY24" fmla="*/ 48854 h 267360"/>
                <a:gd name="connsiteX25" fmla="*/ 151584 w 159142"/>
                <a:gd name="connsiteY25" fmla="*/ 33755 h 267360"/>
                <a:gd name="connsiteX26" fmla="*/ 15809 w 159142"/>
                <a:gd name="connsiteY26" fmla="*/ 145524 h 267360"/>
                <a:gd name="connsiteX27" fmla="*/ 148299 w 159142"/>
                <a:gd name="connsiteY27" fmla="*/ 138038 h 267360"/>
                <a:gd name="connsiteX28" fmla="*/ 151469 w 159142"/>
                <a:gd name="connsiteY28" fmla="*/ 206297 h 267360"/>
                <a:gd name="connsiteX29" fmla="*/ 18985 w 159142"/>
                <a:gd name="connsiteY29" fmla="*/ 213783 h 267360"/>
                <a:gd name="connsiteX30" fmla="*/ 148369 w 159142"/>
                <a:gd name="connsiteY30" fmla="*/ 246166 h 267360"/>
                <a:gd name="connsiteX31" fmla="*/ 136822 w 159142"/>
                <a:gd name="connsiteY31" fmla="*/ 252035 h 267360"/>
                <a:gd name="connsiteX32" fmla="*/ 38165 w 159142"/>
                <a:gd name="connsiteY32" fmla="*/ 257618 h 267360"/>
                <a:gd name="connsiteX33" fmla="*/ 26026 w 159142"/>
                <a:gd name="connsiteY33" fmla="*/ 253085 h 267360"/>
                <a:gd name="connsiteX34" fmla="*/ 20227 w 159142"/>
                <a:gd name="connsiteY34" fmla="*/ 240487 h 267360"/>
                <a:gd name="connsiteX35" fmla="*/ 19578 w 159142"/>
                <a:gd name="connsiteY35" fmla="*/ 226496 h 267360"/>
                <a:gd name="connsiteX36" fmla="*/ 152061 w 159142"/>
                <a:gd name="connsiteY36" fmla="*/ 219010 h 267360"/>
                <a:gd name="connsiteX37" fmla="*/ 152704 w 159142"/>
                <a:gd name="connsiteY37" fmla="*/ 232931 h 267360"/>
                <a:gd name="connsiteX38" fmla="*/ 148369 w 159142"/>
                <a:gd name="connsiteY38" fmla="*/ 246166 h 267360"/>
                <a:gd name="connsiteX39" fmla="*/ 123122 w 159142"/>
                <a:gd name="connsiteY39" fmla="*/ 63794 h 267360"/>
                <a:gd name="connsiteX40" fmla="*/ 138973 w 159142"/>
                <a:gd name="connsiteY40" fmla="*/ 97214 h 267360"/>
                <a:gd name="connsiteX41" fmla="*/ 147223 w 159142"/>
                <a:gd name="connsiteY41" fmla="*/ 114949 h 267360"/>
                <a:gd name="connsiteX42" fmla="*/ 147707 w 159142"/>
                <a:gd name="connsiteY42" fmla="*/ 125319 h 267360"/>
                <a:gd name="connsiteX43" fmla="*/ 15217 w 159142"/>
                <a:gd name="connsiteY43" fmla="*/ 132811 h 267360"/>
                <a:gd name="connsiteX44" fmla="*/ 14689 w 159142"/>
                <a:gd name="connsiteY44" fmla="*/ 121461 h 267360"/>
                <a:gd name="connsiteX45" fmla="*/ 21468 w 159142"/>
                <a:gd name="connsiteY45" fmla="*/ 103039 h 267360"/>
                <a:gd name="connsiteX46" fmla="*/ 34664 w 159142"/>
                <a:gd name="connsiteY46" fmla="*/ 66532 h 267360"/>
                <a:gd name="connsiteX47" fmla="*/ 33665 w 159142"/>
                <a:gd name="connsiteY47" fmla="*/ 54742 h 267360"/>
                <a:gd name="connsiteX48" fmla="*/ 122327 w 159142"/>
                <a:gd name="connsiteY48" fmla="*/ 49732 h 267360"/>
                <a:gd name="connsiteX49" fmla="*/ 15796 w 159142"/>
                <a:gd name="connsiteY49" fmla="*/ 43004 h 267360"/>
                <a:gd name="connsiteX50" fmla="*/ 13874 w 159142"/>
                <a:gd name="connsiteY50" fmla="*/ 41540 h 267360"/>
                <a:gd name="connsiteX51" fmla="*/ 12728 w 159142"/>
                <a:gd name="connsiteY51" fmla="*/ 21271 h 267360"/>
                <a:gd name="connsiteX52" fmla="*/ 14472 w 159142"/>
                <a:gd name="connsiteY52" fmla="*/ 19591 h 267360"/>
                <a:gd name="connsiteX53" fmla="*/ 135803 w 159142"/>
                <a:gd name="connsiteY53" fmla="*/ 12735 h 267360"/>
                <a:gd name="connsiteX54" fmla="*/ 135930 w 159142"/>
                <a:gd name="connsiteY54" fmla="*/ 12735 h 267360"/>
                <a:gd name="connsiteX55" fmla="*/ 137210 w 159142"/>
                <a:gd name="connsiteY55" fmla="*/ 13200 h 267360"/>
                <a:gd name="connsiteX56" fmla="*/ 137725 w 159142"/>
                <a:gd name="connsiteY56" fmla="*/ 14205 h 267360"/>
                <a:gd name="connsiteX57" fmla="*/ 138871 w 159142"/>
                <a:gd name="connsiteY57" fmla="*/ 34467 h 267360"/>
                <a:gd name="connsiteX58" fmla="*/ 137127 w 159142"/>
                <a:gd name="connsiteY58" fmla="*/ 36148 h 267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142" h="267360">
                  <a:moveTo>
                    <a:pt x="151584" y="33755"/>
                  </a:moveTo>
                  <a:lnTo>
                    <a:pt x="150438" y="13486"/>
                  </a:lnTo>
                  <a:cubicBezTo>
                    <a:pt x="150228" y="9648"/>
                    <a:pt x="148458" y="6058"/>
                    <a:pt x="145530" y="3561"/>
                  </a:cubicBezTo>
                  <a:cubicBezTo>
                    <a:pt x="142646" y="1053"/>
                    <a:pt x="138897" y="-216"/>
                    <a:pt x="135084" y="30"/>
                  </a:cubicBezTo>
                  <a:lnTo>
                    <a:pt x="13759" y="6887"/>
                  </a:lnTo>
                  <a:cubicBezTo>
                    <a:pt x="5796" y="7271"/>
                    <a:pt x="-353" y="14027"/>
                    <a:pt x="16" y="21984"/>
                  </a:cubicBezTo>
                  <a:lnTo>
                    <a:pt x="1162" y="42259"/>
                  </a:lnTo>
                  <a:cubicBezTo>
                    <a:pt x="1671" y="49885"/>
                    <a:pt x="8030" y="55793"/>
                    <a:pt x="15669" y="55735"/>
                  </a:cubicBezTo>
                  <a:cubicBezTo>
                    <a:pt x="15949" y="55735"/>
                    <a:pt x="16229" y="55729"/>
                    <a:pt x="16516" y="55710"/>
                  </a:cubicBezTo>
                  <a:lnTo>
                    <a:pt x="20946" y="55462"/>
                  </a:lnTo>
                  <a:lnTo>
                    <a:pt x="21965" y="67429"/>
                  </a:lnTo>
                  <a:cubicBezTo>
                    <a:pt x="22576" y="77334"/>
                    <a:pt x="19056" y="87048"/>
                    <a:pt x="12244" y="94261"/>
                  </a:cubicBezTo>
                  <a:cubicBezTo>
                    <a:pt x="5172" y="101740"/>
                    <a:pt x="1461" y="111779"/>
                    <a:pt x="1970" y="122060"/>
                  </a:cubicBezTo>
                  <a:lnTo>
                    <a:pt x="7515" y="241143"/>
                  </a:lnTo>
                  <a:cubicBezTo>
                    <a:pt x="7922" y="249215"/>
                    <a:pt x="11430" y="256816"/>
                    <a:pt x="17305" y="262360"/>
                  </a:cubicBezTo>
                  <a:cubicBezTo>
                    <a:pt x="22672" y="267491"/>
                    <a:pt x="29807" y="270362"/>
                    <a:pt x="37236" y="270375"/>
                  </a:cubicBezTo>
                  <a:cubicBezTo>
                    <a:pt x="37777" y="270375"/>
                    <a:pt x="38331" y="270355"/>
                    <a:pt x="38885" y="270324"/>
                  </a:cubicBezTo>
                  <a:lnTo>
                    <a:pt x="137535" y="264741"/>
                  </a:lnTo>
                  <a:cubicBezTo>
                    <a:pt x="145524" y="264289"/>
                    <a:pt x="152965" y="260540"/>
                    <a:pt x="158083" y="254397"/>
                  </a:cubicBezTo>
                  <a:cubicBezTo>
                    <a:pt x="163278" y="248241"/>
                    <a:pt x="165906" y="240316"/>
                    <a:pt x="165423" y="232269"/>
                  </a:cubicBezTo>
                  <a:lnTo>
                    <a:pt x="159942" y="114351"/>
                  </a:lnTo>
                  <a:cubicBezTo>
                    <a:pt x="159490" y="104178"/>
                    <a:pt x="155008" y="94611"/>
                    <a:pt x="147484" y="87742"/>
                  </a:cubicBezTo>
                  <a:cubicBezTo>
                    <a:pt x="140520" y="81364"/>
                    <a:pt x="136338" y="72503"/>
                    <a:pt x="135835" y="63069"/>
                  </a:cubicBezTo>
                  <a:lnTo>
                    <a:pt x="135039" y="49013"/>
                  </a:lnTo>
                  <a:lnTo>
                    <a:pt x="137853" y="48854"/>
                  </a:lnTo>
                  <a:cubicBezTo>
                    <a:pt x="145810" y="48459"/>
                    <a:pt x="151946" y="41712"/>
                    <a:pt x="151584" y="33755"/>
                  </a:cubicBezTo>
                  <a:close/>
                  <a:moveTo>
                    <a:pt x="15809" y="145524"/>
                  </a:moveTo>
                  <a:lnTo>
                    <a:pt x="148299" y="138038"/>
                  </a:lnTo>
                  <a:lnTo>
                    <a:pt x="151469" y="206297"/>
                  </a:lnTo>
                  <a:lnTo>
                    <a:pt x="18985" y="213783"/>
                  </a:lnTo>
                  <a:close/>
                  <a:moveTo>
                    <a:pt x="148369" y="246166"/>
                  </a:moveTo>
                  <a:cubicBezTo>
                    <a:pt x="145498" y="249635"/>
                    <a:pt x="141316" y="251761"/>
                    <a:pt x="136822" y="252035"/>
                  </a:cubicBezTo>
                  <a:lnTo>
                    <a:pt x="38165" y="257618"/>
                  </a:lnTo>
                  <a:cubicBezTo>
                    <a:pt x="33665" y="257828"/>
                    <a:pt x="29279" y="256192"/>
                    <a:pt x="26026" y="253085"/>
                  </a:cubicBezTo>
                  <a:cubicBezTo>
                    <a:pt x="22544" y="249788"/>
                    <a:pt x="20469" y="245275"/>
                    <a:pt x="20227" y="240487"/>
                  </a:cubicBezTo>
                  <a:lnTo>
                    <a:pt x="19578" y="226496"/>
                  </a:lnTo>
                  <a:lnTo>
                    <a:pt x="152061" y="219010"/>
                  </a:lnTo>
                  <a:lnTo>
                    <a:pt x="152704" y="232931"/>
                  </a:lnTo>
                  <a:cubicBezTo>
                    <a:pt x="153016" y="237738"/>
                    <a:pt x="151463" y="242480"/>
                    <a:pt x="148369" y="246166"/>
                  </a:cubicBezTo>
                  <a:close/>
                  <a:moveTo>
                    <a:pt x="123122" y="63794"/>
                  </a:moveTo>
                  <a:cubicBezTo>
                    <a:pt x="123823" y="76577"/>
                    <a:pt x="129514" y="88582"/>
                    <a:pt x="138973" y="97214"/>
                  </a:cubicBezTo>
                  <a:cubicBezTo>
                    <a:pt x="143970" y="101798"/>
                    <a:pt x="146937" y="108176"/>
                    <a:pt x="147223" y="114949"/>
                  </a:cubicBezTo>
                  <a:lnTo>
                    <a:pt x="147707" y="125319"/>
                  </a:lnTo>
                  <a:lnTo>
                    <a:pt x="15217" y="132811"/>
                  </a:lnTo>
                  <a:lnTo>
                    <a:pt x="14689" y="121461"/>
                  </a:lnTo>
                  <a:cubicBezTo>
                    <a:pt x="14339" y="114656"/>
                    <a:pt x="16790" y="107998"/>
                    <a:pt x="21468" y="103039"/>
                  </a:cubicBezTo>
                  <a:cubicBezTo>
                    <a:pt x="30730" y="93223"/>
                    <a:pt x="35511" y="80001"/>
                    <a:pt x="34664" y="66532"/>
                  </a:cubicBezTo>
                  <a:lnTo>
                    <a:pt x="33665" y="54742"/>
                  </a:lnTo>
                  <a:lnTo>
                    <a:pt x="122327" y="49732"/>
                  </a:lnTo>
                  <a:close/>
                  <a:moveTo>
                    <a:pt x="15796" y="43004"/>
                  </a:moveTo>
                  <a:cubicBezTo>
                    <a:pt x="14873" y="43093"/>
                    <a:pt x="14033" y="42456"/>
                    <a:pt x="13874" y="41540"/>
                  </a:cubicBezTo>
                  <a:lnTo>
                    <a:pt x="12728" y="21271"/>
                  </a:lnTo>
                  <a:cubicBezTo>
                    <a:pt x="12754" y="20329"/>
                    <a:pt x="13530" y="19584"/>
                    <a:pt x="14472" y="19591"/>
                  </a:cubicBezTo>
                  <a:lnTo>
                    <a:pt x="135803" y="12735"/>
                  </a:lnTo>
                  <a:lnTo>
                    <a:pt x="135930" y="12735"/>
                  </a:lnTo>
                  <a:cubicBezTo>
                    <a:pt x="136395" y="12729"/>
                    <a:pt x="136853" y="12894"/>
                    <a:pt x="137210" y="13200"/>
                  </a:cubicBezTo>
                  <a:cubicBezTo>
                    <a:pt x="137509" y="13448"/>
                    <a:pt x="137700" y="13811"/>
                    <a:pt x="137725" y="14205"/>
                  </a:cubicBezTo>
                  <a:lnTo>
                    <a:pt x="138871" y="34467"/>
                  </a:lnTo>
                  <a:cubicBezTo>
                    <a:pt x="138846" y="35410"/>
                    <a:pt x="138069" y="36154"/>
                    <a:pt x="137127" y="36148"/>
                  </a:cubicBezTo>
                  <a:close/>
                </a:path>
              </a:pathLst>
            </a:custGeom>
            <a:solidFill>
              <a:srgbClr val="001965"/>
            </a:solidFill>
            <a:ln w="6362"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DCAD36C-3FF8-489C-9297-34BF114918EF}"/>
                </a:ext>
              </a:extLst>
            </p:cNvPr>
            <p:cNvSpPr/>
            <p:nvPr/>
          </p:nvSpPr>
          <p:spPr>
            <a:xfrm>
              <a:off x="3430139" y="5205544"/>
              <a:ext cx="203703" cy="203703"/>
            </a:xfrm>
            <a:custGeom>
              <a:avLst/>
              <a:gdLst>
                <a:gd name="connsiteX0" fmla="*/ 49212 w 203702"/>
                <a:gd name="connsiteY0" fmla="*/ 15498 h 203702"/>
                <a:gd name="connsiteX1" fmla="*/ 15465 w 203702"/>
                <a:gd name="connsiteY1" fmla="*/ 158128 h 203702"/>
                <a:gd name="connsiteX2" fmla="*/ 158092 w 203702"/>
                <a:gd name="connsiteY2" fmla="*/ 191873 h 203702"/>
                <a:gd name="connsiteX3" fmla="*/ 191840 w 203702"/>
                <a:gd name="connsiteY3" fmla="*/ 49243 h 203702"/>
                <a:gd name="connsiteX4" fmla="*/ 127499 w 203702"/>
                <a:gd name="connsiteY4" fmla="*/ 2830 h 203702"/>
                <a:gd name="connsiteX5" fmla="*/ 49212 w 203702"/>
                <a:gd name="connsiteY5" fmla="*/ 15498 h 203702"/>
                <a:gd name="connsiteX6" fmla="*/ 180989 w 203702"/>
                <a:gd name="connsiteY6" fmla="*/ 55914 h 203702"/>
                <a:gd name="connsiteX7" fmla="*/ 151308 w 203702"/>
                <a:gd name="connsiteY7" fmla="*/ 180841 h 203702"/>
                <a:gd name="connsiteX8" fmla="*/ 26376 w 203702"/>
                <a:gd name="connsiteY8" fmla="*/ 151164 h 203702"/>
                <a:gd name="connsiteX9" fmla="*/ 56058 w 203702"/>
                <a:gd name="connsiteY9" fmla="*/ 26231 h 203702"/>
                <a:gd name="connsiteX10" fmla="*/ 103479 w 203702"/>
                <a:gd name="connsiteY10" fmla="*/ 12736 h 203702"/>
                <a:gd name="connsiteX11" fmla="*/ 124571 w 203702"/>
                <a:gd name="connsiteY11" fmla="*/ 15218 h 203702"/>
                <a:gd name="connsiteX12" fmla="*/ 180989 w 203702"/>
                <a:gd name="connsiteY12" fmla="*/ 55914 h 203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702" h="203702">
                  <a:moveTo>
                    <a:pt x="49212" y="15498"/>
                  </a:moveTo>
                  <a:cubicBezTo>
                    <a:pt x="507" y="45563"/>
                    <a:pt x="-14602" y="109424"/>
                    <a:pt x="15465" y="158128"/>
                  </a:cubicBezTo>
                  <a:cubicBezTo>
                    <a:pt x="45531" y="206832"/>
                    <a:pt x="109388" y="221938"/>
                    <a:pt x="158092" y="191873"/>
                  </a:cubicBezTo>
                  <a:cubicBezTo>
                    <a:pt x="206797" y="161808"/>
                    <a:pt x="221906" y="97947"/>
                    <a:pt x="191840" y="49243"/>
                  </a:cubicBezTo>
                  <a:cubicBezTo>
                    <a:pt x="177398" y="25849"/>
                    <a:pt x="154254" y="9151"/>
                    <a:pt x="127499" y="2830"/>
                  </a:cubicBezTo>
                  <a:cubicBezTo>
                    <a:pt x="100759" y="-3574"/>
                    <a:pt x="72568" y="991"/>
                    <a:pt x="49212" y="15498"/>
                  </a:cubicBezTo>
                  <a:close/>
                  <a:moveTo>
                    <a:pt x="180989" y="55914"/>
                  </a:moveTo>
                  <a:cubicBezTo>
                    <a:pt x="207292" y="98609"/>
                    <a:pt x="194003" y="154538"/>
                    <a:pt x="151308" y="180841"/>
                  </a:cubicBezTo>
                  <a:cubicBezTo>
                    <a:pt x="108612" y="207144"/>
                    <a:pt x="52679" y="193859"/>
                    <a:pt x="26376" y="151164"/>
                  </a:cubicBezTo>
                  <a:cubicBezTo>
                    <a:pt x="74" y="108470"/>
                    <a:pt x="13363" y="52534"/>
                    <a:pt x="56058" y="26231"/>
                  </a:cubicBezTo>
                  <a:cubicBezTo>
                    <a:pt x="70318" y="17446"/>
                    <a:pt x="86730" y="12774"/>
                    <a:pt x="103479" y="12736"/>
                  </a:cubicBezTo>
                  <a:cubicBezTo>
                    <a:pt x="110582" y="12742"/>
                    <a:pt x="117661" y="13576"/>
                    <a:pt x="124571" y="15218"/>
                  </a:cubicBezTo>
                  <a:cubicBezTo>
                    <a:pt x="148058" y="20699"/>
                    <a:pt x="168374" y="35353"/>
                    <a:pt x="180989" y="55914"/>
                  </a:cubicBezTo>
                  <a:close/>
                </a:path>
              </a:pathLst>
            </a:custGeom>
            <a:solidFill>
              <a:srgbClr val="001965"/>
            </a:solidFill>
            <a:ln w="6362"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797793D9-84D5-4D02-A195-19B3BFC0B5C9}"/>
                </a:ext>
              </a:extLst>
            </p:cNvPr>
            <p:cNvSpPr/>
            <p:nvPr/>
          </p:nvSpPr>
          <p:spPr>
            <a:xfrm>
              <a:off x="3487424" y="5262823"/>
              <a:ext cx="89120" cy="89120"/>
            </a:xfrm>
            <a:custGeom>
              <a:avLst/>
              <a:gdLst>
                <a:gd name="connsiteX0" fmla="*/ 22012 w 89120"/>
                <a:gd name="connsiteY0" fmla="*/ 6935 h 89120"/>
                <a:gd name="connsiteX1" fmla="*/ 6921 w 89120"/>
                <a:gd name="connsiteY1" fmla="*/ 70745 h 89120"/>
                <a:gd name="connsiteX2" fmla="*/ 35703 w 89120"/>
                <a:gd name="connsiteY2" fmla="*/ 91504 h 89120"/>
                <a:gd name="connsiteX3" fmla="*/ 91519 w 89120"/>
                <a:gd name="connsiteY3" fmla="*/ 57103 h 89120"/>
                <a:gd name="connsiteX4" fmla="*/ 57113 w 89120"/>
                <a:gd name="connsiteY4" fmla="*/ 1283 h 89120"/>
                <a:gd name="connsiteX5" fmla="*/ 57039 w 89120"/>
                <a:gd name="connsiteY5" fmla="*/ 1270 h 89120"/>
                <a:gd name="connsiteX6" fmla="*/ 22011 w 89120"/>
                <a:gd name="connsiteY6" fmla="*/ 6935 h 89120"/>
                <a:gd name="connsiteX7" fmla="*/ 79101 w 89120"/>
                <a:gd name="connsiteY7" fmla="*/ 54118 h 89120"/>
                <a:gd name="connsiteX8" fmla="*/ 38635 w 89120"/>
                <a:gd name="connsiteY8" fmla="*/ 79123 h 89120"/>
                <a:gd name="connsiteX9" fmla="*/ 13632 w 89120"/>
                <a:gd name="connsiteY9" fmla="*/ 38656 h 89120"/>
                <a:gd name="connsiteX10" fmla="*/ 54098 w 89120"/>
                <a:gd name="connsiteY10" fmla="*/ 13658 h 89120"/>
                <a:gd name="connsiteX11" fmla="*/ 54110 w 89120"/>
                <a:gd name="connsiteY11" fmla="*/ 13658 h 89120"/>
                <a:gd name="connsiteX12" fmla="*/ 79101 w 89120"/>
                <a:gd name="connsiteY12" fmla="*/ 54118 h 89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120" h="89120">
                  <a:moveTo>
                    <a:pt x="22012" y="6935"/>
                  </a:moveTo>
                  <a:cubicBezTo>
                    <a:pt x="224" y="20392"/>
                    <a:pt x="-6532" y="48955"/>
                    <a:pt x="6921" y="70745"/>
                  </a:cubicBezTo>
                  <a:cubicBezTo>
                    <a:pt x="13382" y="81211"/>
                    <a:pt x="23735" y="88677"/>
                    <a:pt x="35703" y="91504"/>
                  </a:cubicBezTo>
                  <a:cubicBezTo>
                    <a:pt x="60617" y="97418"/>
                    <a:pt x="85607" y="82013"/>
                    <a:pt x="91519" y="57103"/>
                  </a:cubicBezTo>
                  <a:cubicBezTo>
                    <a:pt x="97431" y="32188"/>
                    <a:pt x="82027" y="7196"/>
                    <a:pt x="57113" y="1283"/>
                  </a:cubicBezTo>
                  <a:cubicBezTo>
                    <a:pt x="57088" y="1283"/>
                    <a:pt x="57063" y="1276"/>
                    <a:pt x="57039" y="1270"/>
                  </a:cubicBezTo>
                  <a:cubicBezTo>
                    <a:pt x="45074" y="-1601"/>
                    <a:pt x="32459" y="442"/>
                    <a:pt x="22011" y="6935"/>
                  </a:cubicBezTo>
                  <a:close/>
                  <a:moveTo>
                    <a:pt x="79101" y="54118"/>
                  </a:moveTo>
                  <a:cubicBezTo>
                    <a:pt x="74831" y="72197"/>
                    <a:pt x="56713" y="83394"/>
                    <a:pt x="38635" y="79123"/>
                  </a:cubicBezTo>
                  <a:cubicBezTo>
                    <a:pt x="20556" y="74851"/>
                    <a:pt x="9362" y="56734"/>
                    <a:pt x="13632" y="38656"/>
                  </a:cubicBezTo>
                  <a:cubicBezTo>
                    <a:pt x="17902" y="20577"/>
                    <a:pt x="36020" y="9386"/>
                    <a:pt x="54098" y="13658"/>
                  </a:cubicBezTo>
                  <a:cubicBezTo>
                    <a:pt x="54102" y="13658"/>
                    <a:pt x="54107" y="13658"/>
                    <a:pt x="54110" y="13658"/>
                  </a:cubicBezTo>
                  <a:cubicBezTo>
                    <a:pt x="72171" y="17948"/>
                    <a:pt x="83351" y="36052"/>
                    <a:pt x="79101" y="54118"/>
                  </a:cubicBezTo>
                  <a:close/>
                </a:path>
              </a:pathLst>
            </a:custGeom>
            <a:solidFill>
              <a:srgbClr val="001965"/>
            </a:solidFill>
            <a:ln w="6362"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DD0CADC5-BDF9-4E0B-99C8-D94C342B7B85}"/>
                </a:ext>
              </a:extLst>
            </p:cNvPr>
            <p:cNvSpPr/>
            <p:nvPr/>
          </p:nvSpPr>
          <p:spPr>
            <a:xfrm>
              <a:off x="3305570" y="5211282"/>
              <a:ext cx="57291" cy="57291"/>
            </a:xfrm>
            <a:custGeom>
              <a:avLst/>
              <a:gdLst>
                <a:gd name="connsiteX0" fmla="*/ 36806 w 57291"/>
                <a:gd name="connsiteY0" fmla="*/ 409 h 57291"/>
                <a:gd name="connsiteX1" fmla="*/ 409 w 57291"/>
                <a:gd name="connsiteY1" fmla="*/ 26706 h 57291"/>
                <a:gd name="connsiteX2" fmla="*/ 26705 w 57291"/>
                <a:gd name="connsiteY2" fmla="*/ 63105 h 57291"/>
                <a:gd name="connsiteX3" fmla="*/ 63102 w 57291"/>
                <a:gd name="connsiteY3" fmla="*/ 36808 h 57291"/>
                <a:gd name="connsiteX4" fmla="*/ 37162 w 57291"/>
                <a:gd name="connsiteY4" fmla="*/ 466 h 57291"/>
                <a:gd name="connsiteX5" fmla="*/ 36806 w 57291"/>
                <a:gd name="connsiteY5" fmla="*/ 409 h 57291"/>
                <a:gd name="connsiteX6" fmla="*/ 50533 w 57291"/>
                <a:gd name="connsiteY6" fmla="*/ 34784 h 57291"/>
                <a:gd name="connsiteX7" fmla="*/ 28734 w 57291"/>
                <a:gd name="connsiteY7" fmla="*/ 50533 h 57291"/>
                <a:gd name="connsiteX8" fmla="*/ 12978 w 57291"/>
                <a:gd name="connsiteY8" fmla="*/ 28736 h 57291"/>
                <a:gd name="connsiteX9" fmla="*/ 34777 w 57291"/>
                <a:gd name="connsiteY9" fmla="*/ 12981 h 57291"/>
                <a:gd name="connsiteX10" fmla="*/ 50533 w 57291"/>
                <a:gd name="connsiteY10" fmla="*/ 34777 h 57291"/>
                <a:gd name="connsiteX11" fmla="*/ 50533 w 57291"/>
                <a:gd name="connsiteY11" fmla="*/ 34784 h 57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91" h="57291">
                  <a:moveTo>
                    <a:pt x="36806" y="409"/>
                  </a:moveTo>
                  <a:cubicBezTo>
                    <a:pt x="19494" y="-2379"/>
                    <a:pt x="3199" y="9391"/>
                    <a:pt x="409" y="26706"/>
                  </a:cubicBezTo>
                  <a:cubicBezTo>
                    <a:pt x="-2380" y="44020"/>
                    <a:pt x="9392" y="60317"/>
                    <a:pt x="26705" y="63105"/>
                  </a:cubicBezTo>
                  <a:cubicBezTo>
                    <a:pt x="44017" y="65893"/>
                    <a:pt x="60312" y="54123"/>
                    <a:pt x="63102" y="36808"/>
                  </a:cubicBezTo>
                  <a:cubicBezTo>
                    <a:pt x="65974" y="19608"/>
                    <a:pt x="54360" y="3337"/>
                    <a:pt x="37162" y="466"/>
                  </a:cubicBezTo>
                  <a:cubicBezTo>
                    <a:pt x="37044" y="447"/>
                    <a:pt x="36925" y="428"/>
                    <a:pt x="36806" y="409"/>
                  </a:cubicBezTo>
                  <a:close/>
                  <a:moveTo>
                    <a:pt x="50533" y="34784"/>
                  </a:moveTo>
                  <a:cubicBezTo>
                    <a:pt x="48817" y="45121"/>
                    <a:pt x="39091" y="52149"/>
                    <a:pt x="28734" y="50533"/>
                  </a:cubicBezTo>
                  <a:cubicBezTo>
                    <a:pt x="18364" y="48865"/>
                    <a:pt x="11310" y="39106"/>
                    <a:pt x="12978" y="28736"/>
                  </a:cubicBezTo>
                  <a:cubicBezTo>
                    <a:pt x="14647" y="18367"/>
                    <a:pt x="24407" y="11313"/>
                    <a:pt x="34777" y="12981"/>
                  </a:cubicBezTo>
                  <a:cubicBezTo>
                    <a:pt x="45147" y="14649"/>
                    <a:pt x="52202" y="24408"/>
                    <a:pt x="50533" y="34777"/>
                  </a:cubicBezTo>
                  <a:cubicBezTo>
                    <a:pt x="50533" y="34777"/>
                    <a:pt x="50533" y="34777"/>
                    <a:pt x="50533" y="34784"/>
                  </a:cubicBezTo>
                  <a:close/>
                </a:path>
              </a:pathLst>
            </a:custGeom>
            <a:solidFill>
              <a:srgbClr val="001965"/>
            </a:solidFill>
            <a:ln w="6362"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ADE1F1C9-80CB-4CE9-AC7E-B5AFDD4C1CE4}"/>
                </a:ext>
              </a:extLst>
            </p:cNvPr>
            <p:cNvSpPr/>
            <p:nvPr/>
          </p:nvSpPr>
          <p:spPr>
            <a:xfrm>
              <a:off x="3362577" y="5020528"/>
              <a:ext cx="159143" cy="159143"/>
            </a:xfrm>
            <a:custGeom>
              <a:avLst/>
              <a:gdLst>
                <a:gd name="connsiteX0" fmla="*/ 82565 w 159142"/>
                <a:gd name="connsiteY0" fmla="*/ 165114 h 159142"/>
                <a:gd name="connsiteX1" fmla="*/ 165118 w 159142"/>
                <a:gd name="connsiteY1" fmla="*/ 82550 h 159142"/>
                <a:gd name="connsiteX2" fmla="*/ 82553 w 159142"/>
                <a:gd name="connsiteY2" fmla="*/ 0 h 159142"/>
                <a:gd name="connsiteX3" fmla="*/ 0 w 159142"/>
                <a:gd name="connsiteY3" fmla="*/ 82563 h 159142"/>
                <a:gd name="connsiteX4" fmla="*/ 69392 w 159142"/>
                <a:gd name="connsiteY4" fmla="*/ 164057 h 159142"/>
                <a:gd name="connsiteX5" fmla="*/ 82565 w 159142"/>
                <a:gd name="connsiteY5" fmla="*/ 165114 h 159142"/>
                <a:gd name="connsiteX6" fmla="*/ 13614 w 159142"/>
                <a:gd name="connsiteY6" fmla="*/ 71493 h 159142"/>
                <a:gd name="connsiteX7" fmla="*/ 93609 w 159142"/>
                <a:gd name="connsiteY7" fmla="*/ 13686 h 159142"/>
                <a:gd name="connsiteX8" fmla="*/ 151417 w 159142"/>
                <a:gd name="connsiteY8" fmla="*/ 93684 h 159142"/>
                <a:gd name="connsiteX9" fmla="*/ 71422 w 159142"/>
                <a:gd name="connsiteY9" fmla="*/ 151491 h 159142"/>
                <a:gd name="connsiteX10" fmla="*/ 71419 w 159142"/>
                <a:gd name="connsiteY10" fmla="*/ 151491 h 159142"/>
                <a:gd name="connsiteX11" fmla="*/ 13470 w 159142"/>
                <a:gd name="connsiteY11" fmla="*/ 72391 h 159142"/>
                <a:gd name="connsiteX12" fmla="*/ 13614 w 159142"/>
                <a:gd name="connsiteY12" fmla="*/ 71493 h 159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9142" h="159142">
                  <a:moveTo>
                    <a:pt x="82565" y="165114"/>
                  </a:moveTo>
                  <a:cubicBezTo>
                    <a:pt x="128161" y="165114"/>
                    <a:pt x="165122" y="128148"/>
                    <a:pt x="165118" y="82550"/>
                  </a:cubicBezTo>
                  <a:cubicBezTo>
                    <a:pt x="165115" y="36953"/>
                    <a:pt x="128149" y="-7"/>
                    <a:pt x="82553" y="0"/>
                  </a:cubicBezTo>
                  <a:cubicBezTo>
                    <a:pt x="36957" y="0"/>
                    <a:pt x="-4" y="36966"/>
                    <a:pt x="0" y="82563"/>
                  </a:cubicBezTo>
                  <a:cubicBezTo>
                    <a:pt x="3" y="123075"/>
                    <a:pt x="29399" y="157596"/>
                    <a:pt x="69392" y="164057"/>
                  </a:cubicBezTo>
                  <a:cubicBezTo>
                    <a:pt x="73748" y="164764"/>
                    <a:pt x="78153" y="165114"/>
                    <a:pt x="82565" y="165114"/>
                  </a:cubicBezTo>
                  <a:close/>
                  <a:moveTo>
                    <a:pt x="13614" y="71493"/>
                  </a:moveTo>
                  <a:cubicBezTo>
                    <a:pt x="19741" y="33445"/>
                    <a:pt x="55556" y="7562"/>
                    <a:pt x="93609" y="13686"/>
                  </a:cubicBezTo>
                  <a:cubicBezTo>
                    <a:pt x="131662" y="19816"/>
                    <a:pt x="157544" y="55630"/>
                    <a:pt x="151417" y="93684"/>
                  </a:cubicBezTo>
                  <a:cubicBezTo>
                    <a:pt x="145290" y="131739"/>
                    <a:pt x="109475" y="157615"/>
                    <a:pt x="71422" y="151491"/>
                  </a:cubicBezTo>
                  <a:cubicBezTo>
                    <a:pt x="71421" y="151491"/>
                    <a:pt x="71420" y="151491"/>
                    <a:pt x="71419" y="151491"/>
                  </a:cubicBezTo>
                  <a:cubicBezTo>
                    <a:pt x="33574" y="145648"/>
                    <a:pt x="7630" y="110235"/>
                    <a:pt x="13470" y="72391"/>
                  </a:cubicBezTo>
                  <a:cubicBezTo>
                    <a:pt x="13516" y="72092"/>
                    <a:pt x="13565" y="71792"/>
                    <a:pt x="13614" y="71493"/>
                  </a:cubicBezTo>
                  <a:close/>
                </a:path>
              </a:pathLst>
            </a:custGeom>
            <a:solidFill>
              <a:srgbClr val="001965"/>
            </a:solidFill>
            <a:ln w="6362"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92EB9BC8-4A8B-4E16-B7BC-7A1DE61BD0FF}"/>
                </a:ext>
              </a:extLst>
            </p:cNvPr>
            <p:cNvSpPr/>
            <p:nvPr/>
          </p:nvSpPr>
          <p:spPr>
            <a:xfrm>
              <a:off x="3406361" y="5064337"/>
              <a:ext cx="76389" cy="76389"/>
            </a:xfrm>
            <a:custGeom>
              <a:avLst/>
              <a:gdLst>
                <a:gd name="connsiteX0" fmla="*/ 38749 w 76388"/>
                <a:gd name="connsiteY0" fmla="*/ 77528 h 76388"/>
                <a:gd name="connsiteX1" fmla="*/ 77525 w 76388"/>
                <a:gd name="connsiteY1" fmla="*/ 38774 h 76388"/>
                <a:gd name="connsiteX2" fmla="*/ 38776 w 76388"/>
                <a:gd name="connsiteY2" fmla="*/ 0 h 76388"/>
                <a:gd name="connsiteX3" fmla="*/ 0 w 76388"/>
                <a:gd name="connsiteY3" fmla="*/ 38748 h 76388"/>
                <a:gd name="connsiteX4" fmla="*/ 32573 w 76388"/>
                <a:gd name="connsiteY4" fmla="*/ 77025 h 76388"/>
                <a:gd name="connsiteX5" fmla="*/ 38749 w 76388"/>
                <a:gd name="connsiteY5" fmla="*/ 77528 h 76388"/>
                <a:gd name="connsiteX6" fmla="*/ 13059 w 76388"/>
                <a:gd name="connsiteY6" fmla="*/ 34649 h 76388"/>
                <a:gd name="connsiteX7" fmla="*/ 38677 w 76388"/>
                <a:gd name="connsiteY7" fmla="*/ 12776 h 76388"/>
                <a:gd name="connsiteX8" fmla="*/ 42867 w 76388"/>
                <a:gd name="connsiteY8" fmla="*/ 13107 h 76388"/>
                <a:gd name="connsiteX9" fmla="*/ 64408 w 76388"/>
                <a:gd name="connsiteY9" fmla="*/ 42918 h 76388"/>
                <a:gd name="connsiteX10" fmla="*/ 34600 w 76388"/>
                <a:gd name="connsiteY10" fmla="*/ 64459 h 76388"/>
                <a:gd name="connsiteX11" fmla="*/ 13059 w 76388"/>
                <a:gd name="connsiteY11" fmla="*/ 34649 h 76388"/>
                <a:gd name="connsiteX12" fmla="*/ 13059 w 76388"/>
                <a:gd name="connsiteY12" fmla="*/ 34649 h 7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388" h="76388">
                  <a:moveTo>
                    <a:pt x="38749" y="77528"/>
                  </a:moveTo>
                  <a:cubicBezTo>
                    <a:pt x="60157" y="77535"/>
                    <a:pt x="77517" y="60182"/>
                    <a:pt x="77525" y="38774"/>
                  </a:cubicBezTo>
                  <a:cubicBezTo>
                    <a:pt x="77533" y="17366"/>
                    <a:pt x="60184" y="7"/>
                    <a:pt x="38776" y="0"/>
                  </a:cubicBezTo>
                  <a:cubicBezTo>
                    <a:pt x="17368" y="-6"/>
                    <a:pt x="8" y="17340"/>
                    <a:pt x="0" y="38748"/>
                  </a:cubicBezTo>
                  <a:cubicBezTo>
                    <a:pt x="-6" y="57776"/>
                    <a:pt x="13793" y="73989"/>
                    <a:pt x="32573" y="77025"/>
                  </a:cubicBezTo>
                  <a:cubicBezTo>
                    <a:pt x="34616" y="77356"/>
                    <a:pt x="36681" y="77522"/>
                    <a:pt x="38749" y="77528"/>
                  </a:cubicBezTo>
                  <a:close/>
                  <a:moveTo>
                    <a:pt x="13059" y="34649"/>
                  </a:moveTo>
                  <a:cubicBezTo>
                    <a:pt x="15084" y="22064"/>
                    <a:pt x="25931" y="12802"/>
                    <a:pt x="38677" y="12776"/>
                  </a:cubicBezTo>
                  <a:cubicBezTo>
                    <a:pt x="40081" y="12776"/>
                    <a:pt x="41482" y="12885"/>
                    <a:pt x="42867" y="13107"/>
                  </a:cubicBezTo>
                  <a:cubicBezTo>
                    <a:pt x="57047" y="15392"/>
                    <a:pt x="66692" y="28741"/>
                    <a:pt x="64408" y="42918"/>
                  </a:cubicBezTo>
                  <a:cubicBezTo>
                    <a:pt x="62126" y="57094"/>
                    <a:pt x="48780" y="66738"/>
                    <a:pt x="34600" y="64459"/>
                  </a:cubicBezTo>
                  <a:cubicBezTo>
                    <a:pt x="20421" y="62174"/>
                    <a:pt x="10777" y="48832"/>
                    <a:pt x="13059" y="34649"/>
                  </a:cubicBezTo>
                  <a:cubicBezTo>
                    <a:pt x="13059" y="34649"/>
                    <a:pt x="13059" y="34649"/>
                    <a:pt x="13059" y="34649"/>
                  </a:cubicBezTo>
                  <a:close/>
                </a:path>
              </a:pathLst>
            </a:custGeom>
            <a:solidFill>
              <a:srgbClr val="001965"/>
            </a:solidFill>
            <a:ln w="6362"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1C6C1677-485B-404E-88DE-CF66C816E16E}"/>
                </a:ext>
              </a:extLst>
            </p:cNvPr>
            <p:cNvSpPr/>
            <p:nvPr/>
          </p:nvSpPr>
          <p:spPr>
            <a:xfrm>
              <a:off x="3239931" y="1314190"/>
              <a:ext cx="6537591" cy="4156813"/>
            </a:xfrm>
            <a:custGeom>
              <a:avLst/>
              <a:gdLst>
                <a:gd name="connsiteX0" fmla="*/ 4651719 w 6537591"/>
                <a:gd name="connsiteY0" fmla="*/ 3622062 h 4156813"/>
                <a:gd name="connsiteX1" fmla="*/ 4523845 w 6537591"/>
                <a:gd name="connsiteY1" fmla="*/ 3467706 h 4156813"/>
                <a:gd name="connsiteX2" fmla="*/ 4621221 w 6537591"/>
                <a:gd name="connsiteY2" fmla="*/ 3375537 h 4156813"/>
                <a:gd name="connsiteX3" fmla="*/ 4998657 w 6537591"/>
                <a:gd name="connsiteY3" fmla="*/ 2744599 h 4156813"/>
                <a:gd name="connsiteX4" fmla="*/ 4919035 w 6537591"/>
                <a:gd name="connsiteY4" fmla="*/ 2514128 h 4156813"/>
                <a:gd name="connsiteX5" fmla="*/ 5323614 w 6537591"/>
                <a:gd name="connsiteY5" fmla="*/ 1936891 h 4156813"/>
                <a:gd name="connsiteX6" fmla="*/ 4760204 w 6537591"/>
                <a:gd name="connsiteY6" fmla="*/ 903621 h 4156813"/>
                <a:gd name="connsiteX7" fmla="*/ 4763692 w 6537591"/>
                <a:gd name="connsiteY7" fmla="*/ 555724 h 4156813"/>
                <a:gd name="connsiteX8" fmla="*/ 4388459 w 6537591"/>
                <a:gd name="connsiteY8" fmla="*/ 302755 h 4156813"/>
                <a:gd name="connsiteX9" fmla="*/ 4339271 w 6537591"/>
                <a:gd name="connsiteY9" fmla="*/ 282022 h 4156813"/>
                <a:gd name="connsiteX10" fmla="*/ 4295468 w 6537591"/>
                <a:gd name="connsiteY10" fmla="*/ 32492 h 4156813"/>
                <a:gd name="connsiteX11" fmla="*/ 4045938 w 6537591"/>
                <a:gd name="connsiteY11" fmla="*/ 76293 h 4156813"/>
                <a:gd name="connsiteX12" fmla="*/ 4089741 w 6537591"/>
                <a:gd name="connsiteY12" fmla="*/ 325824 h 4156813"/>
                <a:gd name="connsiteX13" fmla="*/ 4331339 w 6537591"/>
                <a:gd name="connsiteY13" fmla="*/ 292490 h 4156813"/>
                <a:gd name="connsiteX14" fmla="*/ 4383551 w 6537591"/>
                <a:gd name="connsiteY14" fmla="*/ 314504 h 4156813"/>
                <a:gd name="connsiteX15" fmla="*/ 4753081 w 6537591"/>
                <a:gd name="connsiteY15" fmla="*/ 562761 h 4156813"/>
                <a:gd name="connsiteX16" fmla="*/ 4747727 w 6537591"/>
                <a:gd name="connsiteY16" fmla="*/ 899725 h 4156813"/>
                <a:gd name="connsiteX17" fmla="*/ 4446768 w 6537591"/>
                <a:gd name="connsiteY17" fmla="*/ 867394 h 4156813"/>
                <a:gd name="connsiteX18" fmla="*/ 4422006 w 6537591"/>
                <a:gd name="connsiteY18" fmla="*/ 878094 h 4156813"/>
                <a:gd name="connsiteX19" fmla="*/ 4415952 w 6537591"/>
                <a:gd name="connsiteY19" fmla="*/ 915448 h 4156813"/>
                <a:gd name="connsiteX20" fmla="*/ 4481506 w 6537591"/>
                <a:gd name="connsiteY20" fmla="*/ 943776 h 4156813"/>
                <a:gd name="connsiteX21" fmla="*/ 4574108 w 6537591"/>
                <a:gd name="connsiteY21" fmla="*/ 969239 h 4156813"/>
                <a:gd name="connsiteX22" fmla="*/ 4625251 w 6537591"/>
                <a:gd name="connsiteY22" fmla="*/ 990150 h 4156813"/>
                <a:gd name="connsiteX23" fmla="*/ 4753666 w 6537591"/>
                <a:gd name="connsiteY23" fmla="*/ 914805 h 4156813"/>
                <a:gd name="connsiteX24" fmla="*/ 4871916 w 6537591"/>
                <a:gd name="connsiteY24" fmla="*/ 961447 h 4156813"/>
                <a:gd name="connsiteX25" fmla="*/ 5311265 w 6537591"/>
                <a:gd name="connsiteY25" fmla="*/ 1933785 h 4156813"/>
                <a:gd name="connsiteX26" fmla="*/ 5311119 w 6537591"/>
                <a:gd name="connsiteY26" fmla="*/ 1934460 h 4156813"/>
                <a:gd name="connsiteX27" fmla="*/ 4911110 w 6537591"/>
                <a:gd name="connsiteY27" fmla="*/ 2504185 h 4156813"/>
                <a:gd name="connsiteX28" fmla="*/ 4616746 w 6537591"/>
                <a:gd name="connsiteY28" fmla="*/ 2366838 h 4156813"/>
                <a:gd name="connsiteX29" fmla="*/ 4239094 w 6537591"/>
                <a:gd name="connsiteY29" fmla="*/ 2630086 h 4156813"/>
                <a:gd name="connsiteX30" fmla="*/ 3865642 w 6537591"/>
                <a:gd name="connsiteY30" fmla="*/ 2366838 h 4156813"/>
                <a:gd name="connsiteX31" fmla="*/ 3483731 w 6537591"/>
                <a:gd name="connsiteY31" fmla="*/ 2744599 h 4156813"/>
                <a:gd name="connsiteX32" fmla="*/ 3861173 w 6537591"/>
                <a:gd name="connsiteY32" fmla="*/ 3375537 h 4156813"/>
                <a:gd name="connsiteX33" fmla="*/ 3953508 w 6537591"/>
                <a:gd name="connsiteY33" fmla="*/ 3463117 h 4156813"/>
                <a:gd name="connsiteX34" fmla="*/ 3814156 w 6537591"/>
                <a:gd name="connsiteY34" fmla="*/ 3624959 h 4156813"/>
                <a:gd name="connsiteX35" fmla="*/ 3107313 w 6537591"/>
                <a:gd name="connsiteY35" fmla="*/ 3624959 h 4156813"/>
                <a:gd name="connsiteX36" fmla="*/ 3107313 w 6537591"/>
                <a:gd name="connsiteY36" fmla="*/ 3490757 h 4156813"/>
                <a:gd name="connsiteX37" fmla="*/ 3001305 w 6537591"/>
                <a:gd name="connsiteY37" fmla="*/ 3490757 h 4156813"/>
                <a:gd name="connsiteX38" fmla="*/ 3004100 w 6537591"/>
                <a:gd name="connsiteY38" fmla="*/ 3394889 h 4156813"/>
                <a:gd name="connsiteX39" fmla="*/ 2795877 w 6537591"/>
                <a:gd name="connsiteY39" fmla="*/ 3394889 h 4156813"/>
                <a:gd name="connsiteX40" fmla="*/ 2786908 w 6537591"/>
                <a:gd name="connsiteY40" fmla="*/ 3361647 h 4156813"/>
                <a:gd name="connsiteX41" fmla="*/ 2900657 w 6537591"/>
                <a:gd name="connsiteY41" fmla="*/ 3361647 h 4156813"/>
                <a:gd name="connsiteX42" fmla="*/ 2917838 w 6537591"/>
                <a:gd name="connsiteY42" fmla="*/ 3345555 h 4156813"/>
                <a:gd name="connsiteX43" fmla="*/ 2917838 w 6537591"/>
                <a:gd name="connsiteY43" fmla="*/ 3165901 h 4156813"/>
                <a:gd name="connsiteX44" fmla="*/ 2889218 w 6537591"/>
                <a:gd name="connsiteY44" fmla="*/ 3140069 h 4156813"/>
                <a:gd name="connsiteX45" fmla="*/ 2621138 w 6537591"/>
                <a:gd name="connsiteY45" fmla="*/ 3140069 h 4156813"/>
                <a:gd name="connsiteX46" fmla="*/ 2592518 w 6537591"/>
                <a:gd name="connsiteY46" fmla="*/ 3165901 h 4156813"/>
                <a:gd name="connsiteX47" fmla="*/ 2592518 w 6537591"/>
                <a:gd name="connsiteY47" fmla="*/ 3344988 h 4156813"/>
                <a:gd name="connsiteX48" fmla="*/ 2610647 w 6537591"/>
                <a:gd name="connsiteY48" fmla="*/ 3361647 h 4156813"/>
                <a:gd name="connsiteX49" fmla="*/ 2720405 w 6537591"/>
                <a:gd name="connsiteY49" fmla="*/ 3361647 h 4156813"/>
                <a:gd name="connsiteX50" fmla="*/ 2712486 w 6537591"/>
                <a:gd name="connsiteY50" fmla="*/ 3394889 h 4156813"/>
                <a:gd name="connsiteX51" fmla="*/ 2521477 w 6537591"/>
                <a:gd name="connsiteY51" fmla="*/ 3394889 h 4156813"/>
                <a:gd name="connsiteX52" fmla="*/ 2521477 w 6537591"/>
                <a:gd name="connsiteY52" fmla="*/ 3094262 h 4156813"/>
                <a:gd name="connsiteX53" fmla="*/ 2458710 w 6537591"/>
                <a:gd name="connsiteY53" fmla="*/ 3094262 h 4156813"/>
                <a:gd name="connsiteX54" fmla="*/ 2458710 w 6537591"/>
                <a:gd name="connsiteY54" fmla="*/ 2602612 h 4156813"/>
                <a:gd name="connsiteX55" fmla="*/ 2168848 w 6537591"/>
                <a:gd name="connsiteY55" fmla="*/ 2602612 h 4156813"/>
                <a:gd name="connsiteX56" fmla="*/ 2168848 w 6537591"/>
                <a:gd name="connsiteY56" fmla="*/ 3490757 h 4156813"/>
                <a:gd name="connsiteX57" fmla="*/ 2125166 w 6537591"/>
                <a:gd name="connsiteY57" fmla="*/ 3490757 h 4156813"/>
                <a:gd name="connsiteX58" fmla="*/ 2125166 w 6537591"/>
                <a:gd name="connsiteY58" fmla="*/ 3667132 h 4156813"/>
                <a:gd name="connsiteX59" fmla="*/ 2122912 w 6537591"/>
                <a:gd name="connsiteY59" fmla="*/ 3667227 h 4156813"/>
                <a:gd name="connsiteX60" fmla="*/ 2077780 w 6537591"/>
                <a:gd name="connsiteY60" fmla="*/ 3621699 h 4156813"/>
                <a:gd name="connsiteX61" fmla="*/ 2077780 w 6537591"/>
                <a:gd name="connsiteY61" fmla="*/ 2847724 h 4156813"/>
                <a:gd name="connsiteX62" fmla="*/ 1751333 w 6537591"/>
                <a:gd name="connsiteY62" fmla="*/ 2966094 h 4156813"/>
                <a:gd name="connsiteX63" fmla="*/ 1753173 w 6537591"/>
                <a:gd name="connsiteY63" fmla="*/ 3384627 h 4156813"/>
                <a:gd name="connsiteX64" fmla="*/ 1500753 w 6537591"/>
                <a:gd name="connsiteY64" fmla="*/ 3384627 h 4156813"/>
                <a:gd name="connsiteX65" fmla="*/ 1500753 w 6537591"/>
                <a:gd name="connsiteY65" fmla="*/ 3607358 h 4156813"/>
                <a:gd name="connsiteX66" fmla="*/ 589208 w 6537591"/>
                <a:gd name="connsiteY66" fmla="*/ 3604862 h 4156813"/>
                <a:gd name="connsiteX67" fmla="*/ 586559 w 6537591"/>
                <a:gd name="connsiteY67" fmla="*/ 3604856 h 4156813"/>
                <a:gd name="connsiteX68" fmla="*/ 381558 w 6537591"/>
                <a:gd name="connsiteY68" fmla="*/ 3809864 h 4156813"/>
                <a:gd name="connsiteX69" fmla="*/ 389226 w 6537591"/>
                <a:gd name="connsiteY69" fmla="*/ 3748511 h 4156813"/>
                <a:gd name="connsiteX70" fmla="*/ 638300 w 6537591"/>
                <a:gd name="connsiteY70" fmla="*/ 3503348 h 4156813"/>
                <a:gd name="connsiteX71" fmla="*/ 629369 w 6537591"/>
                <a:gd name="connsiteY71" fmla="*/ 3494277 h 4156813"/>
                <a:gd name="connsiteX72" fmla="*/ 429382 w 6537591"/>
                <a:gd name="connsiteY72" fmla="*/ 3691118 h 4156813"/>
                <a:gd name="connsiteX73" fmla="*/ 57897 w 6537591"/>
                <a:gd name="connsiteY73" fmla="*/ 3732463 h 4156813"/>
                <a:gd name="connsiteX74" fmla="*/ 99241 w 6537591"/>
                <a:gd name="connsiteY74" fmla="*/ 4103947 h 4156813"/>
                <a:gd name="connsiteX75" fmla="*/ 470722 w 6537591"/>
                <a:gd name="connsiteY75" fmla="*/ 4062602 h 4156813"/>
                <a:gd name="connsiteX76" fmla="*/ 528612 w 6537591"/>
                <a:gd name="connsiteY76" fmla="*/ 3897526 h 4156813"/>
                <a:gd name="connsiteX77" fmla="*/ 473485 w 6537591"/>
                <a:gd name="connsiteY77" fmla="*/ 3735938 h 4156813"/>
                <a:gd name="connsiteX78" fmla="*/ 591817 w 6537591"/>
                <a:gd name="connsiteY78" fmla="*/ 3617606 h 4156813"/>
                <a:gd name="connsiteX79" fmla="*/ 1513484 w 6537591"/>
                <a:gd name="connsiteY79" fmla="*/ 3620127 h 4156813"/>
                <a:gd name="connsiteX80" fmla="*/ 1513484 w 6537591"/>
                <a:gd name="connsiteY80" fmla="*/ 3397359 h 4156813"/>
                <a:gd name="connsiteX81" fmla="*/ 1765961 w 6537591"/>
                <a:gd name="connsiteY81" fmla="*/ 3397359 h 4156813"/>
                <a:gd name="connsiteX82" fmla="*/ 1764102 w 6537591"/>
                <a:gd name="connsiteY82" fmla="*/ 2975006 h 4156813"/>
                <a:gd name="connsiteX83" fmla="*/ 2065048 w 6537591"/>
                <a:gd name="connsiteY83" fmla="*/ 2865892 h 4156813"/>
                <a:gd name="connsiteX84" fmla="*/ 2065048 w 6537591"/>
                <a:gd name="connsiteY84" fmla="*/ 3621699 h 4156813"/>
                <a:gd name="connsiteX85" fmla="*/ 2122798 w 6537591"/>
                <a:gd name="connsiteY85" fmla="*/ 3679958 h 4156813"/>
                <a:gd name="connsiteX86" fmla="*/ 2123326 w 6537591"/>
                <a:gd name="connsiteY86" fmla="*/ 3679958 h 4156813"/>
                <a:gd name="connsiteX87" fmla="*/ 2125166 w 6537591"/>
                <a:gd name="connsiteY87" fmla="*/ 3679869 h 4156813"/>
                <a:gd name="connsiteX88" fmla="*/ 2125166 w 6537591"/>
                <a:gd name="connsiteY88" fmla="*/ 3774292 h 4156813"/>
                <a:gd name="connsiteX89" fmla="*/ 2183775 w 6537591"/>
                <a:gd name="connsiteY89" fmla="*/ 3833022 h 4156813"/>
                <a:gd name="connsiteX90" fmla="*/ 2242505 w 6537591"/>
                <a:gd name="connsiteY90" fmla="*/ 3774413 h 4156813"/>
                <a:gd name="connsiteX91" fmla="*/ 2242505 w 6537591"/>
                <a:gd name="connsiteY91" fmla="*/ 3774292 h 4156813"/>
                <a:gd name="connsiteX92" fmla="*/ 2242505 w 6537591"/>
                <a:gd name="connsiteY92" fmla="*/ 3503488 h 4156813"/>
                <a:gd name="connsiteX93" fmla="*/ 2444738 w 6537591"/>
                <a:gd name="connsiteY93" fmla="*/ 3503488 h 4156813"/>
                <a:gd name="connsiteX94" fmla="*/ 2446036 w 6537591"/>
                <a:gd name="connsiteY94" fmla="*/ 3637690 h 4156813"/>
                <a:gd name="connsiteX95" fmla="*/ 3819993 w 6537591"/>
                <a:gd name="connsiteY95" fmla="*/ 3637690 h 4156813"/>
                <a:gd name="connsiteX96" fmla="*/ 3962930 w 6537591"/>
                <a:gd name="connsiteY96" fmla="*/ 3471691 h 4156813"/>
                <a:gd name="connsiteX97" fmla="*/ 4237483 w 6537591"/>
                <a:gd name="connsiteY97" fmla="*/ 3696764 h 4156813"/>
                <a:gd name="connsiteX98" fmla="*/ 4244905 w 6537591"/>
                <a:gd name="connsiteY98" fmla="*/ 3696764 h 4156813"/>
                <a:gd name="connsiteX99" fmla="*/ 4514404 w 6537591"/>
                <a:gd name="connsiteY99" fmla="*/ 3476255 h 4156813"/>
                <a:gd name="connsiteX100" fmla="*/ 4645723 w 6537591"/>
                <a:gd name="connsiteY100" fmla="*/ 3634781 h 4156813"/>
                <a:gd name="connsiteX101" fmla="*/ 6537881 w 6537591"/>
                <a:gd name="connsiteY101" fmla="*/ 3636939 h 4156813"/>
                <a:gd name="connsiteX102" fmla="*/ 6537881 w 6537591"/>
                <a:gd name="connsiteY102" fmla="*/ 3624207 h 4156813"/>
                <a:gd name="connsiteX103" fmla="*/ 4276053 w 6537591"/>
                <a:gd name="connsiteY103" fmla="*/ 323127 h 4156813"/>
                <a:gd name="connsiteX104" fmla="*/ 4051273 w 6537591"/>
                <a:gd name="connsiteY104" fmla="*/ 262976 h 4156813"/>
                <a:gd name="connsiteX105" fmla="*/ 4111422 w 6537591"/>
                <a:gd name="connsiteY105" fmla="*/ 38198 h 4156813"/>
                <a:gd name="connsiteX106" fmla="*/ 4336203 w 6537591"/>
                <a:gd name="connsiteY106" fmla="*/ 98349 h 4156813"/>
                <a:gd name="connsiteX107" fmla="*/ 4352683 w 6537591"/>
                <a:gd name="connsiteY107" fmla="*/ 223196 h 4156813"/>
                <a:gd name="connsiteX108" fmla="*/ 4276053 w 6537591"/>
                <a:gd name="connsiteY108" fmla="*/ 323127 h 4156813"/>
                <a:gd name="connsiteX109" fmla="*/ 4626785 w 6537591"/>
                <a:gd name="connsiteY109" fmla="*/ 977501 h 4156813"/>
                <a:gd name="connsiteX110" fmla="*/ 4580811 w 6537591"/>
                <a:gd name="connsiteY110" fmla="*/ 958417 h 4156813"/>
                <a:gd name="connsiteX111" fmla="*/ 4489763 w 6537591"/>
                <a:gd name="connsiteY111" fmla="*/ 930892 h 4156813"/>
                <a:gd name="connsiteX112" fmla="*/ 4481042 w 6537591"/>
                <a:gd name="connsiteY112" fmla="*/ 931057 h 4156813"/>
                <a:gd name="connsiteX113" fmla="*/ 4427595 w 6537591"/>
                <a:gd name="connsiteY113" fmla="*/ 910298 h 4156813"/>
                <a:gd name="connsiteX114" fmla="*/ 4430784 w 6537591"/>
                <a:gd name="connsiteY114" fmla="*/ 887306 h 4156813"/>
                <a:gd name="connsiteX115" fmla="*/ 4447692 w 6537591"/>
                <a:gd name="connsiteY115" fmla="*/ 880087 h 4156813"/>
                <a:gd name="connsiteX116" fmla="*/ 4741285 w 6537591"/>
                <a:gd name="connsiteY116" fmla="*/ 911101 h 4156813"/>
                <a:gd name="connsiteX117" fmla="*/ 4626785 w 6537591"/>
                <a:gd name="connsiteY117" fmla="*/ 977501 h 4156813"/>
                <a:gd name="connsiteX118" fmla="*/ 515881 w 6537591"/>
                <a:gd name="connsiteY118" fmla="*/ 3897526 h 4156813"/>
                <a:gd name="connsiteX119" fmla="*/ 264305 w 6537591"/>
                <a:gd name="connsiteY119" fmla="*/ 4149258 h 4156813"/>
                <a:gd name="connsiteX120" fmla="*/ 12572 w 6537591"/>
                <a:gd name="connsiteY120" fmla="*/ 3897685 h 4156813"/>
                <a:gd name="connsiteX121" fmla="*/ 264148 w 6537591"/>
                <a:gd name="connsiteY121" fmla="*/ 3645953 h 4156813"/>
                <a:gd name="connsiteX122" fmla="*/ 420224 w 6537591"/>
                <a:gd name="connsiteY122" fmla="*/ 3700131 h 4156813"/>
                <a:gd name="connsiteX123" fmla="*/ 378717 w 6537591"/>
                <a:gd name="connsiteY123" fmla="*/ 3740987 h 4156813"/>
                <a:gd name="connsiteX124" fmla="*/ 377141 w 6537591"/>
                <a:gd name="connsiteY124" fmla="*/ 3742540 h 4156813"/>
                <a:gd name="connsiteX125" fmla="*/ 364326 w 6537591"/>
                <a:gd name="connsiteY125" fmla="*/ 3845098 h 4156813"/>
                <a:gd name="connsiteX126" fmla="*/ 464382 w 6537591"/>
                <a:gd name="connsiteY126" fmla="*/ 3745041 h 4156813"/>
                <a:gd name="connsiteX127" fmla="*/ 515881 w 6537591"/>
                <a:gd name="connsiteY127" fmla="*/ 3897526 h 4156813"/>
                <a:gd name="connsiteX128" fmla="*/ 2988567 w 6537591"/>
                <a:gd name="connsiteY128" fmla="*/ 3490757 h 4156813"/>
                <a:gd name="connsiteX129" fmla="*/ 2457348 w 6537591"/>
                <a:gd name="connsiteY129" fmla="*/ 3490757 h 4156813"/>
                <a:gd name="connsiteX130" fmla="*/ 2456540 w 6537591"/>
                <a:gd name="connsiteY130" fmla="*/ 3407620 h 4156813"/>
                <a:gd name="connsiteX131" fmla="*/ 2990993 w 6537591"/>
                <a:gd name="connsiteY131" fmla="*/ 3407620 h 4156813"/>
                <a:gd name="connsiteX132" fmla="*/ 2621138 w 6537591"/>
                <a:gd name="connsiteY132" fmla="*/ 3152801 h 4156813"/>
                <a:gd name="connsiteX133" fmla="*/ 2889218 w 6537591"/>
                <a:gd name="connsiteY133" fmla="*/ 3152801 h 4156813"/>
                <a:gd name="connsiteX134" fmla="*/ 2905106 w 6537591"/>
                <a:gd name="connsiteY134" fmla="*/ 3165901 h 4156813"/>
                <a:gd name="connsiteX135" fmla="*/ 2905106 w 6537591"/>
                <a:gd name="connsiteY135" fmla="*/ 3302306 h 4156813"/>
                <a:gd name="connsiteX136" fmla="*/ 2605249 w 6537591"/>
                <a:gd name="connsiteY136" fmla="*/ 3302306 h 4156813"/>
                <a:gd name="connsiteX137" fmla="*/ 2605249 w 6537591"/>
                <a:gd name="connsiteY137" fmla="*/ 3165901 h 4156813"/>
                <a:gd name="connsiteX138" fmla="*/ 2621138 w 6537591"/>
                <a:gd name="connsiteY138" fmla="*/ 3152801 h 4156813"/>
                <a:gd name="connsiteX139" fmla="*/ 2605249 w 6537591"/>
                <a:gd name="connsiteY139" fmla="*/ 3344988 h 4156813"/>
                <a:gd name="connsiteX140" fmla="*/ 2605249 w 6537591"/>
                <a:gd name="connsiteY140" fmla="*/ 3315037 h 4156813"/>
                <a:gd name="connsiteX141" fmla="*/ 2905106 w 6537591"/>
                <a:gd name="connsiteY141" fmla="*/ 3315037 h 4156813"/>
                <a:gd name="connsiteX142" fmla="*/ 2905106 w 6537591"/>
                <a:gd name="connsiteY142" fmla="*/ 3345555 h 4156813"/>
                <a:gd name="connsiteX143" fmla="*/ 2900657 w 6537591"/>
                <a:gd name="connsiteY143" fmla="*/ 3348916 h 4156813"/>
                <a:gd name="connsiteX144" fmla="*/ 2610647 w 6537591"/>
                <a:gd name="connsiteY144" fmla="*/ 3348916 h 4156813"/>
                <a:gd name="connsiteX145" fmla="*/ 2605249 w 6537591"/>
                <a:gd name="connsiteY145" fmla="*/ 3344988 h 4156813"/>
                <a:gd name="connsiteX146" fmla="*/ 2733487 w 6537591"/>
                <a:gd name="connsiteY146" fmla="*/ 3361647 h 4156813"/>
                <a:gd name="connsiteX147" fmla="*/ 2773724 w 6537591"/>
                <a:gd name="connsiteY147" fmla="*/ 3361647 h 4156813"/>
                <a:gd name="connsiteX148" fmla="*/ 2782694 w 6537591"/>
                <a:gd name="connsiteY148" fmla="*/ 3394889 h 4156813"/>
                <a:gd name="connsiteX149" fmla="*/ 2725574 w 6537591"/>
                <a:gd name="connsiteY149" fmla="*/ 3394889 h 4156813"/>
                <a:gd name="connsiteX150" fmla="*/ 2137897 w 6537591"/>
                <a:gd name="connsiteY150" fmla="*/ 3503488 h 4156813"/>
                <a:gd name="connsiteX151" fmla="*/ 2168848 w 6537591"/>
                <a:gd name="connsiteY151" fmla="*/ 3503488 h 4156813"/>
                <a:gd name="connsiteX152" fmla="*/ 2168848 w 6537591"/>
                <a:gd name="connsiteY152" fmla="*/ 3621699 h 4156813"/>
                <a:gd name="connsiteX153" fmla="*/ 2137897 w 6537591"/>
                <a:gd name="connsiteY153" fmla="*/ 3664795 h 4156813"/>
                <a:gd name="connsiteX154" fmla="*/ 2229774 w 6537591"/>
                <a:gd name="connsiteY154" fmla="*/ 3774292 h 4156813"/>
                <a:gd name="connsiteX155" fmla="*/ 2183890 w 6537591"/>
                <a:gd name="connsiteY155" fmla="*/ 3820284 h 4156813"/>
                <a:gd name="connsiteX156" fmla="*/ 2137897 w 6537591"/>
                <a:gd name="connsiteY156" fmla="*/ 3774400 h 4156813"/>
                <a:gd name="connsiteX157" fmla="*/ 2137897 w 6537591"/>
                <a:gd name="connsiteY157" fmla="*/ 3774292 h 4156813"/>
                <a:gd name="connsiteX158" fmla="*/ 2137897 w 6537591"/>
                <a:gd name="connsiteY158" fmla="*/ 3678068 h 4156813"/>
                <a:gd name="connsiteX159" fmla="*/ 2181579 w 6537591"/>
                <a:gd name="connsiteY159" fmla="*/ 3621699 h 4156813"/>
                <a:gd name="connsiteX160" fmla="*/ 2181579 w 6537591"/>
                <a:gd name="connsiteY160" fmla="*/ 3503488 h 4156813"/>
                <a:gd name="connsiteX161" fmla="*/ 2229774 w 6537591"/>
                <a:gd name="connsiteY161" fmla="*/ 3503488 h 4156813"/>
                <a:gd name="connsiteX162" fmla="*/ 2229774 w 6537591"/>
                <a:gd name="connsiteY162" fmla="*/ 3490757 h 4156813"/>
                <a:gd name="connsiteX163" fmla="*/ 2181579 w 6537591"/>
                <a:gd name="connsiteY163" fmla="*/ 3490757 h 4156813"/>
                <a:gd name="connsiteX164" fmla="*/ 2181579 w 6537591"/>
                <a:gd name="connsiteY164" fmla="*/ 2615343 h 4156813"/>
                <a:gd name="connsiteX165" fmla="*/ 2445979 w 6537591"/>
                <a:gd name="connsiteY165" fmla="*/ 2615343 h 4156813"/>
                <a:gd name="connsiteX166" fmla="*/ 2445979 w 6537591"/>
                <a:gd name="connsiteY166" fmla="*/ 3094262 h 4156813"/>
                <a:gd name="connsiteX167" fmla="*/ 2288860 w 6537591"/>
                <a:gd name="connsiteY167" fmla="*/ 3094262 h 4156813"/>
                <a:gd name="connsiteX168" fmla="*/ 2229774 w 6537591"/>
                <a:gd name="connsiteY168" fmla="*/ 3168804 h 4156813"/>
                <a:gd name="connsiteX169" fmla="*/ 2284621 w 6537591"/>
                <a:gd name="connsiteY169" fmla="*/ 3120106 h 4156813"/>
                <a:gd name="connsiteX170" fmla="*/ 2284621 w 6537591"/>
                <a:gd name="connsiteY170" fmla="*/ 3171631 h 4156813"/>
                <a:gd name="connsiteX171" fmla="*/ 2243785 w 6537591"/>
                <a:gd name="connsiteY171" fmla="*/ 3171631 h 4156813"/>
                <a:gd name="connsiteX172" fmla="*/ 2242505 w 6537591"/>
                <a:gd name="connsiteY172" fmla="*/ 3490757 h 4156813"/>
                <a:gd name="connsiteX173" fmla="*/ 2242505 w 6537591"/>
                <a:gd name="connsiteY173" fmla="*/ 3184362 h 4156813"/>
                <a:gd name="connsiteX174" fmla="*/ 2297352 w 6537591"/>
                <a:gd name="connsiteY174" fmla="*/ 3184362 h 4156813"/>
                <a:gd name="connsiteX175" fmla="*/ 2297352 w 6537591"/>
                <a:gd name="connsiteY175" fmla="*/ 3106993 h 4156813"/>
                <a:gd name="connsiteX176" fmla="*/ 2508745 w 6537591"/>
                <a:gd name="connsiteY176" fmla="*/ 3106993 h 4156813"/>
                <a:gd name="connsiteX177" fmla="*/ 2508745 w 6537591"/>
                <a:gd name="connsiteY177" fmla="*/ 3394889 h 4156813"/>
                <a:gd name="connsiteX178" fmla="*/ 2443681 w 6537591"/>
                <a:gd name="connsiteY178" fmla="*/ 3394889 h 4156813"/>
                <a:gd name="connsiteX179" fmla="*/ 2444610 w 6537591"/>
                <a:gd name="connsiteY179" fmla="*/ 3490757 h 4156813"/>
                <a:gd name="connsiteX180" fmla="*/ 2457469 w 6537591"/>
                <a:gd name="connsiteY180" fmla="*/ 3503488 h 4156813"/>
                <a:gd name="connsiteX181" fmla="*/ 3094582 w 6537591"/>
                <a:gd name="connsiteY181" fmla="*/ 3503488 h 4156813"/>
                <a:gd name="connsiteX182" fmla="*/ 3094582 w 6537591"/>
                <a:gd name="connsiteY182" fmla="*/ 3624959 h 4156813"/>
                <a:gd name="connsiteX183" fmla="*/ 2458647 w 6537591"/>
                <a:gd name="connsiteY183" fmla="*/ 3624959 h 4156813"/>
                <a:gd name="connsiteX184" fmla="*/ 4241194 w 6537591"/>
                <a:gd name="connsiteY184" fmla="*/ 3683714 h 4156813"/>
                <a:gd name="connsiteX185" fmla="*/ 3971549 w 6537591"/>
                <a:gd name="connsiteY185" fmla="*/ 3461678 h 4156813"/>
                <a:gd name="connsiteX186" fmla="*/ 4021284 w 6537591"/>
                <a:gd name="connsiteY186" fmla="*/ 3403916 h 4156813"/>
                <a:gd name="connsiteX187" fmla="*/ 4011634 w 6537591"/>
                <a:gd name="connsiteY187" fmla="*/ 3395608 h 4156813"/>
                <a:gd name="connsiteX188" fmla="*/ 3962127 w 6537591"/>
                <a:gd name="connsiteY188" fmla="*/ 3453110 h 4156813"/>
                <a:gd name="connsiteX189" fmla="*/ 3496462 w 6537591"/>
                <a:gd name="connsiteY189" fmla="*/ 2744599 h 4156813"/>
                <a:gd name="connsiteX190" fmla="*/ 3865642 w 6537591"/>
                <a:gd name="connsiteY190" fmla="*/ 2379570 h 4156813"/>
                <a:gd name="connsiteX191" fmla="*/ 4232906 w 6537591"/>
                <a:gd name="connsiteY191" fmla="*/ 2654352 h 4156813"/>
                <a:gd name="connsiteX192" fmla="*/ 4240653 w 6537591"/>
                <a:gd name="connsiteY192" fmla="*/ 2658936 h 4156813"/>
                <a:gd name="connsiteX193" fmla="*/ 4245236 w 6537591"/>
                <a:gd name="connsiteY193" fmla="*/ 2654352 h 4156813"/>
                <a:gd name="connsiteX194" fmla="*/ 4616746 w 6537591"/>
                <a:gd name="connsiteY194" fmla="*/ 2379570 h 4156813"/>
                <a:gd name="connsiteX195" fmla="*/ 4900975 w 6537591"/>
                <a:gd name="connsiteY195" fmla="*/ 2511919 h 4156813"/>
                <a:gd name="connsiteX196" fmla="*/ 4836134 w 6537591"/>
                <a:gd name="connsiteY196" fmla="*/ 2558529 h 4156813"/>
                <a:gd name="connsiteX197" fmla="*/ 4843283 w 6537591"/>
                <a:gd name="connsiteY197" fmla="*/ 2569065 h 4156813"/>
                <a:gd name="connsiteX198" fmla="*/ 4908926 w 6537591"/>
                <a:gd name="connsiteY198" fmla="*/ 2521856 h 4156813"/>
                <a:gd name="connsiteX199" fmla="*/ 4985926 w 6537591"/>
                <a:gd name="connsiteY199" fmla="*/ 2744599 h 4156813"/>
                <a:gd name="connsiteX200" fmla="*/ 4515410 w 6537591"/>
                <a:gd name="connsiteY200" fmla="*/ 3457528 h 4156813"/>
                <a:gd name="connsiteX201" fmla="*/ 4464198 w 6537591"/>
                <a:gd name="connsiteY201" fmla="*/ 3395704 h 4156813"/>
                <a:gd name="connsiteX202" fmla="*/ 4454395 w 6537591"/>
                <a:gd name="connsiteY202" fmla="*/ 3403820 h 4156813"/>
                <a:gd name="connsiteX203" fmla="*/ 4505976 w 6537591"/>
                <a:gd name="connsiteY203" fmla="*/ 3466083 h 4156813"/>
                <a:gd name="connsiteX204" fmla="*/ 4241194 w 6537591"/>
                <a:gd name="connsiteY204" fmla="*/ 3683714 h 415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6537591" h="4156813">
                  <a:moveTo>
                    <a:pt x="4651719" y="3622062"/>
                  </a:moveTo>
                  <a:lnTo>
                    <a:pt x="4523845" y="3467706"/>
                  </a:lnTo>
                  <a:cubicBezTo>
                    <a:pt x="4555699" y="3438774"/>
                    <a:pt x="4588488" y="3407919"/>
                    <a:pt x="4621221" y="3375537"/>
                  </a:cubicBezTo>
                  <a:cubicBezTo>
                    <a:pt x="4871668" y="3127745"/>
                    <a:pt x="4998657" y="2915474"/>
                    <a:pt x="4998657" y="2744599"/>
                  </a:cubicBezTo>
                  <a:cubicBezTo>
                    <a:pt x="4998676" y="2661024"/>
                    <a:pt x="4970635" y="2579867"/>
                    <a:pt x="4919035" y="2514128"/>
                  </a:cubicBezTo>
                  <a:cubicBezTo>
                    <a:pt x="5264477" y="2246475"/>
                    <a:pt x="5321393" y="1949311"/>
                    <a:pt x="5323614" y="1936891"/>
                  </a:cubicBezTo>
                  <a:cubicBezTo>
                    <a:pt x="5445601" y="1496842"/>
                    <a:pt x="5196186" y="1039427"/>
                    <a:pt x="4760204" y="903621"/>
                  </a:cubicBezTo>
                  <a:cubicBezTo>
                    <a:pt x="4828132" y="784423"/>
                    <a:pt x="4829673" y="655199"/>
                    <a:pt x="4763692" y="555724"/>
                  </a:cubicBezTo>
                  <a:cubicBezTo>
                    <a:pt x="4675419" y="422629"/>
                    <a:pt x="4529536" y="361688"/>
                    <a:pt x="4388459" y="302755"/>
                  </a:cubicBezTo>
                  <a:cubicBezTo>
                    <a:pt x="4371863" y="295823"/>
                    <a:pt x="4355465" y="288912"/>
                    <a:pt x="4339271" y="282022"/>
                  </a:cubicBezTo>
                  <a:cubicBezTo>
                    <a:pt x="4396079" y="201021"/>
                    <a:pt x="4376466" y="89302"/>
                    <a:pt x="4295468" y="32492"/>
                  </a:cubicBezTo>
                  <a:cubicBezTo>
                    <a:pt x="4214464" y="-24319"/>
                    <a:pt x="4102746" y="-4708"/>
                    <a:pt x="4045938" y="76293"/>
                  </a:cubicBezTo>
                  <a:cubicBezTo>
                    <a:pt x="3989124" y="157295"/>
                    <a:pt x="4008737" y="269014"/>
                    <a:pt x="4089741" y="325824"/>
                  </a:cubicBezTo>
                  <a:cubicBezTo>
                    <a:pt x="4166569" y="379711"/>
                    <a:pt x="4271972" y="365169"/>
                    <a:pt x="4331339" y="292490"/>
                  </a:cubicBezTo>
                  <a:cubicBezTo>
                    <a:pt x="4348482" y="299850"/>
                    <a:pt x="4365930" y="307142"/>
                    <a:pt x="4383551" y="314504"/>
                  </a:cubicBezTo>
                  <a:cubicBezTo>
                    <a:pt x="4522877" y="372704"/>
                    <a:pt x="4666946" y="432892"/>
                    <a:pt x="4753081" y="562761"/>
                  </a:cubicBezTo>
                  <a:cubicBezTo>
                    <a:pt x="4816776" y="658789"/>
                    <a:pt x="4814580" y="784130"/>
                    <a:pt x="4747727" y="899725"/>
                  </a:cubicBezTo>
                  <a:cubicBezTo>
                    <a:pt x="4650160" y="870965"/>
                    <a:pt x="4548219" y="860016"/>
                    <a:pt x="4446768" y="867394"/>
                  </a:cubicBezTo>
                  <a:cubicBezTo>
                    <a:pt x="4437558" y="868126"/>
                    <a:pt x="4428849" y="871888"/>
                    <a:pt x="4422006" y="878094"/>
                  </a:cubicBezTo>
                  <a:cubicBezTo>
                    <a:pt x="4412610" y="888171"/>
                    <a:pt x="4410223" y="902921"/>
                    <a:pt x="4415952" y="915448"/>
                  </a:cubicBezTo>
                  <a:cubicBezTo>
                    <a:pt x="4419982" y="924545"/>
                    <a:pt x="4434426" y="945590"/>
                    <a:pt x="4481506" y="943776"/>
                  </a:cubicBezTo>
                  <a:cubicBezTo>
                    <a:pt x="4530166" y="942044"/>
                    <a:pt x="4552484" y="955845"/>
                    <a:pt x="4574108" y="969239"/>
                  </a:cubicBezTo>
                  <a:cubicBezTo>
                    <a:pt x="4589297" y="978647"/>
                    <a:pt x="4603633" y="987527"/>
                    <a:pt x="4625251" y="990150"/>
                  </a:cubicBezTo>
                  <a:cubicBezTo>
                    <a:pt x="4674642" y="996108"/>
                    <a:pt x="4729680" y="963758"/>
                    <a:pt x="4753666" y="914805"/>
                  </a:cubicBezTo>
                  <a:cubicBezTo>
                    <a:pt x="4794222" y="927295"/>
                    <a:pt x="4833753" y="942885"/>
                    <a:pt x="4871916" y="961447"/>
                  </a:cubicBezTo>
                  <a:cubicBezTo>
                    <a:pt x="5233533" y="1137345"/>
                    <a:pt x="5418253" y="1546145"/>
                    <a:pt x="5311265" y="1933785"/>
                  </a:cubicBezTo>
                  <a:lnTo>
                    <a:pt x="5311119" y="1934460"/>
                  </a:lnTo>
                  <a:cubicBezTo>
                    <a:pt x="5310596" y="1937643"/>
                    <a:pt x="5258302" y="2235323"/>
                    <a:pt x="4911110" y="2504185"/>
                  </a:cubicBezTo>
                  <a:cubicBezTo>
                    <a:pt x="4838228" y="2416994"/>
                    <a:pt x="4730387" y="2366673"/>
                    <a:pt x="4616746" y="2366838"/>
                  </a:cubicBezTo>
                  <a:cubicBezTo>
                    <a:pt x="4447386" y="2366838"/>
                    <a:pt x="4289103" y="2478595"/>
                    <a:pt x="4239094" y="2630086"/>
                  </a:cubicBezTo>
                  <a:cubicBezTo>
                    <a:pt x="4189033" y="2476316"/>
                    <a:pt x="4035543" y="2366838"/>
                    <a:pt x="3865642" y="2366838"/>
                  </a:cubicBezTo>
                  <a:cubicBezTo>
                    <a:pt x="3655058" y="2366838"/>
                    <a:pt x="3483731" y="2536300"/>
                    <a:pt x="3483731" y="2744599"/>
                  </a:cubicBezTo>
                  <a:cubicBezTo>
                    <a:pt x="3483731" y="2915474"/>
                    <a:pt x="3610721" y="3127745"/>
                    <a:pt x="3861173" y="3375537"/>
                  </a:cubicBezTo>
                  <a:cubicBezTo>
                    <a:pt x="3892181" y="3406213"/>
                    <a:pt x="3923239" y="3435515"/>
                    <a:pt x="3953508" y="3463117"/>
                  </a:cubicBezTo>
                  <a:lnTo>
                    <a:pt x="3814156" y="3624959"/>
                  </a:lnTo>
                  <a:lnTo>
                    <a:pt x="3107313" y="3624959"/>
                  </a:lnTo>
                  <a:lnTo>
                    <a:pt x="3107313" y="3490757"/>
                  </a:lnTo>
                  <a:lnTo>
                    <a:pt x="3001305" y="3490757"/>
                  </a:lnTo>
                  <a:lnTo>
                    <a:pt x="3004100" y="3394889"/>
                  </a:lnTo>
                  <a:lnTo>
                    <a:pt x="2795877" y="3394889"/>
                  </a:lnTo>
                  <a:lnTo>
                    <a:pt x="2786908" y="3361647"/>
                  </a:lnTo>
                  <a:lnTo>
                    <a:pt x="2900657" y="3361647"/>
                  </a:lnTo>
                  <a:cubicBezTo>
                    <a:pt x="2909836" y="3361927"/>
                    <a:pt x="2917513" y="3354734"/>
                    <a:pt x="2917838" y="3345555"/>
                  </a:cubicBezTo>
                  <a:lnTo>
                    <a:pt x="2917838" y="3165901"/>
                  </a:lnTo>
                  <a:cubicBezTo>
                    <a:pt x="2917010" y="3150891"/>
                    <a:pt x="2904234" y="3139356"/>
                    <a:pt x="2889218" y="3140069"/>
                  </a:cubicBezTo>
                  <a:lnTo>
                    <a:pt x="2621138" y="3140069"/>
                  </a:lnTo>
                  <a:cubicBezTo>
                    <a:pt x="2606121" y="3139356"/>
                    <a:pt x="2593345" y="3150891"/>
                    <a:pt x="2592518" y="3165901"/>
                  </a:cubicBezTo>
                  <a:lnTo>
                    <a:pt x="2592518" y="3344988"/>
                  </a:lnTo>
                  <a:cubicBezTo>
                    <a:pt x="2592957" y="3354581"/>
                    <a:pt x="2601054" y="3362023"/>
                    <a:pt x="2610647" y="3361647"/>
                  </a:cubicBezTo>
                  <a:lnTo>
                    <a:pt x="2720405" y="3361647"/>
                  </a:lnTo>
                  <a:lnTo>
                    <a:pt x="2712486" y="3394889"/>
                  </a:lnTo>
                  <a:lnTo>
                    <a:pt x="2521477" y="3394889"/>
                  </a:lnTo>
                  <a:lnTo>
                    <a:pt x="2521477" y="3094262"/>
                  </a:lnTo>
                  <a:lnTo>
                    <a:pt x="2458710" y="3094262"/>
                  </a:lnTo>
                  <a:lnTo>
                    <a:pt x="2458710" y="2602612"/>
                  </a:lnTo>
                  <a:lnTo>
                    <a:pt x="2168848" y="2602612"/>
                  </a:lnTo>
                  <a:lnTo>
                    <a:pt x="2168848" y="3490757"/>
                  </a:lnTo>
                  <a:lnTo>
                    <a:pt x="2125166" y="3490757"/>
                  </a:lnTo>
                  <a:lnTo>
                    <a:pt x="2125166" y="3667132"/>
                  </a:lnTo>
                  <a:cubicBezTo>
                    <a:pt x="2124415" y="3667164"/>
                    <a:pt x="2123670" y="3667233"/>
                    <a:pt x="2122912" y="3667227"/>
                  </a:cubicBezTo>
                  <a:cubicBezTo>
                    <a:pt x="2097953" y="3666934"/>
                    <a:pt x="2077856" y="3646660"/>
                    <a:pt x="2077780" y="3621699"/>
                  </a:cubicBezTo>
                  <a:lnTo>
                    <a:pt x="2077780" y="2847724"/>
                  </a:lnTo>
                  <a:lnTo>
                    <a:pt x="1751333" y="2966094"/>
                  </a:lnTo>
                  <a:lnTo>
                    <a:pt x="1753173" y="3384627"/>
                  </a:lnTo>
                  <a:lnTo>
                    <a:pt x="1500753" y="3384627"/>
                  </a:lnTo>
                  <a:lnTo>
                    <a:pt x="1500753" y="3607358"/>
                  </a:lnTo>
                  <a:lnTo>
                    <a:pt x="589208" y="3604862"/>
                  </a:lnTo>
                  <a:lnTo>
                    <a:pt x="586559" y="3604856"/>
                  </a:lnTo>
                  <a:lnTo>
                    <a:pt x="381558" y="3809864"/>
                  </a:lnTo>
                  <a:lnTo>
                    <a:pt x="389226" y="3748511"/>
                  </a:lnTo>
                  <a:lnTo>
                    <a:pt x="638300" y="3503348"/>
                  </a:lnTo>
                  <a:lnTo>
                    <a:pt x="629369" y="3494277"/>
                  </a:lnTo>
                  <a:lnTo>
                    <a:pt x="429382" y="3691118"/>
                  </a:lnTo>
                  <a:cubicBezTo>
                    <a:pt x="315382" y="3599954"/>
                    <a:pt x="149063" y="3618466"/>
                    <a:pt x="57897" y="3732463"/>
                  </a:cubicBezTo>
                  <a:cubicBezTo>
                    <a:pt x="-33269" y="3846460"/>
                    <a:pt x="-14759" y="4012783"/>
                    <a:pt x="99241" y="4103947"/>
                  </a:cubicBezTo>
                  <a:cubicBezTo>
                    <a:pt x="213240" y="4195117"/>
                    <a:pt x="379560" y="4176605"/>
                    <a:pt x="470722" y="4062602"/>
                  </a:cubicBezTo>
                  <a:cubicBezTo>
                    <a:pt x="508197" y="4015744"/>
                    <a:pt x="528612" y="3957529"/>
                    <a:pt x="528612" y="3897526"/>
                  </a:cubicBezTo>
                  <a:cubicBezTo>
                    <a:pt x="528810" y="3839018"/>
                    <a:pt x="509400" y="3782128"/>
                    <a:pt x="473485" y="3735938"/>
                  </a:cubicBezTo>
                  <a:lnTo>
                    <a:pt x="591817" y="3617606"/>
                  </a:lnTo>
                  <a:lnTo>
                    <a:pt x="1513484" y="3620127"/>
                  </a:lnTo>
                  <a:lnTo>
                    <a:pt x="1513484" y="3397359"/>
                  </a:lnTo>
                  <a:lnTo>
                    <a:pt x="1765961" y="3397359"/>
                  </a:lnTo>
                  <a:lnTo>
                    <a:pt x="1764102" y="2975006"/>
                  </a:lnTo>
                  <a:lnTo>
                    <a:pt x="2065048" y="2865892"/>
                  </a:lnTo>
                  <a:lnTo>
                    <a:pt x="2065048" y="3621699"/>
                  </a:lnTo>
                  <a:cubicBezTo>
                    <a:pt x="2065144" y="3653636"/>
                    <a:pt x="2090861" y="3679583"/>
                    <a:pt x="2122798" y="3679958"/>
                  </a:cubicBezTo>
                  <a:lnTo>
                    <a:pt x="2123326" y="3679958"/>
                  </a:lnTo>
                  <a:cubicBezTo>
                    <a:pt x="2123944" y="3679958"/>
                    <a:pt x="2124549" y="3679888"/>
                    <a:pt x="2125166" y="3679869"/>
                  </a:cubicBezTo>
                  <a:lnTo>
                    <a:pt x="2125166" y="3774292"/>
                  </a:lnTo>
                  <a:cubicBezTo>
                    <a:pt x="2125128" y="3806693"/>
                    <a:pt x="2151374" y="3832990"/>
                    <a:pt x="2183775" y="3833022"/>
                  </a:cubicBezTo>
                  <a:cubicBezTo>
                    <a:pt x="2216177" y="3833054"/>
                    <a:pt x="2242473" y="3806815"/>
                    <a:pt x="2242505" y="3774413"/>
                  </a:cubicBezTo>
                  <a:cubicBezTo>
                    <a:pt x="2242505" y="3774375"/>
                    <a:pt x="2242505" y="3774330"/>
                    <a:pt x="2242505" y="3774292"/>
                  </a:cubicBezTo>
                  <a:lnTo>
                    <a:pt x="2242505" y="3503488"/>
                  </a:lnTo>
                  <a:lnTo>
                    <a:pt x="2444738" y="3503488"/>
                  </a:lnTo>
                  <a:lnTo>
                    <a:pt x="2446036" y="3637690"/>
                  </a:lnTo>
                  <a:lnTo>
                    <a:pt x="3819993" y="3637690"/>
                  </a:lnTo>
                  <a:lnTo>
                    <a:pt x="3962930" y="3471691"/>
                  </a:lnTo>
                  <a:cubicBezTo>
                    <a:pt x="4050617" y="3551263"/>
                    <a:pt x="4142258" y="3626385"/>
                    <a:pt x="4237483" y="3696764"/>
                  </a:cubicBezTo>
                  <a:cubicBezTo>
                    <a:pt x="4239705" y="3698355"/>
                    <a:pt x="4242690" y="3698355"/>
                    <a:pt x="4244905" y="3696764"/>
                  </a:cubicBezTo>
                  <a:cubicBezTo>
                    <a:pt x="4246427" y="3695676"/>
                    <a:pt x="4369330" y="3607039"/>
                    <a:pt x="4514404" y="3476255"/>
                  </a:cubicBezTo>
                  <a:lnTo>
                    <a:pt x="4645723" y="3634781"/>
                  </a:lnTo>
                  <a:lnTo>
                    <a:pt x="6537881" y="3636939"/>
                  </a:lnTo>
                  <a:lnTo>
                    <a:pt x="6537881" y="3624207"/>
                  </a:lnTo>
                  <a:close/>
                  <a:moveTo>
                    <a:pt x="4276053" y="323127"/>
                  </a:moveTo>
                  <a:cubicBezTo>
                    <a:pt x="4197373" y="368587"/>
                    <a:pt x="4096737" y="341657"/>
                    <a:pt x="4051273" y="262976"/>
                  </a:cubicBezTo>
                  <a:cubicBezTo>
                    <a:pt x="4005815" y="184295"/>
                    <a:pt x="4032742" y="83659"/>
                    <a:pt x="4111422" y="38198"/>
                  </a:cubicBezTo>
                  <a:cubicBezTo>
                    <a:pt x="4190103" y="-7263"/>
                    <a:pt x="4290745" y="19668"/>
                    <a:pt x="4336203" y="98349"/>
                  </a:cubicBezTo>
                  <a:cubicBezTo>
                    <a:pt x="4358037" y="136132"/>
                    <a:pt x="4363963" y="181042"/>
                    <a:pt x="4352683" y="223196"/>
                  </a:cubicBezTo>
                  <a:cubicBezTo>
                    <a:pt x="4341384" y="265341"/>
                    <a:pt x="4313821" y="301280"/>
                    <a:pt x="4276053" y="323127"/>
                  </a:cubicBezTo>
                  <a:close/>
                  <a:moveTo>
                    <a:pt x="4626785" y="977501"/>
                  </a:moveTo>
                  <a:cubicBezTo>
                    <a:pt x="4607955" y="975229"/>
                    <a:pt x="4595376" y="967437"/>
                    <a:pt x="4580811" y="958417"/>
                  </a:cubicBezTo>
                  <a:cubicBezTo>
                    <a:pt x="4554197" y="939727"/>
                    <a:pt x="4522279" y="930077"/>
                    <a:pt x="4489763" y="930892"/>
                  </a:cubicBezTo>
                  <a:cubicBezTo>
                    <a:pt x="4486943" y="930892"/>
                    <a:pt x="4484033" y="930949"/>
                    <a:pt x="4481042" y="931057"/>
                  </a:cubicBezTo>
                  <a:cubicBezTo>
                    <a:pt x="4453408" y="932012"/>
                    <a:pt x="4433884" y="924513"/>
                    <a:pt x="4427595" y="910298"/>
                  </a:cubicBezTo>
                  <a:cubicBezTo>
                    <a:pt x="4423979" y="902685"/>
                    <a:pt x="4425233" y="893646"/>
                    <a:pt x="4430784" y="887306"/>
                  </a:cubicBezTo>
                  <a:cubicBezTo>
                    <a:pt x="4435482" y="883117"/>
                    <a:pt x="4441421" y="880583"/>
                    <a:pt x="4447692" y="880087"/>
                  </a:cubicBezTo>
                  <a:cubicBezTo>
                    <a:pt x="4546621" y="872900"/>
                    <a:pt x="4646041" y="883397"/>
                    <a:pt x="4741285" y="911101"/>
                  </a:cubicBezTo>
                  <a:cubicBezTo>
                    <a:pt x="4717012" y="958449"/>
                    <a:pt x="4664425" y="982091"/>
                    <a:pt x="4626785" y="977501"/>
                  </a:cubicBezTo>
                  <a:close/>
                  <a:moveTo>
                    <a:pt x="515881" y="3897526"/>
                  </a:moveTo>
                  <a:cubicBezTo>
                    <a:pt x="515925" y="4036515"/>
                    <a:pt x="403290" y="4149214"/>
                    <a:pt x="264305" y="4149258"/>
                  </a:cubicBezTo>
                  <a:cubicBezTo>
                    <a:pt x="125320" y="4149303"/>
                    <a:pt x="12615" y="4036668"/>
                    <a:pt x="12572" y="3897685"/>
                  </a:cubicBezTo>
                  <a:cubicBezTo>
                    <a:pt x="12529" y="3758696"/>
                    <a:pt x="125163" y="3645991"/>
                    <a:pt x="264148" y="3645953"/>
                  </a:cubicBezTo>
                  <a:cubicBezTo>
                    <a:pt x="320789" y="3645934"/>
                    <a:pt x="375778" y="3665025"/>
                    <a:pt x="420224" y="3700131"/>
                  </a:cubicBezTo>
                  <a:lnTo>
                    <a:pt x="378717" y="3740987"/>
                  </a:lnTo>
                  <a:lnTo>
                    <a:pt x="377141" y="3742540"/>
                  </a:lnTo>
                  <a:lnTo>
                    <a:pt x="364326" y="3845098"/>
                  </a:lnTo>
                  <a:lnTo>
                    <a:pt x="464382" y="3745041"/>
                  </a:lnTo>
                  <a:cubicBezTo>
                    <a:pt x="497949" y="3788768"/>
                    <a:pt x="516059" y="3842399"/>
                    <a:pt x="515881" y="3897526"/>
                  </a:cubicBezTo>
                  <a:close/>
                  <a:moveTo>
                    <a:pt x="2988567" y="3490757"/>
                  </a:moveTo>
                  <a:lnTo>
                    <a:pt x="2457348" y="3490757"/>
                  </a:lnTo>
                  <a:lnTo>
                    <a:pt x="2456540" y="3407620"/>
                  </a:lnTo>
                  <a:lnTo>
                    <a:pt x="2990993" y="3407620"/>
                  </a:lnTo>
                  <a:close/>
                  <a:moveTo>
                    <a:pt x="2621138" y="3152801"/>
                  </a:moveTo>
                  <a:lnTo>
                    <a:pt x="2889218" y="3152801"/>
                  </a:lnTo>
                  <a:cubicBezTo>
                    <a:pt x="2897194" y="3152113"/>
                    <a:pt x="2904253" y="3157938"/>
                    <a:pt x="2905106" y="3165901"/>
                  </a:cubicBezTo>
                  <a:lnTo>
                    <a:pt x="2905106" y="3302306"/>
                  </a:lnTo>
                  <a:lnTo>
                    <a:pt x="2605249" y="3302306"/>
                  </a:lnTo>
                  <a:lnTo>
                    <a:pt x="2605249" y="3165901"/>
                  </a:lnTo>
                  <a:cubicBezTo>
                    <a:pt x="2606102" y="3157938"/>
                    <a:pt x="2613162" y="3152113"/>
                    <a:pt x="2621138" y="3152801"/>
                  </a:cubicBezTo>
                  <a:close/>
                  <a:moveTo>
                    <a:pt x="2605249" y="3344988"/>
                  </a:moveTo>
                  <a:lnTo>
                    <a:pt x="2605249" y="3315037"/>
                  </a:lnTo>
                  <a:lnTo>
                    <a:pt x="2905106" y="3315037"/>
                  </a:lnTo>
                  <a:lnTo>
                    <a:pt x="2905106" y="3345555"/>
                  </a:lnTo>
                  <a:cubicBezTo>
                    <a:pt x="2905106" y="3347375"/>
                    <a:pt x="2903063" y="3348916"/>
                    <a:pt x="2900657" y="3348916"/>
                  </a:cubicBezTo>
                  <a:lnTo>
                    <a:pt x="2610647" y="3348916"/>
                  </a:lnTo>
                  <a:cubicBezTo>
                    <a:pt x="2607719" y="3348916"/>
                    <a:pt x="2605249" y="3347114"/>
                    <a:pt x="2605249" y="3344988"/>
                  </a:cubicBezTo>
                  <a:close/>
                  <a:moveTo>
                    <a:pt x="2733487" y="3361647"/>
                  </a:moveTo>
                  <a:lnTo>
                    <a:pt x="2773724" y="3361647"/>
                  </a:lnTo>
                  <a:lnTo>
                    <a:pt x="2782694" y="3394889"/>
                  </a:lnTo>
                  <a:lnTo>
                    <a:pt x="2725574" y="3394889"/>
                  </a:lnTo>
                  <a:close/>
                  <a:moveTo>
                    <a:pt x="2137897" y="3503488"/>
                  </a:moveTo>
                  <a:lnTo>
                    <a:pt x="2168848" y="3503488"/>
                  </a:lnTo>
                  <a:lnTo>
                    <a:pt x="2168848" y="3621699"/>
                  </a:lnTo>
                  <a:cubicBezTo>
                    <a:pt x="2168867" y="3641223"/>
                    <a:pt x="2156403" y="3658576"/>
                    <a:pt x="2137897" y="3664795"/>
                  </a:cubicBezTo>
                  <a:close/>
                  <a:moveTo>
                    <a:pt x="2229774" y="3774292"/>
                  </a:moveTo>
                  <a:cubicBezTo>
                    <a:pt x="2229806" y="3799659"/>
                    <a:pt x="2209263" y="3820252"/>
                    <a:pt x="2183890" y="3820284"/>
                  </a:cubicBezTo>
                  <a:cubicBezTo>
                    <a:pt x="2158516" y="3820316"/>
                    <a:pt x="2137923" y="3799768"/>
                    <a:pt x="2137897" y="3774400"/>
                  </a:cubicBezTo>
                  <a:cubicBezTo>
                    <a:pt x="2137897" y="3774362"/>
                    <a:pt x="2137897" y="3774324"/>
                    <a:pt x="2137897" y="3774292"/>
                  </a:cubicBezTo>
                  <a:lnTo>
                    <a:pt x="2137897" y="3678068"/>
                  </a:lnTo>
                  <a:cubicBezTo>
                    <a:pt x="2163621" y="3671454"/>
                    <a:pt x="2181598" y="3648257"/>
                    <a:pt x="2181579" y="3621699"/>
                  </a:cubicBezTo>
                  <a:lnTo>
                    <a:pt x="2181579" y="3503488"/>
                  </a:lnTo>
                  <a:lnTo>
                    <a:pt x="2229774" y="3503488"/>
                  </a:lnTo>
                  <a:close/>
                  <a:moveTo>
                    <a:pt x="2229774" y="3490757"/>
                  </a:moveTo>
                  <a:lnTo>
                    <a:pt x="2181579" y="3490757"/>
                  </a:lnTo>
                  <a:lnTo>
                    <a:pt x="2181579" y="2615343"/>
                  </a:lnTo>
                  <a:lnTo>
                    <a:pt x="2445979" y="2615343"/>
                  </a:lnTo>
                  <a:lnTo>
                    <a:pt x="2445979" y="3094262"/>
                  </a:lnTo>
                  <a:lnTo>
                    <a:pt x="2288860" y="3094262"/>
                  </a:lnTo>
                  <a:lnTo>
                    <a:pt x="2229774" y="3168804"/>
                  </a:lnTo>
                  <a:close/>
                  <a:moveTo>
                    <a:pt x="2284621" y="3120106"/>
                  </a:moveTo>
                  <a:lnTo>
                    <a:pt x="2284621" y="3171631"/>
                  </a:lnTo>
                  <a:lnTo>
                    <a:pt x="2243785" y="3171631"/>
                  </a:lnTo>
                  <a:close/>
                  <a:moveTo>
                    <a:pt x="2242505" y="3490757"/>
                  </a:moveTo>
                  <a:lnTo>
                    <a:pt x="2242505" y="3184362"/>
                  </a:lnTo>
                  <a:lnTo>
                    <a:pt x="2297352" y="3184362"/>
                  </a:lnTo>
                  <a:lnTo>
                    <a:pt x="2297352" y="3106993"/>
                  </a:lnTo>
                  <a:lnTo>
                    <a:pt x="2508745" y="3106993"/>
                  </a:lnTo>
                  <a:lnTo>
                    <a:pt x="2508745" y="3394889"/>
                  </a:lnTo>
                  <a:lnTo>
                    <a:pt x="2443681" y="3394889"/>
                  </a:lnTo>
                  <a:lnTo>
                    <a:pt x="2444610" y="3490757"/>
                  </a:lnTo>
                  <a:close/>
                  <a:moveTo>
                    <a:pt x="2457469" y="3503488"/>
                  </a:moveTo>
                  <a:lnTo>
                    <a:pt x="3094582" y="3503488"/>
                  </a:lnTo>
                  <a:lnTo>
                    <a:pt x="3094582" y="3624959"/>
                  </a:lnTo>
                  <a:lnTo>
                    <a:pt x="2458647" y="3624959"/>
                  </a:lnTo>
                  <a:close/>
                  <a:moveTo>
                    <a:pt x="4241194" y="3683714"/>
                  </a:moveTo>
                  <a:cubicBezTo>
                    <a:pt x="4219283" y="3667666"/>
                    <a:pt x="4104592" y="3582391"/>
                    <a:pt x="3971549" y="3461678"/>
                  </a:cubicBezTo>
                  <a:lnTo>
                    <a:pt x="4021284" y="3403916"/>
                  </a:lnTo>
                  <a:lnTo>
                    <a:pt x="4011634" y="3395608"/>
                  </a:lnTo>
                  <a:lnTo>
                    <a:pt x="3962127" y="3453110"/>
                  </a:lnTo>
                  <a:cubicBezTo>
                    <a:pt x="3750130" y="3259331"/>
                    <a:pt x="3496462" y="2978577"/>
                    <a:pt x="3496462" y="2744599"/>
                  </a:cubicBezTo>
                  <a:cubicBezTo>
                    <a:pt x="3496462" y="2543322"/>
                    <a:pt x="3662079" y="2379570"/>
                    <a:pt x="3865642" y="2379570"/>
                  </a:cubicBezTo>
                  <a:cubicBezTo>
                    <a:pt x="4037498" y="2379570"/>
                    <a:pt x="4191955" y="2495133"/>
                    <a:pt x="4232906" y="2654352"/>
                  </a:cubicBezTo>
                  <a:cubicBezTo>
                    <a:pt x="4233785" y="2657758"/>
                    <a:pt x="4237247" y="2659808"/>
                    <a:pt x="4240653" y="2658936"/>
                  </a:cubicBezTo>
                  <a:cubicBezTo>
                    <a:pt x="4242900" y="2658356"/>
                    <a:pt x="4244657" y="2656599"/>
                    <a:pt x="4245236" y="2654352"/>
                  </a:cubicBezTo>
                  <a:cubicBezTo>
                    <a:pt x="4285525" y="2497705"/>
                    <a:pt x="4445241" y="2379570"/>
                    <a:pt x="4616746" y="2379570"/>
                  </a:cubicBezTo>
                  <a:cubicBezTo>
                    <a:pt x="4726415" y="2379411"/>
                    <a:pt x="4830513" y="2427886"/>
                    <a:pt x="4900975" y="2511919"/>
                  </a:cubicBezTo>
                  <a:cubicBezTo>
                    <a:pt x="4880370" y="2527585"/>
                    <a:pt x="4858758" y="2543124"/>
                    <a:pt x="4836134" y="2558529"/>
                  </a:cubicBezTo>
                  <a:lnTo>
                    <a:pt x="4843283" y="2569065"/>
                  </a:lnTo>
                  <a:cubicBezTo>
                    <a:pt x="4866244" y="2553487"/>
                    <a:pt x="4888123" y="2537752"/>
                    <a:pt x="4908926" y="2521856"/>
                  </a:cubicBezTo>
                  <a:cubicBezTo>
                    <a:pt x="4958827" y="2585380"/>
                    <a:pt x="4985939" y="2663825"/>
                    <a:pt x="4985926" y="2744599"/>
                  </a:cubicBezTo>
                  <a:cubicBezTo>
                    <a:pt x="4985926" y="2980341"/>
                    <a:pt x="4728362" y="3263603"/>
                    <a:pt x="4515410" y="3457528"/>
                  </a:cubicBezTo>
                  <a:lnTo>
                    <a:pt x="4464198" y="3395704"/>
                  </a:lnTo>
                  <a:lnTo>
                    <a:pt x="4454395" y="3403820"/>
                  </a:lnTo>
                  <a:lnTo>
                    <a:pt x="4505976" y="3466083"/>
                  </a:lnTo>
                  <a:cubicBezTo>
                    <a:pt x="4375008" y="3584466"/>
                    <a:pt x="4262844" y="3667857"/>
                    <a:pt x="4241194" y="3683714"/>
                  </a:cubicBezTo>
                  <a:close/>
                </a:path>
              </a:pathLst>
            </a:custGeom>
            <a:solidFill>
              <a:srgbClr val="001965"/>
            </a:solidFill>
            <a:ln w="6362"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4F24CE81-4385-45C1-B7C9-5C5332800085}"/>
                </a:ext>
              </a:extLst>
            </p:cNvPr>
            <p:cNvSpPr/>
            <p:nvPr/>
          </p:nvSpPr>
          <p:spPr>
            <a:xfrm>
              <a:off x="4275115" y="5645015"/>
              <a:ext cx="44560" cy="12731"/>
            </a:xfrm>
            <a:custGeom>
              <a:avLst/>
              <a:gdLst>
                <a:gd name="connsiteX0" fmla="*/ 0 w 44560"/>
                <a:gd name="connsiteY0" fmla="*/ 0 h 12731"/>
                <a:gd name="connsiteX1" fmla="*/ 45685 w 44560"/>
                <a:gd name="connsiteY1" fmla="*/ 0 h 12731"/>
                <a:gd name="connsiteX2" fmla="*/ 45685 w 44560"/>
                <a:gd name="connsiteY2" fmla="*/ 12732 h 12731"/>
                <a:gd name="connsiteX3" fmla="*/ 0 w 44560"/>
                <a:gd name="connsiteY3" fmla="*/ 12732 h 12731"/>
              </a:gdLst>
              <a:ahLst/>
              <a:cxnLst>
                <a:cxn ang="0">
                  <a:pos x="connsiteX0" y="connsiteY0"/>
                </a:cxn>
                <a:cxn ang="0">
                  <a:pos x="connsiteX1" y="connsiteY1"/>
                </a:cxn>
                <a:cxn ang="0">
                  <a:pos x="connsiteX2" y="connsiteY2"/>
                </a:cxn>
                <a:cxn ang="0">
                  <a:pos x="connsiteX3" y="connsiteY3"/>
                </a:cxn>
              </a:cxnLst>
              <a:rect l="l" t="t" r="r" b="b"/>
              <a:pathLst>
                <a:path w="44560" h="12731">
                  <a:moveTo>
                    <a:pt x="0" y="0"/>
                  </a:moveTo>
                  <a:lnTo>
                    <a:pt x="45685" y="0"/>
                  </a:lnTo>
                  <a:lnTo>
                    <a:pt x="45685" y="12732"/>
                  </a:lnTo>
                  <a:lnTo>
                    <a:pt x="0" y="12732"/>
                  </a:lnTo>
                  <a:close/>
                </a:path>
              </a:pathLst>
            </a:custGeom>
            <a:solidFill>
              <a:srgbClr val="001965"/>
            </a:solidFill>
            <a:ln w="6362"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7C1A9BCE-0B6C-43E9-8B0C-B652EAF58AA9}"/>
                </a:ext>
              </a:extLst>
            </p:cNvPr>
            <p:cNvSpPr/>
            <p:nvPr/>
          </p:nvSpPr>
          <p:spPr>
            <a:xfrm>
              <a:off x="4275115" y="5689403"/>
              <a:ext cx="44560" cy="12731"/>
            </a:xfrm>
            <a:custGeom>
              <a:avLst/>
              <a:gdLst>
                <a:gd name="connsiteX0" fmla="*/ 0 w 44560"/>
                <a:gd name="connsiteY0" fmla="*/ 0 h 12731"/>
                <a:gd name="connsiteX1" fmla="*/ 45685 w 44560"/>
                <a:gd name="connsiteY1" fmla="*/ 0 h 12731"/>
                <a:gd name="connsiteX2" fmla="*/ 45685 w 44560"/>
                <a:gd name="connsiteY2" fmla="*/ 12731 h 12731"/>
                <a:gd name="connsiteX3" fmla="*/ 0 w 44560"/>
                <a:gd name="connsiteY3" fmla="*/ 12731 h 12731"/>
              </a:gdLst>
              <a:ahLst/>
              <a:cxnLst>
                <a:cxn ang="0">
                  <a:pos x="connsiteX0" y="connsiteY0"/>
                </a:cxn>
                <a:cxn ang="0">
                  <a:pos x="connsiteX1" y="connsiteY1"/>
                </a:cxn>
                <a:cxn ang="0">
                  <a:pos x="connsiteX2" y="connsiteY2"/>
                </a:cxn>
                <a:cxn ang="0">
                  <a:pos x="connsiteX3" y="connsiteY3"/>
                </a:cxn>
              </a:cxnLst>
              <a:rect l="l" t="t" r="r" b="b"/>
              <a:pathLst>
                <a:path w="44560" h="12731">
                  <a:moveTo>
                    <a:pt x="0" y="0"/>
                  </a:moveTo>
                  <a:lnTo>
                    <a:pt x="45685" y="0"/>
                  </a:lnTo>
                  <a:lnTo>
                    <a:pt x="4568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E7D99C2C-B6EE-4589-8088-B10C771301A0}"/>
                </a:ext>
              </a:extLst>
            </p:cNvPr>
            <p:cNvSpPr/>
            <p:nvPr/>
          </p:nvSpPr>
          <p:spPr>
            <a:xfrm>
              <a:off x="4275115" y="5733791"/>
              <a:ext cx="44560" cy="12731"/>
            </a:xfrm>
            <a:custGeom>
              <a:avLst/>
              <a:gdLst>
                <a:gd name="connsiteX0" fmla="*/ 0 w 44560"/>
                <a:gd name="connsiteY0" fmla="*/ 0 h 12731"/>
                <a:gd name="connsiteX1" fmla="*/ 45685 w 44560"/>
                <a:gd name="connsiteY1" fmla="*/ 0 h 12731"/>
                <a:gd name="connsiteX2" fmla="*/ 45685 w 44560"/>
                <a:gd name="connsiteY2" fmla="*/ 12731 h 12731"/>
                <a:gd name="connsiteX3" fmla="*/ 0 w 44560"/>
                <a:gd name="connsiteY3" fmla="*/ 12731 h 12731"/>
              </a:gdLst>
              <a:ahLst/>
              <a:cxnLst>
                <a:cxn ang="0">
                  <a:pos x="connsiteX0" y="connsiteY0"/>
                </a:cxn>
                <a:cxn ang="0">
                  <a:pos x="connsiteX1" y="connsiteY1"/>
                </a:cxn>
                <a:cxn ang="0">
                  <a:pos x="connsiteX2" y="connsiteY2"/>
                </a:cxn>
                <a:cxn ang="0">
                  <a:pos x="connsiteX3" y="connsiteY3"/>
                </a:cxn>
              </a:cxnLst>
              <a:rect l="l" t="t" r="r" b="b"/>
              <a:pathLst>
                <a:path w="44560" h="12731">
                  <a:moveTo>
                    <a:pt x="0" y="0"/>
                  </a:moveTo>
                  <a:lnTo>
                    <a:pt x="45685" y="0"/>
                  </a:lnTo>
                  <a:lnTo>
                    <a:pt x="4568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A4EE04FA-E1B3-4C99-B8A6-B8D2276AD1D9}"/>
                </a:ext>
              </a:extLst>
            </p:cNvPr>
            <p:cNvSpPr/>
            <p:nvPr/>
          </p:nvSpPr>
          <p:spPr>
            <a:xfrm>
              <a:off x="6575595" y="1718213"/>
              <a:ext cx="38194" cy="38194"/>
            </a:xfrm>
            <a:custGeom>
              <a:avLst/>
              <a:gdLst>
                <a:gd name="connsiteX0" fmla="*/ 0 w 38194"/>
                <a:gd name="connsiteY0" fmla="*/ 31399 h 38194"/>
                <a:gd name="connsiteX1" fmla="*/ 29485 w 38194"/>
                <a:gd name="connsiteY1" fmla="*/ 0 h 38194"/>
                <a:gd name="connsiteX2" fmla="*/ 38766 w 38194"/>
                <a:gd name="connsiteY2" fmla="*/ 8715 h 38194"/>
                <a:gd name="connsiteX3" fmla="*/ 9281 w 38194"/>
                <a:gd name="connsiteY3" fmla="*/ 40115 h 38194"/>
              </a:gdLst>
              <a:ahLst/>
              <a:cxnLst>
                <a:cxn ang="0">
                  <a:pos x="connsiteX0" y="connsiteY0"/>
                </a:cxn>
                <a:cxn ang="0">
                  <a:pos x="connsiteX1" y="connsiteY1"/>
                </a:cxn>
                <a:cxn ang="0">
                  <a:pos x="connsiteX2" y="connsiteY2"/>
                </a:cxn>
                <a:cxn ang="0">
                  <a:pos x="connsiteX3" y="connsiteY3"/>
                </a:cxn>
              </a:cxnLst>
              <a:rect l="l" t="t" r="r" b="b"/>
              <a:pathLst>
                <a:path w="38194" h="38194">
                  <a:moveTo>
                    <a:pt x="0" y="31399"/>
                  </a:moveTo>
                  <a:lnTo>
                    <a:pt x="29485" y="0"/>
                  </a:lnTo>
                  <a:lnTo>
                    <a:pt x="38766" y="8715"/>
                  </a:lnTo>
                  <a:lnTo>
                    <a:pt x="9281" y="40115"/>
                  </a:lnTo>
                  <a:close/>
                </a:path>
              </a:pathLst>
            </a:custGeom>
            <a:solidFill>
              <a:srgbClr val="001965"/>
            </a:solidFill>
            <a:ln w="6362"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BC6C55D9-2DA4-467C-B955-B2F8D36B8FBE}"/>
                </a:ext>
              </a:extLst>
            </p:cNvPr>
            <p:cNvSpPr/>
            <p:nvPr/>
          </p:nvSpPr>
          <p:spPr>
            <a:xfrm>
              <a:off x="7412611" y="1360564"/>
              <a:ext cx="146411" cy="95486"/>
            </a:xfrm>
            <a:custGeom>
              <a:avLst/>
              <a:gdLst>
                <a:gd name="connsiteX0" fmla="*/ 0 w 146411"/>
                <a:gd name="connsiteY0" fmla="*/ 1653 h 95485"/>
                <a:gd name="connsiteX1" fmla="*/ 1992 w 146411"/>
                <a:gd name="connsiteY1" fmla="*/ 14223 h 95485"/>
                <a:gd name="connsiteX2" fmla="*/ 137544 w 146411"/>
                <a:gd name="connsiteY2" fmla="*/ 99526 h 95485"/>
                <a:gd name="connsiteX3" fmla="*/ 149740 w 146411"/>
                <a:gd name="connsiteY3" fmla="*/ 95871 h 95485"/>
                <a:gd name="connsiteX4" fmla="*/ 0 w 146411"/>
                <a:gd name="connsiteY4" fmla="*/ 1653 h 9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411" h="95485">
                  <a:moveTo>
                    <a:pt x="0" y="1653"/>
                  </a:moveTo>
                  <a:lnTo>
                    <a:pt x="1992" y="14223"/>
                  </a:lnTo>
                  <a:cubicBezTo>
                    <a:pt x="62155" y="4738"/>
                    <a:pt x="120070" y="41182"/>
                    <a:pt x="137544" y="99526"/>
                  </a:cubicBezTo>
                  <a:lnTo>
                    <a:pt x="149740" y="95871"/>
                  </a:lnTo>
                  <a:cubicBezTo>
                    <a:pt x="130427" y="31427"/>
                    <a:pt x="66452" y="-8822"/>
                    <a:pt x="0" y="1653"/>
                  </a:cubicBezTo>
                  <a:close/>
                </a:path>
              </a:pathLst>
            </a:custGeom>
            <a:solidFill>
              <a:srgbClr val="001965"/>
            </a:solidFill>
            <a:ln w="6362"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D265E5E8-B577-49D2-AECD-3A96D09A4BAC}"/>
                </a:ext>
              </a:extLst>
            </p:cNvPr>
            <p:cNvSpPr/>
            <p:nvPr/>
          </p:nvSpPr>
          <p:spPr>
            <a:xfrm>
              <a:off x="6824000" y="1395097"/>
              <a:ext cx="216434" cy="254629"/>
            </a:xfrm>
            <a:custGeom>
              <a:avLst/>
              <a:gdLst>
                <a:gd name="connsiteX0" fmla="*/ 19961 w 216434"/>
                <a:gd name="connsiteY0" fmla="*/ 255032 h 254628"/>
                <a:gd name="connsiteX1" fmla="*/ 73567 w 216434"/>
                <a:gd name="connsiteY1" fmla="*/ 240213 h 254628"/>
                <a:gd name="connsiteX2" fmla="*/ 78144 w 216434"/>
                <a:gd name="connsiteY2" fmla="*/ 214310 h 254628"/>
                <a:gd name="connsiteX3" fmla="*/ 143526 w 216434"/>
                <a:gd name="connsiteY3" fmla="*/ 189278 h 254628"/>
                <a:gd name="connsiteX4" fmla="*/ 179511 w 216434"/>
                <a:gd name="connsiteY4" fmla="*/ 213294 h 254628"/>
                <a:gd name="connsiteX5" fmla="*/ 190060 w 216434"/>
                <a:gd name="connsiteY5" fmla="*/ 211852 h 254628"/>
                <a:gd name="connsiteX6" fmla="*/ 217515 w 216434"/>
                <a:gd name="connsiteY6" fmla="*/ 163505 h 254628"/>
                <a:gd name="connsiteX7" fmla="*/ 173801 w 216434"/>
                <a:gd name="connsiteY7" fmla="*/ 135068 h 254628"/>
                <a:gd name="connsiteX8" fmla="*/ 160128 w 216434"/>
                <a:gd name="connsiteY8" fmla="*/ 74084 h 254628"/>
                <a:gd name="connsiteX9" fmla="*/ 177029 w 216434"/>
                <a:gd name="connsiteY9" fmla="*/ 21262 h 254628"/>
                <a:gd name="connsiteX10" fmla="*/ 124206 w 216434"/>
                <a:gd name="connsiteY10" fmla="*/ 4363 h 254628"/>
                <a:gd name="connsiteX11" fmla="*/ 107311 w 216434"/>
                <a:gd name="connsiteY11" fmla="*/ 57185 h 254628"/>
                <a:gd name="connsiteX12" fmla="*/ 122882 w 216434"/>
                <a:gd name="connsiteY12" fmla="*/ 73367 h 254628"/>
                <a:gd name="connsiteX13" fmla="*/ 122882 w 216434"/>
                <a:gd name="connsiteY13" fmla="*/ 73366 h 254628"/>
                <a:gd name="connsiteX14" fmla="*/ 147963 w 216434"/>
                <a:gd name="connsiteY14" fmla="*/ 78003 h 254628"/>
                <a:gd name="connsiteX15" fmla="*/ 161630 w 216434"/>
                <a:gd name="connsiteY15" fmla="*/ 138954 h 254628"/>
                <a:gd name="connsiteX16" fmla="*/ 140337 w 216434"/>
                <a:gd name="connsiteY16" fmla="*/ 176870 h 254628"/>
                <a:gd name="connsiteX17" fmla="*/ 73974 w 216434"/>
                <a:gd name="connsiteY17" fmla="*/ 202279 h 254628"/>
                <a:gd name="connsiteX18" fmla="*/ 20770 w 216434"/>
                <a:gd name="connsiteY18" fmla="*/ 186163 h 254628"/>
                <a:gd name="connsiteX19" fmla="*/ 4658 w 216434"/>
                <a:gd name="connsiteY19" fmla="*/ 239362 h 254628"/>
                <a:gd name="connsiteX20" fmla="*/ 19961 w 216434"/>
                <a:gd name="connsiteY20" fmla="*/ 255032 h 254628"/>
                <a:gd name="connsiteX21" fmla="*/ 129152 w 216434"/>
                <a:gd name="connsiteY21" fmla="*/ 62289 h 254628"/>
                <a:gd name="connsiteX22" fmla="*/ 119120 w 216434"/>
                <a:gd name="connsiteY22" fmla="*/ 26030 h 254628"/>
                <a:gd name="connsiteX23" fmla="*/ 155379 w 216434"/>
                <a:gd name="connsiteY23" fmla="*/ 15994 h 254628"/>
                <a:gd name="connsiteX24" fmla="*/ 165411 w 216434"/>
                <a:gd name="connsiteY24" fmla="*/ 52253 h 254628"/>
                <a:gd name="connsiteX25" fmla="*/ 165411 w 216434"/>
                <a:gd name="connsiteY25" fmla="*/ 52255 h 254628"/>
                <a:gd name="connsiteX26" fmla="*/ 129413 w 216434"/>
                <a:gd name="connsiteY26" fmla="*/ 62436 h 254628"/>
                <a:gd name="connsiteX27" fmla="*/ 129152 w 216434"/>
                <a:gd name="connsiteY27" fmla="*/ 62289 h 254628"/>
                <a:gd name="connsiteX28" fmla="*/ 156429 w 216434"/>
                <a:gd name="connsiteY28" fmla="*/ 160833 h 254628"/>
                <a:gd name="connsiteX29" fmla="*/ 172477 w 216434"/>
                <a:gd name="connsiteY29" fmla="*/ 148307 h 254628"/>
                <a:gd name="connsiteX30" fmla="*/ 179613 w 216434"/>
                <a:gd name="connsiteY30" fmla="*/ 147331 h 254628"/>
                <a:gd name="connsiteX31" fmla="*/ 206177 w 216434"/>
                <a:gd name="connsiteY31" fmla="*/ 173976 h 254628"/>
                <a:gd name="connsiteX32" fmla="*/ 179531 w 216434"/>
                <a:gd name="connsiteY32" fmla="*/ 200543 h 254628"/>
                <a:gd name="connsiteX33" fmla="*/ 166462 w 216434"/>
                <a:gd name="connsiteY33" fmla="*/ 197088 h 254628"/>
                <a:gd name="connsiteX34" fmla="*/ 166455 w 216434"/>
                <a:gd name="connsiteY34" fmla="*/ 197088 h 254628"/>
                <a:gd name="connsiteX35" fmla="*/ 156423 w 216434"/>
                <a:gd name="connsiteY35" fmla="*/ 160842 h 254628"/>
                <a:gd name="connsiteX36" fmla="*/ 156429 w 216434"/>
                <a:gd name="connsiteY36" fmla="*/ 160833 h 254628"/>
                <a:gd name="connsiteX37" fmla="*/ 16205 w 216434"/>
                <a:gd name="connsiteY37" fmla="*/ 207700 h 254628"/>
                <a:gd name="connsiteX38" fmla="*/ 52465 w 216434"/>
                <a:gd name="connsiteY38" fmla="*/ 197663 h 254628"/>
                <a:gd name="connsiteX39" fmla="*/ 62497 w 216434"/>
                <a:gd name="connsiteY39" fmla="*/ 233919 h 254628"/>
                <a:gd name="connsiteX40" fmla="*/ 26244 w 216434"/>
                <a:gd name="connsiteY40" fmla="*/ 243956 h 254628"/>
                <a:gd name="connsiteX41" fmla="*/ 26237 w 216434"/>
                <a:gd name="connsiteY41" fmla="*/ 243954 h 254628"/>
                <a:gd name="connsiteX42" fmla="*/ 16002 w 216434"/>
                <a:gd name="connsiteY42" fmla="*/ 208058 h 254628"/>
                <a:gd name="connsiteX43" fmla="*/ 16205 w 216434"/>
                <a:gd name="connsiteY43" fmla="*/ 207700 h 25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16434" h="254628">
                  <a:moveTo>
                    <a:pt x="19961" y="255032"/>
                  </a:moveTo>
                  <a:cubicBezTo>
                    <a:pt x="38855" y="265743"/>
                    <a:pt x="62860" y="259108"/>
                    <a:pt x="73567" y="240213"/>
                  </a:cubicBezTo>
                  <a:cubicBezTo>
                    <a:pt x="78023" y="232359"/>
                    <a:pt x="79633" y="223214"/>
                    <a:pt x="78144" y="214310"/>
                  </a:cubicBezTo>
                  <a:lnTo>
                    <a:pt x="143526" y="189278"/>
                  </a:lnTo>
                  <a:cubicBezTo>
                    <a:pt x="149567" y="203819"/>
                    <a:pt x="163762" y="213296"/>
                    <a:pt x="179511" y="213294"/>
                  </a:cubicBezTo>
                  <a:cubicBezTo>
                    <a:pt x="183076" y="213291"/>
                    <a:pt x="186622" y="212806"/>
                    <a:pt x="190060" y="211852"/>
                  </a:cubicBezTo>
                  <a:cubicBezTo>
                    <a:pt x="210996" y="206083"/>
                    <a:pt x="223288" y="184438"/>
                    <a:pt x="217515" y="163505"/>
                  </a:cubicBezTo>
                  <a:cubicBezTo>
                    <a:pt x="212238" y="144335"/>
                    <a:pt x="193471" y="132127"/>
                    <a:pt x="173801" y="135068"/>
                  </a:cubicBezTo>
                  <a:lnTo>
                    <a:pt x="160128" y="74084"/>
                  </a:lnTo>
                  <a:cubicBezTo>
                    <a:pt x="179384" y="64164"/>
                    <a:pt x="186947" y="40515"/>
                    <a:pt x="177029" y="21262"/>
                  </a:cubicBezTo>
                  <a:cubicBezTo>
                    <a:pt x="167111" y="2009"/>
                    <a:pt x="143462" y="-5556"/>
                    <a:pt x="124206" y="4363"/>
                  </a:cubicBezTo>
                  <a:cubicBezTo>
                    <a:pt x="104956" y="14283"/>
                    <a:pt x="97387" y="37932"/>
                    <a:pt x="107311" y="57185"/>
                  </a:cubicBezTo>
                  <a:cubicBezTo>
                    <a:pt x="110812" y="63981"/>
                    <a:pt x="116224" y="69606"/>
                    <a:pt x="122882" y="73367"/>
                  </a:cubicBezTo>
                  <a:lnTo>
                    <a:pt x="122882" y="73366"/>
                  </a:lnTo>
                  <a:cubicBezTo>
                    <a:pt x="130470" y="77719"/>
                    <a:pt x="139318" y="79354"/>
                    <a:pt x="147963" y="78003"/>
                  </a:cubicBezTo>
                  <a:lnTo>
                    <a:pt x="161630" y="138954"/>
                  </a:lnTo>
                  <a:cubicBezTo>
                    <a:pt x="147556" y="146163"/>
                    <a:pt x="139166" y="161101"/>
                    <a:pt x="140337" y="176870"/>
                  </a:cubicBezTo>
                  <a:lnTo>
                    <a:pt x="73974" y="202279"/>
                  </a:lnTo>
                  <a:cubicBezTo>
                    <a:pt x="63732" y="183138"/>
                    <a:pt x="39911" y="175922"/>
                    <a:pt x="20770" y="186163"/>
                  </a:cubicBezTo>
                  <a:cubicBezTo>
                    <a:pt x="1628" y="196403"/>
                    <a:pt x="-5584" y="220222"/>
                    <a:pt x="4658" y="239362"/>
                  </a:cubicBezTo>
                  <a:cubicBezTo>
                    <a:pt x="8172" y="245930"/>
                    <a:pt x="13481" y="251365"/>
                    <a:pt x="19961" y="255032"/>
                  </a:cubicBezTo>
                  <a:close/>
                  <a:moveTo>
                    <a:pt x="129152" y="62289"/>
                  </a:moveTo>
                  <a:cubicBezTo>
                    <a:pt x="116370" y="55047"/>
                    <a:pt x="111876" y="38813"/>
                    <a:pt x="119120" y="26030"/>
                  </a:cubicBezTo>
                  <a:cubicBezTo>
                    <a:pt x="126358" y="13245"/>
                    <a:pt x="142597" y="8753"/>
                    <a:pt x="155379" y="15994"/>
                  </a:cubicBezTo>
                  <a:cubicBezTo>
                    <a:pt x="168161" y="23235"/>
                    <a:pt x="172656" y="39469"/>
                    <a:pt x="165411" y="52253"/>
                  </a:cubicBezTo>
                  <a:cubicBezTo>
                    <a:pt x="165411" y="52254"/>
                    <a:pt x="165411" y="52255"/>
                    <a:pt x="165411" y="52255"/>
                  </a:cubicBezTo>
                  <a:cubicBezTo>
                    <a:pt x="158282" y="65007"/>
                    <a:pt x="142164" y="69565"/>
                    <a:pt x="129413" y="62436"/>
                  </a:cubicBezTo>
                  <a:cubicBezTo>
                    <a:pt x="129330" y="62387"/>
                    <a:pt x="129241" y="62338"/>
                    <a:pt x="129152" y="62289"/>
                  </a:cubicBezTo>
                  <a:close/>
                  <a:moveTo>
                    <a:pt x="156429" y="160833"/>
                  </a:moveTo>
                  <a:cubicBezTo>
                    <a:pt x="159886" y="154681"/>
                    <a:pt x="165666" y="150169"/>
                    <a:pt x="172477" y="148307"/>
                  </a:cubicBezTo>
                  <a:cubicBezTo>
                    <a:pt x="174801" y="147661"/>
                    <a:pt x="177201" y="147332"/>
                    <a:pt x="179613" y="147331"/>
                  </a:cubicBezTo>
                  <a:cubicBezTo>
                    <a:pt x="194305" y="147352"/>
                    <a:pt x="206203" y="159282"/>
                    <a:pt x="206177" y="173976"/>
                  </a:cubicBezTo>
                  <a:cubicBezTo>
                    <a:pt x="206158" y="188670"/>
                    <a:pt x="194229" y="200564"/>
                    <a:pt x="179531" y="200543"/>
                  </a:cubicBezTo>
                  <a:cubicBezTo>
                    <a:pt x="174953" y="200536"/>
                    <a:pt x="170447" y="199346"/>
                    <a:pt x="166462" y="197088"/>
                  </a:cubicBezTo>
                  <a:lnTo>
                    <a:pt x="166455" y="197088"/>
                  </a:lnTo>
                  <a:cubicBezTo>
                    <a:pt x="153679" y="189850"/>
                    <a:pt x="149185" y="173622"/>
                    <a:pt x="156423" y="160842"/>
                  </a:cubicBezTo>
                  <a:cubicBezTo>
                    <a:pt x="156423" y="160839"/>
                    <a:pt x="156423" y="160836"/>
                    <a:pt x="156429" y="160833"/>
                  </a:cubicBezTo>
                  <a:close/>
                  <a:moveTo>
                    <a:pt x="16205" y="207700"/>
                  </a:moveTo>
                  <a:cubicBezTo>
                    <a:pt x="23449" y="194916"/>
                    <a:pt x="39682" y="190423"/>
                    <a:pt x="52465" y="197663"/>
                  </a:cubicBezTo>
                  <a:cubicBezTo>
                    <a:pt x="65247" y="204904"/>
                    <a:pt x="69741" y="221136"/>
                    <a:pt x="62497" y="233919"/>
                  </a:cubicBezTo>
                  <a:cubicBezTo>
                    <a:pt x="55259" y="246703"/>
                    <a:pt x="39026" y="251196"/>
                    <a:pt x="26244" y="243956"/>
                  </a:cubicBezTo>
                  <a:cubicBezTo>
                    <a:pt x="26244" y="243955"/>
                    <a:pt x="26244" y="243954"/>
                    <a:pt x="26237" y="243954"/>
                  </a:cubicBezTo>
                  <a:cubicBezTo>
                    <a:pt x="13500" y="236869"/>
                    <a:pt x="8917" y="220797"/>
                    <a:pt x="16002" y="208058"/>
                  </a:cubicBezTo>
                  <a:cubicBezTo>
                    <a:pt x="16072" y="207938"/>
                    <a:pt x="16135" y="207819"/>
                    <a:pt x="16205" y="207700"/>
                  </a:cubicBezTo>
                  <a:close/>
                </a:path>
              </a:pathLst>
            </a:custGeom>
            <a:solidFill>
              <a:srgbClr val="001965"/>
            </a:solidFill>
            <a:ln w="6362"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BA5D4C88-1913-4465-88ED-99A06A355FD7}"/>
                </a:ext>
              </a:extLst>
            </p:cNvPr>
            <p:cNvSpPr/>
            <p:nvPr/>
          </p:nvSpPr>
          <p:spPr>
            <a:xfrm>
              <a:off x="3051985" y="5191167"/>
              <a:ext cx="1489578" cy="623840"/>
            </a:xfrm>
            <a:custGeom>
              <a:avLst/>
              <a:gdLst>
                <a:gd name="connsiteX0" fmla="*/ 1352442 w 1489577"/>
                <a:gd name="connsiteY0" fmla="*/ 297419 h 623840"/>
                <a:gd name="connsiteX1" fmla="*/ 1352442 w 1489577"/>
                <a:gd name="connsiteY1" fmla="*/ 114965 h 623840"/>
                <a:gd name="connsiteX2" fmla="*/ 1324700 w 1489577"/>
                <a:gd name="connsiteY2" fmla="*/ 91100 h 623840"/>
                <a:gd name="connsiteX3" fmla="*/ 1294705 w 1489577"/>
                <a:gd name="connsiteY3" fmla="*/ 91100 h 623840"/>
                <a:gd name="connsiteX4" fmla="*/ 1294705 w 1489577"/>
                <a:gd name="connsiteY4" fmla="*/ 103831 h 623840"/>
                <a:gd name="connsiteX5" fmla="*/ 1324700 w 1489577"/>
                <a:gd name="connsiteY5" fmla="*/ 103831 h 623840"/>
                <a:gd name="connsiteX6" fmla="*/ 1339711 w 1489577"/>
                <a:gd name="connsiteY6" fmla="*/ 114965 h 623840"/>
                <a:gd name="connsiteX7" fmla="*/ 1339711 w 1489577"/>
                <a:gd name="connsiteY7" fmla="*/ 300354 h 623840"/>
                <a:gd name="connsiteX8" fmla="*/ 1474282 w 1489577"/>
                <a:gd name="connsiteY8" fmla="*/ 577078 h 623840"/>
                <a:gd name="connsiteX9" fmla="*/ 1461576 w 1489577"/>
                <a:gd name="connsiteY9" fmla="*/ 613846 h 623840"/>
                <a:gd name="connsiteX10" fmla="*/ 1449538 w 1489577"/>
                <a:gd name="connsiteY10" fmla="*/ 616622 h 623840"/>
                <a:gd name="connsiteX11" fmla="*/ 1130119 w 1489577"/>
                <a:gd name="connsiteY11" fmla="*/ 616622 h 623840"/>
                <a:gd name="connsiteX12" fmla="*/ 1102607 w 1489577"/>
                <a:gd name="connsiteY12" fmla="*/ 589109 h 623840"/>
                <a:gd name="connsiteX13" fmla="*/ 1105147 w 1489577"/>
                <a:gd name="connsiteY13" fmla="*/ 577568 h 623840"/>
                <a:gd name="connsiteX14" fmla="*/ 1234250 w 1489577"/>
                <a:gd name="connsiteY14" fmla="*/ 298272 h 623840"/>
                <a:gd name="connsiteX15" fmla="*/ 1231233 w 1489577"/>
                <a:gd name="connsiteY15" fmla="*/ 91100 h 623840"/>
                <a:gd name="connsiteX16" fmla="*/ 1200021 w 1489577"/>
                <a:gd name="connsiteY16" fmla="*/ 91100 h 623840"/>
                <a:gd name="connsiteX17" fmla="*/ 857775 w 1489577"/>
                <a:gd name="connsiteY17" fmla="*/ 249307 h 623840"/>
                <a:gd name="connsiteX18" fmla="*/ 856731 w 1489577"/>
                <a:gd name="connsiteY18" fmla="*/ 250377 h 623840"/>
                <a:gd name="connsiteX19" fmla="*/ 474163 w 1489577"/>
                <a:gd name="connsiteY19" fmla="*/ 453392 h 623840"/>
                <a:gd name="connsiteX20" fmla="*/ 466166 w 1489577"/>
                <a:gd name="connsiteY20" fmla="*/ 453322 h 623840"/>
                <a:gd name="connsiteX21" fmla="*/ 145505 w 1489577"/>
                <a:gd name="connsiteY21" fmla="*/ 318814 h 623840"/>
                <a:gd name="connsiteX22" fmla="*/ 12733 w 1489577"/>
                <a:gd name="connsiteY22" fmla="*/ 0 h 623840"/>
                <a:gd name="connsiteX23" fmla="*/ 2 w 1489577"/>
                <a:gd name="connsiteY23" fmla="*/ 0 h 623840"/>
                <a:gd name="connsiteX24" fmla="*/ 136535 w 1489577"/>
                <a:gd name="connsiteY24" fmla="*/ 327847 h 623840"/>
                <a:gd name="connsiteX25" fmla="*/ 465936 w 1489577"/>
                <a:gd name="connsiteY25" fmla="*/ 466053 h 623840"/>
                <a:gd name="connsiteX26" fmla="*/ 474244 w 1489577"/>
                <a:gd name="connsiteY26" fmla="*/ 466123 h 623840"/>
                <a:gd name="connsiteX27" fmla="*/ 865866 w 1489577"/>
                <a:gd name="connsiteY27" fmla="*/ 259244 h 623840"/>
                <a:gd name="connsiteX28" fmla="*/ 866910 w 1489577"/>
                <a:gd name="connsiteY28" fmla="*/ 258168 h 623840"/>
                <a:gd name="connsiteX29" fmla="*/ 1200021 w 1489577"/>
                <a:gd name="connsiteY29" fmla="*/ 103831 h 623840"/>
                <a:gd name="connsiteX30" fmla="*/ 1218686 w 1489577"/>
                <a:gd name="connsiteY30" fmla="*/ 103831 h 623840"/>
                <a:gd name="connsiteX31" fmla="*/ 1221474 w 1489577"/>
                <a:gd name="connsiteY31" fmla="*/ 295560 h 623840"/>
                <a:gd name="connsiteX32" fmla="*/ 1093593 w 1489577"/>
                <a:gd name="connsiteY32" fmla="*/ 572221 h 623840"/>
                <a:gd name="connsiteX33" fmla="*/ 1113238 w 1489577"/>
                <a:gd name="connsiteY33" fmla="*/ 625642 h 623840"/>
                <a:gd name="connsiteX34" fmla="*/ 1130119 w 1489577"/>
                <a:gd name="connsiteY34" fmla="*/ 629353 h 623840"/>
                <a:gd name="connsiteX35" fmla="*/ 1449538 w 1489577"/>
                <a:gd name="connsiteY35" fmla="*/ 629353 h 623840"/>
                <a:gd name="connsiteX36" fmla="*/ 1489789 w 1489577"/>
                <a:gd name="connsiteY36" fmla="*/ 589116 h 623840"/>
                <a:gd name="connsiteX37" fmla="*/ 1485734 w 1489577"/>
                <a:gd name="connsiteY37" fmla="*/ 571508 h 62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89577" h="623840">
                  <a:moveTo>
                    <a:pt x="1352442" y="297419"/>
                  </a:moveTo>
                  <a:lnTo>
                    <a:pt x="1352442" y="114965"/>
                  </a:lnTo>
                  <a:cubicBezTo>
                    <a:pt x="1352442" y="100025"/>
                    <a:pt x="1342072" y="91100"/>
                    <a:pt x="1324700" y="91100"/>
                  </a:cubicBezTo>
                  <a:lnTo>
                    <a:pt x="1294705" y="91100"/>
                  </a:lnTo>
                  <a:lnTo>
                    <a:pt x="1294705" y="103831"/>
                  </a:lnTo>
                  <a:lnTo>
                    <a:pt x="1324700" y="103831"/>
                  </a:lnTo>
                  <a:cubicBezTo>
                    <a:pt x="1338005" y="103831"/>
                    <a:pt x="1339711" y="109783"/>
                    <a:pt x="1339711" y="114965"/>
                  </a:cubicBezTo>
                  <a:lnTo>
                    <a:pt x="1339711" y="300354"/>
                  </a:lnTo>
                  <a:lnTo>
                    <a:pt x="1474282" y="577078"/>
                  </a:lnTo>
                  <a:cubicBezTo>
                    <a:pt x="1480928" y="590739"/>
                    <a:pt x="1475243" y="607200"/>
                    <a:pt x="1461576" y="613846"/>
                  </a:cubicBezTo>
                  <a:cubicBezTo>
                    <a:pt x="1457827" y="615673"/>
                    <a:pt x="1453708" y="616622"/>
                    <a:pt x="1449538" y="616622"/>
                  </a:cubicBezTo>
                  <a:lnTo>
                    <a:pt x="1130119" y="616622"/>
                  </a:lnTo>
                  <a:cubicBezTo>
                    <a:pt x="1114925" y="616622"/>
                    <a:pt x="1102607" y="604304"/>
                    <a:pt x="1102607" y="589109"/>
                  </a:cubicBezTo>
                  <a:cubicBezTo>
                    <a:pt x="1102607" y="585124"/>
                    <a:pt x="1103473" y="581184"/>
                    <a:pt x="1105147" y="577568"/>
                  </a:cubicBezTo>
                  <a:lnTo>
                    <a:pt x="1234250" y="298272"/>
                  </a:lnTo>
                  <a:lnTo>
                    <a:pt x="1231233" y="91100"/>
                  </a:lnTo>
                  <a:lnTo>
                    <a:pt x="1200021" y="91100"/>
                  </a:lnTo>
                  <a:cubicBezTo>
                    <a:pt x="1069582" y="91100"/>
                    <a:pt x="964025" y="139893"/>
                    <a:pt x="857775" y="249307"/>
                  </a:cubicBezTo>
                  <a:lnTo>
                    <a:pt x="856731" y="250377"/>
                  </a:lnTo>
                  <a:cubicBezTo>
                    <a:pt x="773334" y="336250"/>
                    <a:pt x="659591" y="453405"/>
                    <a:pt x="474163" y="453392"/>
                  </a:cubicBezTo>
                  <a:cubicBezTo>
                    <a:pt x="471525" y="453392"/>
                    <a:pt x="468836" y="453367"/>
                    <a:pt x="466166" y="453322"/>
                  </a:cubicBezTo>
                  <a:cubicBezTo>
                    <a:pt x="345894" y="451705"/>
                    <a:pt x="230940" y="403485"/>
                    <a:pt x="145505" y="318814"/>
                  </a:cubicBezTo>
                  <a:cubicBezTo>
                    <a:pt x="60253" y="234666"/>
                    <a:pt x="12408" y="119784"/>
                    <a:pt x="12733" y="0"/>
                  </a:cubicBezTo>
                  <a:lnTo>
                    <a:pt x="2" y="0"/>
                  </a:lnTo>
                  <a:cubicBezTo>
                    <a:pt x="-334" y="123177"/>
                    <a:pt x="48866" y="241318"/>
                    <a:pt x="136535" y="327847"/>
                  </a:cubicBezTo>
                  <a:cubicBezTo>
                    <a:pt x="224294" y="414835"/>
                    <a:pt x="342381" y="464379"/>
                    <a:pt x="465936" y="466053"/>
                  </a:cubicBezTo>
                  <a:cubicBezTo>
                    <a:pt x="468731" y="466098"/>
                    <a:pt x="471482" y="466123"/>
                    <a:pt x="474244" y="466123"/>
                  </a:cubicBezTo>
                  <a:cubicBezTo>
                    <a:pt x="664938" y="466110"/>
                    <a:pt x="780896" y="346741"/>
                    <a:pt x="865866" y="259244"/>
                  </a:cubicBezTo>
                  <a:lnTo>
                    <a:pt x="866910" y="258168"/>
                  </a:lnTo>
                  <a:cubicBezTo>
                    <a:pt x="970563" y="151434"/>
                    <a:pt x="1073299" y="103831"/>
                    <a:pt x="1200021" y="103831"/>
                  </a:cubicBezTo>
                  <a:lnTo>
                    <a:pt x="1218686" y="103831"/>
                  </a:lnTo>
                  <a:lnTo>
                    <a:pt x="1221474" y="295560"/>
                  </a:lnTo>
                  <a:lnTo>
                    <a:pt x="1093593" y="572221"/>
                  </a:lnTo>
                  <a:cubicBezTo>
                    <a:pt x="1084267" y="592400"/>
                    <a:pt x="1093065" y="616316"/>
                    <a:pt x="1113238" y="625642"/>
                  </a:cubicBezTo>
                  <a:cubicBezTo>
                    <a:pt x="1118528" y="628086"/>
                    <a:pt x="1124288" y="629353"/>
                    <a:pt x="1130119" y="629353"/>
                  </a:cubicBezTo>
                  <a:lnTo>
                    <a:pt x="1449538" y="629353"/>
                  </a:lnTo>
                  <a:cubicBezTo>
                    <a:pt x="1471761" y="629353"/>
                    <a:pt x="1489783" y="611344"/>
                    <a:pt x="1489789" y="589116"/>
                  </a:cubicBezTo>
                  <a:cubicBezTo>
                    <a:pt x="1489789" y="583017"/>
                    <a:pt x="1488401" y="576995"/>
                    <a:pt x="1485734" y="571508"/>
                  </a:cubicBezTo>
                  <a:close/>
                </a:path>
              </a:pathLst>
            </a:custGeom>
            <a:solidFill>
              <a:srgbClr val="001965"/>
            </a:solidFill>
            <a:ln w="6362"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86D277CB-DD48-43D2-B306-6E997210C95D}"/>
                </a:ext>
              </a:extLst>
            </p:cNvPr>
            <p:cNvSpPr/>
            <p:nvPr/>
          </p:nvSpPr>
          <p:spPr>
            <a:xfrm>
              <a:off x="6404001" y="2722441"/>
              <a:ext cx="57291" cy="19097"/>
            </a:xfrm>
            <a:custGeom>
              <a:avLst/>
              <a:gdLst>
                <a:gd name="connsiteX0" fmla="*/ 53682 w 57291"/>
                <a:gd name="connsiteY0" fmla="*/ 0 h 19097"/>
                <a:gd name="connsiteX1" fmla="*/ 7722 w 57291"/>
                <a:gd name="connsiteY1" fmla="*/ 388 h 19097"/>
                <a:gd name="connsiteX2" fmla="*/ 0 w 57291"/>
                <a:gd name="connsiteY2" fmla="*/ 10510 h 19097"/>
                <a:gd name="connsiteX3" fmla="*/ 27780 w 57291"/>
                <a:gd name="connsiteY3" fmla="*/ 19600 h 19097"/>
                <a:gd name="connsiteX4" fmla="*/ 60010 w 57291"/>
                <a:gd name="connsiteY4" fmla="*/ 11051 h 19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91" h="19097">
                  <a:moveTo>
                    <a:pt x="53682" y="0"/>
                  </a:moveTo>
                  <a:cubicBezTo>
                    <a:pt x="53421" y="153"/>
                    <a:pt x="26819" y="14940"/>
                    <a:pt x="7722" y="388"/>
                  </a:cubicBezTo>
                  <a:lnTo>
                    <a:pt x="0" y="10510"/>
                  </a:lnTo>
                  <a:cubicBezTo>
                    <a:pt x="7983" y="16557"/>
                    <a:pt x="17767" y="19759"/>
                    <a:pt x="27780" y="19600"/>
                  </a:cubicBezTo>
                  <a:cubicBezTo>
                    <a:pt x="39047" y="19339"/>
                    <a:pt x="50092" y="16404"/>
                    <a:pt x="60010" y="11051"/>
                  </a:cubicBezTo>
                  <a:close/>
                </a:path>
              </a:pathLst>
            </a:custGeom>
            <a:solidFill>
              <a:srgbClr val="001965"/>
            </a:solidFill>
            <a:ln w="6362"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1F3B0FF3-2176-4C34-94A0-5AB0110B51FB}"/>
                </a:ext>
              </a:extLst>
            </p:cNvPr>
            <p:cNvSpPr/>
            <p:nvPr/>
          </p:nvSpPr>
          <p:spPr>
            <a:xfrm>
              <a:off x="5910759" y="1331414"/>
              <a:ext cx="445600" cy="1521406"/>
            </a:xfrm>
            <a:custGeom>
              <a:avLst/>
              <a:gdLst>
                <a:gd name="connsiteX0" fmla="*/ 157520 w 445600"/>
                <a:gd name="connsiteY0" fmla="*/ 1298825 h 1521406"/>
                <a:gd name="connsiteX1" fmla="*/ 185243 w 445600"/>
                <a:gd name="connsiteY1" fmla="*/ 1436389 h 1521406"/>
                <a:gd name="connsiteX2" fmla="*/ 146469 w 445600"/>
                <a:gd name="connsiteY2" fmla="*/ 1514891 h 1521406"/>
                <a:gd name="connsiteX3" fmla="*/ 153217 w 445600"/>
                <a:gd name="connsiteY3" fmla="*/ 1525681 h 1521406"/>
                <a:gd name="connsiteX4" fmla="*/ 197891 w 445600"/>
                <a:gd name="connsiteY4" fmla="*/ 1437808 h 1521406"/>
                <a:gd name="connsiteX5" fmla="*/ 168730 w 445600"/>
                <a:gd name="connsiteY5" fmla="*/ 1292784 h 1521406"/>
                <a:gd name="connsiteX6" fmla="*/ 13107 w 445600"/>
                <a:gd name="connsiteY6" fmla="*/ 829608 h 1521406"/>
                <a:gd name="connsiteX7" fmla="*/ 301086 w 445600"/>
                <a:gd name="connsiteY7" fmla="*/ 350195 h 1521406"/>
                <a:gd name="connsiteX8" fmla="*/ 321902 w 445600"/>
                <a:gd name="connsiteY8" fmla="*/ 270437 h 1521406"/>
                <a:gd name="connsiteX9" fmla="*/ 349676 w 445600"/>
                <a:gd name="connsiteY9" fmla="*/ 109977 h 1521406"/>
                <a:gd name="connsiteX10" fmla="*/ 445747 w 445600"/>
                <a:gd name="connsiteY10" fmla="*/ 58057 h 1521406"/>
                <a:gd name="connsiteX11" fmla="*/ 444900 w 445600"/>
                <a:gd name="connsiteY11" fmla="*/ 45350 h 1521406"/>
                <a:gd name="connsiteX12" fmla="*/ 354895 w 445600"/>
                <a:gd name="connsiteY12" fmla="*/ 85739 h 1521406"/>
                <a:gd name="connsiteX13" fmla="*/ 312353 w 445600"/>
                <a:gd name="connsiteY13" fmla="*/ 3145 h 1521406"/>
                <a:gd name="connsiteX14" fmla="*/ 229758 w 445600"/>
                <a:gd name="connsiteY14" fmla="*/ 45684 h 1521406"/>
                <a:gd name="connsiteX15" fmla="*/ 272300 w 445600"/>
                <a:gd name="connsiteY15" fmla="*/ 128278 h 1521406"/>
                <a:gd name="connsiteX16" fmla="*/ 292276 w 445600"/>
                <a:gd name="connsiteY16" fmla="*/ 131405 h 1521406"/>
                <a:gd name="connsiteX17" fmla="*/ 326721 w 445600"/>
                <a:gd name="connsiteY17" fmla="*/ 121622 h 1521406"/>
                <a:gd name="connsiteX18" fmla="*/ 309291 w 445600"/>
                <a:gd name="connsiteY18" fmla="*/ 272166 h 1521406"/>
                <a:gd name="connsiteX19" fmla="*/ 294402 w 445600"/>
                <a:gd name="connsiteY19" fmla="*/ 339354 h 1521406"/>
                <a:gd name="connsiteX20" fmla="*/ 389 w 445600"/>
                <a:gd name="connsiteY20" fmla="*/ 830079 h 1521406"/>
                <a:gd name="connsiteX21" fmla="*/ 157520 w 445600"/>
                <a:gd name="connsiteY21" fmla="*/ 1298825 h 1521406"/>
                <a:gd name="connsiteX22" fmla="*/ 275165 w 445600"/>
                <a:gd name="connsiteY22" fmla="*/ 115814 h 1521406"/>
                <a:gd name="connsiteX23" fmla="*/ 242152 w 445600"/>
                <a:gd name="connsiteY23" fmla="*/ 48472 h 1521406"/>
                <a:gd name="connsiteX24" fmla="*/ 309495 w 445600"/>
                <a:gd name="connsiteY24" fmla="*/ 15457 h 1521406"/>
                <a:gd name="connsiteX25" fmla="*/ 342508 w 445600"/>
                <a:gd name="connsiteY25" fmla="*/ 82799 h 1521406"/>
                <a:gd name="connsiteX26" fmla="*/ 342508 w 445600"/>
                <a:gd name="connsiteY26" fmla="*/ 82805 h 1521406"/>
                <a:gd name="connsiteX27" fmla="*/ 275865 w 445600"/>
                <a:gd name="connsiteY27" fmla="*/ 116054 h 1521406"/>
                <a:gd name="connsiteX28" fmla="*/ 275165 w 445600"/>
                <a:gd name="connsiteY28" fmla="*/ 115814 h 1521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5600" h="1521406">
                  <a:moveTo>
                    <a:pt x="157520" y="1298825"/>
                  </a:moveTo>
                  <a:cubicBezTo>
                    <a:pt x="180602" y="1340769"/>
                    <a:pt x="190278" y="1388779"/>
                    <a:pt x="185243" y="1436389"/>
                  </a:cubicBezTo>
                  <a:cubicBezTo>
                    <a:pt x="180901" y="1475118"/>
                    <a:pt x="167858" y="1501529"/>
                    <a:pt x="146469" y="1514891"/>
                  </a:cubicBezTo>
                  <a:lnTo>
                    <a:pt x="153217" y="1525681"/>
                  </a:lnTo>
                  <a:cubicBezTo>
                    <a:pt x="178069" y="1510161"/>
                    <a:pt x="193098" y="1480592"/>
                    <a:pt x="197891" y="1437808"/>
                  </a:cubicBezTo>
                  <a:cubicBezTo>
                    <a:pt x="203226" y="1387621"/>
                    <a:pt x="193047" y="1337007"/>
                    <a:pt x="168730" y="1292784"/>
                  </a:cubicBezTo>
                  <a:cubicBezTo>
                    <a:pt x="95200" y="1156380"/>
                    <a:pt x="19212" y="994678"/>
                    <a:pt x="13107" y="829608"/>
                  </a:cubicBezTo>
                  <a:cubicBezTo>
                    <a:pt x="5869" y="633723"/>
                    <a:pt x="102762" y="472425"/>
                    <a:pt x="301086" y="350195"/>
                  </a:cubicBezTo>
                  <a:cubicBezTo>
                    <a:pt x="328083" y="333554"/>
                    <a:pt x="322660" y="277145"/>
                    <a:pt x="321902" y="270437"/>
                  </a:cubicBezTo>
                  <a:cubicBezTo>
                    <a:pt x="310577" y="201552"/>
                    <a:pt x="319922" y="147562"/>
                    <a:pt x="349676" y="109977"/>
                  </a:cubicBezTo>
                  <a:cubicBezTo>
                    <a:pt x="387176" y="62601"/>
                    <a:pt x="445168" y="58094"/>
                    <a:pt x="445747" y="58057"/>
                  </a:cubicBezTo>
                  <a:lnTo>
                    <a:pt x="444900" y="45350"/>
                  </a:lnTo>
                  <a:cubicBezTo>
                    <a:pt x="411391" y="49004"/>
                    <a:pt x="379894" y="63139"/>
                    <a:pt x="354895" y="85739"/>
                  </a:cubicBezTo>
                  <a:cubicBezTo>
                    <a:pt x="365953" y="51185"/>
                    <a:pt x="346913" y="14206"/>
                    <a:pt x="312353" y="3145"/>
                  </a:cubicBezTo>
                  <a:cubicBezTo>
                    <a:pt x="277800" y="-7916"/>
                    <a:pt x="240822" y="11129"/>
                    <a:pt x="229758" y="45684"/>
                  </a:cubicBezTo>
                  <a:cubicBezTo>
                    <a:pt x="218701" y="80238"/>
                    <a:pt x="237747" y="117217"/>
                    <a:pt x="272300" y="128278"/>
                  </a:cubicBezTo>
                  <a:cubicBezTo>
                    <a:pt x="278755" y="130345"/>
                    <a:pt x="285496" y="131399"/>
                    <a:pt x="292276" y="131405"/>
                  </a:cubicBezTo>
                  <a:cubicBezTo>
                    <a:pt x="304441" y="131382"/>
                    <a:pt x="316364" y="127996"/>
                    <a:pt x="326721" y="121622"/>
                  </a:cubicBezTo>
                  <a:cubicBezTo>
                    <a:pt x="305103" y="160293"/>
                    <a:pt x="299208" y="210835"/>
                    <a:pt x="309291" y="272166"/>
                  </a:cubicBezTo>
                  <a:cubicBezTo>
                    <a:pt x="310959" y="287278"/>
                    <a:pt x="311526" y="328805"/>
                    <a:pt x="294402" y="339354"/>
                  </a:cubicBezTo>
                  <a:cubicBezTo>
                    <a:pt x="91889" y="464175"/>
                    <a:pt x="-7034" y="629273"/>
                    <a:pt x="389" y="830079"/>
                  </a:cubicBezTo>
                  <a:cubicBezTo>
                    <a:pt x="6582" y="997765"/>
                    <a:pt x="83296" y="1161135"/>
                    <a:pt x="157520" y="1298825"/>
                  </a:cubicBezTo>
                  <a:close/>
                  <a:moveTo>
                    <a:pt x="275165" y="115814"/>
                  </a:moveTo>
                  <a:cubicBezTo>
                    <a:pt x="247455" y="106335"/>
                    <a:pt x="232674" y="76185"/>
                    <a:pt x="242152" y="48472"/>
                  </a:cubicBezTo>
                  <a:cubicBezTo>
                    <a:pt x="251631" y="20759"/>
                    <a:pt x="281779" y="5978"/>
                    <a:pt x="309495" y="15457"/>
                  </a:cubicBezTo>
                  <a:cubicBezTo>
                    <a:pt x="337205" y="24936"/>
                    <a:pt x="351986" y="55087"/>
                    <a:pt x="342508" y="82799"/>
                  </a:cubicBezTo>
                  <a:cubicBezTo>
                    <a:pt x="342508" y="82801"/>
                    <a:pt x="342508" y="82803"/>
                    <a:pt x="342508" y="82805"/>
                  </a:cubicBezTo>
                  <a:cubicBezTo>
                    <a:pt x="333284" y="110388"/>
                    <a:pt x="303448" y="125274"/>
                    <a:pt x="275865" y="116054"/>
                  </a:cubicBezTo>
                  <a:cubicBezTo>
                    <a:pt x="275630" y="115976"/>
                    <a:pt x="275400" y="115896"/>
                    <a:pt x="275165" y="115814"/>
                  </a:cubicBezTo>
                  <a:close/>
                </a:path>
              </a:pathLst>
            </a:custGeom>
            <a:solidFill>
              <a:srgbClr val="001965"/>
            </a:solidFill>
            <a:ln w="6362"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DC554948-3CBC-432E-B294-0DF3EE51C421}"/>
                </a:ext>
              </a:extLst>
            </p:cNvPr>
            <p:cNvSpPr/>
            <p:nvPr/>
          </p:nvSpPr>
          <p:spPr>
            <a:xfrm>
              <a:off x="6202813" y="1404720"/>
              <a:ext cx="693863" cy="668400"/>
            </a:xfrm>
            <a:custGeom>
              <a:avLst/>
              <a:gdLst>
                <a:gd name="connsiteX0" fmla="*/ 122056 w 693863"/>
                <a:gd name="connsiteY0" fmla="*/ 133177 h 668400"/>
                <a:gd name="connsiteX1" fmla="*/ 106027 w 693863"/>
                <a:gd name="connsiteY1" fmla="*/ 157458 h 668400"/>
                <a:gd name="connsiteX2" fmla="*/ 130567 w 693863"/>
                <a:gd name="connsiteY2" fmla="*/ 195870 h 668400"/>
                <a:gd name="connsiteX3" fmla="*/ 137982 w 693863"/>
                <a:gd name="connsiteY3" fmla="*/ 185526 h 668400"/>
                <a:gd name="connsiteX4" fmla="*/ 118752 w 693863"/>
                <a:gd name="connsiteY4" fmla="*/ 157818 h 668400"/>
                <a:gd name="connsiteX5" fmla="*/ 128873 w 693863"/>
                <a:gd name="connsiteY5" fmla="*/ 143931 h 668400"/>
                <a:gd name="connsiteX6" fmla="*/ 137467 w 693863"/>
                <a:gd name="connsiteY6" fmla="*/ 142607 h 668400"/>
                <a:gd name="connsiteX7" fmla="*/ 164750 w 693863"/>
                <a:gd name="connsiteY7" fmla="*/ 172745 h 668400"/>
                <a:gd name="connsiteX8" fmla="*/ 168436 w 693863"/>
                <a:gd name="connsiteY8" fmla="*/ 180161 h 668400"/>
                <a:gd name="connsiteX9" fmla="*/ 174649 w 693863"/>
                <a:gd name="connsiteY9" fmla="*/ 174696 h 668400"/>
                <a:gd name="connsiteX10" fmla="*/ 251719 w 693863"/>
                <a:gd name="connsiteY10" fmla="*/ 34651 h 668400"/>
                <a:gd name="connsiteX11" fmla="*/ 311646 w 693863"/>
                <a:gd name="connsiteY11" fmla="*/ 217261 h 668400"/>
                <a:gd name="connsiteX12" fmla="*/ 279181 w 693863"/>
                <a:gd name="connsiteY12" fmla="*/ 210162 h 668400"/>
                <a:gd name="connsiteX13" fmla="*/ 277360 w 693863"/>
                <a:gd name="connsiteY13" fmla="*/ 215564 h 668400"/>
                <a:gd name="connsiteX14" fmla="*/ 236492 w 693863"/>
                <a:gd name="connsiteY14" fmla="*/ 306269 h 668400"/>
                <a:gd name="connsiteX15" fmla="*/ 140249 w 693863"/>
                <a:gd name="connsiteY15" fmla="*/ 285549 h 668400"/>
                <a:gd name="connsiteX16" fmla="*/ 136506 w 693863"/>
                <a:gd name="connsiteY16" fmla="*/ 282689 h 668400"/>
                <a:gd name="connsiteX17" fmla="*/ 63090 w 693863"/>
                <a:gd name="connsiteY17" fmla="*/ 285450 h 668400"/>
                <a:gd name="connsiteX18" fmla="*/ 731 w 693863"/>
                <a:gd name="connsiteY18" fmla="*/ 402618 h 668400"/>
                <a:gd name="connsiteX19" fmla="*/ 84008 w 693863"/>
                <a:gd name="connsiteY19" fmla="*/ 471740 h 668400"/>
                <a:gd name="connsiteX20" fmla="*/ 100889 w 693863"/>
                <a:gd name="connsiteY20" fmla="*/ 475886 h 668400"/>
                <a:gd name="connsiteX21" fmla="*/ 191302 w 693863"/>
                <a:gd name="connsiteY21" fmla="*/ 567782 h 668400"/>
                <a:gd name="connsiteX22" fmla="*/ 189061 w 693863"/>
                <a:gd name="connsiteY22" fmla="*/ 588152 h 668400"/>
                <a:gd name="connsiteX23" fmla="*/ 187444 w 693863"/>
                <a:gd name="connsiteY23" fmla="*/ 603086 h 668400"/>
                <a:gd name="connsiteX24" fmla="*/ 204479 w 693863"/>
                <a:gd name="connsiteY24" fmla="*/ 656246 h 668400"/>
                <a:gd name="connsiteX25" fmla="*/ 270669 w 693863"/>
                <a:gd name="connsiteY25" fmla="*/ 674331 h 668400"/>
                <a:gd name="connsiteX26" fmla="*/ 296826 w 693863"/>
                <a:gd name="connsiteY26" fmla="*/ 673326 h 668400"/>
                <a:gd name="connsiteX27" fmla="*/ 693964 w 693863"/>
                <a:gd name="connsiteY27" fmla="*/ 666164 h 668400"/>
                <a:gd name="connsiteX28" fmla="*/ 693894 w 693863"/>
                <a:gd name="connsiteY28" fmla="*/ 662300 h 668400"/>
                <a:gd name="connsiteX29" fmla="*/ 693920 w 693863"/>
                <a:gd name="connsiteY29" fmla="*/ 662300 h 668400"/>
                <a:gd name="connsiteX30" fmla="*/ 693773 w 693863"/>
                <a:gd name="connsiteY30" fmla="*/ 655540 h 668400"/>
                <a:gd name="connsiteX31" fmla="*/ 693735 w 693863"/>
                <a:gd name="connsiteY31" fmla="*/ 653433 h 668400"/>
                <a:gd name="connsiteX32" fmla="*/ 693729 w 693863"/>
                <a:gd name="connsiteY32" fmla="*/ 653433 h 668400"/>
                <a:gd name="connsiteX33" fmla="*/ 693646 w 693863"/>
                <a:gd name="connsiteY33" fmla="*/ 649569 h 668400"/>
                <a:gd name="connsiteX34" fmla="*/ 589286 w 693863"/>
                <a:gd name="connsiteY34" fmla="*/ 651809 h 668400"/>
                <a:gd name="connsiteX35" fmla="*/ 588446 w 693863"/>
                <a:gd name="connsiteY35" fmla="*/ 605212 h 668400"/>
                <a:gd name="connsiteX36" fmla="*/ 637188 w 693863"/>
                <a:gd name="connsiteY36" fmla="*/ 604334 h 668400"/>
                <a:gd name="connsiteX37" fmla="*/ 636959 w 693863"/>
                <a:gd name="connsiteY37" fmla="*/ 591602 h 668400"/>
                <a:gd name="connsiteX38" fmla="*/ 534013 w 693863"/>
                <a:gd name="connsiteY38" fmla="*/ 593455 h 668400"/>
                <a:gd name="connsiteX39" fmla="*/ 534242 w 693863"/>
                <a:gd name="connsiteY39" fmla="*/ 606186 h 668400"/>
                <a:gd name="connsiteX40" fmla="*/ 575715 w 693863"/>
                <a:gd name="connsiteY40" fmla="*/ 605435 h 668400"/>
                <a:gd name="connsiteX41" fmla="*/ 576561 w 693863"/>
                <a:gd name="connsiteY41" fmla="*/ 652083 h 668400"/>
                <a:gd name="connsiteX42" fmla="*/ 472705 w 693863"/>
                <a:gd name="connsiteY42" fmla="*/ 654311 h 668400"/>
                <a:gd name="connsiteX43" fmla="*/ 363698 w 693863"/>
                <a:gd name="connsiteY43" fmla="*/ 549356 h 668400"/>
                <a:gd name="connsiteX44" fmla="*/ 398506 w 693863"/>
                <a:gd name="connsiteY44" fmla="*/ 468334 h 668400"/>
                <a:gd name="connsiteX45" fmla="*/ 413433 w 693863"/>
                <a:gd name="connsiteY45" fmla="*/ 472635 h 668400"/>
                <a:gd name="connsiteX46" fmla="*/ 413682 w 693863"/>
                <a:gd name="connsiteY46" fmla="*/ 472635 h 668400"/>
                <a:gd name="connsiteX47" fmla="*/ 441850 w 693863"/>
                <a:gd name="connsiteY47" fmla="*/ 443989 h 668400"/>
                <a:gd name="connsiteX48" fmla="*/ 441691 w 693863"/>
                <a:gd name="connsiteY48" fmla="*/ 442473 h 668400"/>
                <a:gd name="connsiteX49" fmla="*/ 475869 w 693863"/>
                <a:gd name="connsiteY49" fmla="*/ 476079 h 668400"/>
                <a:gd name="connsiteX50" fmla="*/ 487995 w 693863"/>
                <a:gd name="connsiteY50" fmla="*/ 481991 h 668400"/>
                <a:gd name="connsiteX51" fmla="*/ 489822 w 693863"/>
                <a:gd name="connsiteY51" fmla="*/ 482084 h 668400"/>
                <a:gd name="connsiteX52" fmla="*/ 500727 w 693863"/>
                <a:gd name="connsiteY52" fmla="*/ 477683 h 668400"/>
                <a:gd name="connsiteX53" fmla="*/ 502025 w 693863"/>
                <a:gd name="connsiteY53" fmla="*/ 476359 h 668400"/>
                <a:gd name="connsiteX54" fmla="*/ 507041 w 693863"/>
                <a:gd name="connsiteY54" fmla="*/ 481288 h 668400"/>
                <a:gd name="connsiteX55" fmla="*/ 517927 w 693863"/>
                <a:gd name="connsiteY55" fmla="*/ 485746 h 668400"/>
                <a:gd name="connsiteX56" fmla="*/ 518054 w 693863"/>
                <a:gd name="connsiteY56" fmla="*/ 485746 h 668400"/>
                <a:gd name="connsiteX57" fmla="*/ 528990 w 693863"/>
                <a:gd name="connsiteY57" fmla="*/ 481108 h 668400"/>
                <a:gd name="connsiteX58" fmla="*/ 540474 w 693863"/>
                <a:gd name="connsiteY58" fmla="*/ 469427 h 668400"/>
                <a:gd name="connsiteX59" fmla="*/ 540290 w 693863"/>
                <a:gd name="connsiteY59" fmla="*/ 447486 h 668400"/>
                <a:gd name="connsiteX60" fmla="*/ 540290 w 693863"/>
                <a:gd name="connsiteY60" fmla="*/ 447483 h 668400"/>
                <a:gd name="connsiteX61" fmla="*/ 535267 w 693863"/>
                <a:gd name="connsiteY61" fmla="*/ 442547 h 668400"/>
                <a:gd name="connsiteX62" fmla="*/ 539360 w 693863"/>
                <a:gd name="connsiteY62" fmla="*/ 429747 h 668400"/>
                <a:gd name="connsiteX63" fmla="*/ 533249 w 693863"/>
                <a:gd name="connsiteY63" fmla="*/ 417724 h 668400"/>
                <a:gd name="connsiteX64" fmla="*/ 449215 w 693863"/>
                <a:gd name="connsiteY64" fmla="*/ 335102 h 668400"/>
                <a:gd name="connsiteX65" fmla="*/ 437088 w 693863"/>
                <a:gd name="connsiteY65" fmla="*/ 329189 h 668400"/>
                <a:gd name="connsiteX66" fmla="*/ 424357 w 693863"/>
                <a:gd name="connsiteY66" fmla="*/ 333497 h 668400"/>
                <a:gd name="connsiteX67" fmla="*/ 389817 w 693863"/>
                <a:gd name="connsiteY67" fmla="*/ 368633 h 668400"/>
                <a:gd name="connsiteX68" fmla="*/ 385724 w 693863"/>
                <a:gd name="connsiteY68" fmla="*/ 381433 h 668400"/>
                <a:gd name="connsiteX69" fmla="*/ 391834 w 693863"/>
                <a:gd name="connsiteY69" fmla="*/ 393456 h 668400"/>
                <a:gd name="connsiteX70" fmla="*/ 414726 w 693863"/>
                <a:gd name="connsiteY70" fmla="*/ 415962 h 668400"/>
                <a:gd name="connsiteX71" fmla="*/ 385068 w 693863"/>
                <a:gd name="connsiteY71" fmla="*/ 442680 h 668400"/>
                <a:gd name="connsiteX72" fmla="*/ 389435 w 693863"/>
                <a:gd name="connsiteY72" fmla="*/ 459288 h 668400"/>
                <a:gd name="connsiteX73" fmla="*/ 382719 w 693863"/>
                <a:gd name="connsiteY73" fmla="*/ 628479 h 668400"/>
                <a:gd name="connsiteX74" fmla="*/ 425859 w 693863"/>
                <a:gd name="connsiteY74" fmla="*/ 658271 h 668400"/>
                <a:gd name="connsiteX75" fmla="*/ 296266 w 693863"/>
                <a:gd name="connsiteY75" fmla="*/ 660613 h 668400"/>
                <a:gd name="connsiteX76" fmla="*/ 213238 w 693863"/>
                <a:gd name="connsiteY76" fmla="*/ 647010 h 668400"/>
                <a:gd name="connsiteX77" fmla="*/ 200157 w 693863"/>
                <a:gd name="connsiteY77" fmla="*/ 603659 h 668400"/>
                <a:gd name="connsiteX78" fmla="*/ 201710 w 693863"/>
                <a:gd name="connsiteY78" fmla="*/ 589559 h 668400"/>
                <a:gd name="connsiteX79" fmla="*/ 204040 w 693863"/>
                <a:gd name="connsiteY79" fmla="*/ 567553 h 668400"/>
                <a:gd name="connsiteX80" fmla="*/ 103926 w 693863"/>
                <a:gd name="connsiteY80" fmla="*/ 463529 h 668400"/>
                <a:gd name="connsiteX81" fmla="*/ 86834 w 693863"/>
                <a:gd name="connsiteY81" fmla="*/ 459332 h 668400"/>
                <a:gd name="connsiteX82" fmla="*/ 13380 w 693863"/>
                <a:gd name="connsiteY82" fmla="*/ 401164 h 668400"/>
                <a:gd name="connsiteX83" fmla="*/ 69411 w 693863"/>
                <a:gd name="connsiteY83" fmla="*/ 296503 h 668400"/>
                <a:gd name="connsiteX84" fmla="*/ 128829 w 693863"/>
                <a:gd name="connsiteY84" fmla="*/ 292848 h 668400"/>
                <a:gd name="connsiteX85" fmla="*/ 132495 w 693863"/>
                <a:gd name="connsiteY85" fmla="*/ 295645 h 668400"/>
                <a:gd name="connsiteX86" fmla="*/ 245754 w 693863"/>
                <a:gd name="connsiteY86" fmla="*/ 314997 h 668400"/>
                <a:gd name="connsiteX87" fmla="*/ 287564 w 693863"/>
                <a:gd name="connsiteY87" fmla="*/ 225026 h 668400"/>
                <a:gd name="connsiteX88" fmla="*/ 322576 w 693863"/>
                <a:gd name="connsiteY88" fmla="*/ 232678 h 668400"/>
                <a:gd name="connsiteX89" fmla="*/ 323480 w 693863"/>
                <a:gd name="connsiteY89" fmla="*/ 225821 h 668400"/>
                <a:gd name="connsiteX90" fmla="*/ 250357 w 693863"/>
                <a:gd name="connsiteY90" fmla="*/ 12849 h 668400"/>
                <a:gd name="connsiteX91" fmla="*/ 238504 w 693863"/>
                <a:gd name="connsiteY91" fmla="*/ 0 h 668400"/>
                <a:gd name="connsiteX92" fmla="*/ 239325 w 693863"/>
                <a:gd name="connsiteY92" fmla="*/ 17462 h 668400"/>
                <a:gd name="connsiteX93" fmla="*/ 172007 w 693863"/>
                <a:gd name="connsiteY93" fmla="*/ 159628 h 668400"/>
                <a:gd name="connsiteX94" fmla="*/ 140905 w 693863"/>
                <a:gd name="connsiteY94" fmla="*/ 130348 h 668400"/>
                <a:gd name="connsiteX95" fmla="*/ 122056 w 693863"/>
                <a:gd name="connsiteY95" fmla="*/ 133177 h 668400"/>
                <a:gd name="connsiteX96" fmla="*/ 531390 w 693863"/>
                <a:gd name="connsiteY96" fmla="*/ 460501 h 668400"/>
                <a:gd name="connsiteX97" fmla="*/ 519913 w 693863"/>
                <a:gd name="connsiteY97" fmla="*/ 472182 h 668400"/>
                <a:gd name="connsiteX98" fmla="*/ 517933 w 693863"/>
                <a:gd name="connsiteY98" fmla="*/ 473015 h 668400"/>
                <a:gd name="connsiteX99" fmla="*/ 515973 w 693863"/>
                <a:gd name="connsiteY99" fmla="*/ 472213 h 668400"/>
                <a:gd name="connsiteX100" fmla="*/ 510956 w 693863"/>
                <a:gd name="connsiteY100" fmla="*/ 467281 h 668400"/>
                <a:gd name="connsiteX101" fmla="*/ 526342 w 693863"/>
                <a:gd name="connsiteY101" fmla="*/ 451625 h 668400"/>
                <a:gd name="connsiteX102" fmla="*/ 531365 w 693863"/>
                <a:gd name="connsiteY102" fmla="*/ 456559 h 668400"/>
                <a:gd name="connsiteX103" fmla="*/ 532192 w 693863"/>
                <a:gd name="connsiteY103" fmla="*/ 458524 h 668400"/>
                <a:gd name="connsiteX104" fmla="*/ 531390 w 693863"/>
                <a:gd name="connsiteY104" fmla="*/ 460501 h 668400"/>
                <a:gd name="connsiteX105" fmla="*/ 398359 w 693863"/>
                <a:gd name="connsiteY105" fmla="*/ 379885 h 668400"/>
                <a:gd name="connsiteX106" fmla="*/ 398888 w 693863"/>
                <a:gd name="connsiteY106" fmla="*/ 377560 h 668400"/>
                <a:gd name="connsiteX107" fmla="*/ 433435 w 693863"/>
                <a:gd name="connsiteY107" fmla="*/ 342424 h 668400"/>
                <a:gd name="connsiteX108" fmla="*/ 435236 w 693863"/>
                <a:gd name="connsiteY108" fmla="*/ 341828 h 668400"/>
                <a:gd name="connsiteX109" fmla="*/ 435752 w 693863"/>
                <a:gd name="connsiteY109" fmla="*/ 341852 h 668400"/>
                <a:gd name="connsiteX110" fmla="*/ 440284 w 693863"/>
                <a:gd name="connsiteY110" fmla="*/ 344177 h 668400"/>
                <a:gd name="connsiteX111" fmla="*/ 524324 w 693863"/>
                <a:gd name="connsiteY111" fmla="*/ 426801 h 668400"/>
                <a:gd name="connsiteX112" fmla="*/ 526724 w 693863"/>
                <a:gd name="connsiteY112" fmla="*/ 431295 h 668400"/>
                <a:gd name="connsiteX113" fmla="*/ 526196 w 693863"/>
                <a:gd name="connsiteY113" fmla="*/ 433621 h 668400"/>
                <a:gd name="connsiteX114" fmla="*/ 491649 w 693863"/>
                <a:gd name="connsiteY114" fmla="*/ 468757 h 668400"/>
                <a:gd name="connsiteX115" fmla="*/ 489338 w 693863"/>
                <a:gd name="connsiteY115" fmla="*/ 469328 h 668400"/>
                <a:gd name="connsiteX116" fmla="*/ 484799 w 693863"/>
                <a:gd name="connsiteY116" fmla="*/ 467004 h 668400"/>
                <a:gd name="connsiteX117" fmla="*/ 400759 w 693863"/>
                <a:gd name="connsiteY117" fmla="*/ 384380 h 668400"/>
                <a:gd name="connsiteX118" fmla="*/ 398359 w 693863"/>
                <a:gd name="connsiteY118" fmla="*/ 379885 h 668400"/>
                <a:gd name="connsiteX119" fmla="*/ 402261 w 693863"/>
                <a:gd name="connsiteY119" fmla="*/ 433235 h 668400"/>
                <a:gd name="connsiteX120" fmla="*/ 424427 w 693863"/>
                <a:gd name="connsiteY120" fmla="*/ 433051 h 668400"/>
                <a:gd name="connsiteX121" fmla="*/ 424612 w 693863"/>
                <a:gd name="connsiteY121" fmla="*/ 455220 h 668400"/>
                <a:gd name="connsiteX122" fmla="*/ 413574 w 693863"/>
                <a:gd name="connsiteY122" fmla="*/ 459904 h 668400"/>
                <a:gd name="connsiteX123" fmla="*/ 413433 w 693863"/>
                <a:gd name="connsiteY123" fmla="*/ 459904 h 668400"/>
                <a:gd name="connsiteX124" fmla="*/ 397761 w 693863"/>
                <a:gd name="connsiteY124" fmla="*/ 444225 h 668400"/>
                <a:gd name="connsiteX125" fmla="*/ 402261 w 693863"/>
                <a:gd name="connsiteY125" fmla="*/ 433235 h 6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693863" h="668400">
                  <a:moveTo>
                    <a:pt x="122056" y="133177"/>
                  </a:moveTo>
                  <a:cubicBezTo>
                    <a:pt x="112851" y="137934"/>
                    <a:pt x="106784" y="147128"/>
                    <a:pt x="106027" y="157458"/>
                  </a:cubicBezTo>
                  <a:cubicBezTo>
                    <a:pt x="105460" y="177283"/>
                    <a:pt x="127995" y="194030"/>
                    <a:pt x="130567" y="195870"/>
                  </a:cubicBezTo>
                  <a:lnTo>
                    <a:pt x="137982" y="185526"/>
                  </a:lnTo>
                  <a:cubicBezTo>
                    <a:pt x="132896" y="181876"/>
                    <a:pt x="118433" y="168953"/>
                    <a:pt x="118752" y="157818"/>
                  </a:cubicBezTo>
                  <a:cubicBezTo>
                    <a:pt x="119515" y="151759"/>
                    <a:pt x="123341" y="146517"/>
                    <a:pt x="128873" y="143931"/>
                  </a:cubicBezTo>
                  <a:cubicBezTo>
                    <a:pt x="131381" y="142202"/>
                    <a:pt x="134545" y="141714"/>
                    <a:pt x="137467" y="142607"/>
                  </a:cubicBezTo>
                  <a:cubicBezTo>
                    <a:pt x="149173" y="145870"/>
                    <a:pt x="161128" y="165471"/>
                    <a:pt x="164750" y="172745"/>
                  </a:cubicBezTo>
                  <a:lnTo>
                    <a:pt x="168436" y="180161"/>
                  </a:lnTo>
                  <a:lnTo>
                    <a:pt x="174649" y="174696"/>
                  </a:lnTo>
                  <a:cubicBezTo>
                    <a:pt x="177743" y="171979"/>
                    <a:pt x="245404" y="111617"/>
                    <a:pt x="251719" y="34651"/>
                  </a:cubicBezTo>
                  <a:cubicBezTo>
                    <a:pt x="273369" y="63172"/>
                    <a:pt x="319597" y="134761"/>
                    <a:pt x="311646" y="217261"/>
                  </a:cubicBezTo>
                  <a:lnTo>
                    <a:pt x="279181" y="210162"/>
                  </a:lnTo>
                  <a:lnTo>
                    <a:pt x="277360" y="215564"/>
                  </a:lnTo>
                  <a:cubicBezTo>
                    <a:pt x="270453" y="236059"/>
                    <a:pt x="249644" y="292307"/>
                    <a:pt x="236492" y="306269"/>
                  </a:cubicBezTo>
                  <a:cubicBezTo>
                    <a:pt x="210870" y="333435"/>
                    <a:pt x="173459" y="311043"/>
                    <a:pt x="140249" y="285549"/>
                  </a:cubicBezTo>
                  <a:lnTo>
                    <a:pt x="136506" y="282689"/>
                  </a:lnTo>
                  <a:cubicBezTo>
                    <a:pt x="118013" y="268721"/>
                    <a:pt x="90571" y="269740"/>
                    <a:pt x="63090" y="285450"/>
                  </a:cubicBezTo>
                  <a:cubicBezTo>
                    <a:pt x="27658" y="305703"/>
                    <a:pt x="-5367" y="349784"/>
                    <a:pt x="731" y="402618"/>
                  </a:cubicBezTo>
                  <a:cubicBezTo>
                    <a:pt x="6390" y="451673"/>
                    <a:pt x="66063" y="467967"/>
                    <a:pt x="84008" y="471740"/>
                  </a:cubicBezTo>
                  <a:lnTo>
                    <a:pt x="100889" y="475886"/>
                  </a:lnTo>
                  <a:cubicBezTo>
                    <a:pt x="160078" y="490421"/>
                    <a:pt x="188819" y="519626"/>
                    <a:pt x="191302" y="567782"/>
                  </a:cubicBezTo>
                  <a:cubicBezTo>
                    <a:pt x="191105" y="569857"/>
                    <a:pt x="190016" y="579552"/>
                    <a:pt x="189061" y="588152"/>
                  </a:cubicBezTo>
                  <a:cubicBezTo>
                    <a:pt x="187450" y="602539"/>
                    <a:pt x="187450" y="602596"/>
                    <a:pt x="187444" y="603086"/>
                  </a:cubicBezTo>
                  <a:cubicBezTo>
                    <a:pt x="187037" y="627957"/>
                    <a:pt x="192448" y="644845"/>
                    <a:pt x="204479" y="656246"/>
                  </a:cubicBezTo>
                  <a:cubicBezTo>
                    <a:pt x="217522" y="668608"/>
                    <a:pt x="237988" y="674331"/>
                    <a:pt x="270669" y="674331"/>
                  </a:cubicBezTo>
                  <a:cubicBezTo>
                    <a:pt x="278633" y="674331"/>
                    <a:pt x="287341" y="673988"/>
                    <a:pt x="296826" y="673326"/>
                  </a:cubicBezTo>
                  <a:lnTo>
                    <a:pt x="693964" y="666164"/>
                  </a:lnTo>
                  <a:lnTo>
                    <a:pt x="693894" y="662300"/>
                  </a:lnTo>
                  <a:lnTo>
                    <a:pt x="693920" y="662300"/>
                  </a:lnTo>
                  <a:lnTo>
                    <a:pt x="693773" y="655540"/>
                  </a:lnTo>
                  <a:lnTo>
                    <a:pt x="693735" y="653433"/>
                  </a:lnTo>
                  <a:lnTo>
                    <a:pt x="693729" y="653433"/>
                  </a:lnTo>
                  <a:lnTo>
                    <a:pt x="693646" y="649569"/>
                  </a:lnTo>
                  <a:lnTo>
                    <a:pt x="589286" y="651809"/>
                  </a:lnTo>
                  <a:lnTo>
                    <a:pt x="588446" y="605212"/>
                  </a:lnTo>
                  <a:lnTo>
                    <a:pt x="637188" y="604334"/>
                  </a:lnTo>
                  <a:lnTo>
                    <a:pt x="636959" y="591602"/>
                  </a:lnTo>
                  <a:lnTo>
                    <a:pt x="534013" y="593455"/>
                  </a:lnTo>
                  <a:lnTo>
                    <a:pt x="534242" y="606186"/>
                  </a:lnTo>
                  <a:lnTo>
                    <a:pt x="575715" y="605435"/>
                  </a:lnTo>
                  <a:lnTo>
                    <a:pt x="576561" y="652083"/>
                  </a:lnTo>
                  <a:lnTo>
                    <a:pt x="472705" y="654311"/>
                  </a:lnTo>
                  <a:cubicBezTo>
                    <a:pt x="413618" y="655431"/>
                    <a:pt x="364812" y="608440"/>
                    <a:pt x="363698" y="549356"/>
                  </a:cubicBezTo>
                  <a:cubicBezTo>
                    <a:pt x="363113" y="518600"/>
                    <a:pt x="375799" y="489082"/>
                    <a:pt x="398506" y="468334"/>
                  </a:cubicBezTo>
                  <a:cubicBezTo>
                    <a:pt x="402981" y="471139"/>
                    <a:pt x="408150" y="472629"/>
                    <a:pt x="413433" y="472635"/>
                  </a:cubicBezTo>
                  <a:lnTo>
                    <a:pt x="413682" y="472635"/>
                  </a:lnTo>
                  <a:cubicBezTo>
                    <a:pt x="429367" y="472500"/>
                    <a:pt x="441977" y="459677"/>
                    <a:pt x="441850" y="443989"/>
                  </a:cubicBezTo>
                  <a:cubicBezTo>
                    <a:pt x="441844" y="443474"/>
                    <a:pt x="441723" y="442984"/>
                    <a:pt x="441691" y="442473"/>
                  </a:cubicBezTo>
                  <a:lnTo>
                    <a:pt x="475869" y="476079"/>
                  </a:lnTo>
                  <a:cubicBezTo>
                    <a:pt x="479134" y="479355"/>
                    <a:pt x="483405" y="481438"/>
                    <a:pt x="487995" y="481991"/>
                  </a:cubicBezTo>
                  <a:cubicBezTo>
                    <a:pt x="488600" y="482053"/>
                    <a:pt x="489211" y="482084"/>
                    <a:pt x="489822" y="482084"/>
                  </a:cubicBezTo>
                  <a:cubicBezTo>
                    <a:pt x="493903" y="482145"/>
                    <a:pt x="497830" y="480559"/>
                    <a:pt x="500727" y="477683"/>
                  </a:cubicBezTo>
                  <a:lnTo>
                    <a:pt x="502025" y="476359"/>
                  </a:lnTo>
                  <a:lnTo>
                    <a:pt x="507041" y="481288"/>
                  </a:lnTo>
                  <a:cubicBezTo>
                    <a:pt x="509938" y="484154"/>
                    <a:pt x="513853" y="485756"/>
                    <a:pt x="517927" y="485746"/>
                  </a:cubicBezTo>
                  <a:lnTo>
                    <a:pt x="518054" y="485746"/>
                  </a:lnTo>
                  <a:cubicBezTo>
                    <a:pt x="522173" y="485721"/>
                    <a:pt x="526113" y="484052"/>
                    <a:pt x="528990" y="481108"/>
                  </a:cubicBezTo>
                  <a:lnTo>
                    <a:pt x="540474" y="469427"/>
                  </a:lnTo>
                  <a:cubicBezTo>
                    <a:pt x="546483" y="463319"/>
                    <a:pt x="546400" y="453496"/>
                    <a:pt x="540290" y="447486"/>
                  </a:cubicBezTo>
                  <a:cubicBezTo>
                    <a:pt x="540290" y="447485"/>
                    <a:pt x="540290" y="447484"/>
                    <a:pt x="540290" y="447483"/>
                  </a:cubicBezTo>
                  <a:lnTo>
                    <a:pt x="535267" y="442547"/>
                  </a:lnTo>
                  <a:cubicBezTo>
                    <a:pt x="538520" y="439131"/>
                    <a:pt x="540029" y="434415"/>
                    <a:pt x="539360" y="429747"/>
                  </a:cubicBezTo>
                  <a:cubicBezTo>
                    <a:pt x="538736" y="425166"/>
                    <a:pt x="536585" y="420931"/>
                    <a:pt x="533249" y="417724"/>
                  </a:cubicBezTo>
                  <a:lnTo>
                    <a:pt x="449215" y="335102"/>
                  </a:lnTo>
                  <a:cubicBezTo>
                    <a:pt x="445950" y="331825"/>
                    <a:pt x="441678" y="329743"/>
                    <a:pt x="437088" y="329189"/>
                  </a:cubicBezTo>
                  <a:cubicBezTo>
                    <a:pt x="432410" y="328600"/>
                    <a:pt x="427718" y="330188"/>
                    <a:pt x="424357" y="333497"/>
                  </a:cubicBezTo>
                  <a:lnTo>
                    <a:pt x="389817" y="368633"/>
                  </a:lnTo>
                  <a:cubicBezTo>
                    <a:pt x="386564" y="372048"/>
                    <a:pt x="385055" y="376765"/>
                    <a:pt x="385724" y="381433"/>
                  </a:cubicBezTo>
                  <a:cubicBezTo>
                    <a:pt x="386347" y="386014"/>
                    <a:pt x="388499" y="390250"/>
                    <a:pt x="391834" y="393456"/>
                  </a:cubicBezTo>
                  <a:lnTo>
                    <a:pt x="414726" y="415962"/>
                  </a:lnTo>
                  <a:cubicBezTo>
                    <a:pt x="399155" y="415151"/>
                    <a:pt x="385883" y="427114"/>
                    <a:pt x="385068" y="442680"/>
                  </a:cubicBezTo>
                  <a:cubicBezTo>
                    <a:pt x="384762" y="448535"/>
                    <a:pt x="386290" y="454340"/>
                    <a:pt x="389435" y="459288"/>
                  </a:cubicBezTo>
                  <a:cubicBezTo>
                    <a:pt x="340858" y="504155"/>
                    <a:pt x="337853" y="579902"/>
                    <a:pt x="382719" y="628479"/>
                  </a:cubicBezTo>
                  <a:cubicBezTo>
                    <a:pt x="394725" y="641478"/>
                    <a:pt x="409455" y="651650"/>
                    <a:pt x="425859" y="658271"/>
                  </a:cubicBezTo>
                  <a:lnTo>
                    <a:pt x="296266" y="660613"/>
                  </a:lnTo>
                  <a:cubicBezTo>
                    <a:pt x="252044" y="663713"/>
                    <a:pt x="226440" y="659518"/>
                    <a:pt x="213238" y="647010"/>
                  </a:cubicBezTo>
                  <a:cubicBezTo>
                    <a:pt x="203982" y="638231"/>
                    <a:pt x="199826" y="624341"/>
                    <a:pt x="200157" y="603659"/>
                  </a:cubicBezTo>
                  <a:cubicBezTo>
                    <a:pt x="200227" y="602844"/>
                    <a:pt x="200927" y="596574"/>
                    <a:pt x="201710" y="589559"/>
                  </a:cubicBezTo>
                  <a:cubicBezTo>
                    <a:pt x="204078" y="568393"/>
                    <a:pt x="204071" y="568329"/>
                    <a:pt x="204040" y="567553"/>
                  </a:cubicBezTo>
                  <a:cubicBezTo>
                    <a:pt x="201410" y="513454"/>
                    <a:pt x="168665" y="479418"/>
                    <a:pt x="103926" y="463529"/>
                  </a:cubicBezTo>
                  <a:lnTo>
                    <a:pt x="86834" y="459332"/>
                  </a:lnTo>
                  <a:cubicBezTo>
                    <a:pt x="70786" y="455951"/>
                    <a:pt x="18065" y="441758"/>
                    <a:pt x="13380" y="401164"/>
                  </a:cubicBezTo>
                  <a:cubicBezTo>
                    <a:pt x="7944" y="354093"/>
                    <a:pt x="37608" y="314680"/>
                    <a:pt x="69411" y="296503"/>
                  </a:cubicBezTo>
                  <a:cubicBezTo>
                    <a:pt x="92315" y="283405"/>
                    <a:pt x="114531" y="282043"/>
                    <a:pt x="128829" y="292848"/>
                  </a:cubicBezTo>
                  <a:lnTo>
                    <a:pt x="132495" y="295645"/>
                  </a:lnTo>
                  <a:cubicBezTo>
                    <a:pt x="155329" y="313170"/>
                    <a:pt x="208795" y="354230"/>
                    <a:pt x="245754" y="314997"/>
                  </a:cubicBezTo>
                  <a:cubicBezTo>
                    <a:pt x="260936" y="298890"/>
                    <a:pt x="281326" y="242860"/>
                    <a:pt x="287564" y="225026"/>
                  </a:cubicBezTo>
                  <a:lnTo>
                    <a:pt x="322576" y="232678"/>
                  </a:lnTo>
                  <a:lnTo>
                    <a:pt x="323480" y="225821"/>
                  </a:lnTo>
                  <a:cubicBezTo>
                    <a:pt x="338802" y="110219"/>
                    <a:pt x="253979" y="16765"/>
                    <a:pt x="250357" y="12849"/>
                  </a:cubicBezTo>
                  <a:lnTo>
                    <a:pt x="238504" y="0"/>
                  </a:lnTo>
                  <a:lnTo>
                    <a:pt x="239325" y="17462"/>
                  </a:lnTo>
                  <a:cubicBezTo>
                    <a:pt x="242425" y="83581"/>
                    <a:pt x="189793" y="141892"/>
                    <a:pt x="172007" y="159628"/>
                  </a:cubicBezTo>
                  <a:cubicBezTo>
                    <a:pt x="166144" y="149961"/>
                    <a:pt x="154769" y="134227"/>
                    <a:pt x="140905" y="130348"/>
                  </a:cubicBezTo>
                  <a:cubicBezTo>
                    <a:pt x="134507" y="128502"/>
                    <a:pt x="127626" y="129535"/>
                    <a:pt x="122056" y="133177"/>
                  </a:cubicBezTo>
                  <a:close/>
                  <a:moveTo>
                    <a:pt x="531390" y="460501"/>
                  </a:moveTo>
                  <a:lnTo>
                    <a:pt x="519913" y="472182"/>
                  </a:lnTo>
                  <a:cubicBezTo>
                    <a:pt x="519410" y="472740"/>
                    <a:pt x="518684" y="473045"/>
                    <a:pt x="517933" y="473015"/>
                  </a:cubicBezTo>
                  <a:cubicBezTo>
                    <a:pt x="517201" y="473015"/>
                    <a:pt x="516494" y="472727"/>
                    <a:pt x="515973" y="472213"/>
                  </a:cubicBezTo>
                  <a:lnTo>
                    <a:pt x="510956" y="467281"/>
                  </a:lnTo>
                  <a:lnTo>
                    <a:pt x="526342" y="451625"/>
                  </a:lnTo>
                  <a:lnTo>
                    <a:pt x="531365" y="456559"/>
                  </a:lnTo>
                  <a:cubicBezTo>
                    <a:pt x="531893" y="457078"/>
                    <a:pt x="532192" y="457784"/>
                    <a:pt x="532192" y="458524"/>
                  </a:cubicBezTo>
                  <a:cubicBezTo>
                    <a:pt x="532205" y="459264"/>
                    <a:pt x="531919" y="459977"/>
                    <a:pt x="531390" y="460501"/>
                  </a:cubicBezTo>
                  <a:close/>
                  <a:moveTo>
                    <a:pt x="398359" y="379885"/>
                  </a:moveTo>
                  <a:cubicBezTo>
                    <a:pt x="398200" y="379070"/>
                    <a:pt x="398391" y="378225"/>
                    <a:pt x="398888" y="377560"/>
                  </a:cubicBezTo>
                  <a:lnTo>
                    <a:pt x="433435" y="342424"/>
                  </a:lnTo>
                  <a:cubicBezTo>
                    <a:pt x="433931" y="341998"/>
                    <a:pt x="434580" y="341784"/>
                    <a:pt x="435236" y="341828"/>
                  </a:cubicBezTo>
                  <a:cubicBezTo>
                    <a:pt x="435427" y="341828"/>
                    <a:pt x="435605" y="341840"/>
                    <a:pt x="435752" y="341852"/>
                  </a:cubicBezTo>
                  <a:cubicBezTo>
                    <a:pt x="437477" y="342106"/>
                    <a:pt x="439068" y="342924"/>
                    <a:pt x="440284" y="344177"/>
                  </a:cubicBezTo>
                  <a:lnTo>
                    <a:pt x="524324" y="426801"/>
                  </a:lnTo>
                  <a:cubicBezTo>
                    <a:pt x="525597" y="427994"/>
                    <a:pt x="526444" y="429574"/>
                    <a:pt x="526724" y="431295"/>
                  </a:cubicBezTo>
                  <a:cubicBezTo>
                    <a:pt x="526883" y="432111"/>
                    <a:pt x="526692" y="432956"/>
                    <a:pt x="526196" y="433621"/>
                  </a:cubicBezTo>
                  <a:lnTo>
                    <a:pt x="491649" y="468757"/>
                  </a:lnTo>
                  <a:cubicBezTo>
                    <a:pt x="490993" y="469259"/>
                    <a:pt x="490153" y="469466"/>
                    <a:pt x="489338" y="469328"/>
                  </a:cubicBezTo>
                  <a:cubicBezTo>
                    <a:pt x="487607" y="469074"/>
                    <a:pt x="486016" y="468257"/>
                    <a:pt x="484799" y="467004"/>
                  </a:cubicBezTo>
                  <a:lnTo>
                    <a:pt x="400759" y="384380"/>
                  </a:lnTo>
                  <a:cubicBezTo>
                    <a:pt x="399486" y="383187"/>
                    <a:pt x="398640" y="381607"/>
                    <a:pt x="398359" y="379885"/>
                  </a:cubicBezTo>
                  <a:close/>
                  <a:moveTo>
                    <a:pt x="402261" y="433235"/>
                  </a:moveTo>
                  <a:cubicBezTo>
                    <a:pt x="408335" y="427063"/>
                    <a:pt x="418259" y="426980"/>
                    <a:pt x="424427" y="433051"/>
                  </a:cubicBezTo>
                  <a:cubicBezTo>
                    <a:pt x="430602" y="439122"/>
                    <a:pt x="430685" y="449047"/>
                    <a:pt x="424612" y="455220"/>
                  </a:cubicBezTo>
                  <a:cubicBezTo>
                    <a:pt x="421702" y="458184"/>
                    <a:pt x="417731" y="459868"/>
                    <a:pt x="413574" y="459904"/>
                  </a:cubicBezTo>
                  <a:lnTo>
                    <a:pt x="413433" y="459904"/>
                  </a:lnTo>
                  <a:cubicBezTo>
                    <a:pt x="404776" y="459903"/>
                    <a:pt x="397761" y="452883"/>
                    <a:pt x="397761" y="444225"/>
                  </a:cubicBezTo>
                  <a:cubicBezTo>
                    <a:pt x="397761" y="440114"/>
                    <a:pt x="399378" y="436167"/>
                    <a:pt x="402261" y="433235"/>
                  </a:cubicBezTo>
                  <a:close/>
                </a:path>
              </a:pathLst>
            </a:custGeom>
            <a:solidFill>
              <a:srgbClr val="001965"/>
            </a:solidFill>
            <a:ln w="6362"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92A82861-F9F1-4204-90E6-740E4F59EA04}"/>
                </a:ext>
              </a:extLst>
            </p:cNvPr>
            <p:cNvSpPr/>
            <p:nvPr/>
          </p:nvSpPr>
          <p:spPr>
            <a:xfrm>
              <a:off x="8334418" y="4562738"/>
              <a:ext cx="324652" cy="305554"/>
            </a:xfrm>
            <a:custGeom>
              <a:avLst/>
              <a:gdLst>
                <a:gd name="connsiteX0" fmla="*/ 51569 w 324651"/>
                <a:gd name="connsiteY0" fmla="*/ 65229 h 305554"/>
                <a:gd name="connsiteX1" fmla="*/ 10796 w 324651"/>
                <a:gd name="connsiteY1" fmla="*/ 0 h 305554"/>
                <a:gd name="connsiteX2" fmla="*/ 0 w 324651"/>
                <a:gd name="connsiteY2" fmla="*/ 6748 h 305554"/>
                <a:gd name="connsiteX3" fmla="*/ 41676 w 324651"/>
                <a:gd name="connsiteY3" fmla="*/ 73422 h 305554"/>
                <a:gd name="connsiteX4" fmla="*/ 41676 w 324651"/>
                <a:gd name="connsiteY4" fmla="*/ 308222 h 305554"/>
                <a:gd name="connsiteX5" fmla="*/ 284662 w 324651"/>
                <a:gd name="connsiteY5" fmla="*/ 308222 h 305554"/>
                <a:gd name="connsiteX6" fmla="*/ 284662 w 324651"/>
                <a:gd name="connsiteY6" fmla="*/ 69711 h 305554"/>
                <a:gd name="connsiteX7" fmla="*/ 328013 w 324651"/>
                <a:gd name="connsiteY7" fmla="*/ 8288 h 305554"/>
                <a:gd name="connsiteX8" fmla="*/ 317611 w 324651"/>
                <a:gd name="connsiteY8" fmla="*/ 948 h 305554"/>
                <a:gd name="connsiteX9" fmla="*/ 272249 w 324651"/>
                <a:gd name="connsiteY9" fmla="*/ 65229 h 305554"/>
                <a:gd name="connsiteX10" fmla="*/ 271931 w 324651"/>
                <a:gd name="connsiteY10" fmla="*/ 295490 h 305554"/>
                <a:gd name="connsiteX11" fmla="*/ 54408 w 324651"/>
                <a:gd name="connsiteY11" fmla="*/ 295490 h 305554"/>
                <a:gd name="connsiteX12" fmla="*/ 54408 w 324651"/>
                <a:gd name="connsiteY12" fmla="*/ 77961 h 305554"/>
                <a:gd name="connsiteX13" fmla="*/ 271931 w 324651"/>
                <a:gd name="connsiteY13" fmla="*/ 77961 h 30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651" h="305554">
                  <a:moveTo>
                    <a:pt x="51569" y="65229"/>
                  </a:moveTo>
                  <a:lnTo>
                    <a:pt x="10796" y="0"/>
                  </a:lnTo>
                  <a:lnTo>
                    <a:pt x="0" y="6748"/>
                  </a:lnTo>
                  <a:lnTo>
                    <a:pt x="41676" y="73422"/>
                  </a:lnTo>
                  <a:lnTo>
                    <a:pt x="41676" y="308222"/>
                  </a:lnTo>
                  <a:lnTo>
                    <a:pt x="284662" y="308222"/>
                  </a:lnTo>
                  <a:lnTo>
                    <a:pt x="284662" y="69711"/>
                  </a:lnTo>
                  <a:lnTo>
                    <a:pt x="328013" y="8288"/>
                  </a:lnTo>
                  <a:lnTo>
                    <a:pt x="317611" y="948"/>
                  </a:lnTo>
                  <a:lnTo>
                    <a:pt x="272249" y="65229"/>
                  </a:lnTo>
                  <a:close/>
                  <a:moveTo>
                    <a:pt x="271931" y="295490"/>
                  </a:moveTo>
                  <a:lnTo>
                    <a:pt x="54408" y="295490"/>
                  </a:lnTo>
                  <a:lnTo>
                    <a:pt x="54408" y="77961"/>
                  </a:lnTo>
                  <a:lnTo>
                    <a:pt x="271931" y="77961"/>
                  </a:lnTo>
                  <a:close/>
                </a:path>
              </a:pathLst>
            </a:custGeom>
            <a:solidFill>
              <a:srgbClr val="001965"/>
            </a:solidFill>
            <a:ln w="6362"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A3B37248-6ED7-491B-8769-3D2C4097C405}"/>
                </a:ext>
              </a:extLst>
            </p:cNvPr>
            <p:cNvSpPr/>
            <p:nvPr/>
          </p:nvSpPr>
          <p:spPr>
            <a:xfrm>
              <a:off x="8871066" y="4627967"/>
              <a:ext cx="241897" cy="241897"/>
            </a:xfrm>
            <a:custGeom>
              <a:avLst/>
              <a:gdLst>
                <a:gd name="connsiteX0" fmla="*/ 242986 w 241897"/>
                <a:gd name="connsiteY0" fmla="*/ 0 h 241897"/>
                <a:gd name="connsiteX1" fmla="*/ 0 w 241897"/>
                <a:gd name="connsiteY1" fmla="*/ 0 h 241897"/>
                <a:gd name="connsiteX2" fmla="*/ 0 w 241897"/>
                <a:gd name="connsiteY2" fmla="*/ 242992 h 241897"/>
                <a:gd name="connsiteX3" fmla="*/ 242986 w 241897"/>
                <a:gd name="connsiteY3" fmla="*/ 242992 h 241897"/>
                <a:gd name="connsiteX4" fmla="*/ 140708 w 241897"/>
                <a:gd name="connsiteY4" fmla="*/ 12731 h 241897"/>
                <a:gd name="connsiteX5" fmla="*/ 140708 w 241897"/>
                <a:gd name="connsiteY5" fmla="*/ 85282 h 241897"/>
                <a:gd name="connsiteX6" fmla="*/ 102271 w 241897"/>
                <a:gd name="connsiteY6" fmla="*/ 85282 h 241897"/>
                <a:gd name="connsiteX7" fmla="*/ 102271 w 241897"/>
                <a:gd name="connsiteY7" fmla="*/ 12731 h 241897"/>
                <a:gd name="connsiteX8" fmla="*/ 230254 w 241897"/>
                <a:gd name="connsiteY8" fmla="*/ 230261 h 241897"/>
                <a:gd name="connsiteX9" fmla="*/ 12731 w 241897"/>
                <a:gd name="connsiteY9" fmla="*/ 230261 h 241897"/>
                <a:gd name="connsiteX10" fmla="*/ 12731 w 241897"/>
                <a:gd name="connsiteY10" fmla="*/ 12731 h 241897"/>
                <a:gd name="connsiteX11" fmla="*/ 89540 w 241897"/>
                <a:gd name="connsiteY11" fmla="*/ 12731 h 241897"/>
                <a:gd name="connsiteX12" fmla="*/ 89540 w 241897"/>
                <a:gd name="connsiteY12" fmla="*/ 98013 h 241897"/>
                <a:gd name="connsiteX13" fmla="*/ 153439 w 241897"/>
                <a:gd name="connsiteY13" fmla="*/ 98013 h 241897"/>
                <a:gd name="connsiteX14" fmla="*/ 153439 w 241897"/>
                <a:gd name="connsiteY14" fmla="*/ 12731 h 241897"/>
                <a:gd name="connsiteX15" fmla="*/ 230254 w 241897"/>
                <a:gd name="connsiteY15" fmla="*/ 12731 h 241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1897" h="241897">
                  <a:moveTo>
                    <a:pt x="242986" y="0"/>
                  </a:moveTo>
                  <a:lnTo>
                    <a:pt x="0" y="0"/>
                  </a:lnTo>
                  <a:lnTo>
                    <a:pt x="0" y="242992"/>
                  </a:lnTo>
                  <a:lnTo>
                    <a:pt x="242986" y="242992"/>
                  </a:lnTo>
                  <a:close/>
                  <a:moveTo>
                    <a:pt x="140708" y="12731"/>
                  </a:moveTo>
                  <a:lnTo>
                    <a:pt x="140708" y="85282"/>
                  </a:lnTo>
                  <a:lnTo>
                    <a:pt x="102271" y="85282"/>
                  </a:lnTo>
                  <a:lnTo>
                    <a:pt x="102271" y="12731"/>
                  </a:lnTo>
                  <a:close/>
                  <a:moveTo>
                    <a:pt x="230254" y="230261"/>
                  </a:moveTo>
                  <a:lnTo>
                    <a:pt x="12731" y="230261"/>
                  </a:lnTo>
                  <a:lnTo>
                    <a:pt x="12731" y="12731"/>
                  </a:lnTo>
                  <a:lnTo>
                    <a:pt x="89540" y="12731"/>
                  </a:lnTo>
                  <a:lnTo>
                    <a:pt x="89540" y="98013"/>
                  </a:lnTo>
                  <a:lnTo>
                    <a:pt x="153439" y="98013"/>
                  </a:lnTo>
                  <a:lnTo>
                    <a:pt x="153439" y="12731"/>
                  </a:lnTo>
                  <a:lnTo>
                    <a:pt x="230254" y="12731"/>
                  </a:lnTo>
                  <a:close/>
                </a:path>
              </a:pathLst>
            </a:custGeom>
            <a:solidFill>
              <a:srgbClr val="001965"/>
            </a:solidFill>
            <a:ln w="6362"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0D5B77BA-22CC-4580-8BAC-D1EB7347B118}"/>
                </a:ext>
              </a:extLst>
            </p:cNvPr>
            <p:cNvSpPr/>
            <p:nvPr/>
          </p:nvSpPr>
          <p:spPr>
            <a:xfrm>
              <a:off x="9365097" y="4627967"/>
              <a:ext cx="241897" cy="241897"/>
            </a:xfrm>
            <a:custGeom>
              <a:avLst/>
              <a:gdLst>
                <a:gd name="connsiteX0" fmla="*/ 243005 w 241897"/>
                <a:gd name="connsiteY0" fmla="*/ 0 h 241897"/>
                <a:gd name="connsiteX1" fmla="*/ 0 w 241897"/>
                <a:gd name="connsiteY1" fmla="*/ 0 h 241897"/>
                <a:gd name="connsiteX2" fmla="*/ 0 w 241897"/>
                <a:gd name="connsiteY2" fmla="*/ 242992 h 241897"/>
                <a:gd name="connsiteX3" fmla="*/ 243005 w 241897"/>
                <a:gd name="connsiteY3" fmla="*/ 242992 h 241897"/>
                <a:gd name="connsiteX4" fmla="*/ 140708 w 241897"/>
                <a:gd name="connsiteY4" fmla="*/ 12731 h 241897"/>
                <a:gd name="connsiteX5" fmla="*/ 140708 w 241897"/>
                <a:gd name="connsiteY5" fmla="*/ 85282 h 241897"/>
                <a:gd name="connsiteX6" fmla="*/ 102259 w 241897"/>
                <a:gd name="connsiteY6" fmla="*/ 85282 h 241897"/>
                <a:gd name="connsiteX7" fmla="*/ 102259 w 241897"/>
                <a:gd name="connsiteY7" fmla="*/ 12731 h 241897"/>
                <a:gd name="connsiteX8" fmla="*/ 230274 w 241897"/>
                <a:gd name="connsiteY8" fmla="*/ 230261 h 241897"/>
                <a:gd name="connsiteX9" fmla="*/ 12731 w 241897"/>
                <a:gd name="connsiteY9" fmla="*/ 230261 h 241897"/>
                <a:gd name="connsiteX10" fmla="*/ 12731 w 241897"/>
                <a:gd name="connsiteY10" fmla="*/ 12731 h 241897"/>
                <a:gd name="connsiteX11" fmla="*/ 89527 w 241897"/>
                <a:gd name="connsiteY11" fmla="*/ 12731 h 241897"/>
                <a:gd name="connsiteX12" fmla="*/ 89527 w 241897"/>
                <a:gd name="connsiteY12" fmla="*/ 98013 h 241897"/>
                <a:gd name="connsiteX13" fmla="*/ 153439 w 241897"/>
                <a:gd name="connsiteY13" fmla="*/ 98013 h 241897"/>
                <a:gd name="connsiteX14" fmla="*/ 153439 w 241897"/>
                <a:gd name="connsiteY14" fmla="*/ 12731 h 241897"/>
                <a:gd name="connsiteX15" fmla="*/ 230274 w 241897"/>
                <a:gd name="connsiteY15" fmla="*/ 12731 h 241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1897" h="241897">
                  <a:moveTo>
                    <a:pt x="243005" y="0"/>
                  </a:moveTo>
                  <a:lnTo>
                    <a:pt x="0" y="0"/>
                  </a:lnTo>
                  <a:lnTo>
                    <a:pt x="0" y="242992"/>
                  </a:lnTo>
                  <a:lnTo>
                    <a:pt x="243005" y="242992"/>
                  </a:lnTo>
                  <a:close/>
                  <a:moveTo>
                    <a:pt x="140708" y="12731"/>
                  </a:moveTo>
                  <a:lnTo>
                    <a:pt x="140708" y="85282"/>
                  </a:lnTo>
                  <a:lnTo>
                    <a:pt x="102259" y="85282"/>
                  </a:lnTo>
                  <a:lnTo>
                    <a:pt x="102259" y="12731"/>
                  </a:lnTo>
                  <a:close/>
                  <a:moveTo>
                    <a:pt x="230274" y="230261"/>
                  </a:moveTo>
                  <a:lnTo>
                    <a:pt x="12731" y="230261"/>
                  </a:lnTo>
                  <a:lnTo>
                    <a:pt x="12731" y="12731"/>
                  </a:lnTo>
                  <a:lnTo>
                    <a:pt x="89527" y="12731"/>
                  </a:lnTo>
                  <a:lnTo>
                    <a:pt x="89527" y="98013"/>
                  </a:lnTo>
                  <a:lnTo>
                    <a:pt x="153439" y="98013"/>
                  </a:lnTo>
                  <a:lnTo>
                    <a:pt x="153439" y="12731"/>
                  </a:lnTo>
                  <a:lnTo>
                    <a:pt x="230274" y="12731"/>
                  </a:lnTo>
                  <a:close/>
                </a:path>
              </a:pathLst>
            </a:custGeom>
            <a:solidFill>
              <a:srgbClr val="001965"/>
            </a:solidFill>
            <a:ln w="6362"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817BB448-60BE-4A1F-969C-EEAF9962B7DA}"/>
                </a:ext>
              </a:extLst>
            </p:cNvPr>
            <p:cNvSpPr/>
            <p:nvPr/>
          </p:nvSpPr>
          <p:spPr>
            <a:xfrm>
              <a:off x="5568507" y="4482307"/>
              <a:ext cx="95486" cy="95486"/>
            </a:xfrm>
            <a:custGeom>
              <a:avLst/>
              <a:gdLst>
                <a:gd name="connsiteX0" fmla="*/ 48214 w 95485"/>
                <a:gd name="connsiteY0" fmla="*/ 96453 h 95485"/>
                <a:gd name="connsiteX1" fmla="*/ 96441 w 95485"/>
                <a:gd name="connsiteY1" fmla="*/ 48252 h 95485"/>
                <a:gd name="connsiteX2" fmla="*/ 48379 w 95485"/>
                <a:gd name="connsiteY2" fmla="*/ 25 h 95485"/>
                <a:gd name="connsiteX3" fmla="*/ 42014 w 95485"/>
                <a:gd name="connsiteY3" fmla="*/ 0 h 95485"/>
                <a:gd name="connsiteX4" fmla="*/ 41867 w 95485"/>
                <a:gd name="connsiteY4" fmla="*/ 41874 h 95485"/>
                <a:gd name="connsiteX5" fmla="*/ 0 w 95485"/>
                <a:gd name="connsiteY5" fmla="*/ 41874 h 95485"/>
                <a:gd name="connsiteX6" fmla="*/ 0 w 95485"/>
                <a:gd name="connsiteY6" fmla="*/ 48239 h 95485"/>
                <a:gd name="connsiteX7" fmla="*/ 48214 w 95485"/>
                <a:gd name="connsiteY7" fmla="*/ 96453 h 95485"/>
                <a:gd name="connsiteX8" fmla="*/ 54560 w 95485"/>
                <a:gd name="connsiteY8" fmla="*/ 54605 h 95485"/>
                <a:gd name="connsiteX9" fmla="*/ 54701 w 95485"/>
                <a:gd name="connsiteY9" fmla="*/ 13355 h 95485"/>
                <a:gd name="connsiteX10" fmla="*/ 83092 w 95485"/>
                <a:gd name="connsiteY10" fmla="*/ 54726 h 95485"/>
                <a:gd name="connsiteX11" fmla="*/ 41721 w 95485"/>
                <a:gd name="connsiteY11" fmla="*/ 83117 h 95485"/>
                <a:gd name="connsiteX12" fmla="*/ 13304 w 95485"/>
                <a:gd name="connsiteY12" fmla="*/ 54605 h 95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485" h="95485">
                  <a:moveTo>
                    <a:pt x="48214" y="96453"/>
                  </a:moveTo>
                  <a:cubicBezTo>
                    <a:pt x="74842" y="96453"/>
                    <a:pt x="96434" y="74874"/>
                    <a:pt x="96441" y="48252"/>
                  </a:cubicBezTo>
                  <a:cubicBezTo>
                    <a:pt x="96447" y="21682"/>
                    <a:pt x="74950" y="115"/>
                    <a:pt x="48379" y="25"/>
                  </a:cubicBezTo>
                  <a:lnTo>
                    <a:pt x="42014" y="0"/>
                  </a:lnTo>
                  <a:lnTo>
                    <a:pt x="41867" y="41874"/>
                  </a:lnTo>
                  <a:lnTo>
                    <a:pt x="0" y="41874"/>
                  </a:lnTo>
                  <a:lnTo>
                    <a:pt x="0" y="48239"/>
                  </a:lnTo>
                  <a:cubicBezTo>
                    <a:pt x="32" y="74854"/>
                    <a:pt x="21599" y="96422"/>
                    <a:pt x="48214" y="96453"/>
                  </a:cubicBezTo>
                  <a:close/>
                  <a:moveTo>
                    <a:pt x="54560" y="54605"/>
                  </a:moveTo>
                  <a:lnTo>
                    <a:pt x="54701" y="13355"/>
                  </a:lnTo>
                  <a:cubicBezTo>
                    <a:pt x="73970" y="16939"/>
                    <a:pt x="86676" y="35464"/>
                    <a:pt x="83092" y="54726"/>
                  </a:cubicBezTo>
                  <a:cubicBezTo>
                    <a:pt x="79508" y="73995"/>
                    <a:pt x="60983" y="86707"/>
                    <a:pt x="41721" y="83117"/>
                  </a:cubicBezTo>
                  <a:cubicBezTo>
                    <a:pt x="27252" y="80431"/>
                    <a:pt x="15946" y="69087"/>
                    <a:pt x="13304" y="54605"/>
                  </a:cubicBezTo>
                  <a:close/>
                </a:path>
              </a:pathLst>
            </a:custGeom>
            <a:solidFill>
              <a:srgbClr val="001965"/>
            </a:solidFill>
            <a:ln w="6362"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380099DA-9506-4181-9F13-79436FCB9EB4}"/>
                </a:ext>
              </a:extLst>
            </p:cNvPr>
            <p:cNvSpPr/>
            <p:nvPr/>
          </p:nvSpPr>
          <p:spPr>
            <a:xfrm>
              <a:off x="5557438" y="4628792"/>
              <a:ext cx="114583" cy="12731"/>
            </a:xfrm>
            <a:custGeom>
              <a:avLst/>
              <a:gdLst>
                <a:gd name="connsiteX0" fmla="*/ 0 w 114582"/>
                <a:gd name="connsiteY0" fmla="*/ 0 h 12731"/>
                <a:gd name="connsiteX1" fmla="*/ 118561 w 114582"/>
                <a:gd name="connsiteY1" fmla="*/ 0 h 12731"/>
                <a:gd name="connsiteX2" fmla="*/ 118561 w 114582"/>
                <a:gd name="connsiteY2" fmla="*/ 12731 h 12731"/>
                <a:gd name="connsiteX3" fmla="*/ 0 w 114582"/>
                <a:gd name="connsiteY3" fmla="*/ 12731 h 12731"/>
              </a:gdLst>
              <a:ahLst/>
              <a:cxnLst>
                <a:cxn ang="0">
                  <a:pos x="connsiteX0" y="connsiteY0"/>
                </a:cxn>
                <a:cxn ang="0">
                  <a:pos x="connsiteX1" y="connsiteY1"/>
                </a:cxn>
                <a:cxn ang="0">
                  <a:pos x="connsiteX2" y="connsiteY2"/>
                </a:cxn>
                <a:cxn ang="0">
                  <a:pos x="connsiteX3" y="connsiteY3"/>
                </a:cxn>
              </a:cxnLst>
              <a:rect l="l" t="t" r="r" b="b"/>
              <a:pathLst>
                <a:path w="114582" h="12731">
                  <a:moveTo>
                    <a:pt x="0" y="0"/>
                  </a:moveTo>
                  <a:lnTo>
                    <a:pt x="118561" y="0"/>
                  </a:lnTo>
                  <a:lnTo>
                    <a:pt x="118561" y="12731"/>
                  </a:lnTo>
                  <a:lnTo>
                    <a:pt x="0" y="12731"/>
                  </a:lnTo>
                  <a:close/>
                </a:path>
              </a:pathLst>
            </a:custGeom>
            <a:solidFill>
              <a:srgbClr val="001965"/>
            </a:solidFill>
            <a:ln w="6362"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D1141120-029C-4CDF-BF53-F9E12E6F2367}"/>
                </a:ext>
              </a:extLst>
            </p:cNvPr>
            <p:cNvSpPr/>
            <p:nvPr/>
          </p:nvSpPr>
          <p:spPr>
            <a:xfrm>
              <a:off x="5559768" y="4667152"/>
              <a:ext cx="114583" cy="12731"/>
            </a:xfrm>
            <a:custGeom>
              <a:avLst/>
              <a:gdLst>
                <a:gd name="connsiteX0" fmla="*/ 0 w 114582"/>
                <a:gd name="connsiteY0" fmla="*/ 0 h 12731"/>
                <a:gd name="connsiteX1" fmla="*/ 118561 w 114582"/>
                <a:gd name="connsiteY1" fmla="*/ 0 h 12731"/>
                <a:gd name="connsiteX2" fmla="*/ 118561 w 114582"/>
                <a:gd name="connsiteY2" fmla="*/ 12731 h 12731"/>
                <a:gd name="connsiteX3" fmla="*/ 0 w 114582"/>
                <a:gd name="connsiteY3" fmla="*/ 12731 h 12731"/>
              </a:gdLst>
              <a:ahLst/>
              <a:cxnLst>
                <a:cxn ang="0">
                  <a:pos x="connsiteX0" y="connsiteY0"/>
                </a:cxn>
                <a:cxn ang="0">
                  <a:pos x="connsiteX1" y="connsiteY1"/>
                </a:cxn>
                <a:cxn ang="0">
                  <a:pos x="connsiteX2" y="connsiteY2"/>
                </a:cxn>
                <a:cxn ang="0">
                  <a:pos x="connsiteX3" y="connsiteY3"/>
                </a:cxn>
              </a:cxnLst>
              <a:rect l="l" t="t" r="r" b="b"/>
              <a:pathLst>
                <a:path w="114582" h="12731">
                  <a:moveTo>
                    <a:pt x="0" y="0"/>
                  </a:moveTo>
                  <a:lnTo>
                    <a:pt x="118561" y="0"/>
                  </a:lnTo>
                  <a:lnTo>
                    <a:pt x="118561" y="12731"/>
                  </a:lnTo>
                  <a:lnTo>
                    <a:pt x="0" y="12731"/>
                  </a:lnTo>
                  <a:close/>
                </a:path>
              </a:pathLst>
            </a:custGeom>
            <a:solidFill>
              <a:srgbClr val="001965"/>
            </a:solidFill>
            <a:ln w="6362"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DC99F62F-8E25-48E6-8400-E6D3D0988B2C}"/>
                </a:ext>
              </a:extLst>
            </p:cNvPr>
            <p:cNvSpPr/>
            <p:nvPr/>
          </p:nvSpPr>
          <p:spPr>
            <a:xfrm>
              <a:off x="8449695" y="4438190"/>
              <a:ext cx="95486" cy="127314"/>
            </a:xfrm>
            <a:custGeom>
              <a:avLst/>
              <a:gdLst>
                <a:gd name="connsiteX0" fmla="*/ 42459 w 95485"/>
                <a:gd name="connsiteY0" fmla="*/ 0 h 127314"/>
                <a:gd name="connsiteX1" fmla="*/ 42459 w 95485"/>
                <a:gd name="connsiteY1" fmla="*/ 107014 h 127314"/>
                <a:gd name="connsiteX2" fmla="*/ 8765 w 95485"/>
                <a:gd name="connsiteY2" fmla="*/ 75033 h 127314"/>
                <a:gd name="connsiteX3" fmla="*/ 0 w 95485"/>
                <a:gd name="connsiteY3" fmla="*/ 84269 h 127314"/>
                <a:gd name="connsiteX4" fmla="*/ 50785 w 95485"/>
                <a:gd name="connsiteY4" fmla="*/ 132464 h 127314"/>
                <a:gd name="connsiteX5" fmla="*/ 97898 w 95485"/>
                <a:gd name="connsiteY5" fmla="*/ 82831 h 127314"/>
                <a:gd name="connsiteX6" fmla="*/ 88655 w 95485"/>
                <a:gd name="connsiteY6" fmla="*/ 74065 h 127314"/>
                <a:gd name="connsiteX7" fmla="*/ 55191 w 95485"/>
                <a:gd name="connsiteY7" fmla="*/ 109325 h 127314"/>
                <a:gd name="connsiteX8" fmla="*/ 55191 w 95485"/>
                <a:gd name="connsiteY8" fmla="*/ 0 h 127314"/>
                <a:gd name="connsiteX9" fmla="*/ 42459 w 95485"/>
                <a:gd name="connsiteY9" fmla="*/ 0 h 127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485" h="127314">
                  <a:moveTo>
                    <a:pt x="42459" y="0"/>
                  </a:moveTo>
                  <a:lnTo>
                    <a:pt x="42459" y="107014"/>
                  </a:lnTo>
                  <a:lnTo>
                    <a:pt x="8765" y="75033"/>
                  </a:lnTo>
                  <a:lnTo>
                    <a:pt x="0" y="84269"/>
                  </a:lnTo>
                  <a:lnTo>
                    <a:pt x="50785" y="132464"/>
                  </a:lnTo>
                  <a:lnTo>
                    <a:pt x="97898" y="82831"/>
                  </a:lnTo>
                  <a:lnTo>
                    <a:pt x="88655" y="74065"/>
                  </a:lnTo>
                  <a:lnTo>
                    <a:pt x="55191" y="109325"/>
                  </a:lnTo>
                  <a:lnTo>
                    <a:pt x="55191" y="0"/>
                  </a:lnTo>
                  <a:lnTo>
                    <a:pt x="42459" y="0"/>
                  </a:lnTo>
                  <a:close/>
                </a:path>
              </a:pathLst>
            </a:custGeom>
            <a:solidFill>
              <a:srgbClr val="001965"/>
            </a:solidFill>
            <a:ln w="6362"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017393C1-159A-4CF3-B9C6-8A650B32DC2A}"/>
                </a:ext>
              </a:extLst>
            </p:cNvPr>
            <p:cNvSpPr/>
            <p:nvPr/>
          </p:nvSpPr>
          <p:spPr>
            <a:xfrm>
              <a:off x="5083541" y="4353904"/>
              <a:ext cx="50926" cy="50926"/>
            </a:xfrm>
            <a:custGeom>
              <a:avLst/>
              <a:gdLst>
                <a:gd name="connsiteX0" fmla="*/ 0 w 50925"/>
                <a:gd name="connsiteY0" fmla="*/ 56496 h 50925"/>
                <a:gd name="connsiteX1" fmla="*/ 56496 w 50925"/>
                <a:gd name="connsiteY1" fmla="*/ 56496 h 50925"/>
                <a:gd name="connsiteX2" fmla="*/ 56496 w 50925"/>
                <a:gd name="connsiteY2" fmla="*/ 0 h 50925"/>
                <a:gd name="connsiteX3" fmla="*/ 0 w 50925"/>
                <a:gd name="connsiteY3" fmla="*/ 0 h 50925"/>
                <a:gd name="connsiteX4" fmla="*/ 12731 w 50925"/>
                <a:gd name="connsiteY4" fmla="*/ 12731 h 50925"/>
                <a:gd name="connsiteX5" fmla="*/ 43764 w 50925"/>
                <a:gd name="connsiteY5" fmla="*/ 12731 h 50925"/>
                <a:gd name="connsiteX6" fmla="*/ 43764 w 50925"/>
                <a:gd name="connsiteY6" fmla="*/ 43764 h 50925"/>
                <a:gd name="connsiteX7" fmla="*/ 12731 w 50925"/>
                <a:gd name="connsiteY7" fmla="*/ 43764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0" y="56496"/>
                  </a:moveTo>
                  <a:lnTo>
                    <a:pt x="56496" y="56496"/>
                  </a:lnTo>
                  <a:lnTo>
                    <a:pt x="56496" y="0"/>
                  </a:lnTo>
                  <a:lnTo>
                    <a:pt x="0" y="0"/>
                  </a:lnTo>
                  <a:close/>
                  <a:moveTo>
                    <a:pt x="12731" y="12731"/>
                  </a:moveTo>
                  <a:lnTo>
                    <a:pt x="43764" y="12731"/>
                  </a:lnTo>
                  <a:lnTo>
                    <a:pt x="43764" y="43764"/>
                  </a:lnTo>
                  <a:lnTo>
                    <a:pt x="12731" y="43764"/>
                  </a:lnTo>
                  <a:close/>
                </a:path>
              </a:pathLst>
            </a:custGeom>
            <a:solidFill>
              <a:srgbClr val="001965"/>
            </a:solidFill>
            <a:ln w="6362"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655488C9-F580-45C5-88F4-F7165C8F3B02}"/>
                </a:ext>
              </a:extLst>
            </p:cNvPr>
            <p:cNvSpPr/>
            <p:nvPr/>
          </p:nvSpPr>
          <p:spPr>
            <a:xfrm>
              <a:off x="5083541" y="4461777"/>
              <a:ext cx="50926" cy="50926"/>
            </a:xfrm>
            <a:custGeom>
              <a:avLst/>
              <a:gdLst>
                <a:gd name="connsiteX0" fmla="*/ 0 w 50925"/>
                <a:gd name="connsiteY0" fmla="*/ 56496 h 50925"/>
                <a:gd name="connsiteX1" fmla="*/ 56496 w 50925"/>
                <a:gd name="connsiteY1" fmla="*/ 56496 h 50925"/>
                <a:gd name="connsiteX2" fmla="*/ 56496 w 50925"/>
                <a:gd name="connsiteY2" fmla="*/ 0 h 50925"/>
                <a:gd name="connsiteX3" fmla="*/ 0 w 50925"/>
                <a:gd name="connsiteY3" fmla="*/ 0 h 50925"/>
                <a:gd name="connsiteX4" fmla="*/ 12731 w 50925"/>
                <a:gd name="connsiteY4" fmla="*/ 12731 h 50925"/>
                <a:gd name="connsiteX5" fmla="*/ 43764 w 50925"/>
                <a:gd name="connsiteY5" fmla="*/ 12731 h 50925"/>
                <a:gd name="connsiteX6" fmla="*/ 43764 w 50925"/>
                <a:gd name="connsiteY6" fmla="*/ 43764 h 50925"/>
                <a:gd name="connsiteX7" fmla="*/ 12731 w 50925"/>
                <a:gd name="connsiteY7" fmla="*/ 43764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0" y="56496"/>
                  </a:moveTo>
                  <a:lnTo>
                    <a:pt x="56496" y="56496"/>
                  </a:lnTo>
                  <a:lnTo>
                    <a:pt x="56496" y="0"/>
                  </a:lnTo>
                  <a:lnTo>
                    <a:pt x="0" y="0"/>
                  </a:lnTo>
                  <a:close/>
                  <a:moveTo>
                    <a:pt x="12731" y="12731"/>
                  </a:moveTo>
                  <a:lnTo>
                    <a:pt x="43764" y="12731"/>
                  </a:lnTo>
                  <a:lnTo>
                    <a:pt x="43764" y="43764"/>
                  </a:lnTo>
                  <a:lnTo>
                    <a:pt x="12731" y="43764"/>
                  </a:lnTo>
                  <a:close/>
                </a:path>
              </a:pathLst>
            </a:custGeom>
            <a:solidFill>
              <a:srgbClr val="001965"/>
            </a:solidFill>
            <a:ln w="6362"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1FD008CD-BB59-4674-A41C-11776CAE4DDD}"/>
                </a:ext>
              </a:extLst>
            </p:cNvPr>
            <p:cNvSpPr/>
            <p:nvPr/>
          </p:nvSpPr>
          <p:spPr>
            <a:xfrm>
              <a:off x="5083541" y="4569651"/>
              <a:ext cx="50926" cy="50926"/>
            </a:xfrm>
            <a:custGeom>
              <a:avLst/>
              <a:gdLst>
                <a:gd name="connsiteX0" fmla="*/ 0 w 50925"/>
                <a:gd name="connsiteY0" fmla="*/ 56496 h 50925"/>
                <a:gd name="connsiteX1" fmla="*/ 56496 w 50925"/>
                <a:gd name="connsiteY1" fmla="*/ 56496 h 50925"/>
                <a:gd name="connsiteX2" fmla="*/ 56496 w 50925"/>
                <a:gd name="connsiteY2" fmla="*/ 0 h 50925"/>
                <a:gd name="connsiteX3" fmla="*/ 0 w 50925"/>
                <a:gd name="connsiteY3" fmla="*/ 0 h 50925"/>
                <a:gd name="connsiteX4" fmla="*/ 12731 w 50925"/>
                <a:gd name="connsiteY4" fmla="*/ 12731 h 50925"/>
                <a:gd name="connsiteX5" fmla="*/ 43764 w 50925"/>
                <a:gd name="connsiteY5" fmla="*/ 12731 h 50925"/>
                <a:gd name="connsiteX6" fmla="*/ 43764 w 50925"/>
                <a:gd name="connsiteY6" fmla="*/ 43764 h 50925"/>
                <a:gd name="connsiteX7" fmla="*/ 12731 w 50925"/>
                <a:gd name="connsiteY7" fmla="*/ 43764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0" y="56496"/>
                  </a:moveTo>
                  <a:lnTo>
                    <a:pt x="56496" y="56496"/>
                  </a:lnTo>
                  <a:lnTo>
                    <a:pt x="56496" y="0"/>
                  </a:lnTo>
                  <a:lnTo>
                    <a:pt x="0" y="0"/>
                  </a:lnTo>
                  <a:close/>
                  <a:moveTo>
                    <a:pt x="12731" y="12731"/>
                  </a:moveTo>
                  <a:lnTo>
                    <a:pt x="43764" y="12731"/>
                  </a:lnTo>
                  <a:lnTo>
                    <a:pt x="43764" y="43764"/>
                  </a:lnTo>
                  <a:lnTo>
                    <a:pt x="12731" y="43764"/>
                  </a:lnTo>
                  <a:close/>
                </a:path>
              </a:pathLst>
            </a:custGeom>
            <a:solidFill>
              <a:srgbClr val="001965"/>
            </a:solidFill>
            <a:ln w="6362"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476D86C9-89BB-4FFA-9192-E250F1E4E101}"/>
                </a:ext>
              </a:extLst>
            </p:cNvPr>
            <p:cNvSpPr/>
            <p:nvPr/>
          </p:nvSpPr>
          <p:spPr>
            <a:xfrm>
              <a:off x="4816245" y="4795341"/>
              <a:ext cx="95486" cy="140046"/>
            </a:xfrm>
            <a:custGeom>
              <a:avLst/>
              <a:gdLst>
                <a:gd name="connsiteX0" fmla="*/ 44547 w 95485"/>
                <a:gd name="connsiteY0" fmla="*/ 0 h 140045"/>
                <a:gd name="connsiteX1" fmla="*/ 0 w 95485"/>
                <a:gd name="connsiteY1" fmla="*/ 0 h 140045"/>
                <a:gd name="connsiteX2" fmla="*/ 0 w 95485"/>
                <a:gd name="connsiteY2" fmla="*/ 142656 h 140045"/>
                <a:gd name="connsiteX3" fmla="*/ 101043 w 95485"/>
                <a:gd name="connsiteY3" fmla="*/ 142656 h 140045"/>
                <a:gd name="connsiteX4" fmla="*/ 101043 w 95485"/>
                <a:gd name="connsiteY4" fmla="*/ 0 h 140045"/>
                <a:gd name="connsiteX5" fmla="*/ 44547 w 95485"/>
                <a:gd name="connsiteY5" fmla="*/ 0 h 140045"/>
                <a:gd name="connsiteX6" fmla="*/ 43764 w 95485"/>
                <a:gd name="connsiteY6" fmla="*/ 129924 h 140045"/>
                <a:gd name="connsiteX7" fmla="*/ 12731 w 95485"/>
                <a:gd name="connsiteY7" fmla="*/ 129924 h 140045"/>
                <a:gd name="connsiteX8" fmla="*/ 12731 w 95485"/>
                <a:gd name="connsiteY8" fmla="*/ 12731 h 140045"/>
                <a:gd name="connsiteX9" fmla="*/ 43764 w 95485"/>
                <a:gd name="connsiteY9" fmla="*/ 12731 h 140045"/>
                <a:gd name="connsiteX10" fmla="*/ 57279 w 95485"/>
                <a:gd name="connsiteY10" fmla="*/ 12731 h 140045"/>
                <a:gd name="connsiteX11" fmla="*/ 88312 w 95485"/>
                <a:gd name="connsiteY11" fmla="*/ 12731 h 140045"/>
                <a:gd name="connsiteX12" fmla="*/ 88312 w 95485"/>
                <a:gd name="connsiteY12" fmla="*/ 129924 h 140045"/>
                <a:gd name="connsiteX13" fmla="*/ 57279 w 95485"/>
                <a:gd name="connsiteY13" fmla="*/ 129924 h 1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485" h="140045">
                  <a:moveTo>
                    <a:pt x="44547" y="0"/>
                  </a:moveTo>
                  <a:lnTo>
                    <a:pt x="0" y="0"/>
                  </a:lnTo>
                  <a:lnTo>
                    <a:pt x="0" y="142656"/>
                  </a:lnTo>
                  <a:lnTo>
                    <a:pt x="101043" y="142656"/>
                  </a:lnTo>
                  <a:lnTo>
                    <a:pt x="101043" y="0"/>
                  </a:lnTo>
                  <a:lnTo>
                    <a:pt x="44547" y="0"/>
                  </a:lnTo>
                  <a:close/>
                  <a:moveTo>
                    <a:pt x="43764" y="129924"/>
                  </a:moveTo>
                  <a:lnTo>
                    <a:pt x="12731" y="129924"/>
                  </a:lnTo>
                  <a:lnTo>
                    <a:pt x="12731" y="12731"/>
                  </a:lnTo>
                  <a:lnTo>
                    <a:pt x="43764" y="12731"/>
                  </a:lnTo>
                  <a:close/>
                  <a:moveTo>
                    <a:pt x="57279" y="12731"/>
                  </a:moveTo>
                  <a:lnTo>
                    <a:pt x="88312" y="12731"/>
                  </a:lnTo>
                  <a:lnTo>
                    <a:pt x="88312" y="129924"/>
                  </a:lnTo>
                  <a:lnTo>
                    <a:pt x="57279" y="129924"/>
                  </a:lnTo>
                  <a:close/>
                </a:path>
              </a:pathLst>
            </a:custGeom>
            <a:solidFill>
              <a:srgbClr val="001965"/>
            </a:solidFill>
            <a:ln w="6362"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A21E7D5-C343-4576-A042-0D2473794F55}"/>
                </a:ext>
              </a:extLst>
            </p:cNvPr>
            <p:cNvSpPr/>
            <p:nvPr/>
          </p:nvSpPr>
          <p:spPr>
            <a:xfrm>
              <a:off x="5182280" y="4353904"/>
              <a:ext cx="50926" cy="50926"/>
            </a:xfrm>
            <a:custGeom>
              <a:avLst/>
              <a:gdLst>
                <a:gd name="connsiteX0" fmla="*/ 0 w 50925"/>
                <a:gd name="connsiteY0" fmla="*/ 56496 h 50925"/>
                <a:gd name="connsiteX1" fmla="*/ 56496 w 50925"/>
                <a:gd name="connsiteY1" fmla="*/ 56496 h 50925"/>
                <a:gd name="connsiteX2" fmla="*/ 56496 w 50925"/>
                <a:gd name="connsiteY2" fmla="*/ 0 h 50925"/>
                <a:gd name="connsiteX3" fmla="*/ 0 w 50925"/>
                <a:gd name="connsiteY3" fmla="*/ 0 h 50925"/>
                <a:gd name="connsiteX4" fmla="*/ 12731 w 50925"/>
                <a:gd name="connsiteY4" fmla="*/ 12731 h 50925"/>
                <a:gd name="connsiteX5" fmla="*/ 43764 w 50925"/>
                <a:gd name="connsiteY5" fmla="*/ 12731 h 50925"/>
                <a:gd name="connsiteX6" fmla="*/ 43764 w 50925"/>
                <a:gd name="connsiteY6" fmla="*/ 43764 h 50925"/>
                <a:gd name="connsiteX7" fmla="*/ 12731 w 50925"/>
                <a:gd name="connsiteY7" fmla="*/ 43764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0" y="56496"/>
                  </a:moveTo>
                  <a:lnTo>
                    <a:pt x="56496" y="56496"/>
                  </a:lnTo>
                  <a:lnTo>
                    <a:pt x="56496" y="0"/>
                  </a:lnTo>
                  <a:lnTo>
                    <a:pt x="0" y="0"/>
                  </a:lnTo>
                  <a:close/>
                  <a:moveTo>
                    <a:pt x="12731" y="12731"/>
                  </a:moveTo>
                  <a:lnTo>
                    <a:pt x="43764" y="12731"/>
                  </a:lnTo>
                  <a:lnTo>
                    <a:pt x="43764" y="43764"/>
                  </a:lnTo>
                  <a:lnTo>
                    <a:pt x="12731" y="43764"/>
                  </a:lnTo>
                  <a:close/>
                </a:path>
              </a:pathLst>
            </a:custGeom>
            <a:solidFill>
              <a:srgbClr val="001965"/>
            </a:solidFill>
            <a:ln w="6362"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F64EC936-EE10-4D7E-9B95-45640F0E5631}"/>
                </a:ext>
              </a:extLst>
            </p:cNvPr>
            <p:cNvSpPr/>
            <p:nvPr/>
          </p:nvSpPr>
          <p:spPr>
            <a:xfrm>
              <a:off x="5473021" y="4037477"/>
              <a:ext cx="50926" cy="50926"/>
            </a:xfrm>
            <a:custGeom>
              <a:avLst/>
              <a:gdLst>
                <a:gd name="connsiteX0" fmla="*/ 56496 w 50925"/>
                <a:gd name="connsiteY0" fmla="*/ 0 h 50925"/>
                <a:gd name="connsiteX1" fmla="*/ 0 w 50925"/>
                <a:gd name="connsiteY1" fmla="*/ 0 h 50925"/>
                <a:gd name="connsiteX2" fmla="*/ 0 w 50925"/>
                <a:gd name="connsiteY2" fmla="*/ 56496 h 50925"/>
                <a:gd name="connsiteX3" fmla="*/ 56496 w 50925"/>
                <a:gd name="connsiteY3" fmla="*/ 56496 h 50925"/>
                <a:gd name="connsiteX4" fmla="*/ 43764 w 50925"/>
                <a:gd name="connsiteY4" fmla="*/ 43764 h 50925"/>
                <a:gd name="connsiteX5" fmla="*/ 12731 w 50925"/>
                <a:gd name="connsiteY5" fmla="*/ 43764 h 50925"/>
                <a:gd name="connsiteX6" fmla="*/ 12731 w 50925"/>
                <a:gd name="connsiteY6" fmla="*/ 12731 h 50925"/>
                <a:gd name="connsiteX7" fmla="*/ 43764 w 50925"/>
                <a:gd name="connsiteY7" fmla="*/ 12731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56496" y="0"/>
                  </a:moveTo>
                  <a:lnTo>
                    <a:pt x="0" y="0"/>
                  </a:lnTo>
                  <a:lnTo>
                    <a:pt x="0" y="56496"/>
                  </a:lnTo>
                  <a:lnTo>
                    <a:pt x="56496" y="56496"/>
                  </a:lnTo>
                  <a:close/>
                  <a:moveTo>
                    <a:pt x="43764" y="43764"/>
                  </a:moveTo>
                  <a:lnTo>
                    <a:pt x="12731" y="43764"/>
                  </a:lnTo>
                  <a:lnTo>
                    <a:pt x="12731" y="12731"/>
                  </a:lnTo>
                  <a:lnTo>
                    <a:pt x="43764" y="12731"/>
                  </a:lnTo>
                  <a:close/>
                </a:path>
              </a:pathLst>
            </a:custGeom>
            <a:solidFill>
              <a:srgbClr val="001965"/>
            </a:solidFill>
            <a:ln w="6362"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0F26393D-B215-47F3-90EF-D7114335A5C7}"/>
                </a:ext>
              </a:extLst>
            </p:cNvPr>
            <p:cNvSpPr/>
            <p:nvPr/>
          </p:nvSpPr>
          <p:spPr>
            <a:xfrm>
              <a:off x="5571760" y="4037477"/>
              <a:ext cx="50926" cy="50926"/>
            </a:xfrm>
            <a:custGeom>
              <a:avLst/>
              <a:gdLst>
                <a:gd name="connsiteX0" fmla="*/ 56496 w 50925"/>
                <a:gd name="connsiteY0" fmla="*/ 0 h 50925"/>
                <a:gd name="connsiteX1" fmla="*/ 0 w 50925"/>
                <a:gd name="connsiteY1" fmla="*/ 0 h 50925"/>
                <a:gd name="connsiteX2" fmla="*/ 0 w 50925"/>
                <a:gd name="connsiteY2" fmla="*/ 56496 h 50925"/>
                <a:gd name="connsiteX3" fmla="*/ 56496 w 50925"/>
                <a:gd name="connsiteY3" fmla="*/ 56496 h 50925"/>
                <a:gd name="connsiteX4" fmla="*/ 43764 w 50925"/>
                <a:gd name="connsiteY4" fmla="*/ 43764 h 50925"/>
                <a:gd name="connsiteX5" fmla="*/ 12731 w 50925"/>
                <a:gd name="connsiteY5" fmla="*/ 43764 h 50925"/>
                <a:gd name="connsiteX6" fmla="*/ 12731 w 50925"/>
                <a:gd name="connsiteY6" fmla="*/ 12731 h 50925"/>
                <a:gd name="connsiteX7" fmla="*/ 43764 w 50925"/>
                <a:gd name="connsiteY7" fmla="*/ 12731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56496" y="0"/>
                  </a:moveTo>
                  <a:lnTo>
                    <a:pt x="0" y="0"/>
                  </a:lnTo>
                  <a:lnTo>
                    <a:pt x="0" y="56496"/>
                  </a:lnTo>
                  <a:lnTo>
                    <a:pt x="56496" y="56496"/>
                  </a:lnTo>
                  <a:close/>
                  <a:moveTo>
                    <a:pt x="43764" y="43764"/>
                  </a:moveTo>
                  <a:lnTo>
                    <a:pt x="12731" y="43764"/>
                  </a:lnTo>
                  <a:lnTo>
                    <a:pt x="12731" y="12731"/>
                  </a:lnTo>
                  <a:lnTo>
                    <a:pt x="43764" y="12731"/>
                  </a:lnTo>
                  <a:close/>
                </a:path>
              </a:pathLst>
            </a:custGeom>
            <a:solidFill>
              <a:srgbClr val="001965"/>
            </a:solidFill>
            <a:ln w="6362"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962167BD-3850-49F2-982D-C18B6E354231}"/>
                </a:ext>
              </a:extLst>
            </p:cNvPr>
            <p:cNvSpPr/>
            <p:nvPr/>
          </p:nvSpPr>
          <p:spPr>
            <a:xfrm>
              <a:off x="5473021" y="4125871"/>
              <a:ext cx="50926" cy="50926"/>
            </a:xfrm>
            <a:custGeom>
              <a:avLst/>
              <a:gdLst>
                <a:gd name="connsiteX0" fmla="*/ 56496 w 50925"/>
                <a:gd name="connsiteY0" fmla="*/ 0 h 50925"/>
                <a:gd name="connsiteX1" fmla="*/ 0 w 50925"/>
                <a:gd name="connsiteY1" fmla="*/ 0 h 50925"/>
                <a:gd name="connsiteX2" fmla="*/ 0 w 50925"/>
                <a:gd name="connsiteY2" fmla="*/ 56496 h 50925"/>
                <a:gd name="connsiteX3" fmla="*/ 56496 w 50925"/>
                <a:gd name="connsiteY3" fmla="*/ 56496 h 50925"/>
                <a:gd name="connsiteX4" fmla="*/ 43764 w 50925"/>
                <a:gd name="connsiteY4" fmla="*/ 43764 h 50925"/>
                <a:gd name="connsiteX5" fmla="*/ 12731 w 50925"/>
                <a:gd name="connsiteY5" fmla="*/ 43764 h 50925"/>
                <a:gd name="connsiteX6" fmla="*/ 12731 w 50925"/>
                <a:gd name="connsiteY6" fmla="*/ 12731 h 50925"/>
                <a:gd name="connsiteX7" fmla="*/ 43764 w 50925"/>
                <a:gd name="connsiteY7" fmla="*/ 12731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56496" y="0"/>
                  </a:moveTo>
                  <a:lnTo>
                    <a:pt x="0" y="0"/>
                  </a:lnTo>
                  <a:lnTo>
                    <a:pt x="0" y="56496"/>
                  </a:lnTo>
                  <a:lnTo>
                    <a:pt x="56496" y="56496"/>
                  </a:lnTo>
                  <a:close/>
                  <a:moveTo>
                    <a:pt x="43764" y="43764"/>
                  </a:moveTo>
                  <a:lnTo>
                    <a:pt x="12731" y="43764"/>
                  </a:lnTo>
                  <a:lnTo>
                    <a:pt x="12731" y="12731"/>
                  </a:lnTo>
                  <a:lnTo>
                    <a:pt x="43764" y="12731"/>
                  </a:lnTo>
                  <a:close/>
                </a:path>
              </a:pathLst>
            </a:custGeom>
            <a:solidFill>
              <a:srgbClr val="001965"/>
            </a:solidFill>
            <a:ln w="6362" cap="flat">
              <a:no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F4CC5692-0D00-4B3A-948A-5F79B6F2C811}"/>
                </a:ext>
              </a:extLst>
            </p:cNvPr>
            <p:cNvSpPr/>
            <p:nvPr/>
          </p:nvSpPr>
          <p:spPr>
            <a:xfrm>
              <a:off x="5571760" y="4125871"/>
              <a:ext cx="50926" cy="50926"/>
            </a:xfrm>
            <a:custGeom>
              <a:avLst/>
              <a:gdLst>
                <a:gd name="connsiteX0" fmla="*/ 56496 w 50925"/>
                <a:gd name="connsiteY0" fmla="*/ 0 h 50925"/>
                <a:gd name="connsiteX1" fmla="*/ 0 w 50925"/>
                <a:gd name="connsiteY1" fmla="*/ 0 h 50925"/>
                <a:gd name="connsiteX2" fmla="*/ 0 w 50925"/>
                <a:gd name="connsiteY2" fmla="*/ 56496 h 50925"/>
                <a:gd name="connsiteX3" fmla="*/ 56496 w 50925"/>
                <a:gd name="connsiteY3" fmla="*/ 56496 h 50925"/>
                <a:gd name="connsiteX4" fmla="*/ 43764 w 50925"/>
                <a:gd name="connsiteY4" fmla="*/ 43764 h 50925"/>
                <a:gd name="connsiteX5" fmla="*/ 12731 w 50925"/>
                <a:gd name="connsiteY5" fmla="*/ 43764 h 50925"/>
                <a:gd name="connsiteX6" fmla="*/ 12731 w 50925"/>
                <a:gd name="connsiteY6" fmla="*/ 12731 h 50925"/>
                <a:gd name="connsiteX7" fmla="*/ 43764 w 50925"/>
                <a:gd name="connsiteY7" fmla="*/ 12731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56496" y="0"/>
                  </a:moveTo>
                  <a:lnTo>
                    <a:pt x="0" y="0"/>
                  </a:lnTo>
                  <a:lnTo>
                    <a:pt x="0" y="56496"/>
                  </a:lnTo>
                  <a:lnTo>
                    <a:pt x="56496" y="56496"/>
                  </a:lnTo>
                  <a:close/>
                  <a:moveTo>
                    <a:pt x="43764" y="43764"/>
                  </a:moveTo>
                  <a:lnTo>
                    <a:pt x="12731" y="43764"/>
                  </a:lnTo>
                  <a:lnTo>
                    <a:pt x="12731" y="12731"/>
                  </a:lnTo>
                  <a:lnTo>
                    <a:pt x="43764" y="12731"/>
                  </a:lnTo>
                  <a:close/>
                </a:path>
              </a:pathLst>
            </a:custGeom>
            <a:solidFill>
              <a:srgbClr val="001965"/>
            </a:solidFill>
            <a:ln w="6362" cap="flat">
              <a:no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AF88A51E-2D59-4371-B3AF-7E311DEE5446}"/>
                </a:ext>
              </a:extLst>
            </p:cNvPr>
            <p:cNvSpPr/>
            <p:nvPr/>
          </p:nvSpPr>
          <p:spPr>
            <a:xfrm>
              <a:off x="5182280" y="4461777"/>
              <a:ext cx="50926" cy="50926"/>
            </a:xfrm>
            <a:custGeom>
              <a:avLst/>
              <a:gdLst>
                <a:gd name="connsiteX0" fmla="*/ 0 w 50925"/>
                <a:gd name="connsiteY0" fmla="*/ 56496 h 50925"/>
                <a:gd name="connsiteX1" fmla="*/ 56496 w 50925"/>
                <a:gd name="connsiteY1" fmla="*/ 56496 h 50925"/>
                <a:gd name="connsiteX2" fmla="*/ 56496 w 50925"/>
                <a:gd name="connsiteY2" fmla="*/ 0 h 50925"/>
                <a:gd name="connsiteX3" fmla="*/ 0 w 50925"/>
                <a:gd name="connsiteY3" fmla="*/ 0 h 50925"/>
                <a:gd name="connsiteX4" fmla="*/ 12731 w 50925"/>
                <a:gd name="connsiteY4" fmla="*/ 12731 h 50925"/>
                <a:gd name="connsiteX5" fmla="*/ 43764 w 50925"/>
                <a:gd name="connsiteY5" fmla="*/ 12731 h 50925"/>
                <a:gd name="connsiteX6" fmla="*/ 43764 w 50925"/>
                <a:gd name="connsiteY6" fmla="*/ 43764 h 50925"/>
                <a:gd name="connsiteX7" fmla="*/ 12731 w 50925"/>
                <a:gd name="connsiteY7" fmla="*/ 43764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0" y="56496"/>
                  </a:moveTo>
                  <a:lnTo>
                    <a:pt x="56496" y="56496"/>
                  </a:lnTo>
                  <a:lnTo>
                    <a:pt x="56496" y="0"/>
                  </a:lnTo>
                  <a:lnTo>
                    <a:pt x="0" y="0"/>
                  </a:lnTo>
                  <a:close/>
                  <a:moveTo>
                    <a:pt x="12731" y="12731"/>
                  </a:moveTo>
                  <a:lnTo>
                    <a:pt x="43764" y="12731"/>
                  </a:lnTo>
                  <a:lnTo>
                    <a:pt x="43764" y="43764"/>
                  </a:lnTo>
                  <a:lnTo>
                    <a:pt x="12731" y="43764"/>
                  </a:lnTo>
                  <a:close/>
                </a:path>
              </a:pathLst>
            </a:custGeom>
            <a:solidFill>
              <a:srgbClr val="001965"/>
            </a:solidFill>
            <a:ln w="6362" cap="flat">
              <a:no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6FAEBE19-BB53-48E6-8D44-A3C6669EBE44}"/>
                </a:ext>
              </a:extLst>
            </p:cNvPr>
            <p:cNvSpPr/>
            <p:nvPr/>
          </p:nvSpPr>
          <p:spPr>
            <a:xfrm>
              <a:off x="5182280" y="4569651"/>
              <a:ext cx="50926" cy="50926"/>
            </a:xfrm>
            <a:custGeom>
              <a:avLst/>
              <a:gdLst>
                <a:gd name="connsiteX0" fmla="*/ 0 w 50925"/>
                <a:gd name="connsiteY0" fmla="*/ 56496 h 50925"/>
                <a:gd name="connsiteX1" fmla="*/ 56496 w 50925"/>
                <a:gd name="connsiteY1" fmla="*/ 56496 h 50925"/>
                <a:gd name="connsiteX2" fmla="*/ 56496 w 50925"/>
                <a:gd name="connsiteY2" fmla="*/ 0 h 50925"/>
                <a:gd name="connsiteX3" fmla="*/ 0 w 50925"/>
                <a:gd name="connsiteY3" fmla="*/ 0 h 50925"/>
                <a:gd name="connsiteX4" fmla="*/ 12731 w 50925"/>
                <a:gd name="connsiteY4" fmla="*/ 12731 h 50925"/>
                <a:gd name="connsiteX5" fmla="*/ 43764 w 50925"/>
                <a:gd name="connsiteY5" fmla="*/ 12731 h 50925"/>
                <a:gd name="connsiteX6" fmla="*/ 43764 w 50925"/>
                <a:gd name="connsiteY6" fmla="*/ 43764 h 50925"/>
                <a:gd name="connsiteX7" fmla="*/ 12731 w 50925"/>
                <a:gd name="connsiteY7" fmla="*/ 43764 h 5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25" h="50925">
                  <a:moveTo>
                    <a:pt x="0" y="56496"/>
                  </a:moveTo>
                  <a:lnTo>
                    <a:pt x="56496" y="56496"/>
                  </a:lnTo>
                  <a:lnTo>
                    <a:pt x="56496" y="0"/>
                  </a:lnTo>
                  <a:lnTo>
                    <a:pt x="0" y="0"/>
                  </a:lnTo>
                  <a:close/>
                  <a:moveTo>
                    <a:pt x="12731" y="12731"/>
                  </a:moveTo>
                  <a:lnTo>
                    <a:pt x="43764" y="12731"/>
                  </a:lnTo>
                  <a:lnTo>
                    <a:pt x="43764" y="43764"/>
                  </a:lnTo>
                  <a:lnTo>
                    <a:pt x="12731" y="43764"/>
                  </a:lnTo>
                  <a:close/>
                </a:path>
              </a:pathLst>
            </a:custGeom>
            <a:solidFill>
              <a:srgbClr val="001965"/>
            </a:solidFill>
            <a:ln w="6362" cap="flat">
              <a:no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1DE50771-C69B-4547-BA04-079FBE3D00DD}"/>
                </a:ext>
              </a:extLst>
            </p:cNvPr>
            <p:cNvSpPr/>
            <p:nvPr/>
          </p:nvSpPr>
          <p:spPr>
            <a:xfrm>
              <a:off x="9614849" y="5158492"/>
              <a:ext cx="31829" cy="31829"/>
            </a:xfrm>
            <a:custGeom>
              <a:avLst/>
              <a:gdLst>
                <a:gd name="connsiteX0" fmla="*/ 0 w 31828"/>
                <a:gd name="connsiteY0" fmla="*/ 23038 h 31828"/>
                <a:gd name="connsiteX1" fmla="*/ 5920 w 31828"/>
                <a:gd name="connsiteY1" fmla="*/ 34298 h 31828"/>
                <a:gd name="connsiteX2" fmla="*/ 36475 w 31828"/>
                <a:gd name="connsiteY2" fmla="*/ 7257 h 31828"/>
                <a:gd name="connsiteX3" fmla="*/ 26036 w 31828"/>
                <a:gd name="connsiteY3" fmla="*/ 0 h 31828"/>
                <a:gd name="connsiteX4" fmla="*/ 0 w 31828"/>
                <a:gd name="connsiteY4" fmla="*/ 23038 h 3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28" h="31828">
                  <a:moveTo>
                    <a:pt x="0" y="23038"/>
                  </a:moveTo>
                  <a:lnTo>
                    <a:pt x="5920" y="34298"/>
                  </a:lnTo>
                  <a:cubicBezTo>
                    <a:pt x="18142" y="27857"/>
                    <a:pt x="28582" y="18582"/>
                    <a:pt x="36475" y="7257"/>
                  </a:cubicBezTo>
                  <a:lnTo>
                    <a:pt x="26036" y="0"/>
                  </a:lnTo>
                  <a:cubicBezTo>
                    <a:pt x="19288" y="9644"/>
                    <a:pt x="10376" y="17544"/>
                    <a:pt x="0" y="23038"/>
                  </a:cubicBezTo>
                  <a:close/>
                </a:path>
              </a:pathLst>
            </a:custGeom>
            <a:solidFill>
              <a:srgbClr val="001965"/>
            </a:solidFill>
            <a:ln w="6362" cap="flat">
              <a:no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356D00AE-1DB8-42F6-9FAA-78FDD2153E43}"/>
                </a:ext>
              </a:extLst>
            </p:cNvPr>
            <p:cNvSpPr/>
            <p:nvPr/>
          </p:nvSpPr>
          <p:spPr>
            <a:xfrm>
              <a:off x="9143552"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55" name="Freeform: Shape 54">
              <a:extLst>
                <a:ext uri="{FF2B5EF4-FFF2-40B4-BE49-F238E27FC236}">
                  <a16:creationId xmlns:a16="http://schemas.microsoft.com/office/drawing/2014/main" id="{9B27D93A-580E-4C94-B0D8-1D7AE50E42E8}"/>
                </a:ext>
              </a:extLst>
            </p:cNvPr>
            <p:cNvSpPr/>
            <p:nvPr/>
          </p:nvSpPr>
          <p:spPr>
            <a:xfrm>
              <a:off x="9161369"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56" name="Freeform: Shape 55">
              <a:extLst>
                <a:ext uri="{FF2B5EF4-FFF2-40B4-BE49-F238E27FC236}">
                  <a16:creationId xmlns:a16="http://schemas.microsoft.com/office/drawing/2014/main" id="{DD4645F2-5D18-44AC-9FCC-CFD3A034E9A2}"/>
                </a:ext>
              </a:extLst>
            </p:cNvPr>
            <p:cNvSpPr/>
            <p:nvPr/>
          </p:nvSpPr>
          <p:spPr>
            <a:xfrm>
              <a:off x="9237643"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57" name="Freeform: Shape 56">
              <a:extLst>
                <a:ext uri="{FF2B5EF4-FFF2-40B4-BE49-F238E27FC236}">
                  <a16:creationId xmlns:a16="http://schemas.microsoft.com/office/drawing/2014/main" id="{7469150B-DD76-41EB-8927-0DA6E2119AF4}"/>
                </a:ext>
              </a:extLst>
            </p:cNvPr>
            <p:cNvSpPr/>
            <p:nvPr/>
          </p:nvSpPr>
          <p:spPr>
            <a:xfrm>
              <a:off x="9219826"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58" name="Freeform: Shape 57">
              <a:extLst>
                <a:ext uri="{FF2B5EF4-FFF2-40B4-BE49-F238E27FC236}">
                  <a16:creationId xmlns:a16="http://schemas.microsoft.com/office/drawing/2014/main" id="{ADC2CDAC-0A57-4BAA-A2BD-E439E9199E19}"/>
                </a:ext>
              </a:extLst>
            </p:cNvPr>
            <p:cNvSpPr/>
            <p:nvPr/>
          </p:nvSpPr>
          <p:spPr>
            <a:xfrm>
              <a:off x="8914736"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59" name="Freeform: Shape 58">
              <a:extLst>
                <a:ext uri="{FF2B5EF4-FFF2-40B4-BE49-F238E27FC236}">
                  <a16:creationId xmlns:a16="http://schemas.microsoft.com/office/drawing/2014/main" id="{871B14C9-A8FF-4BB6-91F8-92D9794AAF04}"/>
                </a:ext>
              </a:extLst>
            </p:cNvPr>
            <p:cNvSpPr/>
            <p:nvPr/>
          </p:nvSpPr>
          <p:spPr>
            <a:xfrm>
              <a:off x="8295262" y="5105969"/>
              <a:ext cx="12731" cy="38194"/>
            </a:xfrm>
            <a:custGeom>
              <a:avLst/>
              <a:gdLst>
                <a:gd name="connsiteX0" fmla="*/ 13324 w 12731"/>
                <a:gd name="connsiteY0" fmla="*/ 1617 h 38194"/>
                <a:gd name="connsiteX1" fmla="*/ 687 w 12731"/>
                <a:gd name="connsiteY1" fmla="*/ 0 h 38194"/>
                <a:gd name="connsiteX2" fmla="*/ 0 w 12731"/>
                <a:gd name="connsiteY2" fmla="*/ 10936 h 38194"/>
                <a:gd name="connsiteX3" fmla="*/ 5245 w 12731"/>
                <a:gd name="connsiteY3" fmla="*/ 40524 h 38194"/>
                <a:gd name="connsiteX4" fmla="*/ 17194 w 12731"/>
                <a:gd name="connsiteY4" fmla="*/ 36138 h 38194"/>
                <a:gd name="connsiteX5" fmla="*/ 12732 w 12731"/>
                <a:gd name="connsiteY5" fmla="*/ 10936 h 38194"/>
                <a:gd name="connsiteX6" fmla="*/ 13324 w 12731"/>
                <a:gd name="connsiteY6" fmla="*/ 1617 h 3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31" h="38194">
                  <a:moveTo>
                    <a:pt x="13324" y="1617"/>
                  </a:moveTo>
                  <a:lnTo>
                    <a:pt x="687" y="0"/>
                  </a:lnTo>
                  <a:cubicBezTo>
                    <a:pt x="229" y="3629"/>
                    <a:pt x="0" y="7276"/>
                    <a:pt x="0" y="10936"/>
                  </a:cubicBezTo>
                  <a:cubicBezTo>
                    <a:pt x="-13" y="21032"/>
                    <a:pt x="1763" y="31046"/>
                    <a:pt x="5245" y="40524"/>
                  </a:cubicBezTo>
                  <a:lnTo>
                    <a:pt x="17194" y="36138"/>
                  </a:lnTo>
                  <a:cubicBezTo>
                    <a:pt x="14234" y="28066"/>
                    <a:pt x="12719" y="19530"/>
                    <a:pt x="12732" y="10936"/>
                  </a:cubicBezTo>
                  <a:cubicBezTo>
                    <a:pt x="12732" y="7817"/>
                    <a:pt x="12929" y="4704"/>
                    <a:pt x="13324" y="1617"/>
                  </a:cubicBezTo>
                  <a:close/>
                </a:path>
              </a:pathLst>
            </a:custGeom>
            <a:solidFill>
              <a:srgbClr val="001965"/>
            </a:solidFill>
            <a:ln w="6362" cap="flat">
              <a:noFill/>
              <a:prstDash val="solid"/>
              <a:miter/>
            </a:ln>
          </p:spPr>
          <p:txBody>
            <a:bodyPr rtlCol="0" anchor="ctr"/>
            <a:lstStyle/>
            <a:p>
              <a:endParaRPr lang="en-GB"/>
            </a:p>
          </p:txBody>
        </p:sp>
        <p:sp>
          <p:nvSpPr>
            <p:cNvPr id="60" name="Freeform: Shape 59">
              <a:extLst>
                <a:ext uri="{FF2B5EF4-FFF2-40B4-BE49-F238E27FC236}">
                  <a16:creationId xmlns:a16="http://schemas.microsoft.com/office/drawing/2014/main" id="{230E67DB-E4AD-47AE-901D-0C5A424F7C7A}"/>
                </a:ext>
              </a:extLst>
            </p:cNvPr>
            <p:cNvSpPr/>
            <p:nvPr/>
          </p:nvSpPr>
          <p:spPr>
            <a:xfrm>
              <a:off x="9067278"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61" name="Freeform: Shape 60">
              <a:extLst>
                <a:ext uri="{FF2B5EF4-FFF2-40B4-BE49-F238E27FC236}">
                  <a16:creationId xmlns:a16="http://schemas.microsoft.com/office/drawing/2014/main" id="{5E60FD8F-31FC-4A53-9094-DAC00E75D4D8}"/>
                </a:ext>
              </a:extLst>
            </p:cNvPr>
            <p:cNvSpPr/>
            <p:nvPr/>
          </p:nvSpPr>
          <p:spPr>
            <a:xfrm>
              <a:off x="8991010"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62" name="Freeform: Shape 61">
              <a:extLst>
                <a:ext uri="{FF2B5EF4-FFF2-40B4-BE49-F238E27FC236}">
                  <a16:creationId xmlns:a16="http://schemas.microsoft.com/office/drawing/2014/main" id="{5BE8FB0B-C9E9-4834-A5D2-BC0FBDB150EC}"/>
                </a:ext>
              </a:extLst>
            </p:cNvPr>
            <p:cNvSpPr/>
            <p:nvPr/>
          </p:nvSpPr>
          <p:spPr>
            <a:xfrm>
              <a:off x="9085095"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63" name="Freeform: Shape 62">
              <a:extLst>
                <a:ext uri="{FF2B5EF4-FFF2-40B4-BE49-F238E27FC236}">
                  <a16:creationId xmlns:a16="http://schemas.microsoft.com/office/drawing/2014/main" id="{EF54E8D2-87A5-4F52-86A6-4D7E2F857871}"/>
                </a:ext>
              </a:extLst>
            </p:cNvPr>
            <p:cNvSpPr/>
            <p:nvPr/>
          </p:nvSpPr>
          <p:spPr>
            <a:xfrm>
              <a:off x="9008828"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64" name="Freeform: Shape 63">
              <a:extLst>
                <a:ext uri="{FF2B5EF4-FFF2-40B4-BE49-F238E27FC236}">
                  <a16:creationId xmlns:a16="http://schemas.microsoft.com/office/drawing/2014/main" id="{6BC2FED3-B5C7-4B24-BB4C-4603BAC8D2DD}"/>
                </a:ext>
              </a:extLst>
            </p:cNvPr>
            <p:cNvSpPr/>
            <p:nvPr/>
          </p:nvSpPr>
          <p:spPr>
            <a:xfrm>
              <a:off x="9542727" y="5189911"/>
              <a:ext cx="38194" cy="12731"/>
            </a:xfrm>
            <a:custGeom>
              <a:avLst/>
              <a:gdLst>
                <a:gd name="connsiteX0" fmla="*/ 0 w 38194"/>
                <a:gd name="connsiteY0" fmla="*/ 0 h 12731"/>
                <a:gd name="connsiteX1" fmla="*/ 0 w 38194"/>
                <a:gd name="connsiteY1" fmla="*/ 12731 h 12731"/>
                <a:gd name="connsiteX2" fmla="*/ 38449 w 38194"/>
                <a:gd name="connsiteY2" fmla="*/ 12731 h 12731"/>
                <a:gd name="connsiteX3" fmla="*/ 38131 w 38194"/>
                <a:gd name="connsiteY3" fmla="*/ 0 h 12731"/>
                <a:gd name="connsiteX4" fmla="*/ 0 w 38194"/>
                <a:gd name="connsiteY4" fmla="*/ 0 h 1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94" h="12731">
                  <a:moveTo>
                    <a:pt x="0" y="0"/>
                  </a:moveTo>
                  <a:lnTo>
                    <a:pt x="0" y="12731"/>
                  </a:lnTo>
                  <a:lnTo>
                    <a:pt x="38449" y="12731"/>
                  </a:lnTo>
                  <a:lnTo>
                    <a:pt x="38131" y="0"/>
                  </a:lnTo>
                  <a:lnTo>
                    <a:pt x="0" y="0"/>
                  </a:lnTo>
                  <a:close/>
                </a:path>
              </a:pathLst>
            </a:custGeom>
            <a:solidFill>
              <a:srgbClr val="001965"/>
            </a:solidFill>
            <a:ln w="6362"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359C8015-CEAB-4DD7-A46C-8784B81D5B6A}"/>
                </a:ext>
              </a:extLst>
            </p:cNvPr>
            <p:cNvSpPr/>
            <p:nvPr/>
          </p:nvSpPr>
          <p:spPr>
            <a:xfrm>
              <a:off x="9599317" y="5033934"/>
              <a:ext cx="38194" cy="25463"/>
            </a:xfrm>
            <a:custGeom>
              <a:avLst/>
              <a:gdLst>
                <a:gd name="connsiteX0" fmla="*/ 39086 w 38194"/>
                <a:gd name="connsiteY0" fmla="*/ 19428 h 25462"/>
                <a:gd name="connsiteX1" fmla="*/ 3247 w 38194"/>
                <a:gd name="connsiteY1" fmla="*/ 0 h 25462"/>
                <a:gd name="connsiteX2" fmla="*/ 0 w 38194"/>
                <a:gd name="connsiteY2" fmla="*/ 12324 h 25462"/>
                <a:gd name="connsiteX3" fmla="*/ 30555 w 38194"/>
                <a:gd name="connsiteY3" fmla="*/ 28869 h 25462"/>
              </a:gdLst>
              <a:ahLst/>
              <a:cxnLst>
                <a:cxn ang="0">
                  <a:pos x="connsiteX0" y="connsiteY0"/>
                </a:cxn>
                <a:cxn ang="0">
                  <a:pos x="connsiteX1" y="connsiteY1"/>
                </a:cxn>
                <a:cxn ang="0">
                  <a:pos x="connsiteX2" y="connsiteY2"/>
                </a:cxn>
                <a:cxn ang="0">
                  <a:pos x="connsiteX3" y="connsiteY3"/>
                </a:cxn>
              </a:cxnLst>
              <a:rect l="l" t="t" r="r" b="b"/>
              <a:pathLst>
                <a:path w="38194" h="25462">
                  <a:moveTo>
                    <a:pt x="39086" y="19428"/>
                  </a:moveTo>
                  <a:cubicBezTo>
                    <a:pt x="28900" y="10173"/>
                    <a:pt x="16614" y="3508"/>
                    <a:pt x="3247" y="0"/>
                  </a:cubicBezTo>
                  <a:lnTo>
                    <a:pt x="0" y="12324"/>
                  </a:lnTo>
                  <a:cubicBezTo>
                    <a:pt x="11394" y="15310"/>
                    <a:pt x="21834" y="20982"/>
                    <a:pt x="30555" y="28869"/>
                  </a:cubicBezTo>
                  <a:close/>
                </a:path>
              </a:pathLst>
            </a:custGeom>
            <a:solidFill>
              <a:srgbClr val="001965"/>
            </a:solidFill>
            <a:ln w="6362" cap="flat">
              <a:noFill/>
              <a:prstDash val="solid"/>
              <a:miter/>
            </a:ln>
          </p:spPr>
          <p:txBody>
            <a:bodyPr rtlCol="0" anchor="ctr"/>
            <a:lstStyle/>
            <a:p>
              <a:endParaRPr lang="en-GB"/>
            </a:p>
          </p:txBody>
        </p:sp>
        <p:sp>
          <p:nvSpPr>
            <p:cNvPr id="66" name="Freeform: Shape 65">
              <a:extLst>
                <a:ext uri="{FF2B5EF4-FFF2-40B4-BE49-F238E27FC236}">
                  <a16:creationId xmlns:a16="http://schemas.microsoft.com/office/drawing/2014/main" id="{F136A197-D0E0-47C0-BF04-7065703A082E}"/>
                </a:ext>
              </a:extLst>
            </p:cNvPr>
            <p:cNvSpPr/>
            <p:nvPr/>
          </p:nvSpPr>
          <p:spPr>
            <a:xfrm>
              <a:off x="9524903"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67" name="Freeform: Shape 66">
              <a:extLst>
                <a:ext uri="{FF2B5EF4-FFF2-40B4-BE49-F238E27FC236}">
                  <a16:creationId xmlns:a16="http://schemas.microsoft.com/office/drawing/2014/main" id="{BAD0E95B-2917-499C-8BF2-0CD0B2C6EB2C}"/>
                </a:ext>
              </a:extLst>
            </p:cNvPr>
            <p:cNvSpPr/>
            <p:nvPr/>
          </p:nvSpPr>
          <p:spPr>
            <a:xfrm>
              <a:off x="9296093"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68" name="Freeform: Shape 67">
              <a:extLst>
                <a:ext uri="{FF2B5EF4-FFF2-40B4-BE49-F238E27FC236}">
                  <a16:creationId xmlns:a16="http://schemas.microsoft.com/office/drawing/2014/main" id="{128C5E66-E2E2-4B3B-B9EA-B242DC521A07}"/>
                </a:ext>
              </a:extLst>
            </p:cNvPr>
            <p:cNvSpPr/>
            <p:nvPr/>
          </p:nvSpPr>
          <p:spPr>
            <a:xfrm>
              <a:off x="9649352" y="5087145"/>
              <a:ext cx="12731" cy="38194"/>
            </a:xfrm>
            <a:custGeom>
              <a:avLst/>
              <a:gdLst>
                <a:gd name="connsiteX0" fmla="*/ 0 w 12731"/>
                <a:gd name="connsiteY0" fmla="*/ 4411 h 38194"/>
                <a:gd name="connsiteX1" fmla="*/ 4519 w 12731"/>
                <a:gd name="connsiteY1" fmla="*/ 29760 h 38194"/>
                <a:gd name="connsiteX2" fmla="*/ 3947 w 12731"/>
                <a:gd name="connsiteY2" fmla="*/ 38933 h 38194"/>
                <a:gd name="connsiteX3" fmla="*/ 16551 w 12731"/>
                <a:gd name="connsiteY3" fmla="*/ 40512 h 38194"/>
                <a:gd name="connsiteX4" fmla="*/ 17251 w 12731"/>
                <a:gd name="connsiteY4" fmla="*/ 29760 h 38194"/>
                <a:gd name="connsiteX5" fmla="*/ 11968 w 12731"/>
                <a:gd name="connsiteY5" fmla="*/ 0 h 3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31" h="38194">
                  <a:moveTo>
                    <a:pt x="0" y="4411"/>
                  </a:moveTo>
                  <a:cubicBezTo>
                    <a:pt x="2992" y="12528"/>
                    <a:pt x="4519" y="21109"/>
                    <a:pt x="4519" y="29760"/>
                  </a:cubicBezTo>
                  <a:cubicBezTo>
                    <a:pt x="4519" y="32822"/>
                    <a:pt x="4328" y="35890"/>
                    <a:pt x="3947" y="38933"/>
                  </a:cubicBezTo>
                  <a:lnTo>
                    <a:pt x="16551" y="40512"/>
                  </a:lnTo>
                  <a:cubicBezTo>
                    <a:pt x="16997" y="36947"/>
                    <a:pt x="17251" y="33350"/>
                    <a:pt x="17251" y="29760"/>
                  </a:cubicBezTo>
                  <a:cubicBezTo>
                    <a:pt x="17251" y="19600"/>
                    <a:pt x="15468" y="9523"/>
                    <a:pt x="11968" y="0"/>
                  </a:cubicBezTo>
                  <a:close/>
                </a:path>
              </a:pathLst>
            </a:custGeom>
            <a:solidFill>
              <a:srgbClr val="001965"/>
            </a:solidFill>
            <a:ln w="6362" cap="flat">
              <a:noFill/>
              <a:prstDash val="solid"/>
              <a:miter/>
            </a:ln>
          </p:spPr>
          <p:txBody>
            <a:bodyPr rtlCol="0" anchor="ctr"/>
            <a:lstStyle/>
            <a:p>
              <a:endParaRPr lang="en-GB"/>
            </a:p>
          </p:txBody>
        </p:sp>
        <p:sp>
          <p:nvSpPr>
            <p:cNvPr id="69" name="Freeform: Shape 68">
              <a:extLst>
                <a:ext uri="{FF2B5EF4-FFF2-40B4-BE49-F238E27FC236}">
                  <a16:creationId xmlns:a16="http://schemas.microsoft.com/office/drawing/2014/main" id="{4C1366D2-A347-4DC1-85CF-99436E0A6BD6}"/>
                </a:ext>
              </a:extLst>
            </p:cNvPr>
            <p:cNvSpPr/>
            <p:nvPr/>
          </p:nvSpPr>
          <p:spPr>
            <a:xfrm>
              <a:off x="9448642"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70" name="Freeform: Shape 69">
              <a:extLst>
                <a:ext uri="{FF2B5EF4-FFF2-40B4-BE49-F238E27FC236}">
                  <a16:creationId xmlns:a16="http://schemas.microsoft.com/office/drawing/2014/main" id="{76C0CDBF-DE7E-4D8A-9175-A267C4C32C97}"/>
                </a:ext>
              </a:extLst>
            </p:cNvPr>
            <p:cNvSpPr/>
            <p:nvPr/>
          </p:nvSpPr>
          <p:spPr>
            <a:xfrm>
              <a:off x="9390185"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71" name="Freeform: Shape 70">
              <a:extLst>
                <a:ext uri="{FF2B5EF4-FFF2-40B4-BE49-F238E27FC236}">
                  <a16:creationId xmlns:a16="http://schemas.microsoft.com/office/drawing/2014/main" id="{C00063DA-B7C6-43EE-A382-1A84BD555433}"/>
                </a:ext>
              </a:extLst>
            </p:cNvPr>
            <p:cNvSpPr/>
            <p:nvPr/>
          </p:nvSpPr>
          <p:spPr>
            <a:xfrm>
              <a:off x="9372361"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72" name="Freeform: Shape 71">
              <a:extLst>
                <a:ext uri="{FF2B5EF4-FFF2-40B4-BE49-F238E27FC236}">
                  <a16:creationId xmlns:a16="http://schemas.microsoft.com/office/drawing/2014/main" id="{4A64FAF5-8B33-41F8-8C32-CB92A31E92D7}"/>
                </a:ext>
              </a:extLst>
            </p:cNvPr>
            <p:cNvSpPr/>
            <p:nvPr/>
          </p:nvSpPr>
          <p:spPr>
            <a:xfrm>
              <a:off x="9466466"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73" name="Freeform: Shape 72">
              <a:extLst>
                <a:ext uri="{FF2B5EF4-FFF2-40B4-BE49-F238E27FC236}">
                  <a16:creationId xmlns:a16="http://schemas.microsoft.com/office/drawing/2014/main" id="{EFFCEE64-DFED-4F7C-BB43-6C3F661A4439}"/>
                </a:ext>
              </a:extLst>
            </p:cNvPr>
            <p:cNvSpPr/>
            <p:nvPr/>
          </p:nvSpPr>
          <p:spPr>
            <a:xfrm>
              <a:off x="9313911"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74" name="Freeform: Shape 73">
              <a:extLst>
                <a:ext uri="{FF2B5EF4-FFF2-40B4-BE49-F238E27FC236}">
                  <a16:creationId xmlns:a16="http://schemas.microsoft.com/office/drawing/2014/main" id="{C8CD1618-2E49-4868-81E3-04A5F421F393}"/>
                </a:ext>
              </a:extLst>
            </p:cNvPr>
            <p:cNvSpPr/>
            <p:nvPr/>
          </p:nvSpPr>
          <p:spPr>
            <a:xfrm>
              <a:off x="8398661"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62D1CABD-B0AE-4054-8672-7E67F7A7DB92}"/>
                </a:ext>
              </a:extLst>
            </p:cNvPr>
            <p:cNvSpPr/>
            <p:nvPr/>
          </p:nvSpPr>
          <p:spPr>
            <a:xfrm>
              <a:off x="8457111"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76" name="Freeform: Shape 75">
              <a:extLst>
                <a:ext uri="{FF2B5EF4-FFF2-40B4-BE49-F238E27FC236}">
                  <a16:creationId xmlns:a16="http://schemas.microsoft.com/office/drawing/2014/main" id="{FB913A0C-C298-4B01-B5E7-D00B8DD5F0D9}"/>
                </a:ext>
              </a:extLst>
            </p:cNvPr>
            <p:cNvSpPr/>
            <p:nvPr/>
          </p:nvSpPr>
          <p:spPr>
            <a:xfrm>
              <a:off x="8474929"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77" name="Freeform: Shape 76">
              <a:extLst>
                <a:ext uri="{FF2B5EF4-FFF2-40B4-BE49-F238E27FC236}">
                  <a16:creationId xmlns:a16="http://schemas.microsoft.com/office/drawing/2014/main" id="{18E5FEC5-0AC6-4C5D-9837-34C3ADEE021B}"/>
                </a:ext>
              </a:extLst>
            </p:cNvPr>
            <p:cNvSpPr/>
            <p:nvPr/>
          </p:nvSpPr>
          <p:spPr>
            <a:xfrm>
              <a:off x="8551196" y="5189911"/>
              <a:ext cx="31829" cy="12731"/>
            </a:xfrm>
            <a:custGeom>
              <a:avLst/>
              <a:gdLst>
                <a:gd name="connsiteX0" fmla="*/ 0 w 31828"/>
                <a:gd name="connsiteY0" fmla="*/ 0 h 12731"/>
                <a:gd name="connsiteX1" fmla="*/ 38139 w 31828"/>
                <a:gd name="connsiteY1" fmla="*/ 0 h 12731"/>
                <a:gd name="connsiteX2" fmla="*/ 38139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9" y="0"/>
                  </a:lnTo>
                  <a:lnTo>
                    <a:pt x="38139" y="12731"/>
                  </a:lnTo>
                  <a:lnTo>
                    <a:pt x="0" y="12731"/>
                  </a:lnTo>
                  <a:close/>
                </a:path>
              </a:pathLst>
            </a:custGeom>
            <a:solidFill>
              <a:srgbClr val="001965"/>
            </a:solidFill>
            <a:ln w="6362" cap="flat">
              <a:noFill/>
              <a:prstDash val="solid"/>
              <a:miter/>
            </a:ln>
          </p:spPr>
          <p:txBody>
            <a:bodyPr rtlCol="0" anchor="ctr"/>
            <a:lstStyle/>
            <a:p>
              <a:endParaRPr lang="en-GB"/>
            </a:p>
          </p:txBody>
        </p:sp>
        <p:sp>
          <p:nvSpPr>
            <p:cNvPr id="78" name="Freeform: Shape 77">
              <a:extLst>
                <a:ext uri="{FF2B5EF4-FFF2-40B4-BE49-F238E27FC236}">
                  <a16:creationId xmlns:a16="http://schemas.microsoft.com/office/drawing/2014/main" id="{FC79D2A1-2357-4479-9E73-40FE4842676C}"/>
                </a:ext>
              </a:extLst>
            </p:cNvPr>
            <p:cNvSpPr/>
            <p:nvPr/>
          </p:nvSpPr>
          <p:spPr>
            <a:xfrm>
              <a:off x="8310635" y="5040924"/>
              <a:ext cx="31829" cy="31829"/>
            </a:xfrm>
            <a:custGeom>
              <a:avLst/>
              <a:gdLst>
                <a:gd name="connsiteX0" fmla="*/ 36501 w 31828"/>
                <a:gd name="connsiteY0" fmla="*/ 11280 h 31828"/>
                <a:gd name="connsiteX1" fmla="*/ 30587 w 31828"/>
                <a:gd name="connsiteY1" fmla="*/ 0 h 31828"/>
                <a:gd name="connsiteX2" fmla="*/ 0 w 31828"/>
                <a:gd name="connsiteY2" fmla="*/ 26978 h 31828"/>
                <a:gd name="connsiteX3" fmla="*/ 10440 w 31828"/>
                <a:gd name="connsiteY3" fmla="*/ 34267 h 31828"/>
                <a:gd name="connsiteX4" fmla="*/ 36501 w 31828"/>
                <a:gd name="connsiteY4" fmla="*/ 11280 h 3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28" h="31828">
                  <a:moveTo>
                    <a:pt x="36501" y="11280"/>
                  </a:moveTo>
                  <a:lnTo>
                    <a:pt x="30587" y="0"/>
                  </a:lnTo>
                  <a:cubicBezTo>
                    <a:pt x="18384" y="6429"/>
                    <a:pt x="7900" y="15679"/>
                    <a:pt x="0" y="26978"/>
                  </a:cubicBezTo>
                  <a:lnTo>
                    <a:pt x="10440" y="34267"/>
                  </a:lnTo>
                  <a:cubicBezTo>
                    <a:pt x="17168" y="24635"/>
                    <a:pt x="26106" y="16755"/>
                    <a:pt x="36501" y="11280"/>
                  </a:cubicBezTo>
                  <a:close/>
                </a:path>
              </a:pathLst>
            </a:custGeom>
            <a:solidFill>
              <a:srgbClr val="001965"/>
            </a:solidFill>
            <a:ln w="6362" cap="flat">
              <a:noFill/>
              <a:prstDash val="solid"/>
              <a:miter/>
            </a:ln>
          </p:spPr>
          <p:txBody>
            <a:bodyPr rtlCol="0" anchor="ctr"/>
            <a:lstStyle/>
            <a:p>
              <a:endParaRPr lang="en-GB"/>
            </a:p>
          </p:txBody>
        </p:sp>
        <p:sp>
          <p:nvSpPr>
            <p:cNvPr id="79" name="Freeform: Shape 78">
              <a:extLst>
                <a:ext uri="{FF2B5EF4-FFF2-40B4-BE49-F238E27FC236}">
                  <a16:creationId xmlns:a16="http://schemas.microsoft.com/office/drawing/2014/main" id="{CD34A58D-5E35-46C4-B6B0-BE37E7912E40}"/>
                </a:ext>
              </a:extLst>
            </p:cNvPr>
            <p:cNvSpPr/>
            <p:nvPr/>
          </p:nvSpPr>
          <p:spPr>
            <a:xfrm>
              <a:off x="8380837" y="5031163"/>
              <a:ext cx="31829" cy="12731"/>
            </a:xfrm>
            <a:custGeom>
              <a:avLst/>
              <a:gdLst>
                <a:gd name="connsiteX0" fmla="*/ 38137 w 31828"/>
                <a:gd name="connsiteY0" fmla="*/ 0 h 12731"/>
                <a:gd name="connsiteX1" fmla="*/ 0 w 31828"/>
                <a:gd name="connsiteY1" fmla="*/ 0 h 12731"/>
                <a:gd name="connsiteX2" fmla="*/ 166 w 31828"/>
                <a:gd name="connsiteY2" fmla="*/ 12731 h 12731"/>
                <a:gd name="connsiteX3" fmla="*/ 38137 w 31828"/>
                <a:gd name="connsiteY3" fmla="*/ 12731 h 12731"/>
                <a:gd name="connsiteX4" fmla="*/ 38137 w 31828"/>
                <a:gd name="connsiteY4" fmla="*/ 0 h 12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28" h="12731">
                  <a:moveTo>
                    <a:pt x="38137" y="0"/>
                  </a:moveTo>
                  <a:lnTo>
                    <a:pt x="0" y="0"/>
                  </a:lnTo>
                  <a:lnTo>
                    <a:pt x="166" y="12731"/>
                  </a:lnTo>
                  <a:lnTo>
                    <a:pt x="38137" y="12731"/>
                  </a:lnTo>
                  <a:lnTo>
                    <a:pt x="38137" y="0"/>
                  </a:lnTo>
                  <a:close/>
                </a:path>
              </a:pathLst>
            </a:custGeom>
            <a:solidFill>
              <a:srgbClr val="001965"/>
            </a:solidFill>
            <a:ln w="6362" cap="flat">
              <a:noFill/>
              <a:prstDash val="solid"/>
              <a:miter/>
            </a:ln>
          </p:spPr>
          <p:txBody>
            <a:bodyPr rtlCol="0" anchor="ctr"/>
            <a:lstStyle/>
            <a:p>
              <a:endParaRPr lang="en-GB"/>
            </a:p>
          </p:txBody>
        </p:sp>
        <p:sp>
          <p:nvSpPr>
            <p:cNvPr id="80" name="Freeform: Shape 79">
              <a:extLst>
                <a:ext uri="{FF2B5EF4-FFF2-40B4-BE49-F238E27FC236}">
                  <a16:creationId xmlns:a16="http://schemas.microsoft.com/office/drawing/2014/main" id="{BC8EA6B7-7DB4-4EE2-B4F3-39F633C3CBB1}"/>
                </a:ext>
              </a:extLst>
            </p:cNvPr>
            <p:cNvSpPr/>
            <p:nvPr/>
          </p:nvSpPr>
          <p:spPr>
            <a:xfrm>
              <a:off x="8323303" y="5170912"/>
              <a:ext cx="38194" cy="25463"/>
            </a:xfrm>
            <a:custGeom>
              <a:avLst/>
              <a:gdLst>
                <a:gd name="connsiteX0" fmla="*/ 0 w 38194"/>
                <a:gd name="connsiteY0" fmla="*/ 9409 h 25462"/>
                <a:gd name="connsiteX1" fmla="*/ 35833 w 38194"/>
                <a:gd name="connsiteY1" fmla="*/ 28913 h 25462"/>
                <a:gd name="connsiteX2" fmla="*/ 39067 w 38194"/>
                <a:gd name="connsiteY2" fmla="*/ 16602 h 25462"/>
                <a:gd name="connsiteX3" fmla="*/ 8568 w 38194"/>
                <a:gd name="connsiteY3" fmla="*/ 0 h 25462"/>
              </a:gdLst>
              <a:ahLst/>
              <a:cxnLst>
                <a:cxn ang="0">
                  <a:pos x="connsiteX0" y="connsiteY0"/>
                </a:cxn>
                <a:cxn ang="0">
                  <a:pos x="connsiteX1" y="connsiteY1"/>
                </a:cxn>
                <a:cxn ang="0">
                  <a:pos x="connsiteX2" y="connsiteY2"/>
                </a:cxn>
                <a:cxn ang="0">
                  <a:pos x="connsiteX3" y="connsiteY3"/>
                </a:cxn>
              </a:cxnLst>
              <a:rect l="l" t="t" r="r" b="b"/>
              <a:pathLst>
                <a:path w="38194" h="25462">
                  <a:moveTo>
                    <a:pt x="0" y="9409"/>
                  </a:moveTo>
                  <a:cubicBezTo>
                    <a:pt x="10204" y="18696"/>
                    <a:pt x="22490" y="25387"/>
                    <a:pt x="35833" y="28913"/>
                  </a:cubicBezTo>
                  <a:lnTo>
                    <a:pt x="39067" y="16602"/>
                  </a:lnTo>
                  <a:cubicBezTo>
                    <a:pt x="27716" y="13597"/>
                    <a:pt x="17257" y="7906"/>
                    <a:pt x="8568" y="0"/>
                  </a:cubicBezTo>
                  <a:close/>
                </a:path>
              </a:pathLst>
            </a:custGeom>
            <a:solidFill>
              <a:srgbClr val="001965"/>
            </a:solidFill>
            <a:ln w="6362" cap="flat">
              <a:noFill/>
              <a:prstDash val="solid"/>
              <a:miter/>
            </a:ln>
          </p:spPr>
          <p:txBody>
            <a:bodyPr rtlCol="0" anchor="ctr"/>
            <a:lstStyle/>
            <a:p>
              <a:endParaRPr lang="en-GB"/>
            </a:p>
          </p:txBody>
        </p:sp>
        <p:sp>
          <p:nvSpPr>
            <p:cNvPr id="81" name="Freeform: Shape 80">
              <a:extLst>
                <a:ext uri="{FF2B5EF4-FFF2-40B4-BE49-F238E27FC236}">
                  <a16:creationId xmlns:a16="http://schemas.microsoft.com/office/drawing/2014/main" id="{D4F3301C-FE0A-4C29-8689-9831BD87D907}"/>
                </a:ext>
              </a:extLst>
            </p:cNvPr>
            <p:cNvSpPr/>
            <p:nvPr/>
          </p:nvSpPr>
          <p:spPr>
            <a:xfrm>
              <a:off x="8627470"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82" name="Freeform: Shape 81">
              <a:extLst>
                <a:ext uri="{FF2B5EF4-FFF2-40B4-BE49-F238E27FC236}">
                  <a16:creationId xmlns:a16="http://schemas.microsoft.com/office/drawing/2014/main" id="{B3811BB5-6E1A-4B78-B0CD-C1675D6A3D3B}"/>
                </a:ext>
              </a:extLst>
            </p:cNvPr>
            <p:cNvSpPr/>
            <p:nvPr/>
          </p:nvSpPr>
          <p:spPr>
            <a:xfrm>
              <a:off x="8932560"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83" name="Freeform: Shape 82">
              <a:extLst>
                <a:ext uri="{FF2B5EF4-FFF2-40B4-BE49-F238E27FC236}">
                  <a16:creationId xmlns:a16="http://schemas.microsoft.com/office/drawing/2014/main" id="{1914E618-FB1D-4FF5-97CD-113BDF8D4350}"/>
                </a:ext>
              </a:extLst>
            </p:cNvPr>
            <p:cNvSpPr/>
            <p:nvPr/>
          </p:nvSpPr>
          <p:spPr>
            <a:xfrm>
              <a:off x="8533379" y="5031163"/>
              <a:ext cx="31829" cy="12731"/>
            </a:xfrm>
            <a:custGeom>
              <a:avLst/>
              <a:gdLst>
                <a:gd name="connsiteX0" fmla="*/ 0 w 31828"/>
                <a:gd name="connsiteY0" fmla="*/ 0 h 12731"/>
                <a:gd name="connsiteX1" fmla="*/ 38138 w 31828"/>
                <a:gd name="connsiteY1" fmla="*/ 0 h 12731"/>
                <a:gd name="connsiteX2" fmla="*/ 38138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8" y="0"/>
                  </a:lnTo>
                  <a:lnTo>
                    <a:pt x="38138" y="12731"/>
                  </a:lnTo>
                  <a:lnTo>
                    <a:pt x="0" y="12731"/>
                  </a:lnTo>
                  <a:close/>
                </a:path>
              </a:pathLst>
            </a:custGeom>
            <a:solidFill>
              <a:srgbClr val="001965"/>
            </a:solidFill>
            <a:ln w="6362" cap="flat">
              <a:noFill/>
              <a:prstDash val="solid"/>
              <a:miter/>
            </a:ln>
          </p:spPr>
          <p:txBody>
            <a:bodyPr rtlCol="0" anchor="ctr"/>
            <a:lstStyle/>
            <a:p>
              <a:endParaRPr lang="en-GB"/>
            </a:p>
          </p:txBody>
        </p:sp>
        <p:sp>
          <p:nvSpPr>
            <p:cNvPr id="84" name="Freeform: Shape 83">
              <a:extLst>
                <a:ext uri="{FF2B5EF4-FFF2-40B4-BE49-F238E27FC236}">
                  <a16:creationId xmlns:a16="http://schemas.microsoft.com/office/drawing/2014/main" id="{66CEA637-405B-4248-8426-561CA47209E8}"/>
                </a:ext>
              </a:extLst>
            </p:cNvPr>
            <p:cNvSpPr/>
            <p:nvPr/>
          </p:nvSpPr>
          <p:spPr>
            <a:xfrm>
              <a:off x="8856286" y="5189911"/>
              <a:ext cx="31829" cy="12731"/>
            </a:xfrm>
            <a:custGeom>
              <a:avLst/>
              <a:gdLst>
                <a:gd name="connsiteX0" fmla="*/ 0 w 31828"/>
                <a:gd name="connsiteY0" fmla="*/ 0 h 12731"/>
                <a:gd name="connsiteX1" fmla="*/ 38139 w 31828"/>
                <a:gd name="connsiteY1" fmla="*/ 0 h 12731"/>
                <a:gd name="connsiteX2" fmla="*/ 38139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9" y="0"/>
                  </a:lnTo>
                  <a:lnTo>
                    <a:pt x="38139" y="12731"/>
                  </a:lnTo>
                  <a:lnTo>
                    <a:pt x="0" y="12731"/>
                  </a:lnTo>
                  <a:close/>
                </a:path>
              </a:pathLst>
            </a:custGeom>
            <a:solidFill>
              <a:srgbClr val="001965"/>
            </a:solidFill>
            <a:ln w="6362" cap="flat">
              <a:noFill/>
              <a:prstDash val="solid"/>
              <a:miter/>
            </a:ln>
          </p:spPr>
          <p:txBody>
            <a:bodyPr rtlCol="0" anchor="ctr"/>
            <a:lstStyle/>
            <a:p>
              <a:endParaRPr lang="en-GB"/>
            </a:p>
          </p:txBody>
        </p:sp>
        <p:sp>
          <p:nvSpPr>
            <p:cNvPr id="85" name="Freeform: Shape 84">
              <a:extLst>
                <a:ext uri="{FF2B5EF4-FFF2-40B4-BE49-F238E27FC236}">
                  <a16:creationId xmlns:a16="http://schemas.microsoft.com/office/drawing/2014/main" id="{041D87B3-B608-405A-9B74-F59F1C997DF5}"/>
                </a:ext>
              </a:extLst>
            </p:cNvPr>
            <p:cNvSpPr/>
            <p:nvPr/>
          </p:nvSpPr>
          <p:spPr>
            <a:xfrm>
              <a:off x="8780012"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86C6282F-0425-4FC5-AF11-04701C7C0B19}"/>
                </a:ext>
              </a:extLst>
            </p:cNvPr>
            <p:cNvSpPr/>
            <p:nvPr/>
          </p:nvSpPr>
          <p:spPr>
            <a:xfrm>
              <a:off x="8762194"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87" name="Freeform: Shape 86">
              <a:extLst>
                <a:ext uri="{FF2B5EF4-FFF2-40B4-BE49-F238E27FC236}">
                  <a16:creationId xmlns:a16="http://schemas.microsoft.com/office/drawing/2014/main" id="{455457FF-7AEF-4FF7-9B4B-C83C041AC43E}"/>
                </a:ext>
              </a:extLst>
            </p:cNvPr>
            <p:cNvSpPr/>
            <p:nvPr/>
          </p:nvSpPr>
          <p:spPr>
            <a:xfrm>
              <a:off x="8838468"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50B43559-305B-4CA4-9F2D-0F2FF6FC91CD}"/>
                </a:ext>
              </a:extLst>
            </p:cNvPr>
            <p:cNvSpPr/>
            <p:nvPr/>
          </p:nvSpPr>
          <p:spPr>
            <a:xfrm>
              <a:off x="8685920"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89" name="Freeform: Shape 88">
              <a:extLst>
                <a:ext uri="{FF2B5EF4-FFF2-40B4-BE49-F238E27FC236}">
                  <a16:creationId xmlns:a16="http://schemas.microsoft.com/office/drawing/2014/main" id="{BA17403D-6D19-4BDF-8FE6-F9561507AA42}"/>
                </a:ext>
              </a:extLst>
            </p:cNvPr>
            <p:cNvSpPr/>
            <p:nvPr/>
          </p:nvSpPr>
          <p:spPr>
            <a:xfrm>
              <a:off x="8703744" y="5189911"/>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90" name="Freeform: Shape 89">
              <a:extLst>
                <a:ext uri="{FF2B5EF4-FFF2-40B4-BE49-F238E27FC236}">
                  <a16:creationId xmlns:a16="http://schemas.microsoft.com/office/drawing/2014/main" id="{2A807530-FABF-4173-8503-EDCDAA1C9315}"/>
                </a:ext>
              </a:extLst>
            </p:cNvPr>
            <p:cNvSpPr/>
            <p:nvPr/>
          </p:nvSpPr>
          <p:spPr>
            <a:xfrm>
              <a:off x="8609653" y="5031163"/>
              <a:ext cx="31829" cy="12731"/>
            </a:xfrm>
            <a:custGeom>
              <a:avLst/>
              <a:gdLst>
                <a:gd name="connsiteX0" fmla="*/ 0 w 31828"/>
                <a:gd name="connsiteY0" fmla="*/ 0 h 12731"/>
                <a:gd name="connsiteX1" fmla="*/ 38135 w 31828"/>
                <a:gd name="connsiteY1" fmla="*/ 0 h 12731"/>
                <a:gd name="connsiteX2" fmla="*/ 38135 w 31828"/>
                <a:gd name="connsiteY2" fmla="*/ 12731 h 12731"/>
                <a:gd name="connsiteX3" fmla="*/ 0 w 31828"/>
                <a:gd name="connsiteY3" fmla="*/ 12731 h 12731"/>
              </a:gdLst>
              <a:ahLst/>
              <a:cxnLst>
                <a:cxn ang="0">
                  <a:pos x="connsiteX0" y="connsiteY0"/>
                </a:cxn>
                <a:cxn ang="0">
                  <a:pos x="connsiteX1" y="connsiteY1"/>
                </a:cxn>
                <a:cxn ang="0">
                  <a:pos x="connsiteX2" y="connsiteY2"/>
                </a:cxn>
                <a:cxn ang="0">
                  <a:pos x="connsiteX3" y="connsiteY3"/>
                </a:cxn>
              </a:cxnLst>
              <a:rect l="l" t="t" r="r" b="b"/>
              <a:pathLst>
                <a:path w="31828" h="12731">
                  <a:moveTo>
                    <a:pt x="0" y="0"/>
                  </a:moveTo>
                  <a:lnTo>
                    <a:pt x="38135" y="0"/>
                  </a:lnTo>
                  <a:lnTo>
                    <a:pt x="38135" y="12731"/>
                  </a:lnTo>
                  <a:lnTo>
                    <a:pt x="0" y="12731"/>
                  </a:lnTo>
                  <a:close/>
                </a:path>
              </a:pathLst>
            </a:custGeom>
            <a:solidFill>
              <a:srgbClr val="001965"/>
            </a:solidFill>
            <a:ln w="6362" cap="flat">
              <a:noFill/>
              <a:prstDash val="solid"/>
              <a:miter/>
            </a:ln>
          </p:spPr>
          <p:txBody>
            <a:bodyPr rtlCol="0" anchor="ctr"/>
            <a:lstStyle/>
            <a:p>
              <a:endParaRPr lang="en-GB"/>
            </a:p>
          </p:txBody>
        </p:sp>
        <p:sp>
          <p:nvSpPr>
            <p:cNvPr id="91" name="Freeform: Shape 90">
              <a:extLst>
                <a:ext uri="{FF2B5EF4-FFF2-40B4-BE49-F238E27FC236}">
                  <a16:creationId xmlns:a16="http://schemas.microsoft.com/office/drawing/2014/main" id="{F2008534-3E3D-4927-8457-73F3BB4D9347}"/>
                </a:ext>
              </a:extLst>
            </p:cNvPr>
            <p:cNvSpPr/>
            <p:nvPr/>
          </p:nvSpPr>
          <p:spPr>
            <a:xfrm>
              <a:off x="7212250" y="4075856"/>
              <a:ext cx="534720" cy="521989"/>
            </a:xfrm>
            <a:custGeom>
              <a:avLst/>
              <a:gdLst>
                <a:gd name="connsiteX0" fmla="*/ 450324 w 534720"/>
                <a:gd name="connsiteY0" fmla="*/ 317815 h 521988"/>
                <a:gd name="connsiteX1" fmla="*/ 535656 w 534720"/>
                <a:gd name="connsiteY1" fmla="*/ 319610 h 521988"/>
                <a:gd name="connsiteX2" fmla="*/ 537750 w 534720"/>
                <a:gd name="connsiteY2" fmla="*/ 219725 h 521988"/>
                <a:gd name="connsiteX3" fmla="*/ 452462 w 534720"/>
                <a:gd name="connsiteY3" fmla="*/ 217937 h 521988"/>
                <a:gd name="connsiteX4" fmla="*/ 390976 w 534720"/>
                <a:gd name="connsiteY4" fmla="*/ 119427 h 521988"/>
                <a:gd name="connsiteX5" fmla="*/ 426866 w 534720"/>
                <a:gd name="connsiteY5" fmla="*/ 42020 h 521988"/>
                <a:gd name="connsiteX6" fmla="*/ 336224 w 534720"/>
                <a:gd name="connsiteY6" fmla="*/ 0 h 521988"/>
                <a:gd name="connsiteX7" fmla="*/ 300322 w 534720"/>
                <a:gd name="connsiteY7" fmla="*/ 77452 h 521988"/>
                <a:gd name="connsiteX8" fmla="*/ 215238 w 534720"/>
                <a:gd name="connsiteY8" fmla="*/ 82544 h 521988"/>
                <a:gd name="connsiteX9" fmla="*/ 170309 w 534720"/>
                <a:gd name="connsiteY9" fmla="*/ 9994 h 521988"/>
                <a:gd name="connsiteX10" fmla="*/ 85371 w 534720"/>
                <a:gd name="connsiteY10" fmla="*/ 62601 h 521988"/>
                <a:gd name="connsiteX11" fmla="*/ 130300 w 534720"/>
                <a:gd name="connsiteY11" fmla="*/ 135144 h 521988"/>
                <a:gd name="connsiteX12" fmla="*/ 87427 w 534720"/>
                <a:gd name="connsiteY12" fmla="*/ 210285 h 521988"/>
                <a:gd name="connsiteX13" fmla="*/ 2094 w 534720"/>
                <a:gd name="connsiteY13" fmla="*/ 208490 h 521988"/>
                <a:gd name="connsiteX14" fmla="*/ 0 w 534720"/>
                <a:gd name="connsiteY14" fmla="*/ 308374 h 521988"/>
                <a:gd name="connsiteX15" fmla="*/ 85294 w 534720"/>
                <a:gd name="connsiteY15" fmla="*/ 310157 h 521988"/>
                <a:gd name="connsiteX16" fmla="*/ 146774 w 534720"/>
                <a:gd name="connsiteY16" fmla="*/ 408673 h 521988"/>
                <a:gd name="connsiteX17" fmla="*/ 110891 w 534720"/>
                <a:gd name="connsiteY17" fmla="*/ 486080 h 521988"/>
                <a:gd name="connsiteX18" fmla="*/ 201526 w 534720"/>
                <a:gd name="connsiteY18" fmla="*/ 528106 h 521988"/>
                <a:gd name="connsiteX19" fmla="*/ 237429 w 534720"/>
                <a:gd name="connsiteY19" fmla="*/ 450648 h 521988"/>
                <a:gd name="connsiteX20" fmla="*/ 322519 w 534720"/>
                <a:gd name="connsiteY20" fmla="*/ 445556 h 521988"/>
                <a:gd name="connsiteX21" fmla="*/ 367442 w 534720"/>
                <a:gd name="connsiteY21" fmla="*/ 518099 h 521988"/>
                <a:gd name="connsiteX22" fmla="*/ 452380 w 534720"/>
                <a:gd name="connsiteY22" fmla="*/ 465506 h 521988"/>
                <a:gd name="connsiteX23" fmla="*/ 407457 w 534720"/>
                <a:gd name="connsiteY23" fmla="*/ 392956 h 521988"/>
                <a:gd name="connsiteX24" fmla="*/ 450324 w 534720"/>
                <a:gd name="connsiteY24" fmla="*/ 317815 h 521988"/>
                <a:gd name="connsiteX25" fmla="*/ 434855 w 534720"/>
                <a:gd name="connsiteY25" fmla="*/ 461381 h 521988"/>
                <a:gd name="connsiteX26" fmla="*/ 371567 w 534720"/>
                <a:gd name="connsiteY26" fmla="*/ 500568 h 521988"/>
                <a:gd name="connsiteX27" fmla="*/ 328121 w 534720"/>
                <a:gd name="connsiteY27" fmla="*/ 430418 h 521988"/>
                <a:gd name="connsiteX28" fmla="*/ 323366 w 534720"/>
                <a:gd name="connsiteY28" fmla="*/ 431958 h 521988"/>
                <a:gd name="connsiteX29" fmla="*/ 234952 w 534720"/>
                <a:gd name="connsiteY29" fmla="*/ 437255 h 521988"/>
                <a:gd name="connsiteX30" fmla="*/ 230051 w 534720"/>
                <a:gd name="connsiteY30" fmla="*/ 436300 h 521988"/>
                <a:gd name="connsiteX31" fmla="*/ 195332 w 534720"/>
                <a:gd name="connsiteY31" fmla="*/ 511193 h 521988"/>
                <a:gd name="connsiteX32" fmla="*/ 127792 w 534720"/>
                <a:gd name="connsiteY32" fmla="*/ 479886 h 521988"/>
                <a:gd name="connsiteX33" fmla="*/ 162498 w 534720"/>
                <a:gd name="connsiteY33" fmla="*/ 405019 h 521988"/>
                <a:gd name="connsiteX34" fmla="*/ 158602 w 534720"/>
                <a:gd name="connsiteY34" fmla="*/ 401900 h 521988"/>
                <a:gd name="connsiteX35" fmla="*/ 96568 w 534720"/>
                <a:gd name="connsiteY35" fmla="*/ 302512 h 521988"/>
                <a:gd name="connsiteX36" fmla="*/ 95480 w 534720"/>
                <a:gd name="connsiteY36" fmla="*/ 297636 h 521988"/>
                <a:gd name="connsiteX37" fmla="*/ 12999 w 534720"/>
                <a:gd name="connsiteY37" fmla="*/ 295917 h 521988"/>
                <a:gd name="connsiteX38" fmla="*/ 14558 w 534720"/>
                <a:gd name="connsiteY38" fmla="*/ 221482 h 521988"/>
                <a:gd name="connsiteX39" fmla="*/ 97077 w 534720"/>
                <a:gd name="connsiteY39" fmla="*/ 223220 h 521988"/>
                <a:gd name="connsiteX40" fmla="*/ 98363 w 534720"/>
                <a:gd name="connsiteY40" fmla="*/ 218395 h 521988"/>
                <a:gd name="connsiteX41" fmla="*/ 142847 w 534720"/>
                <a:gd name="connsiteY41" fmla="*/ 140441 h 521988"/>
                <a:gd name="connsiteX42" fmla="*/ 146348 w 534720"/>
                <a:gd name="connsiteY42" fmla="*/ 136876 h 521988"/>
                <a:gd name="connsiteX43" fmla="*/ 102895 w 534720"/>
                <a:gd name="connsiteY43" fmla="*/ 66713 h 521988"/>
                <a:gd name="connsiteX44" fmla="*/ 166190 w 534720"/>
                <a:gd name="connsiteY44" fmla="*/ 27525 h 521988"/>
                <a:gd name="connsiteX45" fmla="*/ 209636 w 534720"/>
                <a:gd name="connsiteY45" fmla="*/ 97682 h 521988"/>
                <a:gd name="connsiteX46" fmla="*/ 214384 w 534720"/>
                <a:gd name="connsiteY46" fmla="*/ 96141 h 521988"/>
                <a:gd name="connsiteX47" fmla="*/ 302798 w 534720"/>
                <a:gd name="connsiteY47" fmla="*/ 90839 h 521988"/>
                <a:gd name="connsiteX48" fmla="*/ 307700 w 534720"/>
                <a:gd name="connsiteY48" fmla="*/ 91794 h 521988"/>
                <a:gd name="connsiteX49" fmla="*/ 342425 w 534720"/>
                <a:gd name="connsiteY49" fmla="*/ 16907 h 521988"/>
                <a:gd name="connsiteX50" fmla="*/ 409959 w 534720"/>
                <a:gd name="connsiteY50" fmla="*/ 48214 h 521988"/>
                <a:gd name="connsiteX51" fmla="*/ 375253 w 534720"/>
                <a:gd name="connsiteY51" fmla="*/ 123081 h 521988"/>
                <a:gd name="connsiteX52" fmla="*/ 379155 w 534720"/>
                <a:gd name="connsiteY52" fmla="*/ 126200 h 521988"/>
                <a:gd name="connsiteX53" fmla="*/ 441189 w 534720"/>
                <a:gd name="connsiteY53" fmla="*/ 225582 h 521988"/>
                <a:gd name="connsiteX54" fmla="*/ 442277 w 534720"/>
                <a:gd name="connsiteY54" fmla="*/ 230458 h 521988"/>
                <a:gd name="connsiteX55" fmla="*/ 524758 w 534720"/>
                <a:gd name="connsiteY55" fmla="*/ 232183 h 521988"/>
                <a:gd name="connsiteX56" fmla="*/ 523192 w 534720"/>
                <a:gd name="connsiteY56" fmla="*/ 306617 h 521988"/>
                <a:gd name="connsiteX57" fmla="*/ 440679 w 534720"/>
                <a:gd name="connsiteY57" fmla="*/ 304880 h 521988"/>
                <a:gd name="connsiteX58" fmla="*/ 439387 w 534720"/>
                <a:gd name="connsiteY58" fmla="*/ 309705 h 521988"/>
                <a:gd name="connsiteX59" fmla="*/ 394910 w 534720"/>
                <a:gd name="connsiteY59" fmla="*/ 387660 h 521988"/>
                <a:gd name="connsiteX60" fmla="*/ 391409 w 534720"/>
                <a:gd name="connsiteY60" fmla="*/ 391224 h 521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34720" h="521988">
                  <a:moveTo>
                    <a:pt x="450324" y="317815"/>
                  </a:moveTo>
                  <a:lnTo>
                    <a:pt x="535656" y="319610"/>
                  </a:lnTo>
                  <a:lnTo>
                    <a:pt x="537750" y="219725"/>
                  </a:lnTo>
                  <a:lnTo>
                    <a:pt x="452462" y="217937"/>
                  </a:lnTo>
                  <a:cubicBezTo>
                    <a:pt x="442978" y="179392"/>
                    <a:pt x="421436" y="144884"/>
                    <a:pt x="390976" y="119427"/>
                  </a:cubicBezTo>
                  <a:lnTo>
                    <a:pt x="426866" y="42020"/>
                  </a:lnTo>
                  <a:lnTo>
                    <a:pt x="336224" y="0"/>
                  </a:lnTo>
                  <a:lnTo>
                    <a:pt x="300322" y="77452"/>
                  </a:lnTo>
                  <a:cubicBezTo>
                    <a:pt x="271944" y="72665"/>
                    <a:pt x="242846" y="74409"/>
                    <a:pt x="215238" y="82544"/>
                  </a:cubicBezTo>
                  <a:lnTo>
                    <a:pt x="170309" y="9994"/>
                  </a:lnTo>
                  <a:lnTo>
                    <a:pt x="85371" y="62601"/>
                  </a:lnTo>
                  <a:lnTo>
                    <a:pt x="130300" y="135144"/>
                  </a:lnTo>
                  <a:cubicBezTo>
                    <a:pt x="110407" y="156552"/>
                    <a:pt x="95734" y="182263"/>
                    <a:pt x="87427" y="210285"/>
                  </a:cubicBezTo>
                  <a:lnTo>
                    <a:pt x="2094" y="208490"/>
                  </a:lnTo>
                  <a:lnTo>
                    <a:pt x="0" y="308374"/>
                  </a:lnTo>
                  <a:lnTo>
                    <a:pt x="85294" y="310157"/>
                  </a:lnTo>
                  <a:cubicBezTo>
                    <a:pt x="94773" y="348708"/>
                    <a:pt x="116315" y="383223"/>
                    <a:pt x="146774" y="408673"/>
                  </a:cubicBezTo>
                  <a:lnTo>
                    <a:pt x="110891" y="486080"/>
                  </a:lnTo>
                  <a:lnTo>
                    <a:pt x="201526" y="528106"/>
                  </a:lnTo>
                  <a:lnTo>
                    <a:pt x="237429" y="450648"/>
                  </a:lnTo>
                  <a:cubicBezTo>
                    <a:pt x="265813" y="455435"/>
                    <a:pt x="294911" y="453697"/>
                    <a:pt x="322519" y="445556"/>
                  </a:cubicBezTo>
                  <a:lnTo>
                    <a:pt x="367442" y="518099"/>
                  </a:lnTo>
                  <a:lnTo>
                    <a:pt x="452380" y="465506"/>
                  </a:lnTo>
                  <a:lnTo>
                    <a:pt x="407457" y="392956"/>
                  </a:lnTo>
                  <a:cubicBezTo>
                    <a:pt x="427350" y="371548"/>
                    <a:pt x="442023" y="345837"/>
                    <a:pt x="450324" y="317815"/>
                  </a:cubicBezTo>
                  <a:close/>
                  <a:moveTo>
                    <a:pt x="434855" y="461381"/>
                  </a:moveTo>
                  <a:lnTo>
                    <a:pt x="371567" y="500568"/>
                  </a:lnTo>
                  <a:lnTo>
                    <a:pt x="328121" y="430418"/>
                  </a:lnTo>
                  <a:lnTo>
                    <a:pt x="323366" y="431958"/>
                  </a:lnTo>
                  <a:cubicBezTo>
                    <a:pt x="294822" y="441202"/>
                    <a:pt x="264394" y="443022"/>
                    <a:pt x="234952" y="437255"/>
                  </a:cubicBezTo>
                  <a:lnTo>
                    <a:pt x="230051" y="436300"/>
                  </a:lnTo>
                  <a:lnTo>
                    <a:pt x="195332" y="511193"/>
                  </a:lnTo>
                  <a:lnTo>
                    <a:pt x="127792" y="479886"/>
                  </a:lnTo>
                  <a:lnTo>
                    <a:pt x="162498" y="405019"/>
                  </a:lnTo>
                  <a:lnTo>
                    <a:pt x="158602" y="401900"/>
                  </a:lnTo>
                  <a:cubicBezTo>
                    <a:pt x="127053" y="376940"/>
                    <a:pt x="105130" y="341820"/>
                    <a:pt x="96568" y="302512"/>
                  </a:cubicBezTo>
                  <a:lnTo>
                    <a:pt x="95480" y="297636"/>
                  </a:lnTo>
                  <a:lnTo>
                    <a:pt x="12999" y="295917"/>
                  </a:lnTo>
                  <a:lnTo>
                    <a:pt x="14558" y="221482"/>
                  </a:lnTo>
                  <a:lnTo>
                    <a:pt x="97077" y="223220"/>
                  </a:lnTo>
                  <a:lnTo>
                    <a:pt x="98363" y="218395"/>
                  </a:lnTo>
                  <a:cubicBezTo>
                    <a:pt x="106231" y="189011"/>
                    <a:pt x="121554" y="162160"/>
                    <a:pt x="142847" y="140441"/>
                  </a:cubicBezTo>
                  <a:lnTo>
                    <a:pt x="146348" y="136876"/>
                  </a:lnTo>
                  <a:lnTo>
                    <a:pt x="102895" y="66713"/>
                  </a:lnTo>
                  <a:lnTo>
                    <a:pt x="166190" y="27525"/>
                  </a:lnTo>
                  <a:lnTo>
                    <a:pt x="209636" y="97682"/>
                  </a:lnTo>
                  <a:lnTo>
                    <a:pt x="214384" y="96141"/>
                  </a:lnTo>
                  <a:cubicBezTo>
                    <a:pt x="242928" y="86892"/>
                    <a:pt x="273357" y="85065"/>
                    <a:pt x="302798" y="90839"/>
                  </a:cubicBezTo>
                  <a:lnTo>
                    <a:pt x="307700" y="91794"/>
                  </a:lnTo>
                  <a:lnTo>
                    <a:pt x="342425" y="16907"/>
                  </a:lnTo>
                  <a:lnTo>
                    <a:pt x="409959" y="48214"/>
                  </a:lnTo>
                  <a:lnTo>
                    <a:pt x="375253" y="123081"/>
                  </a:lnTo>
                  <a:lnTo>
                    <a:pt x="379155" y="126200"/>
                  </a:lnTo>
                  <a:cubicBezTo>
                    <a:pt x="410697" y="151160"/>
                    <a:pt x="432621" y="186280"/>
                    <a:pt x="441189" y="225582"/>
                  </a:cubicBezTo>
                  <a:lnTo>
                    <a:pt x="442277" y="230458"/>
                  </a:lnTo>
                  <a:lnTo>
                    <a:pt x="524758" y="232183"/>
                  </a:lnTo>
                  <a:lnTo>
                    <a:pt x="523192" y="306617"/>
                  </a:lnTo>
                  <a:lnTo>
                    <a:pt x="440679" y="304880"/>
                  </a:lnTo>
                  <a:lnTo>
                    <a:pt x="439387" y="309705"/>
                  </a:lnTo>
                  <a:cubicBezTo>
                    <a:pt x="431519" y="339089"/>
                    <a:pt x="416203" y="365940"/>
                    <a:pt x="394910" y="387660"/>
                  </a:cubicBezTo>
                  <a:lnTo>
                    <a:pt x="391409" y="391224"/>
                  </a:lnTo>
                  <a:close/>
                </a:path>
              </a:pathLst>
            </a:custGeom>
            <a:solidFill>
              <a:srgbClr val="001965"/>
            </a:solidFill>
            <a:ln w="6362" cap="flat">
              <a:noFill/>
              <a:prstDash val="solid"/>
              <a:miter/>
            </a:ln>
          </p:spPr>
          <p:txBody>
            <a:bodyPr rtlCol="0" anchor="ctr"/>
            <a:lstStyle/>
            <a:p>
              <a:endParaRPr lang="en-GB"/>
            </a:p>
          </p:txBody>
        </p:sp>
        <p:sp>
          <p:nvSpPr>
            <p:cNvPr id="92" name="Freeform: Shape 91">
              <a:extLst>
                <a:ext uri="{FF2B5EF4-FFF2-40B4-BE49-F238E27FC236}">
                  <a16:creationId xmlns:a16="http://schemas.microsoft.com/office/drawing/2014/main" id="{21027ACE-2B63-481E-BBC7-913F532E5869}"/>
                </a:ext>
              </a:extLst>
            </p:cNvPr>
            <p:cNvSpPr/>
            <p:nvPr/>
          </p:nvSpPr>
          <p:spPr>
            <a:xfrm>
              <a:off x="7429468" y="4288267"/>
              <a:ext cx="101851" cy="101851"/>
            </a:xfrm>
            <a:custGeom>
              <a:avLst/>
              <a:gdLst>
                <a:gd name="connsiteX0" fmla="*/ 63472 w 101851"/>
                <a:gd name="connsiteY0" fmla="*/ 1387 h 101851"/>
                <a:gd name="connsiteX1" fmla="*/ 1387 w 101851"/>
                <a:gd name="connsiteY1" fmla="*/ 39792 h 101851"/>
                <a:gd name="connsiteX2" fmla="*/ 39792 w 101851"/>
                <a:gd name="connsiteY2" fmla="*/ 101877 h 101851"/>
                <a:gd name="connsiteX3" fmla="*/ 39843 w 101851"/>
                <a:gd name="connsiteY3" fmla="*/ 101889 h 101851"/>
                <a:gd name="connsiteX4" fmla="*/ 51759 w 101851"/>
                <a:gd name="connsiteY4" fmla="*/ 103277 h 101851"/>
                <a:gd name="connsiteX5" fmla="*/ 103283 w 101851"/>
                <a:gd name="connsiteY5" fmla="*/ 51549 h 101851"/>
                <a:gd name="connsiteX6" fmla="*/ 63472 w 101851"/>
                <a:gd name="connsiteY6" fmla="*/ 1387 h 101851"/>
                <a:gd name="connsiteX7" fmla="*/ 72136 w 101851"/>
                <a:gd name="connsiteY7" fmla="*/ 84695 h 101851"/>
                <a:gd name="connsiteX8" fmla="*/ 18613 w 101851"/>
                <a:gd name="connsiteY8" fmla="*/ 72066 h 101851"/>
                <a:gd name="connsiteX9" fmla="*/ 31243 w 101851"/>
                <a:gd name="connsiteY9" fmla="*/ 18543 h 101851"/>
                <a:gd name="connsiteX10" fmla="*/ 51587 w 101851"/>
                <a:gd name="connsiteY10" fmla="*/ 12737 h 101851"/>
                <a:gd name="connsiteX11" fmla="*/ 60563 w 101851"/>
                <a:gd name="connsiteY11" fmla="*/ 13781 h 101851"/>
                <a:gd name="connsiteX12" fmla="*/ 89514 w 101851"/>
                <a:gd name="connsiteY12" fmla="*/ 60538 h 101851"/>
                <a:gd name="connsiteX13" fmla="*/ 72136 w 101851"/>
                <a:gd name="connsiteY13" fmla="*/ 84695 h 10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1851" h="101851">
                  <a:moveTo>
                    <a:pt x="63472" y="1387"/>
                  </a:moveTo>
                  <a:cubicBezTo>
                    <a:pt x="35724" y="-5150"/>
                    <a:pt x="7931" y="12044"/>
                    <a:pt x="1387" y="39792"/>
                  </a:cubicBezTo>
                  <a:cubicBezTo>
                    <a:pt x="-5150" y="67540"/>
                    <a:pt x="12044" y="95333"/>
                    <a:pt x="39792" y="101877"/>
                  </a:cubicBezTo>
                  <a:cubicBezTo>
                    <a:pt x="39811" y="101877"/>
                    <a:pt x="39830" y="101883"/>
                    <a:pt x="39843" y="101889"/>
                  </a:cubicBezTo>
                  <a:cubicBezTo>
                    <a:pt x="43751" y="102812"/>
                    <a:pt x="47742" y="103277"/>
                    <a:pt x="51759" y="103277"/>
                  </a:cubicBezTo>
                  <a:cubicBezTo>
                    <a:pt x="80271" y="103220"/>
                    <a:pt x="103341" y="80061"/>
                    <a:pt x="103283" y="51549"/>
                  </a:cubicBezTo>
                  <a:cubicBezTo>
                    <a:pt x="103239" y="27627"/>
                    <a:pt x="86764" y="6868"/>
                    <a:pt x="63472" y="1387"/>
                  </a:cubicBezTo>
                  <a:close/>
                  <a:moveTo>
                    <a:pt x="72136" y="84695"/>
                  </a:moveTo>
                  <a:cubicBezTo>
                    <a:pt x="53866" y="95988"/>
                    <a:pt x="29906" y="90336"/>
                    <a:pt x="18613" y="72066"/>
                  </a:cubicBezTo>
                  <a:cubicBezTo>
                    <a:pt x="7320" y="53803"/>
                    <a:pt x="12973" y="29836"/>
                    <a:pt x="31243" y="18543"/>
                  </a:cubicBezTo>
                  <a:cubicBezTo>
                    <a:pt x="37354" y="14762"/>
                    <a:pt x="44401" y="12757"/>
                    <a:pt x="51587" y="12737"/>
                  </a:cubicBezTo>
                  <a:cubicBezTo>
                    <a:pt x="54611" y="12737"/>
                    <a:pt x="57622" y="13088"/>
                    <a:pt x="60563" y="13781"/>
                  </a:cubicBezTo>
                  <a:cubicBezTo>
                    <a:pt x="81468" y="18696"/>
                    <a:pt x="94435" y="39632"/>
                    <a:pt x="89514" y="60538"/>
                  </a:cubicBezTo>
                  <a:cubicBezTo>
                    <a:pt x="87153" y="70576"/>
                    <a:pt x="80902" y="79266"/>
                    <a:pt x="72136" y="84695"/>
                  </a:cubicBezTo>
                  <a:close/>
                </a:path>
              </a:pathLst>
            </a:custGeom>
            <a:solidFill>
              <a:srgbClr val="001965"/>
            </a:solidFill>
            <a:ln w="6362" cap="flat">
              <a:noFill/>
              <a:prstDash val="solid"/>
              <a:miter/>
            </a:ln>
          </p:spPr>
          <p:txBody>
            <a:bodyPr rtlCol="0" anchor="ctr"/>
            <a:lstStyle/>
            <a:p>
              <a:endParaRPr lang="en-GB"/>
            </a:p>
          </p:txBody>
        </p:sp>
        <p:sp>
          <p:nvSpPr>
            <p:cNvPr id="93" name="Freeform: Shape 92">
              <a:extLst>
                <a:ext uri="{FF2B5EF4-FFF2-40B4-BE49-F238E27FC236}">
                  <a16:creationId xmlns:a16="http://schemas.microsoft.com/office/drawing/2014/main" id="{AD7DAB89-DC8C-42FB-9BA6-CF55DB303E5C}"/>
                </a:ext>
              </a:extLst>
            </p:cNvPr>
            <p:cNvSpPr/>
            <p:nvPr/>
          </p:nvSpPr>
          <p:spPr>
            <a:xfrm>
              <a:off x="7366405" y="4225241"/>
              <a:ext cx="229166" cy="229166"/>
            </a:xfrm>
            <a:custGeom>
              <a:avLst/>
              <a:gdLst>
                <a:gd name="connsiteX0" fmla="*/ 54335 w 229165"/>
                <a:gd name="connsiteY0" fmla="*/ 17149 h 229165"/>
                <a:gd name="connsiteX1" fmla="*/ 17197 w 229165"/>
                <a:gd name="connsiteY1" fmla="*/ 175050 h 229165"/>
                <a:gd name="connsiteX2" fmla="*/ 175099 w 229165"/>
                <a:gd name="connsiteY2" fmla="*/ 212188 h 229165"/>
                <a:gd name="connsiteX3" fmla="*/ 212236 w 229165"/>
                <a:gd name="connsiteY3" fmla="*/ 54286 h 229165"/>
                <a:gd name="connsiteX4" fmla="*/ 212236 w 229165"/>
                <a:gd name="connsiteY4" fmla="*/ 54280 h 229165"/>
                <a:gd name="connsiteX5" fmla="*/ 54335 w 229165"/>
                <a:gd name="connsiteY5" fmla="*/ 17149 h 229165"/>
                <a:gd name="connsiteX6" fmla="*/ 168408 w 229165"/>
                <a:gd name="connsiteY6" fmla="*/ 201353 h 229165"/>
                <a:gd name="connsiteX7" fmla="*/ 28064 w 229165"/>
                <a:gd name="connsiteY7" fmla="*/ 168328 h 229165"/>
                <a:gd name="connsiteX8" fmla="*/ 61089 w 229165"/>
                <a:gd name="connsiteY8" fmla="*/ 27983 h 229165"/>
                <a:gd name="connsiteX9" fmla="*/ 201415 w 229165"/>
                <a:gd name="connsiteY9" fmla="*/ 60977 h 229165"/>
                <a:gd name="connsiteX10" fmla="*/ 168408 w 229165"/>
                <a:gd name="connsiteY10" fmla="*/ 201353 h 22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9165" h="229165">
                  <a:moveTo>
                    <a:pt x="54335" y="17149"/>
                  </a:moveTo>
                  <a:cubicBezTo>
                    <a:pt x="475" y="50492"/>
                    <a:pt x="-16153" y="121190"/>
                    <a:pt x="17197" y="175050"/>
                  </a:cubicBezTo>
                  <a:cubicBezTo>
                    <a:pt x="50547" y="228910"/>
                    <a:pt x="121245" y="245538"/>
                    <a:pt x="175099" y="212188"/>
                  </a:cubicBezTo>
                  <a:cubicBezTo>
                    <a:pt x="228959" y="178838"/>
                    <a:pt x="245587" y="108140"/>
                    <a:pt x="212236" y="54286"/>
                  </a:cubicBezTo>
                  <a:cubicBezTo>
                    <a:pt x="212236" y="54280"/>
                    <a:pt x="212236" y="54280"/>
                    <a:pt x="212236" y="54280"/>
                  </a:cubicBezTo>
                  <a:cubicBezTo>
                    <a:pt x="178836" y="489"/>
                    <a:pt x="108201" y="-16125"/>
                    <a:pt x="54335" y="17149"/>
                  </a:cubicBezTo>
                  <a:close/>
                  <a:moveTo>
                    <a:pt x="168408" y="201353"/>
                  </a:moveTo>
                  <a:cubicBezTo>
                    <a:pt x="120532" y="230992"/>
                    <a:pt x="57696" y="216204"/>
                    <a:pt x="28064" y="168328"/>
                  </a:cubicBezTo>
                  <a:cubicBezTo>
                    <a:pt x="-1575" y="120451"/>
                    <a:pt x="13212" y="57622"/>
                    <a:pt x="61089" y="27983"/>
                  </a:cubicBezTo>
                  <a:cubicBezTo>
                    <a:pt x="108946" y="-1643"/>
                    <a:pt x="171770" y="13125"/>
                    <a:pt x="201415" y="60977"/>
                  </a:cubicBezTo>
                  <a:cubicBezTo>
                    <a:pt x="230990" y="108872"/>
                    <a:pt x="216228" y="171664"/>
                    <a:pt x="168408" y="201353"/>
                  </a:cubicBezTo>
                  <a:close/>
                </a:path>
              </a:pathLst>
            </a:custGeom>
            <a:solidFill>
              <a:srgbClr val="001965"/>
            </a:solidFill>
            <a:ln w="6362" cap="flat">
              <a:noFill/>
              <a:prstDash val="solid"/>
              <a:miter/>
            </a:ln>
          </p:spPr>
          <p:txBody>
            <a:bodyPr rtlCol="0" anchor="ctr"/>
            <a:lstStyle/>
            <a:p>
              <a:endParaRPr lang="en-GB"/>
            </a:p>
          </p:txBody>
        </p:sp>
        <p:sp>
          <p:nvSpPr>
            <p:cNvPr id="94" name="Freeform: Shape 93">
              <a:extLst>
                <a:ext uri="{FF2B5EF4-FFF2-40B4-BE49-F238E27FC236}">
                  <a16:creationId xmlns:a16="http://schemas.microsoft.com/office/drawing/2014/main" id="{23CF1734-9360-41CF-8EBB-D73D063F8E57}"/>
                </a:ext>
              </a:extLst>
            </p:cNvPr>
            <p:cNvSpPr/>
            <p:nvPr/>
          </p:nvSpPr>
          <p:spPr>
            <a:xfrm>
              <a:off x="7488614" y="2277925"/>
              <a:ext cx="439234" cy="229166"/>
            </a:xfrm>
            <a:custGeom>
              <a:avLst/>
              <a:gdLst>
                <a:gd name="connsiteX0" fmla="*/ 258 w 439234"/>
                <a:gd name="connsiteY0" fmla="*/ 100607 h 229165"/>
                <a:gd name="connsiteX1" fmla="*/ 36129 w 439234"/>
                <a:gd name="connsiteY1" fmla="*/ 145562 h 229165"/>
                <a:gd name="connsiteX2" fmla="*/ 38414 w 439234"/>
                <a:gd name="connsiteY2" fmla="*/ 145759 h 229165"/>
                <a:gd name="connsiteX3" fmla="*/ 75876 w 439234"/>
                <a:gd name="connsiteY3" fmla="*/ 147854 h 229165"/>
                <a:gd name="connsiteX4" fmla="*/ 68715 w 439234"/>
                <a:gd name="connsiteY4" fmla="*/ 167823 h 229165"/>
                <a:gd name="connsiteX5" fmla="*/ 104337 w 439234"/>
                <a:gd name="connsiteY5" fmla="*/ 210225 h 229165"/>
                <a:gd name="connsiteX6" fmla="*/ 274710 w 439234"/>
                <a:gd name="connsiteY6" fmla="*/ 232123 h 229165"/>
                <a:gd name="connsiteX7" fmla="*/ 306251 w 439234"/>
                <a:gd name="connsiteY7" fmla="*/ 234166 h 229165"/>
                <a:gd name="connsiteX8" fmla="*/ 400681 w 439234"/>
                <a:gd name="connsiteY8" fmla="*/ 202357 h 229165"/>
                <a:gd name="connsiteX9" fmla="*/ 440294 w 439234"/>
                <a:gd name="connsiteY9" fmla="*/ 105827 h 229165"/>
                <a:gd name="connsiteX10" fmla="*/ 427570 w 439234"/>
                <a:gd name="connsiteY10" fmla="*/ 106254 h 229165"/>
                <a:gd name="connsiteX11" fmla="*/ 391991 w 439234"/>
                <a:gd name="connsiteY11" fmla="*/ 193044 h 229165"/>
                <a:gd name="connsiteX12" fmla="*/ 276269 w 439234"/>
                <a:gd name="connsiteY12" fmla="*/ 219493 h 229165"/>
                <a:gd name="connsiteX13" fmla="*/ 106069 w 439234"/>
                <a:gd name="connsiteY13" fmla="*/ 197614 h 229165"/>
                <a:gd name="connsiteX14" fmla="*/ 81440 w 439234"/>
                <a:gd name="connsiteY14" fmla="*/ 168275 h 229165"/>
                <a:gd name="connsiteX15" fmla="*/ 93974 w 439234"/>
                <a:gd name="connsiteY15" fmla="*/ 149706 h 229165"/>
                <a:gd name="connsiteX16" fmla="*/ 93929 w 439234"/>
                <a:gd name="connsiteY16" fmla="*/ 148859 h 229165"/>
                <a:gd name="connsiteX17" fmla="*/ 257624 w 439234"/>
                <a:gd name="connsiteY17" fmla="*/ 158020 h 229165"/>
                <a:gd name="connsiteX18" fmla="*/ 258337 w 439234"/>
                <a:gd name="connsiteY18" fmla="*/ 145314 h 229165"/>
                <a:gd name="connsiteX19" fmla="*/ 39121 w 439234"/>
                <a:gd name="connsiteY19" fmla="*/ 133047 h 229165"/>
                <a:gd name="connsiteX20" fmla="*/ 12779 w 439234"/>
                <a:gd name="connsiteY20" fmla="*/ 103586 h 229165"/>
                <a:gd name="connsiteX21" fmla="*/ 42240 w 439234"/>
                <a:gd name="connsiteY21" fmla="*/ 77239 h 229165"/>
                <a:gd name="connsiteX22" fmla="*/ 42883 w 439234"/>
                <a:gd name="connsiteY22" fmla="*/ 77283 h 229165"/>
                <a:gd name="connsiteX23" fmla="*/ 47192 w 439234"/>
                <a:gd name="connsiteY23" fmla="*/ 77621 h 229165"/>
                <a:gd name="connsiteX24" fmla="*/ 254396 w 439234"/>
                <a:gd name="connsiteY24" fmla="*/ 93923 h 229165"/>
                <a:gd name="connsiteX25" fmla="*/ 255396 w 439234"/>
                <a:gd name="connsiteY25" fmla="*/ 81230 h 229165"/>
                <a:gd name="connsiteX26" fmla="*/ 51827 w 439234"/>
                <a:gd name="connsiteY26" fmla="*/ 65207 h 229165"/>
                <a:gd name="connsiteX27" fmla="*/ 51827 w 439234"/>
                <a:gd name="connsiteY27" fmla="*/ 65207 h 229165"/>
                <a:gd name="connsiteX28" fmla="*/ 48497 w 439234"/>
                <a:gd name="connsiteY28" fmla="*/ 64946 h 229165"/>
                <a:gd name="connsiteX29" fmla="*/ 39006 w 439234"/>
                <a:gd name="connsiteY29" fmla="*/ 64202 h 229165"/>
                <a:gd name="connsiteX30" fmla="*/ 15338 w 439234"/>
                <a:gd name="connsiteY30" fmla="*/ 36485 h 229165"/>
                <a:gd name="connsiteX31" fmla="*/ 42609 w 439234"/>
                <a:gd name="connsiteY31" fmla="*/ 12786 h 229165"/>
                <a:gd name="connsiteX32" fmla="*/ 209003 w 439234"/>
                <a:gd name="connsiteY32" fmla="*/ 23009 h 229165"/>
                <a:gd name="connsiteX33" fmla="*/ 209785 w 439234"/>
                <a:gd name="connsiteY33" fmla="*/ 10303 h 229165"/>
                <a:gd name="connsiteX34" fmla="*/ 43392 w 439234"/>
                <a:gd name="connsiteY34" fmla="*/ 80 h 229165"/>
                <a:gd name="connsiteX35" fmla="*/ 2600 w 439234"/>
                <a:gd name="connsiteY35" fmla="*/ 35976 h 229165"/>
                <a:gd name="connsiteX36" fmla="*/ 19591 w 439234"/>
                <a:gd name="connsiteY36" fmla="*/ 70370 h 229165"/>
                <a:gd name="connsiteX37" fmla="*/ 258 w 439234"/>
                <a:gd name="connsiteY37" fmla="*/ 100607 h 22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9234" h="229165">
                  <a:moveTo>
                    <a:pt x="258" y="100607"/>
                  </a:moveTo>
                  <a:cubicBezTo>
                    <a:pt x="-2250" y="122925"/>
                    <a:pt x="13810" y="143054"/>
                    <a:pt x="36129" y="145562"/>
                  </a:cubicBezTo>
                  <a:cubicBezTo>
                    <a:pt x="36886" y="145651"/>
                    <a:pt x="37650" y="145715"/>
                    <a:pt x="38414" y="145759"/>
                  </a:cubicBezTo>
                  <a:lnTo>
                    <a:pt x="75876" y="147854"/>
                  </a:lnTo>
                  <a:cubicBezTo>
                    <a:pt x="71669" y="153710"/>
                    <a:pt x="69186" y="160630"/>
                    <a:pt x="68715" y="167823"/>
                  </a:cubicBezTo>
                  <a:cubicBezTo>
                    <a:pt x="67887" y="189027"/>
                    <a:pt x="83311" y="207386"/>
                    <a:pt x="104337" y="210225"/>
                  </a:cubicBezTo>
                  <a:cubicBezTo>
                    <a:pt x="131774" y="213993"/>
                    <a:pt x="183610" y="220849"/>
                    <a:pt x="274710" y="232123"/>
                  </a:cubicBezTo>
                  <a:cubicBezTo>
                    <a:pt x="285175" y="233447"/>
                    <a:pt x="295704" y="234134"/>
                    <a:pt x="306251" y="234166"/>
                  </a:cubicBezTo>
                  <a:cubicBezTo>
                    <a:pt x="345859" y="234166"/>
                    <a:pt x="377541" y="223510"/>
                    <a:pt x="400681" y="202357"/>
                  </a:cubicBezTo>
                  <a:cubicBezTo>
                    <a:pt x="441797" y="164755"/>
                    <a:pt x="440371" y="108221"/>
                    <a:pt x="440294" y="105827"/>
                  </a:cubicBezTo>
                  <a:lnTo>
                    <a:pt x="427570" y="106254"/>
                  </a:lnTo>
                  <a:cubicBezTo>
                    <a:pt x="427582" y="106782"/>
                    <a:pt x="428792" y="159484"/>
                    <a:pt x="391991" y="193044"/>
                  </a:cubicBezTo>
                  <a:cubicBezTo>
                    <a:pt x="365886" y="216864"/>
                    <a:pt x="326953" y="225770"/>
                    <a:pt x="276269" y="219493"/>
                  </a:cubicBezTo>
                  <a:cubicBezTo>
                    <a:pt x="185239" y="208226"/>
                    <a:pt x="133467" y="201383"/>
                    <a:pt x="106069" y="197614"/>
                  </a:cubicBezTo>
                  <a:cubicBezTo>
                    <a:pt x="91523" y="195641"/>
                    <a:pt x="80861" y="182935"/>
                    <a:pt x="81440" y="168275"/>
                  </a:cubicBezTo>
                  <a:cubicBezTo>
                    <a:pt x="81682" y="161209"/>
                    <a:pt x="87398" y="150088"/>
                    <a:pt x="93974" y="149706"/>
                  </a:cubicBezTo>
                  <a:lnTo>
                    <a:pt x="93929" y="148859"/>
                  </a:lnTo>
                  <a:lnTo>
                    <a:pt x="257624" y="158020"/>
                  </a:lnTo>
                  <a:lnTo>
                    <a:pt x="258337" y="145314"/>
                  </a:lnTo>
                  <a:lnTo>
                    <a:pt x="39121" y="133047"/>
                  </a:lnTo>
                  <a:cubicBezTo>
                    <a:pt x="23709" y="132188"/>
                    <a:pt x="11914" y="118998"/>
                    <a:pt x="12779" y="103586"/>
                  </a:cubicBezTo>
                  <a:cubicBezTo>
                    <a:pt x="13639" y="88175"/>
                    <a:pt x="26829" y="76379"/>
                    <a:pt x="42240" y="77239"/>
                  </a:cubicBezTo>
                  <a:cubicBezTo>
                    <a:pt x="42456" y="77251"/>
                    <a:pt x="42666" y="77264"/>
                    <a:pt x="42883" y="77283"/>
                  </a:cubicBezTo>
                  <a:lnTo>
                    <a:pt x="47192" y="77621"/>
                  </a:lnTo>
                  <a:lnTo>
                    <a:pt x="254396" y="93923"/>
                  </a:lnTo>
                  <a:lnTo>
                    <a:pt x="255396" y="81230"/>
                  </a:lnTo>
                  <a:lnTo>
                    <a:pt x="51827" y="65207"/>
                  </a:lnTo>
                  <a:lnTo>
                    <a:pt x="51827" y="65207"/>
                  </a:lnTo>
                  <a:lnTo>
                    <a:pt x="48497" y="64946"/>
                  </a:lnTo>
                  <a:lnTo>
                    <a:pt x="39006" y="64202"/>
                  </a:lnTo>
                  <a:cubicBezTo>
                    <a:pt x="24817" y="63081"/>
                    <a:pt x="14218" y="50675"/>
                    <a:pt x="15338" y="36485"/>
                  </a:cubicBezTo>
                  <a:cubicBezTo>
                    <a:pt x="16446" y="22468"/>
                    <a:pt x="28579" y="11926"/>
                    <a:pt x="42609" y="12786"/>
                  </a:cubicBezTo>
                  <a:lnTo>
                    <a:pt x="209003" y="23009"/>
                  </a:lnTo>
                  <a:lnTo>
                    <a:pt x="209785" y="10303"/>
                  </a:lnTo>
                  <a:lnTo>
                    <a:pt x="43392" y="80"/>
                  </a:lnTo>
                  <a:cubicBezTo>
                    <a:pt x="22213" y="-1276"/>
                    <a:pt x="3950" y="14797"/>
                    <a:pt x="2600" y="35976"/>
                  </a:cubicBezTo>
                  <a:cubicBezTo>
                    <a:pt x="1722" y="49650"/>
                    <a:pt x="8202" y="62757"/>
                    <a:pt x="19591" y="70370"/>
                  </a:cubicBezTo>
                  <a:cubicBezTo>
                    <a:pt x="8788" y="76882"/>
                    <a:pt x="1639" y="88067"/>
                    <a:pt x="258" y="100607"/>
                  </a:cubicBezTo>
                  <a:close/>
                </a:path>
              </a:pathLst>
            </a:custGeom>
            <a:solidFill>
              <a:srgbClr val="001965"/>
            </a:solidFill>
            <a:ln w="6362" cap="flat">
              <a:noFill/>
              <a:prstDash val="solid"/>
              <a:miter/>
            </a:ln>
          </p:spPr>
          <p:txBody>
            <a:bodyPr rtlCol="0" anchor="ctr"/>
            <a:lstStyle/>
            <a:p>
              <a:endParaRPr lang="en-GB"/>
            </a:p>
          </p:txBody>
        </p:sp>
        <p:sp>
          <p:nvSpPr>
            <p:cNvPr id="95" name="Freeform: Shape 94">
              <a:extLst>
                <a:ext uri="{FF2B5EF4-FFF2-40B4-BE49-F238E27FC236}">
                  <a16:creationId xmlns:a16="http://schemas.microsoft.com/office/drawing/2014/main" id="{E021A4A6-26BA-4997-AD91-35C85C5596CD}"/>
                </a:ext>
              </a:extLst>
            </p:cNvPr>
            <p:cNvSpPr/>
            <p:nvPr/>
          </p:nvSpPr>
          <p:spPr>
            <a:xfrm>
              <a:off x="6913883" y="2644692"/>
              <a:ext cx="203703" cy="299189"/>
            </a:xfrm>
            <a:custGeom>
              <a:avLst/>
              <a:gdLst>
                <a:gd name="connsiteX0" fmla="*/ 159314 w 203702"/>
                <a:gd name="connsiteY0" fmla="*/ 148784 h 299188"/>
                <a:gd name="connsiteX1" fmla="*/ 171415 w 203702"/>
                <a:gd name="connsiteY1" fmla="*/ 152737 h 299188"/>
                <a:gd name="connsiteX2" fmla="*/ 205428 w 203702"/>
                <a:gd name="connsiteY2" fmla="*/ 48676 h 299188"/>
                <a:gd name="connsiteX3" fmla="*/ 188081 w 203702"/>
                <a:gd name="connsiteY3" fmla="*/ 14091 h 299188"/>
                <a:gd name="connsiteX4" fmla="*/ 163637 w 203702"/>
                <a:gd name="connsiteY4" fmla="*/ 17745 h 299188"/>
                <a:gd name="connsiteX5" fmla="*/ 125856 w 203702"/>
                <a:gd name="connsiteY5" fmla="*/ 2245 h 299188"/>
                <a:gd name="connsiteX6" fmla="*/ 109496 w 203702"/>
                <a:gd name="connsiteY6" fmla="*/ 20082 h 299188"/>
                <a:gd name="connsiteX7" fmla="*/ 101857 w 203702"/>
                <a:gd name="connsiteY7" fmla="*/ 43896 h 299188"/>
                <a:gd name="connsiteX8" fmla="*/ 91812 w 203702"/>
                <a:gd name="connsiteY8" fmla="*/ 38116 h 299188"/>
                <a:gd name="connsiteX9" fmla="*/ 55082 w 203702"/>
                <a:gd name="connsiteY9" fmla="*/ 55602 h 299188"/>
                <a:gd name="connsiteX10" fmla="*/ 11108 w 203702"/>
                <a:gd name="connsiteY10" fmla="*/ 164972 h 299188"/>
                <a:gd name="connsiteX11" fmla="*/ 9204 w 203702"/>
                <a:gd name="connsiteY11" fmla="*/ 255428 h 299188"/>
                <a:gd name="connsiteX12" fmla="*/ 67794 w 203702"/>
                <a:gd name="connsiteY12" fmla="*/ 299422 h 299188"/>
                <a:gd name="connsiteX13" fmla="*/ 70576 w 203702"/>
                <a:gd name="connsiteY13" fmla="*/ 287002 h 299188"/>
                <a:gd name="connsiteX14" fmla="*/ 20465 w 203702"/>
                <a:gd name="connsiteY14" fmla="*/ 249483 h 299188"/>
                <a:gd name="connsiteX15" fmla="*/ 22948 w 203702"/>
                <a:gd name="connsiteY15" fmla="*/ 169663 h 299188"/>
                <a:gd name="connsiteX16" fmla="*/ 66852 w 203702"/>
                <a:gd name="connsiteY16" fmla="*/ 60447 h 299188"/>
                <a:gd name="connsiteX17" fmla="*/ 88177 w 203702"/>
                <a:gd name="connsiteY17" fmla="*/ 50319 h 299188"/>
                <a:gd name="connsiteX18" fmla="*/ 96943 w 203702"/>
                <a:gd name="connsiteY18" fmla="*/ 59224 h 299188"/>
                <a:gd name="connsiteX19" fmla="*/ 65458 w 203702"/>
                <a:gd name="connsiteY19" fmla="*/ 157377 h 299188"/>
                <a:gd name="connsiteX20" fmla="*/ 77585 w 203702"/>
                <a:gd name="connsiteY20" fmla="*/ 161267 h 299188"/>
                <a:gd name="connsiteX21" fmla="*/ 109413 w 203702"/>
                <a:gd name="connsiteY21" fmla="*/ 62019 h 299188"/>
                <a:gd name="connsiteX22" fmla="*/ 109439 w 203702"/>
                <a:gd name="connsiteY22" fmla="*/ 62025 h 299188"/>
                <a:gd name="connsiteX23" fmla="*/ 109445 w 203702"/>
                <a:gd name="connsiteY23" fmla="*/ 61923 h 299188"/>
                <a:gd name="connsiteX24" fmla="*/ 121623 w 203702"/>
                <a:gd name="connsiteY24" fmla="*/ 23971 h 299188"/>
                <a:gd name="connsiteX25" fmla="*/ 141948 w 203702"/>
                <a:gd name="connsiteY25" fmla="*/ 13499 h 299188"/>
                <a:gd name="connsiteX26" fmla="*/ 152420 w 203702"/>
                <a:gd name="connsiteY26" fmla="*/ 33825 h 299188"/>
                <a:gd name="connsiteX27" fmla="*/ 152312 w 203702"/>
                <a:gd name="connsiteY27" fmla="*/ 34143 h 299188"/>
                <a:gd name="connsiteX28" fmla="*/ 106752 w 203702"/>
                <a:gd name="connsiteY28" fmla="*/ 165876 h 299188"/>
                <a:gd name="connsiteX29" fmla="*/ 118790 w 203702"/>
                <a:gd name="connsiteY29" fmla="*/ 170039 h 299188"/>
                <a:gd name="connsiteX30" fmla="*/ 162618 w 203702"/>
                <a:gd name="connsiteY30" fmla="*/ 43304 h 299188"/>
                <a:gd name="connsiteX31" fmla="*/ 162618 w 203702"/>
                <a:gd name="connsiteY31" fmla="*/ 43304 h 299188"/>
                <a:gd name="connsiteX32" fmla="*/ 164331 w 203702"/>
                <a:gd name="connsiteY32" fmla="*/ 38358 h 299188"/>
                <a:gd name="connsiteX33" fmla="*/ 164343 w 203702"/>
                <a:gd name="connsiteY33" fmla="*/ 38313 h 299188"/>
                <a:gd name="connsiteX34" fmla="*/ 165381 w 203702"/>
                <a:gd name="connsiteY34" fmla="*/ 35321 h 299188"/>
                <a:gd name="connsiteX35" fmla="*/ 182333 w 203702"/>
                <a:gd name="connsiteY35" fmla="*/ 25709 h 299188"/>
                <a:gd name="connsiteX36" fmla="*/ 193733 w 203702"/>
                <a:gd name="connsiteY36" fmla="*/ 43176 h 299188"/>
                <a:gd name="connsiteX37" fmla="*/ 193320 w 203702"/>
                <a:gd name="connsiteY37" fmla="*/ 44723 h 299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3702" h="299188">
                  <a:moveTo>
                    <a:pt x="159314" y="148784"/>
                  </a:moveTo>
                  <a:lnTo>
                    <a:pt x="171415" y="152737"/>
                  </a:lnTo>
                  <a:lnTo>
                    <a:pt x="205428" y="48676"/>
                  </a:lnTo>
                  <a:cubicBezTo>
                    <a:pt x="210183" y="34334"/>
                    <a:pt x="202423" y="18853"/>
                    <a:pt x="188081" y="14091"/>
                  </a:cubicBezTo>
                  <a:cubicBezTo>
                    <a:pt x="179818" y="11348"/>
                    <a:pt x="170741" y="12704"/>
                    <a:pt x="163637" y="17745"/>
                  </a:cubicBezTo>
                  <a:cubicBezTo>
                    <a:pt x="157481" y="3028"/>
                    <a:pt x="140567" y="-3911"/>
                    <a:pt x="125856" y="2245"/>
                  </a:cubicBezTo>
                  <a:cubicBezTo>
                    <a:pt x="118058" y="5510"/>
                    <a:pt x="112074" y="12023"/>
                    <a:pt x="109496" y="20082"/>
                  </a:cubicBezTo>
                  <a:lnTo>
                    <a:pt x="101857" y="43896"/>
                  </a:lnTo>
                  <a:cubicBezTo>
                    <a:pt x="98954" y="41286"/>
                    <a:pt x="95530" y="39319"/>
                    <a:pt x="91812" y="38116"/>
                  </a:cubicBezTo>
                  <a:cubicBezTo>
                    <a:pt x="76891" y="33609"/>
                    <a:pt x="60996" y="41178"/>
                    <a:pt x="55082" y="55602"/>
                  </a:cubicBezTo>
                  <a:cubicBezTo>
                    <a:pt x="47793" y="73280"/>
                    <a:pt x="34247" y="106611"/>
                    <a:pt x="11108" y="164972"/>
                  </a:cubicBezTo>
                  <a:cubicBezTo>
                    <a:pt x="-3037" y="200632"/>
                    <a:pt x="-3674" y="231067"/>
                    <a:pt x="9204" y="255428"/>
                  </a:cubicBezTo>
                  <a:cubicBezTo>
                    <a:pt x="27499" y="290039"/>
                    <a:pt x="66158" y="299059"/>
                    <a:pt x="67794" y="299422"/>
                  </a:cubicBezTo>
                  <a:lnTo>
                    <a:pt x="70576" y="287002"/>
                  </a:lnTo>
                  <a:cubicBezTo>
                    <a:pt x="70239" y="286926"/>
                    <a:pt x="36042" y="278956"/>
                    <a:pt x="20465" y="249483"/>
                  </a:cubicBezTo>
                  <a:cubicBezTo>
                    <a:pt x="9402" y="228559"/>
                    <a:pt x="10235" y="201702"/>
                    <a:pt x="22948" y="169663"/>
                  </a:cubicBezTo>
                  <a:cubicBezTo>
                    <a:pt x="46055" y="111366"/>
                    <a:pt x="59576" y="78099"/>
                    <a:pt x="66852" y="60447"/>
                  </a:cubicBezTo>
                  <a:cubicBezTo>
                    <a:pt x="70283" y="52076"/>
                    <a:pt x="79520" y="47683"/>
                    <a:pt x="88177" y="50319"/>
                  </a:cubicBezTo>
                  <a:cubicBezTo>
                    <a:pt x="92086" y="51477"/>
                    <a:pt x="97134" y="56239"/>
                    <a:pt x="96943" y="59224"/>
                  </a:cubicBezTo>
                  <a:lnTo>
                    <a:pt x="65458" y="157377"/>
                  </a:lnTo>
                  <a:lnTo>
                    <a:pt x="77585" y="161267"/>
                  </a:lnTo>
                  <a:lnTo>
                    <a:pt x="109413" y="62019"/>
                  </a:lnTo>
                  <a:lnTo>
                    <a:pt x="109439" y="62025"/>
                  </a:lnTo>
                  <a:cubicBezTo>
                    <a:pt x="109451" y="61987"/>
                    <a:pt x="109439" y="61955"/>
                    <a:pt x="109445" y="61923"/>
                  </a:cubicBezTo>
                  <a:lnTo>
                    <a:pt x="121623" y="23971"/>
                  </a:lnTo>
                  <a:cubicBezTo>
                    <a:pt x="124341" y="15466"/>
                    <a:pt x="133444" y="10781"/>
                    <a:pt x="141948" y="13499"/>
                  </a:cubicBezTo>
                  <a:cubicBezTo>
                    <a:pt x="150453" y="16224"/>
                    <a:pt x="155138" y="25327"/>
                    <a:pt x="152420" y="33825"/>
                  </a:cubicBezTo>
                  <a:cubicBezTo>
                    <a:pt x="152382" y="33933"/>
                    <a:pt x="152350" y="34042"/>
                    <a:pt x="152312" y="34143"/>
                  </a:cubicBezTo>
                  <a:lnTo>
                    <a:pt x="106752" y="165876"/>
                  </a:lnTo>
                  <a:lnTo>
                    <a:pt x="118790" y="170039"/>
                  </a:lnTo>
                  <a:lnTo>
                    <a:pt x="162618" y="43304"/>
                  </a:lnTo>
                  <a:lnTo>
                    <a:pt x="162618" y="43304"/>
                  </a:lnTo>
                  <a:lnTo>
                    <a:pt x="164331" y="38358"/>
                  </a:lnTo>
                  <a:lnTo>
                    <a:pt x="164343" y="38313"/>
                  </a:lnTo>
                  <a:lnTo>
                    <a:pt x="165381" y="35321"/>
                  </a:lnTo>
                  <a:cubicBezTo>
                    <a:pt x="167819" y="28319"/>
                    <a:pt x="175069" y="24207"/>
                    <a:pt x="182333" y="25709"/>
                  </a:cubicBezTo>
                  <a:cubicBezTo>
                    <a:pt x="190302" y="27383"/>
                    <a:pt x="195408" y="35206"/>
                    <a:pt x="193733" y="43176"/>
                  </a:cubicBezTo>
                  <a:cubicBezTo>
                    <a:pt x="193625" y="43698"/>
                    <a:pt x="193485" y="44214"/>
                    <a:pt x="193320" y="44723"/>
                  </a:cubicBezTo>
                  <a:close/>
                </a:path>
              </a:pathLst>
            </a:custGeom>
            <a:solidFill>
              <a:srgbClr val="001965"/>
            </a:solidFill>
            <a:ln w="6362" cap="flat">
              <a:noFill/>
              <a:prstDash val="solid"/>
              <a:miter/>
            </a:ln>
          </p:spPr>
          <p:txBody>
            <a:bodyPr rtlCol="0" anchor="ctr"/>
            <a:lstStyle/>
            <a:p>
              <a:endParaRPr lang="en-GB"/>
            </a:p>
          </p:txBody>
        </p:sp>
        <p:sp>
          <p:nvSpPr>
            <p:cNvPr id="96" name="Freeform: Shape 95">
              <a:extLst>
                <a:ext uri="{FF2B5EF4-FFF2-40B4-BE49-F238E27FC236}">
                  <a16:creationId xmlns:a16="http://schemas.microsoft.com/office/drawing/2014/main" id="{DFF3E702-6E82-4E5E-A99F-EDD0EA1AA119}"/>
                </a:ext>
              </a:extLst>
            </p:cNvPr>
            <p:cNvSpPr/>
            <p:nvPr/>
          </p:nvSpPr>
          <p:spPr>
            <a:xfrm>
              <a:off x="8354775" y="5078813"/>
              <a:ext cx="70023" cy="70023"/>
            </a:xfrm>
            <a:custGeom>
              <a:avLst/>
              <a:gdLst>
                <a:gd name="connsiteX0" fmla="*/ 76166 w 70022"/>
                <a:gd name="connsiteY0" fmla="*/ 38092 h 70022"/>
                <a:gd name="connsiteX1" fmla="*/ 38086 w 70022"/>
                <a:gd name="connsiteY1" fmla="*/ 0 h 70022"/>
                <a:gd name="connsiteX2" fmla="*/ 0 w 70022"/>
                <a:gd name="connsiteY2" fmla="*/ 38086 h 70022"/>
                <a:gd name="connsiteX3" fmla="*/ 38080 w 70022"/>
                <a:gd name="connsiteY3" fmla="*/ 76172 h 70022"/>
                <a:gd name="connsiteX4" fmla="*/ 38080 w 70022"/>
                <a:gd name="connsiteY4" fmla="*/ 76172 h 70022"/>
                <a:gd name="connsiteX5" fmla="*/ 76166 w 70022"/>
                <a:gd name="connsiteY5" fmla="*/ 38092 h 70022"/>
                <a:gd name="connsiteX6" fmla="*/ 38080 w 70022"/>
                <a:gd name="connsiteY6" fmla="*/ 63441 h 70022"/>
                <a:gd name="connsiteX7" fmla="*/ 12738 w 70022"/>
                <a:gd name="connsiteY7" fmla="*/ 38086 h 70022"/>
                <a:gd name="connsiteX8" fmla="*/ 38086 w 70022"/>
                <a:gd name="connsiteY8" fmla="*/ 12738 h 70022"/>
                <a:gd name="connsiteX9" fmla="*/ 63434 w 70022"/>
                <a:gd name="connsiteY9" fmla="*/ 38092 h 70022"/>
                <a:gd name="connsiteX10" fmla="*/ 38080 w 70022"/>
                <a:gd name="connsiteY10" fmla="*/ 63441 h 7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022" h="70022">
                  <a:moveTo>
                    <a:pt x="76166" y="38092"/>
                  </a:moveTo>
                  <a:cubicBezTo>
                    <a:pt x="76172" y="17053"/>
                    <a:pt x="59118" y="0"/>
                    <a:pt x="38086" y="0"/>
                  </a:cubicBezTo>
                  <a:cubicBezTo>
                    <a:pt x="17054" y="0"/>
                    <a:pt x="0" y="17047"/>
                    <a:pt x="0" y="38086"/>
                  </a:cubicBezTo>
                  <a:cubicBezTo>
                    <a:pt x="-7" y="59118"/>
                    <a:pt x="17047" y="76172"/>
                    <a:pt x="38080" y="76172"/>
                  </a:cubicBezTo>
                  <a:cubicBezTo>
                    <a:pt x="38080" y="76172"/>
                    <a:pt x="38080" y="76172"/>
                    <a:pt x="38080" y="76172"/>
                  </a:cubicBezTo>
                  <a:cubicBezTo>
                    <a:pt x="59106" y="76147"/>
                    <a:pt x="76140" y="59112"/>
                    <a:pt x="76166" y="38092"/>
                  </a:cubicBezTo>
                  <a:close/>
                  <a:moveTo>
                    <a:pt x="38080" y="63441"/>
                  </a:moveTo>
                  <a:cubicBezTo>
                    <a:pt x="24082" y="63441"/>
                    <a:pt x="12731" y="52091"/>
                    <a:pt x="12738" y="38086"/>
                  </a:cubicBezTo>
                  <a:cubicBezTo>
                    <a:pt x="12738" y="24088"/>
                    <a:pt x="24088" y="12738"/>
                    <a:pt x="38086" y="12738"/>
                  </a:cubicBezTo>
                  <a:cubicBezTo>
                    <a:pt x="52091" y="12738"/>
                    <a:pt x="63434" y="24088"/>
                    <a:pt x="63434" y="38092"/>
                  </a:cubicBezTo>
                  <a:cubicBezTo>
                    <a:pt x="63422" y="52084"/>
                    <a:pt x="52078" y="63428"/>
                    <a:pt x="38080" y="63441"/>
                  </a:cubicBezTo>
                  <a:close/>
                </a:path>
              </a:pathLst>
            </a:custGeom>
            <a:solidFill>
              <a:srgbClr val="001965"/>
            </a:solidFill>
            <a:ln w="6362" cap="flat">
              <a:noFill/>
              <a:prstDash val="solid"/>
              <a:miter/>
            </a:ln>
          </p:spPr>
          <p:txBody>
            <a:bodyPr rtlCol="0" anchor="ctr"/>
            <a:lstStyle/>
            <a:p>
              <a:endParaRPr lang="en-GB"/>
            </a:p>
          </p:txBody>
        </p:sp>
        <p:sp>
          <p:nvSpPr>
            <p:cNvPr id="97" name="Freeform: Shape 96">
              <a:extLst>
                <a:ext uri="{FF2B5EF4-FFF2-40B4-BE49-F238E27FC236}">
                  <a16:creationId xmlns:a16="http://schemas.microsoft.com/office/drawing/2014/main" id="{6DA5967A-6EBA-4B10-8CA0-4BC1B50C646F}"/>
                </a:ext>
              </a:extLst>
            </p:cNvPr>
            <p:cNvSpPr/>
            <p:nvPr/>
          </p:nvSpPr>
          <p:spPr>
            <a:xfrm>
              <a:off x="9524838" y="5078819"/>
              <a:ext cx="70023" cy="70023"/>
            </a:xfrm>
            <a:custGeom>
              <a:avLst/>
              <a:gdLst>
                <a:gd name="connsiteX0" fmla="*/ 38067 w 70022"/>
                <a:gd name="connsiteY0" fmla="*/ 0 h 70022"/>
                <a:gd name="connsiteX1" fmla="*/ 0 w 70022"/>
                <a:gd name="connsiteY1" fmla="*/ 38086 h 70022"/>
                <a:gd name="connsiteX2" fmla="*/ 38067 w 70022"/>
                <a:gd name="connsiteY2" fmla="*/ 76166 h 70022"/>
                <a:gd name="connsiteX3" fmla="*/ 76134 w 70022"/>
                <a:gd name="connsiteY3" fmla="*/ 38086 h 70022"/>
                <a:gd name="connsiteX4" fmla="*/ 38067 w 70022"/>
                <a:gd name="connsiteY4" fmla="*/ 0 h 70022"/>
                <a:gd name="connsiteX5" fmla="*/ 38067 w 70022"/>
                <a:gd name="connsiteY5" fmla="*/ 63435 h 70022"/>
                <a:gd name="connsiteX6" fmla="*/ 12731 w 70022"/>
                <a:gd name="connsiteY6" fmla="*/ 38080 h 70022"/>
                <a:gd name="connsiteX7" fmla="*/ 38067 w 70022"/>
                <a:gd name="connsiteY7" fmla="*/ 12731 h 70022"/>
                <a:gd name="connsiteX8" fmla="*/ 63403 w 70022"/>
                <a:gd name="connsiteY8" fmla="*/ 38086 h 70022"/>
                <a:gd name="connsiteX9" fmla="*/ 38067 w 70022"/>
                <a:gd name="connsiteY9" fmla="*/ 63435 h 7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022" h="70022">
                  <a:moveTo>
                    <a:pt x="38067" y="0"/>
                  </a:moveTo>
                  <a:cubicBezTo>
                    <a:pt x="17060" y="0"/>
                    <a:pt x="0" y="17054"/>
                    <a:pt x="0" y="38086"/>
                  </a:cubicBezTo>
                  <a:cubicBezTo>
                    <a:pt x="0" y="59118"/>
                    <a:pt x="17060" y="76166"/>
                    <a:pt x="38067" y="76166"/>
                  </a:cubicBezTo>
                  <a:cubicBezTo>
                    <a:pt x="59074" y="76166"/>
                    <a:pt x="76134" y="59112"/>
                    <a:pt x="76134" y="38086"/>
                  </a:cubicBezTo>
                  <a:cubicBezTo>
                    <a:pt x="76134" y="17060"/>
                    <a:pt x="59074" y="26"/>
                    <a:pt x="38067" y="0"/>
                  </a:cubicBezTo>
                  <a:close/>
                  <a:moveTo>
                    <a:pt x="38067" y="63435"/>
                  </a:moveTo>
                  <a:cubicBezTo>
                    <a:pt x="24062" y="63435"/>
                    <a:pt x="12731" y="52084"/>
                    <a:pt x="12731" y="38080"/>
                  </a:cubicBezTo>
                  <a:cubicBezTo>
                    <a:pt x="12731" y="24082"/>
                    <a:pt x="24062" y="12731"/>
                    <a:pt x="38067" y="12731"/>
                  </a:cubicBezTo>
                  <a:cubicBezTo>
                    <a:pt x="52072" y="12731"/>
                    <a:pt x="63403" y="24082"/>
                    <a:pt x="63403" y="38086"/>
                  </a:cubicBezTo>
                  <a:cubicBezTo>
                    <a:pt x="63403" y="52078"/>
                    <a:pt x="52072" y="63422"/>
                    <a:pt x="38067" y="63435"/>
                  </a:cubicBezTo>
                  <a:close/>
                </a:path>
              </a:pathLst>
            </a:custGeom>
            <a:solidFill>
              <a:srgbClr val="001965"/>
            </a:solidFill>
            <a:ln w="6362" cap="flat">
              <a:noFill/>
              <a:prstDash val="solid"/>
              <a:miter/>
            </a:ln>
          </p:spPr>
          <p:txBody>
            <a:bodyPr rtlCol="0" anchor="ctr"/>
            <a:lstStyle/>
            <a:p>
              <a:endParaRPr lang="en-GB"/>
            </a:p>
          </p:txBody>
        </p:sp>
      </p:grpSp>
      <p:sp>
        <p:nvSpPr>
          <p:cNvPr id="8" name="Text Placeholder 7">
            <a:extLst>
              <a:ext uri="{FF2B5EF4-FFF2-40B4-BE49-F238E27FC236}">
                <a16:creationId xmlns:a16="http://schemas.microsoft.com/office/drawing/2014/main" id="{8558637E-C472-4EF1-A94C-091A9BAA6B49}"/>
              </a:ext>
            </a:extLst>
          </p:cNvPr>
          <p:cNvSpPr>
            <a:spLocks noGrp="1"/>
          </p:cNvSpPr>
          <p:nvPr>
            <p:ph type="body" sz="quarter" idx="16"/>
          </p:nvPr>
        </p:nvSpPr>
        <p:spPr>
          <a:xfrm>
            <a:off x="5693740" y="5363276"/>
            <a:ext cx="1801514" cy="1061668"/>
          </a:xfrm>
        </p:spPr>
        <p:txBody>
          <a:bodyPr/>
          <a:lstStyle/>
          <a:p>
            <a:pPr algn="l">
              <a:lnSpc>
                <a:spcPct val="120000"/>
              </a:lnSpc>
            </a:pPr>
            <a:r>
              <a:rPr lang="en-GB" dirty="0">
                <a:solidFill>
                  <a:srgbClr val="FFFFFF"/>
                </a:solidFill>
              </a:rPr>
              <a:t>VILJA STEHLE                                             PHILIP VAN BERKOM                                    PAULINA FORSBERG </a:t>
            </a:r>
          </a:p>
          <a:p>
            <a:pPr algn="l">
              <a:lnSpc>
                <a:spcPct val="120000"/>
              </a:lnSpc>
            </a:pPr>
            <a:r>
              <a:rPr lang="en-GB" dirty="0">
                <a:solidFill>
                  <a:srgbClr val="FFFFFF"/>
                </a:solidFill>
              </a:rPr>
              <a:t>Procurement Graduates                               Denmark</a:t>
            </a:r>
          </a:p>
        </p:txBody>
      </p:sp>
      <p:sp>
        <p:nvSpPr>
          <p:cNvPr id="4" name="Footer Placeholder 3">
            <a:extLst>
              <a:ext uri="{FF2B5EF4-FFF2-40B4-BE49-F238E27FC236}">
                <a16:creationId xmlns:a16="http://schemas.microsoft.com/office/drawing/2014/main" id="{D5F5F775-CDEE-4747-BCFE-1883E7EAF611}"/>
              </a:ext>
            </a:extLst>
          </p:cNvPr>
          <p:cNvSpPr>
            <a:spLocks noGrp="1"/>
          </p:cNvSpPr>
          <p:nvPr>
            <p:ph type="ftr" sz="quarter" idx="11"/>
          </p:nvPr>
        </p:nvSpPr>
        <p:spPr/>
        <p:txBody>
          <a:bodyPr/>
          <a:lstStyle/>
          <a:p>
            <a:r>
              <a:rPr lang="en-GB"/>
              <a:t>Graduate Programme Introduction</a:t>
            </a:r>
            <a:endParaRPr lang="en-GB" dirty="0"/>
          </a:p>
        </p:txBody>
      </p:sp>
      <p:sp>
        <p:nvSpPr>
          <p:cNvPr id="5" name="Slide Number Placeholder 4">
            <a:extLst>
              <a:ext uri="{FF2B5EF4-FFF2-40B4-BE49-F238E27FC236}">
                <a16:creationId xmlns:a16="http://schemas.microsoft.com/office/drawing/2014/main" id="{124A026F-2BFD-458C-BBD0-87D6BD096E4B}"/>
              </a:ext>
            </a:extLst>
          </p:cNvPr>
          <p:cNvSpPr>
            <a:spLocks noGrp="1"/>
          </p:cNvSpPr>
          <p:nvPr>
            <p:ph type="sldNum" sz="quarter" idx="12"/>
          </p:nvPr>
        </p:nvSpPr>
        <p:spPr/>
        <p:txBody>
          <a:bodyPr/>
          <a:lstStyle/>
          <a:p>
            <a:fld id="{23AA811B-2EBD-4900-905E-5BE206449611}" type="slidenum">
              <a:rPr lang="en-GB" smtClean="0"/>
              <a:t>22</a:t>
            </a:fld>
            <a:endParaRPr lang="en-GB" dirty="0"/>
          </a:p>
        </p:txBody>
      </p:sp>
    </p:spTree>
    <p:custDataLst>
      <p:custData r:id="rId2"/>
      <p:custData r:id="rId3"/>
      <p:tags r:id="rId4"/>
    </p:custDataLst>
    <p:extLst>
      <p:ext uri="{BB962C8B-B14F-4D97-AF65-F5344CB8AC3E}">
        <p14:creationId xmlns:p14="http://schemas.microsoft.com/office/powerpoint/2010/main" val="29445430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19142FF-D125-4A83-8A8D-655B8EA932FB}"/>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76133" name="think-cell Slide" r:id="rId6" imgW="499" imgH="499" progId="TCLayout.ActiveDocument.1">
                  <p:embed/>
                </p:oleObj>
              </mc:Choice>
              <mc:Fallback>
                <p:oleObj name="think-cell Slide" r:id="rId6" imgW="499" imgH="499" progId="TCLayout.ActiveDocument.1">
                  <p:embed/>
                  <p:pic>
                    <p:nvPicPr>
                      <p:cNvPr id="8" name="Object 7" hidden="1">
                        <a:extLst>
                          <a:ext uri="{FF2B5EF4-FFF2-40B4-BE49-F238E27FC236}">
                            <a16:creationId xmlns:a16="http://schemas.microsoft.com/office/drawing/2014/main" id="{819142FF-D125-4A83-8A8D-655B8EA932FB}"/>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0805F5C-CD0F-4115-A65C-70EEC2EEA3F2}"/>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noProof="0" dirty="0" err="1">
              <a:latin typeface="Apis For Office" panose="020B0504010101010104" pitchFamily="34" charset="0"/>
              <a:ea typeface="+mj-ea"/>
              <a:cs typeface="+mj-cs"/>
              <a:sym typeface="Apis For Office" panose="020B0504010101010104" pitchFamily="34" charset="0"/>
            </a:endParaRPr>
          </a:p>
        </p:txBody>
      </p:sp>
      <p:sp>
        <p:nvSpPr>
          <p:cNvPr id="7" name="Rectangle 6">
            <a:extLst>
              <a:ext uri="{FF2B5EF4-FFF2-40B4-BE49-F238E27FC236}">
                <a16:creationId xmlns:a16="http://schemas.microsoft.com/office/drawing/2014/main" id="{662F65C3-F6C4-41CE-BC80-EDBD6BE48A2D}"/>
              </a:ext>
            </a:extLst>
          </p:cNvPr>
          <p:cNvSpPr/>
          <p:nvPr/>
        </p:nvSpPr>
        <p:spPr>
          <a:xfrm>
            <a:off x="9184719" y="3006602"/>
            <a:ext cx="2263515" cy="1845328"/>
          </a:xfrm>
          <a:prstGeom prst="rect">
            <a:avLst/>
          </a:prstGeom>
          <a:solidFill>
            <a:srgbClr val="E9EBED"/>
          </a:solidFill>
          <a:ln>
            <a:solidFill>
              <a:srgbClr val="E9EBED"/>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 name="Oval 1">
            <a:extLst>
              <a:ext uri="{FF2B5EF4-FFF2-40B4-BE49-F238E27FC236}">
                <a16:creationId xmlns:a16="http://schemas.microsoft.com/office/drawing/2014/main" id="{33B8994C-6850-4EC5-A873-819DEFAD3E80}"/>
              </a:ext>
            </a:extLst>
          </p:cNvPr>
          <p:cNvSpPr/>
          <p:nvPr/>
        </p:nvSpPr>
        <p:spPr>
          <a:xfrm>
            <a:off x="-898498" y="1622522"/>
            <a:ext cx="4374000" cy="4369095"/>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 name="Title 2">
            <a:extLst>
              <a:ext uri="{FF2B5EF4-FFF2-40B4-BE49-F238E27FC236}">
                <a16:creationId xmlns:a16="http://schemas.microsoft.com/office/drawing/2014/main" id="{85D41AE7-9B1C-4CB1-AD74-743A10E134B6}"/>
              </a:ext>
            </a:extLst>
          </p:cNvPr>
          <p:cNvSpPr>
            <a:spLocks noGrp="1"/>
          </p:cNvSpPr>
          <p:nvPr>
            <p:ph type="title"/>
          </p:nvPr>
        </p:nvSpPr>
        <p:spPr/>
        <p:txBody>
          <a:bodyPr/>
          <a:lstStyle/>
          <a:p>
            <a:r>
              <a:rPr lang="en-GB" sz="3600" dirty="0"/>
              <a:t>Key building blocks of the graduate programme</a:t>
            </a:r>
            <a:endParaRPr lang="en-GB" sz="3600" dirty="0">
              <a:solidFill>
                <a:srgbClr val="009FDA"/>
              </a:solidFill>
            </a:endParaRPr>
          </a:p>
        </p:txBody>
      </p:sp>
      <p:sp>
        <p:nvSpPr>
          <p:cNvPr id="20" name="Rectangle: Rounded Corners 19">
            <a:extLst>
              <a:ext uri="{FF2B5EF4-FFF2-40B4-BE49-F238E27FC236}">
                <a16:creationId xmlns:a16="http://schemas.microsoft.com/office/drawing/2014/main" id="{9B715123-1FCB-459B-998F-94234BA0FF33}"/>
              </a:ext>
            </a:extLst>
          </p:cNvPr>
          <p:cNvSpPr/>
          <p:nvPr/>
        </p:nvSpPr>
        <p:spPr>
          <a:xfrm>
            <a:off x="8956788" y="3580015"/>
            <a:ext cx="2388523" cy="698501"/>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28000" rIns="0" rtlCol="0" anchor="ctr"/>
          <a:lstStyle/>
          <a:p>
            <a:pPr>
              <a:spcBef>
                <a:spcPct val="20000"/>
              </a:spcBef>
            </a:pPr>
            <a:r>
              <a:rPr lang="en-GB" sz="1300" noProof="1">
                <a:solidFill>
                  <a:srgbClr val="001965"/>
                </a:solidFill>
                <a:latin typeface="+mj-lt"/>
                <a:ea typeface="MS PGothic" pitchFamily="34" charset="-128"/>
              </a:rPr>
              <a:t>We trust that our graduates will develop into </a:t>
            </a:r>
            <a:r>
              <a:rPr lang="en-GB" sz="1300" b="1" noProof="1">
                <a:solidFill>
                  <a:srgbClr val="001965"/>
                </a:solidFill>
                <a:latin typeface="+mj-lt"/>
                <a:ea typeface="MS PGothic" pitchFamily="34" charset="-128"/>
              </a:rPr>
              <a:t>tomorrow’s key people!</a:t>
            </a:r>
            <a:endParaRPr lang="en-GB" sz="1300" noProof="1">
              <a:solidFill>
                <a:srgbClr val="001965"/>
              </a:solidFill>
              <a:latin typeface="+mj-lt"/>
              <a:ea typeface="MS PGothic" pitchFamily="34" charset="-128"/>
            </a:endParaRPr>
          </a:p>
        </p:txBody>
      </p:sp>
      <p:pic>
        <p:nvPicPr>
          <p:cNvPr id="17" name="Picture Placeholder 19">
            <a:extLst>
              <a:ext uri="{FF2B5EF4-FFF2-40B4-BE49-F238E27FC236}">
                <a16:creationId xmlns:a16="http://schemas.microsoft.com/office/drawing/2014/main" id="{18BE7A4E-621B-49FB-B7CD-8C5D49643802}"/>
              </a:ext>
            </a:extLst>
          </p:cNvPr>
          <p:cNvPicPr>
            <a:picLocks noChangeAspect="1"/>
          </p:cNvPicPr>
          <p:nvPr/>
        </p:nvPicPr>
        <p:blipFill>
          <a:blip r:embed="rId8" cstate="print">
            <a:extLst>
              <a:ext uri="{28A0092B-C50C-407E-A947-70E740481C1C}">
                <a14:useLocalDpi xmlns:a14="http://schemas.microsoft.com/office/drawing/2010/main" val="0"/>
              </a:ext>
            </a:extLst>
          </a:blip>
          <a:srcRect l="16652" r="16652"/>
          <a:stretch>
            <a:fillRect/>
          </a:stretch>
        </p:blipFill>
        <p:spPr>
          <a:xfrm>
            <a:off x="-663572" y="1854177"/>
            <a:ext cx="3904148" cy="3902094"/>
          </a:xfrm>
          <a:prstGeom prst="ellipse">
            <a:avLst/>
          </a:prstGeom>
        </p:spPr>
      </p:pic>
      <p:sp>
        <p:nvSpPr>
          <p:cNvPr id="33" name="Rectangle 32">
            <a:extLst>
              <a:ext uri="{FF2B5EF4-FFF2-40B4-BE49-F238E27FC236}">
                <a16:creationId xmlns:a16="http://schemas.microsoft.com/office/drawing/2014/main" id="{652E9197-AE41-4387-8722-2CA62FFA07C3}"/>
              </a:ext>
            </a:extLst>
          </p:cNvPr>
          <p:cNvSpPr/>
          <p:nvPr/>
        </p:nvSpPr>
        <p:spPr>
          <a:xfrm>
            <a:off x="-1560230" y="1635230"/>
            <a:ext cx="1555963" cy="4534317"/>
          </a:xfrm>
          <a:prstGeom prst="rect">
            <a:avLst/>
          </a:prstGeom>
          <a:solidFill>
            <a:srgbClr val="E6E6E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latin typeface="+mj-lt"/>
            </a:endParaRPr>
          </a:p>
        </p:txBody>
      </p:sp>
      <p:sp>
        <p:nvSpPr>
          <p:cNvPr id="34" name="Text Placeholder 20">
            <a:extLst>
              <a:ext uri="{FF2B5EF4-FFF2-40B4-BE49-F238E27FC236}">
                <a16:creationId xmlns:a16="http://schemas.microsoft.com/office/drawing/2014/main" id="{8648B2FF-B829-4657-A34F-834C35E66D07}"/>
              </a:ext>
            </a:extLst>
          </p:cNvPr>
          <p:cNvSpPr txBox="1">
            <a:spLocks/>
          </p:cNvSpPr>
          <p:nvPr/>
        </p:nvSpPr>
        <p:spPr>
          <a:xfrm>
            <a:off x="561805" y="2085492"/>
            <a:ext cx="1920000" cy="309600"/>
          </a:xfrm>
          <a:prstGeom prst="rect">
            <a:avLst/>
          </a:prstGeom>
        </p:spPr>
        <p:txBody>
          <a:bodyPr vert="horz" lIns="0" tIns="0" rIns="0" bIns="0" rtlCol="0">
            <a:noAutofit/>
          </a:bodyPr>
          <a:lstStyle>
            <a:lvl1pPr marL="0" indent="0" algn="l" defTabSz="914400" rtl="0" eaLnBrk="1" latinLnBrk="0" hangingPunct="1">
              <a:lnSpc>
                <a:spcPct val="100000"/>
              </a:lnSpc>
              <a:spcBef>
                <a:spcPts val="300"/>
              </a:spcBef>
              <a:spcAft>
                <a:spcPts val="600"/>
              </a:spcAft>
              <a:buFont typeface="Arial" panose="020B0604020202020204" pitchFamily="34" charset="0"/>
              <a:buNone/>
              <a:defRPr sz="1000" b="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a:spcBef>
                <a:spcPts val="0"/>
              </a:spcBef>
              <a:spcAft>
                <a:spcPts val="0"/>
              </a:spcAft>
              <a:defRPr/>
            </a:pPr>
            <a:r>
              <a:rPr lang="da-DK" sz="800" dirty="0">
                <a:solidFill>
                  <a:schemeClr val="bg1"/>
                </a:solidFill>
              </a:rPr>
              <a:t>MIA ØHLENSCHLÆGER </a:t>
            </a:r>
          </a:p>
          <a:p>
            <a:pPr>
              <a:spcBef>
                <a:spcPts val="0"/>
              </a:spcBef>
              <a:spcAft>
                <a:spcPts val="0"/>
              </a:spcAft>
              <a:defRPr/>
            </a:pPr>
            <a:r>
              <a:rPr lang="da-DK" sz="800" dirty="0">
                <a:solidFill>
                  <a:schemeClr val="bg1"/>
                </a:solidFill>
              </a:rPr>
              <a:t>Trial Management Graduate</a:t>
            </a:r>
          </a:p>
          <a:p>
            <a:pPr>
              <a:spcBef>
                <a:spcPts val="0"/>
              </a:spcBef>
              <a:spcAft>
                <a:spcPts val="0"/>
              </a:spcAft>
              <a:defRPr/>
            </a:pPr>
            <a:r>
              <a:rPr lang="da-DK" sz="800" dirty="0">
                <a:solidFill>
                  <a:schemeClr val="bg1"/>
                </a:solidFill>
              </a:rPr>
              <a:t>Denmark</a:t>
            </a:r>
          </a:p>
        </p:txBody>
      </p:sp>
      <p:sp>
        <p:nvSpPr>
          <p:cNvPr id="86" name="Rectangle: Rounded Corners 85">
            <a:extLst>
              <a:ext uri="{FF2B5EF4-FFF2-40B4-BE49-F238E27FC236}">
                <a16:creationId xmlns:a16="http://schemas.microsoft.com/office/drawing/2014/main" id="{56BE2C4D-4A09-43D0-84FE-F0CC05A3034E}"/>
              </a:ext>
            </a:extLst>
          </p:cNvPr>
          <p:cNvSpPr/>
          <p:nvPr/>
        </p:nvSpPr>
        <p:spPr>
          <a:xfrm>
            <a:off x="2314814" y="2253316"/>
            <a:ext cx="6979089" cy="463432"/>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28000" rIns="0" rtlCol="0" anchor="ctr"/>
          <a:lstStyle/>
          <a:p>
            <a:pPr marL="285750" indent="-285750">
              <a:spcBef>
                <a:spcPct val="20000"/>
              </a:spcBef>
              <a:buClr>
                <a:srgbClr val="FFFFFF"/>
              </a:buClr>
              <a:buFont typeface="Arial" panose="020B0604020202020204" pitchFamily="34" charset="0"/>
              <a:buChar char="•"/>
            </a:pPr>
            <a:r>
              <a:rPr lang="en-GB" sz="1400" noProof="1">
                <a:solidFill>
                  <a:srgbClr val="001965"/>
                </a:solidFill>
                <a:latin typeface="+mj-lt"/>
                <a:ea typeface="MS PGothic" pitchFamily="34" charset="-128"/>
              </a:rPr>
              <a:t>Duration of </a:t>
            </a:r>
            <a:r>
              <a:rPr lang="en-GB" sz="1400" b="1" noProof="1">
                <a:solidFill>
                  <a:srgbClr val="001965"/>
                </a:solidFill>
                <a:latin typeface="+mj-lt"/>
                <a:ea typeface="MS PGothic" pitchFamily="34" charset="-128"/>
              </a:rPr>
              <a:t>two years</a:t>
            </a:r>
            <a:endParaRPr lang="en-GB" sz="1400" noProof="1">
              <a:solidFill>
                <a:srgbClr val="001965"/>
              </a:solidFill>
              <a:latin typeface="+mj-lt"/>
              <a:ea typeface="MS PGothic" pitchFamily="34" charset="-128"/>
            </a:endParaRPr>
          </a:p>
        </p:txBody>
      </p:sp>
      <p:sp>
        <p:nvSpPr>
          <p:cNvPr id="19" name="Rectangle: Rounded Corners 18">
            <a:extLst>
              <a:ext uri="{FF2B5EF4-FFF2-40B4-BE49-F238E27FC236}">
                <a16:creationId xmlns:a16="http://schemas.microsoft.com/office/drawing/2014/main" id="{F42CB5AA-F83A-4909-9849-98DBB4D520F6}"/>
              </a:ext>
            </a:extLst>
          </p:cNvPr>
          <p:cNvSpPr/>
          <p:nvPr/>
        </p:nvSpPr>
        <p:spPr>
          <a:xfrm>
            <a:off x="2652137" y="2867699"/>
            <a:ext cx="6985000" cy="457200"/>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28000" rIns="0" rtlCol="0" anchor="ctr"/>
          <a:lstStyle/>
          <a:p>
            <a:pPr marL="285750" indent="-285750">
              <a:spcBef>
                <a:spcPct val="20000"/>
              </a:spcBef>
              <a:buClr>
                <a:srgbClr val="FFFFFF"/>
              </a:buClr>
              <a:buFont typeface="Arial" panose="020B0604020202020204" pitchFamily="34" charset="0"/>
              <a:buChar char="•"/>
            </a:pPr>
            <a:r>
              <a:rPr lang="en-GB" sz="1400" b="1" noProof="1">
                <a:solidFill>
                  <a:srgbClr val="001965"/>
                </a:solidFill>
                <a:latin typeface="+mj-lt"/>
                <a:ea typeface="MS PGothic" pitchFamily="34" charset="-128"/>
              </a:rPr>
              <a:t>Challenging tasks </a:t>
            </a:r>
            <a:r>
              <a:rPr lang="en-GB" sz="1400" noProof="1">
                <a:solidFill>
                  <a:srgbClr val="001965"/>
                </a:solidFill>
                <a:latin typeface="+mj-lt"/>
                <a:ea typeface="MS PGothic" pitchFamily="34" charset="-128"/>
              </a:rPr>
              <a:t>with high responsibility from day one!</a:t>
            </a:r>
          </a:p>
        </p:txBody>
      </p:sp>
      <p:sp>
        <p:nvSpPr>
          <p:cNvPr id="28" name="Rectangle: Rounded Corners 27">
            <a:extLst>
              <a:ext uri="{FF2B5EF4-FFF2-40B4-BE49-F238E27FC236}">
                <a16:creationId xmlns:a16="http://schemas.microsoft.com/office/drawing/2014/main" id="{36C61A7C-39F5-4810-B9DD-5298E99B086B}"/>
              </a:ext>
            </a:extLst>
          </p:cNvPr>
          <p:cNvSpPr/>
          <p:nvPr/>
        </p:nvSpPr>
        <p:spPr>
          <a:xfrm>
            <a:off x="2805594" y="3448554"/>
            <a:ext cx="6985000" cy="457200"/>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28000" rIns="0" rtlCol="0" anchor="ctr"/>
          <a:lstStyle/>
          <a:p>
            <a:pPr marL="285750" indent="-285750">
              <a:spcBef>
                <a:spcPct val="20000"/>
              </a:spcBef>
              <a:buClr>
                <a:srgbClr val="FFFFFF"/>
              </a:buClr>
              <a:buFont typeface="Arial" panose="020B0604020202020204" pitchFamily="34" charset="0"/>
              <a:buChar char="•"/>
            </a:pPr>
            <a:r>
              <a:rPr lang="en-GB" sz="1400" noProof="1">
                <a:solidFill>
                  <a:srgbClr val="001965"/>
                </a:solidFill>
                <a:latin typeface="+mj-lt"/>
                <a:ea typeface="MS PGothic" pitchFamily="34" charset="-128"/>
              </a:rPr>
              <a:t>Cross–functional projects and </a:t>
            </a:r>
            <a:r>
              <a:rPr lang="en-GB" sz="1400" b="1" noProof="1">
                <a:solidFill>
                  <a:srgbClr val="001965"/>
                </a:solidFill>
                <a:latin typeface="+mj-lt"/>
                <a:ea typeface="MS PGothic" pitchFamily="34" charset="-128"/>
              </a:rPr>
              <a:t>broad network</a:t>
            </a:r>
            <a:endParaRPr lang="en-GB" sz="1400" noProof="1">
              <a:solidFill>
                <a:srgbClr val="001965"/>
              </a:solidFill>
              <a:latin typeface="+mj-lt"/>
              <a:ea typeface="MS PGothic" pitchFamily="34" charset="-128"/>
            </a:endParaRPr>
          </a:p>
        </p:txBody>
      </p:sp>
      <p:sp>
        <p:nvSpPr>
          <p:cNvPr id="29" name="Rectangle: Rounded Corners 28">
            <a:extLst>
              <a:ext uri="{FF2B5EF4-FFF2-40B4-BE49-F238E27FC236}">
                <a16:creationId xmlns:a16="http://schemas.microsoft.com/office/drawing/2014/main" id="{FAA25135-157E-413F-A3D0-A6E4D3CC70AC}"/>
              </a:ext>
            </a:extLst>
          </p:cNvPr>
          <p:cNvSpPr/>
          <p:nvPr/>
        </p:nvSpPr>
        <p:spPr>
          <a:xfrm>
            <a:off x="2775614" y="4084001"/>
            <a:ext cx="5222230" cy="457200"/>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28000" rIns="0" rtlCol="0" anchor="ctr"/>
          <a:lstStyle/>
          <a:p>
            <a:pPr marL="285750" indent="-285750">
              <a:spcBef>
                <a:spcPct val="20000"/>
              </a:spcBef>
              <a:buClr>
                <a:srgbClr val="FFFFFF"/>
              </a:buClr>
              <a:buFont typeface="Arial" panose="020B0604020202020204" pitchFamily="34" charset="0"/>
              <a:buChar char="•"/>
            </a:pPr>
            <a:r>
              <a:rPr lang="en-GB" sz="1400" noProof="1">
                <a:solidFill>
                  <a:srgbClr val="001965"/>
                </a:solidFill>
                <a:latin typeface="+mj-lt"/>
                <a:ea typeface="MS PGothic" pitchFamily="34" charset="-128"/>
              </a:rPr>
              <a:t>3 – 4 rotations in </a:t>
            </a:r>
            <a:r>
              <a:rPr lang="en-GB" sz="1400" b="1" noProof="1">
                <a:solidFill>
                  <a:srgbClr val="001965"/>
                </a:solidFill>
                <a:latin typeface="+mj-lt"/>
                <a:ea typeface="MS PGothic" pitchFamily="34" charset="-128"/>
              </a:rPr>
              <a:t>different geographical locations </a:t>
            </a:r>
            <a:r>
              <a:rPr lang="en-GB" sz="1400" noProof="1">
                <a:solidFill>
                  <a:srgbClr val="001965"/>
                </a:solidFill>
                <a:latin typeface="+mj-lt"/>
                <a:ea typeface="MS PGothic" pitchFamily="34" charset="-128"/>
              </a:rPr>
              <a:t>and different parts of the organisation</a:t>
            </a:r>
          </a:p>
        </p:txBody>
      </p:sp>
      <p:sp>
        <p:nvSpPr>
          <p:cNvPr id="31" name="Rectangle: Rounded Corners 30">
            <a:extLst>
              <a:ext uri="{FF2B5EF4-FFF2-40B4-BE49-F238E27FC236}">
                <a16:creationId xmlns:a16="http://schemas.microsoft.com/office/drawing/2014/main" id="{6C6A6E8D-FCF9-4933-9298-8D60CCD59D4D}"/>
              </a:ext>
            </a:extLst>
          </p:cNvPr>
          <p:cNvSpPr/>
          <p:nvPr/>
        </p:nvSpPr>
        <p:spPr>
          <a:xfrm>
            <a:off x="2487247" y="4692152"/>
            <a:ext cx="6985000" cy="457200"/>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28000" rIns="0" rtlCol="0" anchor="ctr"/>
          <a:lstStyle/>
          <a:p>
            <a:pPr marL="285750" indent="-285750">
              <a:spcBef>
                <a:spcPct val="20000"/>
              </a:spcBef>
              <a:buClr>
                <a:srgbClr val="FFFFFF"/>
              </a:buClr>
              <a:buFont typeface="Arial" panose="020B0604020202020204" pitchFamily="34" charset="0"/>
              <a:buChar char="•"/>
            </a:pPr>
            <a:r>
              <a:rPr lang="en-GB" sz="1400" b="1" noProof="1">
                <a:solidFill>
                  <a:srgbClr val="001965"/>
                </a:solidFill>
                <a:latin typeface="+mj-lt"/>
                <a:ea typeface="MS PGothic" pitchFamily="34" charset="-128"/>
              </a:rPr>
              <a:t>International orientation </a:t>
            </a:r>
            <a:r>
              <a:rPr lang="en-GB" sz="1400" noProof="1">
                <a:solidFill>
                  <a:srgbClr val="001965"/>
                </a:solidFill>
                <a:latin typeface="+mj-lt"/>
                <a:ea typeface="MS PGothic" pitchFamily="34" charset="-128"/>
              </a:rPr>
              <a:t>and a diverse graduate family!</a:t>
            </a:r>
            <a:endParaRPr lang="en-GB" sz="1400" b="1" noProof="1">
              <a:solidFill>
                <a:srgbClr val="001965"/>
              </a:solidFill>
              <a:latin typeface="+mj-lt"/>
              <a:ea typeface="MS PGothic" pitchFamily="34" charset="-128"/>
            </a:endParaRPr>
          </a:p>
        </p:txBody>
      </p:sp>
      <p:sp>
        <p:nvSpPr>
          <p:cNvPr id="32" name="Rectangle: Rounded Corners 31">
            <a:extLst>
              <a:ext uri="{FF2B5EF4-FFF2-40B4-BE49-F238E27FC236}">
                <a16:creationId xmlns:a16="http://schemas.microsoft.com/office/drawing/2014/main" id="{3C05D43C-DEBE-405B-A9FF-AF2521AA2A41}"/>
              </a:ext>
            </a:extLst>
          </p:cNvPr>
          <p:cNvSpPr/>
          <p:nvPr/>
        </p:nvSpPr>
        <p:spPr>
          <a:xfrm>
            <a:off x="1957144" y="5300304"/>
            <a:ext cx="6985000" cy="457200"/>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528000" rIns="0" rtlCol="0" anchor="ctr"/>
          <a:lstStyle/>
          <a:p>
            <a:pPr marL="285750" indent="-285750">
              <a:spcBef>
                <a:spcPct val="20000"/>
              </a:spcBef>
              <a:buClr>
                <a:srgbClr val="FFFFFF"/>
              </a:buClr>
              <a:buFont typeface="Arial" panose="020B0604020202020204" pitchFamily="34" charset="0"/>
              <a:buChar char="•"/>
            </a:pPr>
            <a:r>
              <a:rPr lang="en-GB" sz="1400" noProof="1">
                <a:solidFill>
                  <a:srgbClr val="001965"/>
                </a:solidFill>
                <a:latin typeface="+mj-lt"/>
                <a:ea typeface="MS PGothic" pitchFamily="34" charset="-128"/>
              </a:rPr>
              <a:t>Focus on </a:t>
            </a:r>
            <a:r>
              <a:rPr lang="en-GB" sz="1400" b="1" noProof="1">
                <a:solidFill>
                  <a:srgbClr val="001965"/>
                </a:solidFill>
                <a:latin typeface="+mj-lt"/>
                <a:ea typeface="MS PGothic" pitchFamily="34" charset="-128"/>
              </a:rPr>
              <a:t>personal </a:t>
            </a:r>
            <a:r>
              <a:rPr lang="en-GB" sz="1400" noProof="1">
                <a:solidFill>
                  <a:srgbClr val="001965"/>
                </a:solidFill>
                <a:latin typeface="+mj-lt"/>
                <a:ea typeface="MS PGothic" pitchFamily="34" charset="-128"/>
              </a:rPr>
              <a:t>and </a:t>
            </a:r>
            <a:r>
              <a:rPr lang="en-GB" sz="1400" b="1" noProof="1">
                <a:solidFill>
                  <a:srgbClr val="001965"/>
                </a:solidFill>
                <a:latin typeface="+mj-lt"/>
                <a:ea typeface="MS PGothic" pitchFamily="34" charset="-128"/>
              </a:rPr>
              <a:t>professional development</a:t>
            </a:r>
            <a:endParaRPr lang="en-GB" sz="1400" noProof="1">
              <a:solidFill>
                <a:srgbClr val="001965"/>
              </a:solidFill>
              <a:latin typeface="+mj-lt"/>
              <a:ea typeface="MS PGothic" pitchFamily="34" charset="-128"/>
            </a:endParaRPr>
          </a:p>
        </p:txBody>
      </p:sp>
      <p:sp>
        <p:nvSpPr>
          <p:cNvPr id="5" name="Footer Placeholder 4">
            <a:extLst>
              <a:ext uri="{FF2B5EF4-FFF2-40B4-BE49-F238E27FC236}">
                <a16:creationId xmlns:a16="http://schemas.microsoft.com/office/drawing/2014/main" id="{B844DA50-AA87-44E5-9E0F-B7D4CB933FE3}"/>
              </a:ext>
            </a:extLst>
          </p:cNvPr>
          <p:cNvSpPr>
            <a:spLocks noGrp="1"/>
          </p:cNvSpPr>
          <p:nvPr>
            <p:ph type="ftr" sz="quarter" idx="11"/>
          </p:nvPr>
        </p:nvSpPr>
        <p:spPr/>
        <p:txBody>
          <a:bodyPr/>
          <a:lstStyle/>
          <a:p>
            <a:r>
              <a:rPr lang="en-GB"/>
              <a:t>Graduate Programme Introduction</a:t>
            </a:r>
            <a:endParaRPr lang="en-GB" dirty="0"/>
          </a:p>
        </p:txBody>
      </p:sp>
      <p:sp>
        <p:nvSpPr>
          <p:cNvPr id="9" name="Slide Number Placeholder 8">
            <a:extLst>
              <a:ext uri="{FF2B5EF4-FFF2-40B4-BE49-F238E27FC236}">
                <a16:creationId xmlns:a16="http://schemas.microsoft.com/office/drawing/2014/main" id="{D8E86805-4EC3-463E-8525-5A73E4FC7902}"/>
              </a:ext>
            </a:extLst>
          </p:cNvPr>
          <p:cNvSpPr>
            <a:spLocks noGrp="1"/>
          </p:cNvSpPr>
          <p:nvPr>
            <p:ph type="sldNum" sz="quarter" idx="12"/>
          </p:nvPr>
        </p:nvSpPr>
        <p:spPr/>
        <p:txBody>
          <a:bodyPr/>
          <a:lstStyle/>
          <a:p>
            <a:fld id="{23AA811B-2EBD-4900-905E-5BE206449611}" type="slidenum">
              <a:rPr lang="en-GB" smtClean="0"/>
              <a:t>23</a:t>
            </a:fld>
            <a:endParaRPr lang="en-GB" dirty="0"/>
          </a:p>
        </p:txBody>
      </p:sp>
    </p:spTree>
    <p:extLst>
      <p:ext uri="{BB962C8B-B14F-4D97-AF65-F5344CB8AC3E}">
        <p14:creationId xmlns:p14="http://schemas.microsoft.com/office/powerpoint/2010/main" val="37271027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C7391D13-C5FE-4C8E-9AD1-60BB9DE45D76}"/>
              </a:ext>
            </a:extLst>
          </p:cNvPr>
          <p:cNvSpPr>
            <a:spLocks/>
          </p:cNvSpPr>
          <p:nvPr/>
        </p:nvSpPr>
        <p:spPr>
          <a:xfrm>
            <a:off x="-413772" y="1820599"/>
            <a:ext cx="13068413" cy="4775311"/>
          </a:xfrm>
          <a:custGeom>
            <a:avLst/>
            <a:gdLst>
              <a:gd name="connsiteX0" fmla="*/ 0 w 12198285"/>
              <a:gd name="connsiteY0" fmla="*/ 763699 h 763840"/>
              <a:gd name="connsiteX1" fmla="*/ 1225485 w 12198285"/>
              <a:gd name="connsiteY1" fmla="*/ 669431 h 763840"/>
              <a:gd name="connsiteX2" fmla="*/ 1800520 w 12198285"/>
              <a:gd name="connsiteY2" fmla="*/ 188664 h 763840"/>
              <a:gd name="connsiteX3" fmla="*/ 2441542 w 12198285"/>
              <a:gd name="connsiteY3" fmla="*/ 160384 h 763840"/>
              <a:gd name="connsiteX4" fmla="*/ 3205113 w 12198285"/>
              <a:gd name="connsiteY4" fmla="*/ 301786 h 763840"/>
              <a:gd name="connsiteX5" fmla="*/ 4421171 w 12198285"/>
              <a:gd name="connsiteY5" fmla="*/ 150957 h 763840"/>
              <a:gd name="connsiteX6" fmla="*/ 5769204 w 12198285"/>
              <a:gd name="connsiteY6" fmla="*/ 245225 h 763840"/>
              <a:gd name="connsiteX7" fmla="*/ 6872140 w 12198285"/>
              <a:gd name="connsiteY7" fmla="*/ 128 h 763840"/>
              <a:gd name="connsiteX8" fmla="*/ 8342722 w 12198285"/>
              <a:gd name="connsiteY8" fmla="*/ 282932 h 763840"/>
              <a:gd name="connsiteX9" fmla="*/ 9709608 w 12198285"/>
              <a:gd name="connsiteY9" fmla="*/ 94396 h 763840"/>
              <a:gd name="connsiteX10" fmla="*/ 11349872 w 12198285"/>
              <a:gd name="connsiteY10" fmla="*/ 509176 h 763840"/>
              <a:gd name="connsiteX11" fmla="*/ 12198285 w 12198285"/>
              <a:gd name="connsiteY11" fmla="*/ 377200 h 763840"/>
              <a:gd name="connsiteX0" fmla="*/ 0 w 12198285"/>
              <a:gd name="connsiteY0" fmla="*/ 763699 h 763699"/>
              <a:gd name="connsiteX1" fmla="*/ 1055803 w 12198285"/>
              <a:gd name="connsiteY1" fmla="*/ 113249 h 763699"/>
              <a:gd name="connsiteX2" fmla="*/ 1800520 w 12198285"/>
              <a:gd name="connsiteY2" fmla="*/ 188664 h 763699"/>
              <a:gd name="connsiteX3" fmla="*/ 2441542 w 12198285"/>
              <a:gd name="connsiteY3" fmla="*/ 160384 h 763699"/>
              <a:gd name="connsiteX4" fmla="*/ 3205113 w 12198285"/>
              <a:gd name="connsiteY4" fmla="*/ 301786 h 763699"/>
              <a:gd name="connsiteX5" fmla="*/ 4421171 w 12198285"/>
              <a:gd name="connsiteY5" fmla="*/ 150957 h 763699"/>
              <a:gd name="connsiteX6" fmla="*/ 5769204 w 12198285"/>
              <a:gd name="connsiteY6" fmla="*/ 245225 h 763699"/>
              <a:gd name="connsiteX7" fmla="*/ 6872140 w 12198285"/>
              <a:gd name="connsiteY7" fmla="*/ 128 h 763699"/>
              <a:gd name="connsiteX8" fmla="*/ 8342722 w 12198285"/>
              <a:gd name="connsiteY8" fmla="*/ 282932 h 763699"/>
              <a:gd name="connsiteX9" fmla="*/ 9709608 w 12198285"/>
              <a:gd name="connsiteY9" fmla="*/ 94396 h 763699"/>
              <a:gd name="connsiteX10" fmla="*/ 11349872 w 12198285"/>
              <a:gd name="connsiteY10" fmla="*/ 509176 h 763699"/>
              <a:gd name="connsiteX11" fmla="*/ 12198285 w 12198285"/>
              <a:gd name="connsiteY11" fmla="*/ 377200 h 763699"/>
              <a:gd name="connsiteX0" fmla="*/ 0 w 12217139"/>
              <a:gd name="connsiteY0" fmla="*/ 0 h 899120"/>
              <a:gd name="connsiteX1" fmla="*/ 1074657 w 12217139"/>
              <a:gd name="connsiteY1" fmla="*/ 490193 h 899120"/>
              <a:gd name="connsiteX2" fmla="*/ 1819374 w 12217139"/>
              <a:gd name="connsiteY2" fmla="*/ 565608 h 899120"/>
              <a:gd name="connsiteX3" fmla="*/ 2460396 w 12217139"/>
              <a:gd name="connsiteY3" fmla="*/ 537328 h 899120"/>
              <a:gd name="connsiteX4" fmla="*/ 3223967 w 12217139"/>
              <a:gd name="connsiteY4" fmla="*/ 678730 h 899120"/>
              <a:gd name="connsiteX5" fmla="*/ 4440025 w 12217139"/>
              <a:gd name="connsiteY5" fmla="*/ 527901 h 899120"/>
              <a:gd name="connsiteX6" fmla="*/ 5788058 w 12217139"/>
              <a:gd name="connsiteY6" fmla="*/ 622169 h 899120"/>
              <a:gd name="connsiteX7" fmla="*/ 6890994 w 12217139"/>
              <a:gd name="connsiteY7" fmla="*/ 377072 h 899120"/>
              <a:gd name="connsiteX8" fmla="*/ 8361576 w 12217139"/>
              <a:gd name="connsiteY8" fmla="*/ 659876 h 899120"/>
              <a:gd name="connsiteX9" fmla="*/ 9728462 w 12217139"/>
              <a:gd name="connsiteY9" fmla="*/ 471340 h 899120"/>
              <a:gd name="connsiteX10" fmla="*/ 11368726 w 12217139"/>
              <a:gd name="connsiteY10" fmla="*/ 886120 h 899120"/>
              <a:gd name="connsiteX11" fmla="*/ 12217139 w 12217139"/>
              <a:gd name="connsiteY11" fmla="*/ 754144 h 899120"/>
              <a:gd name="connsiteX0" fmla="*/ 0 w 12217139"/>
              <a:gd name="connsiteY0" fmla="*/ 0 h 899120"/>
              <a:gd name="connsiteX1" fmla="*/ 1084084 w 12217139"/>
              <a:gd name="connsiteY1" fmla="*/ 377072 h 899120"/>
              <a:gd name="connsiteX2" fmla="*/ 1819374 w 12217139"/>
              <a:gd name="connsiteY2" fmla="*/ 565608 h 899120"/>
              <a:gd name="connsiteX3" fmla="*/ 2460396 w 12217139"/>
              <a:gd name="connsiteY3" fmla="*/ 537328 h 899120"/>
              <a:gd name="connsiteX4" fmla="*/ 3223967 w 12217139"/>
              <a:gd name="connsiteY4" fmla="*/ 678730 h 899120"/>
              <a:gd name="connsiteX5" fmla="*/ 4440025 w 12217139"/>
              <a:gd name="connsiteY5" fmla="*/ 527901 h 899120"/>
              <a:gd name="connsiteX6" fmla="*/ 5788058 w 12217139"/>
              <a:gd name="connsiteY6" fmla="*/ 622169 h 899120"/>
              <a:gd name="connsiteX7" fmla="*/ 6890994 w 12217139"/>
              <a:gd name="connsiteY7" fmla="*/ 377072 h 899120"/>
              <a:gd name="connsiteX8" fmla="*/ 8361576 w 12217139"/>
              <a:gd name="connsiteY8" fmla="*/ 659876 h 899120"/>
              <a:gd name="connsiteX9" fmla="*/ 9728462 w 12217139"/>
              <a:gd name="connsiteY9" fmla="*/ 471340 h 899120"/>
              <a:gd name="connsiteX10" fmla="*/ 11368726 w 12217139"/>
              <a:gd name="connsiteY10" fmla="*/ 886120 h 899120"/>
              <a:gd name="connsiteX11" fmla="*/ 12217139 w 12217139"/>
              <a:gd name="connsiteY11" fmla="*/ 754144 h 899120"/>
              <a:gd name="connsiteX0" fmla="*/ 0 w 12217139"/>
              <a:gd name="connsiteY0" fmla="*/ 0 h 899120"/>
              <a:gd name="connsiteX1" fmla="*/ 1084084 w 12217139"/>
              <a:gd name="connsiteY1" fmla="*/ 377072 h 899120"/>
              <a:gd name="connsiteX2" fmla="*/ 1819374 w 12217139"/>
              <a:gd name="connsiteY2" fmla="*/ 565608 h 899120"/>
              <a:gd name="connsiteX3" fmla="*/ 2460396 w 12217139"/>
              <a:gd name="connsiteY3" fmla="*/ 537328 h 899120"/>
              <a:gd name="connsiteX4" fmla="*/ 3223967 w 12217139"/>
              <a:gd name="connsiteY4" fmla="*/ 678730 h 899120"/>
              <a:gd name="connsiteX5" fmla="*/ 4440025 w 12217139"/>
              <a:gd name="connsiteY5" fmla="*/ 527901 h 899120"/>
              <a:gd name="connsiteX6" fmla="*/ 5788058 w 12217139"/>
              <a:gd name="connsiteY6" fmla="*/ 622169 h 899120"/>
              <a:gd name="connsiteX7" fmla="*/ 6890994 w 12217139"/>
              <a:gd name="connsiteY7" fmla="*/ 377072 h 899120"/>
              <a:gd name="connsiteX8" fmla="*/ 8361576 w 12217139"/>
              <a:gd name="connsiteY8" fmla="*/ 659876 h 899120"/>
              <a:gd name="connsiteX9" fmla="*/ 9728462 w 12217139"/>
              <a:gd name="connsiteY9" fmla="*/ 471340 h 899120"/>
              <a:gd name="connsiteX10" fmla="*/ 11368726 w 12217139"/>
              <a:gd name="connsiteY10" fmla="*/ 886120 h 899120"/>
              <a:gd name="connsiteX11" fmla="*/ 12217139 w 12217139"/>
              <a:gd name="connsiteY11" fmla="*/ 754144 h 899120"/>
              <a:gd name="connsiteX0" fmla="*/ 0 w 12217139"/>
              <a:gd name="connsiteY0" fmla="*/ 0 h 899120"/>
              <a:gd name="connsiteX1" fmla="*/ 1084084 w 12217139"/>
              <a:gd name="connsiteY1" fmla="*/ 377072 h 899120"/>
              <a:gd name="connsiteX2" fmla="*/ 1819374 w 12217139"/>
              <a:gd name="connsiteY2" fmla="*/ 565608 h 899120"/>
              <a:gd name="connsiteX3" fmla="*/ 2460396 w 12217139"/>
              <a:gd name="connsiteY3" fmla="*/ 537328 h 899120"/>
              <a:gd name="connsiteX4" fmla="*/ 3223967 w 12217139"/>
              <a:gd name="connsiteY4" fmla="*/ 678730 h 899120"/>
              <a:gd name="connsiteX5" fmla="*/ 4440025 w 12217139"/>
              <a:gd name="connsiteY5" fmla="*/ 527901 h 899120"/>
              <a:gd name="connsiteX6" fmla="*/ 5788058 w 12217139"/>
              <a:gd name="connsiteY6" fmla="*/ 622169 h 899120"/>
              <a:gd name="connsiteX7" fmla="*/ 6890994 w 12217139"/>
              <a:gd name="connsiteY7" fmla="*/ 377072 h 899120"/>
              <a:gd name="connsiteX8" fmla="*/ 8361576 w 12217139"/>
              <a:gd name="connsiteY8" fmla="*/ 659876 h 899120"/>
              <a:gd name="connsiteX9" fmla="*/ 9728462 w 12217139"/>
              <a:gd name="connsiteY9" fmla="*/ 471340 h 899120"/>
              <a:gd name="connsiteX10" fmla="*/ 11368726 w 12217139"/>
              <a:gd name="connsiteY10" fmla="*/ 886120 h 899120"/>
              <a:gd name="connsiteX11" fmla="*/ 12217139 w 12217139"/>
              <a:gd name="connsiteY11" fmla="*/ 754144 h 899120"/>
              <a:gd name="connsiteX0" fmla="*/ 0 w 12122871"/>
              <a:gd name="connsiteY0" fmla="*/ 0 h 635169"/>
              <a:gd name="connsiteX1" fmla="*/ 989816 w 12122871"/>
              <a:gd name="connsiteY1" fmla="*/ 113121 h 635169"/>
              <a:gd name="connsiteX2" fmla="*/ 1725106 w 12122871"/>
              <a:gd name="connsiteY2" fmla="*/ 301657 h 635169"/>
              <a:gd name="connsiteX3" fmla="*/ 2366128 w 12122871"/>
              <a:gd name="connsiteY3" fmla="*/ 273377 h 635169"/>
              <a:gd name="connsiteX4" fmla="*/ 3129699 w 12122871"/>
              <a:gd name="connsiteY4" fmla="*/ 414779 h 635169"/>
              <a:gd name="connsiteX5" fmla="*/ 4345757 w 12122871"/>
              <a:gd name="connsiteY5" fmla="*/ 263950 h 635169"/>
              <a:gd name="connsiteX6" fmla="*/ 5693790 w 12122871"/>
              <a:gd name="connsiteY6" fmla="*/ 358218 h 635169"/>
              <a:gd name="connsiteX7" fmla="*/ 6796726 w 12122871"/>
              <a:gd name="connsiteY7" fmla="*/ 113121 h 635169"/>
              <a:gd name="connsiteX8" fmla="*/ 8267308 w 12122871"/>
              <a:gd name="connsiteY8" fmla="*/ 395925 h 635169"/>
              <a:gd name="connsiteX9" fmla="*/ 9634194 w 12122871"/>
              <a:gd name="connsiteY9" fmla="*/ 207389 h 635169"/>
              <a:gd name="connsiteX10" fmla="*/ 11274458 w 12122871"/>
              <a:gd name="connsiteY10" fmla="*/ 622169 h 635169"/>
              <a:gd name="connsiteX11" fmla="*/ 12122871 w 12122871"/>
              <a:gd name="connsiteY11" fmla="*/ 490193 h 635169"/>
              <a:gd name="connsiteX0" fmla="*/ 0 w 12122871"/>
              <a:gd name="connsiteY0" fmla="*/ 69945 h 705114"/>
              <a:gd name="connsiteX1" fmla="*/ 999243 w 12122871"/>
              <a:gd name="connsiteY1" fmla="*/ 13383 h 705114"/>
              <a:gd name="connsiteX2" fmla="*/ 1725106 w 12122871"/>
              <a:gd name="connsiteY2" fmla="*/ 371602 h 705114"/>
              <a:gd name="connsiteX3" fmla="*/ 2366128 w 12122871"/>
              <a:gd name="connsiteY3" fmla="*/ 343322 h 705114"/>
              <a:gd name="connsiteX4" fmla="*/ 3129699 w 12122871"/>
              <a:gd name="connsiteY4" fmla="*/ 484724 h 705114"/>
              <a:gd name="connsiteX5" fmla="*/ 4345757 w 12122871"/>
              <a:gd name="connsiteY5" fmla="*/ 333895 h 705114"/>
              <a:gd name="connsiteX6" fmla="*/ 5693790 w 12122871"/>
              <a:gd name="connsiteY6" fmla="*/ 428163 h 705114"/>
              <a:gd name="connsiteX7" fmla="*/ 6796726 w 12122871"/>
              <a:gd name="connsiteY7" fmla="*/ 183066 h 705114"/>
              <a:gd name="connsiteX8" fmla="*/ 8267308 w 12122871"/>
              <a:gd name="connsiteY8" fmla="*/ 465870 h 705114"/>
              <a:gd name="connsiteX9" fmla="*/ 9634194 w 12122871"/>
              <a:gd name="connsiteY9" fmla="*/ 277334 h 705114"/>
              <a:gd name="connsiteX10" fmla="*/ 11274458 w 12122871"/>
              <a:gd name="connsiteY10" fmla="*/ 692114 h 705114"/>
              <a:gd name="connsiteX11" fmla="*/ 12122871 w 12122871"/>
              <a:gd name="connsiteY11" fmla="*/ 560138 h 705114"/>
              <a:gd name="connsiteX0" fmla="*/ 0 w 12217139"/>
              <a:gd name="connsiteY0" fmla="*/ 14732 h 725315"/>
              <a:gd name="connsiteX1" fmla="*/ 1093511 w 12217139"/>
              <a:gd name="connsiteY1" fmla="*/ 33584 h 725315"/>
              <a:gd name="connsiteX2" fmla="*/ 1819374 w 12217139"/>
              <a:gd name="connsiteY2" fmla="*/ 391803 h 725315"/>
              <a:gd name="connsiteX3" fmla="*/ 2460396 w 12217139"/>
              <a:gd name="connsiteY3" fmla="*/ 363523 h 725315"/>
              <a:gd name="connsiteX4" fmla="*/ 3223967 w 12217139"/>
              <a:gd name="connsiteY4" fmla="*/ 504925 h 725315"/>
              <a:gd name="connsiteX5" fmla="*/ 4440025 w 12217139"/>
              <a:gd name="connsiteY5" fmla="*/ 354096 h 725315"/>
              <a:gd name="connsiteX6" fmla="*/ 5788058 w 12217139"/>
              <a:gd name="connsiteY6" fmla="*/ 448364 h 725315"/>
              <a:gd name="connsiteX7" fmla="*/ 6890994 w 12217139"/>
              <a:gd name="connsiteY7" fmla="*/ 203267 h 725315"/>
              <a:gd name="connsiteX8" fmla="*/ 8361576 w 12217139"/>
              <a:gd name="connsiteY8" fmla="*/ 486071 h 725315"/>
              <a:gd name="connsiteX9" fmla="*/ 9728462 w 12217139"/>
              <a:gd name="connsiteY9" fmla="*/ 297535 h 725315"/>
              <a:gd name="connsiteX10" fmla="*/ 11368726 w 12217139"/>
              <a:gd name="connsiteY10" fmla="*/ 712315 h 725315"/>
              <a:gd name="connsiteX11" fmla="*/ 12217139 w 12217139"/>
              <a:gd name="connsiteY11" fmla="*/ 580339 h 725315"/>
              <a:gd name="connsiteX0" fmla="*/ 0 w 12217139"/>
              <a:gd name="connsiteY0" fmla="*/ 109053 h 819636"/>
              <a:gd name="connsiteX1" fmla="*/ 914402 w 12217139"/>
              <a:gd name="connsiteY1" fmla="*/ 14783 h 819636"/>
              <a:gd name="connsiteX2" fmla="*/ 1819374 w 12217139"/>
              <a:gd name="connsiteY2" fmla="*/ 486124 h 819636"/>
              <a:gd name="connsiteX3" fmla="*/ 2460396 w 12217139"/>
              <a:gd name="connsiteY3" fmla="*/ 457844 h 819636"/>
              <a:gd name="connsiteX4" fmla="*/ 3223967 w 12217139"/>
              <a:gd name="connsiteY4" fmla="*/ 599246 h 819636"/>
              <a:gd name="connsiteX5" fmla="*/ 4440025 w 12217139"/>
              <a:gd name="connsiteY5" fmla="*/ 448417 h 819636"/>
              <a:gd name="connsiteX6" fmla="*/ 5788058 w 12217139"/>
              <a:gd name="connsiteY6" fmla="*/ 542685 h 819636"/>
              <a:gd name="connsiteX7" fmla="*/ 6890994 w 12217139"/>
              <a:gd name="connsiteY7" fmla="*/ 297588 h 819636"/>
              <a:gd name="connsiteX8" fmla="*/ 8361576 w 12217139"/>
              <a:gd name="connsiteY8" fmla="*/ 580392 h 819636"/>
              <a:gd name="connsiteX9" fmla="*/ 9728462 w 12217139"/>
              <a:gd name="connsiteY9" fmla="*/ 391856 h 819636"/>
              <a:gd name="connsiteX10" fmla="*/ 11368726 w 12217139"/>
              <a:gd name="connsiteY10" fmla="*/ 806636 h 819636"/>
              <a:gd name="connsiteX11" fmla="*/ 12217139 w 12217139"/>
              <a:gd name="connsiteY11" fmla="*/ 674660 h 819636"/>
              <a:gd name="connsiteX0" fmla="*/ 0 w 12217139"/>
              <a:gd name="connsiteY0" fmla="*/ 285010 h 807057"/>
              <a:gd name="connsiteX1" fmla="*/ 914402 w 12217139"/>
              <a:gd name="connsiteY1" fmla="*/ 2204 h 807057"/>
              <a:gd name="connsiteX2" fmla="*/ 1819374 w 12217139"/>
              <a:gd name="connsiteY2" fmla="*/ 473545 h 807057"/>
              <a:gd name="connsiteX3" fmla="*/ 2460396 w 12217139"/>
              <a:gd name="connsiteY3" fmla="*/ 445265 h 807057"/>
              <a:gd name="connsiteX4" fmla="*/ 3223967 w 12217139"/>
              <a:gd name="connsiteY4" fmla="*/ 586667 h 807057"/>
              <a:gd name="connsiteX5" fmla="*/ 4440025 w 12217139"/>
              <a:gd name="connsiteY5" fmla="*/ 435838 h 807057"/>
              <a:gd name="connsiteX6" fmla="*/ 5788058 w 12217139"/>
              <a:gd name="connsiteY6" fmla="*/ 530106 h 807057"/>
              <a:gd name="connsiteX7" fmla="*/ 6890994 w 12217139"/>
              <a:gd name="connsiteY7" fmla="*/ 285009 h 807057"/>
              <a:gd name="connsiteX8" fmla="*/ 8361576 w 12217139"/>
              <a:gd name="connsiteY8" fmla="*/ 567813 h 807057"/>
              <a:gd name="connsiteX9" fmla="*/ 9728462 w 12217139"/>
              <a:gd name="connsiteY9" fmla="*/ 379277 h 807057"/>
              <a:gd name="connsiteX10" fmla="*/ 11368726 w 12217139"/>
              <a:gd name="connsiteY10" fmla="*/ 794057 h 807057"/>
              <a:gd name="connsiteX11" fmla="*/ 12217139 w 12217139"/>
              <a:gd name="connsiteY11" fmla="*/ 662081 h 807057"/>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23967 w 12217139"/>
              <a:gd name="connsiteY4" fmla="*/ 587880 h 808270"/>
              <a:gd name="connsiteX5" fmla="*/ 4440025 w 12217139"/>
              <a:gd name="connsiteY5" fmla="*/ 437051 h 808270"/>
              <a:gd name="connsiteX6" fmla="*/ 5788058 w 12217139"/>
              <a:gd name="connsiteY6" fmla="*/ 531319 h 808270"/>
              <a:gd name="connsiteX7" fmla="*/ 6890994 w 12217139"/>
              <a:gd name="connsiteY7" fmla="*/ 28622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33394 w 12217139"/>
              <a:gd name="connsiteY4" fmla="*/ 653868 h 808270"/>
              <a:gd name="connsiteX5" fmla="*/ 4440025 w 12217139"/>
              <a:gd name="connsiteY5" fmla="*/ 437051 h 808270"/>
              <a:gd name="connsiteX6" fmla="*/ 5788058 w 12217139"/>
              <a:gd name="connsiteY6" fmla="*/ 531319 h 808270"/>
              <a:gd name="connsiteX7" fmla="*/ 6890994 w 12217139"/>
              <a:gd name="connsiteY7" fmla="*/ 28622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33394 w 12217139"/>
              <a:gd name="connsiteY4" fmla="*/ 653868 h 808270"/>
              <a:gd name="connsiteX5" fmla="*/ 4440025 w 12217139"/>
              <a:gd name="connsiteY5" fmla="*/ 437051 h 808270"/>
              <a:gd name="connsiteX6" fmla="*/ 5788058 w 12217139"/>
              <a:gd name="connsiteY6" fmla="*/ 531319 h 808270"/>
              <a:gd name="connsiteX7" fmla="*/ 6890994 w 12217139"/>
              <a:gd name="connsiteY7" fmla="*/ 28622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33394 w 12217139"/>
              <a:gd name="connsiteY4" fmla="*/ 653868 h 808270"/>
              <a:gd name="connsiteX5" fmla="*/ 4440025 w 12217139"/>
              <a:gd name="connsiteY5" fmla="*/ 437051 h 808270"/>
              <a:gd name="connsiteX6" fmla="*/ 5788058 w 12217139"/>
              <a:gd name="connsiteY6" fmla="*/ 531319 h 808270"/>
              <a:gd name="connsiteX7" fmla="*/ 6975836 w 12217139"/>
              <a:gd name="connsiteY7" fmla="*/ 22966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33394 w 12217139"/>
              <a:gd name="connsiteY4" fmla="*/ 653868 h 808270"/>
              <a:gd name="connsiteX5" fmla="*/ 4440025 w 12217139"/>
              <a:gd name="connsiteY5" fmla="*/ 437051 h 808270"/>
              <a:gd name="connsiteX6" fmla="*/ 5788058 w 12217139"/>
              <a:gd name="connsiteY6" fmla="*/ 531319 h 808270"/>
              <a:gd name="connsiteX7" fmla="*/ 6975836 w 12217139"/>
              <a:gd name="connsiteY7" fmla="*/ 22966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125855 h 647902"/>
              <a:gd name="connsiteX1" fmla="*/ 914402 w 12217139"/>
              <a:gd name="connsiteY1" fmla="*/ 12731 h 647902"/>
              <a:gd name="connsiteX2" fmla="*/ 1819374 w 12217139"/>
              <a:gd name="connsiteY2" fmla="*/ 314390 h 647902"/>
              <a:gd name="connsiteX3" fmla="*/ 2460396 w 12217139"/>
              <a:gd name="connsiteY3" fmla="*/ 286110 h 647902"/>
              <a:gd name="connsiteX4" fmla="*/ 3233394 w 12217139"/>
              <a:gd name="connsiteY4" fmla="*/ 493500 h 647902"/>
              <a:gd name="connsiteX5" fmla="*/ 4440025 w 12217139"/>
              <a:gd name="connsiteY5" fmla="*/ 276683 h 647902"/>
              <a:gd name="connsiteX6" fmla="*/ 5788058 w 12217139"/>
              <a:gd name="connsiteY6" fmla="*/ 370951 h 647902"/>
              <a:gd name="connsiteX7" fmla="*/ 6975836 w 12217139"/>
              <a:gd name="connsiteY7" fmla="*/ 69294 h 647902"/>
              <a:gd name="connsiteX8" fmla="*/ 8361576 w 12217139"/>
              <a:gd name="connsiteY8" fmla="*/ 408658 h 647902"/>
              <a:gd name="connsiteX9" fmla="*/ 9728462 w 12217139"/>
              <a:gd name="connsiteY9" fmla="*/ 220122 h 647902"/>
              <a:gd name="connsiteX10" fmla="*/ 11368726 w 12217139"/>
              <a:gd name="connsiteY10" fmla="*/ 634902 h 647902"/>
              <a:gd name="connsiteX11" fmla="*/ 12217139 w 12217139"/>
              <a:gd name="connsiteY11" fmla="*/ 502926 h 647902"/>
              <a:gd name="connsiteX0" fmla="*/ 0 w 12179432"/>
              <a:gd name="connsiteY0" fmla="*/ 236351 h 635849"/>
              <a:gd name="connsiteX1" fmla="*/ 876695 w 12179432"/>
              <a:gd name="connsiteY1" fmla="*/ 678 h 635849"/>
              <a:gd name="connsiteX2" fmla="*/ 1781667 w 12179432"/>
              <a:gd name="connsiteY2" fmla="*/ 302337 h 635849"/>
              <a:gd name="connsiteX3" fmla="*/ 2422689 w 12179432"/>
              <a:gd name="connsiteY3" fmla="*/ 274057 h 635849"/>
              <a:gd name="connsiteX4" fmla="*/ 3195687 w 12179432"/>
              <a:gd name="connsiteY4" fmla="*/ 481447 h 635849"/>
              <a:gd name="connsiteX5" fmla="*/ 4402318 w 12179432"/>
              <a:gd name="connsiteY5" fmla="*/ 264630 h 635849"/>
              <a:gd name="connsiteX6" fmla="*/ 5750351 w 12179432"/>
              <a:gd name="connsiteY6" fmla="*/ 358898 h 635849"/>
              <a:gd name="connsiteX7" fmla="*/ 6938129 w 12179432"/>
              <a:gd name="connsiteY7" fmla="*/ 57241 h 635849"/>
              <a:gd name="connsiteX8" fmla="*/ 8323869 w 12179432"/>
              <a:gd name="connsiteY8" fmla="*/ 396605 h 635849"/>
              <a:gd name="connsiteX9" fmla="*/ 9690755 w 12179432"/>
              <a:gd name="connsiteY9" fmla="*/ 208069 h 635849"/>
              <a:gd name="connsiteX10" fmla="*/ 11331019 w 12179432"/>
              <a:gd name="connsiteY10" fmla="*/ 622849 h 635849"/>
              <a:gd name="connsiteX11" fmla="*/ 12179432 w 12179432"/>
              <a:gd name="connsiteY11" fmla="*/ 490873 h 635849"/>
              <a:gd name="connsiteX0" fmla="*/ 0 w 12179432"/>
              <a:gd name="connsiteY0" fmla="*/ 260408 h 659906"/>
              <a:gd name="connsiteX1" fmla="*/ 876695 w 12179432"/>
              <a:gd name="connsiteY1" fmla="*/ 24735 h 659906"/>
              <a:gd name="connsiteX2" fmla="*/ 1781667 w 12179432"/>
              <a:gd name="connsiteY2" fmla="*/ 326394 h 659906"/>
              <a:gd name="connsiteX3" fmla="*/ 2422689 w 12179432"/>
              <a:gd name="connsiteY3" fmla="*/ 298114 h 659906"/>
              <a:gd name="connsiteX4" fmla="*/ 3195687 w 12179432"/>
              <a:gd name="connsiteY4" fmla="*/ 505504 h 659906"/>
              <a:gd name="connsiteX5" fmla="*/ 4402318 w 12179432"/>
              <a:gd name="connsiteY5" fmla="*/ 288687 h 659906"/>
              <a:gd name="connsiteX6" fmla="*/ 5750351 w 12179432"/>
              <a:gd name="connsiteY6" fmla="*/ 382955 h 659906"/>
              <a:gd name="connsiteX7" fmla="*/ 6938129 w 12179432"/>
              <a:gd name="connsiteY7" fmla="*/ 81298 h 659906"/>
              <a:gd name="connsiteX8" fmla="*/ 8323869 w 12179432"/>
              <a:gd name="connsiteY8" fmla="*/ 420662 h 659906"/>
              <a:gd name="connsiteX9" fmla="*/ 9690755 w 12179432"/>
              <a:gd name="connsiteY9" fmla="*/ 232126 h 659906"/>
              <a:gd name="connsiteX10" fmla="*/ 11331019 w 12179432"/>
              <a:gd name="connsiteY10" fmla="*/ 646906 h 659906"/>
              <a:gd name="connsiteX11" fmla="*/ 12179432 w 12179432"/>
              <a:gd name="connsiteY11" fmla="*/ 514930 h 659906"/>
              <a:gd name="connsiteX0" fmla="*/ 0 w 12179432"/>
              <a:gd name="connsiteY0" fmla="*/ 236204 h 635702"/>
              <a:gd name="connsiteX1" fmla="*/ 876695 w 12179432"/>
              <a:gd name="connsiteY1" fmla="*/ 531 h 635702"/>
              <a:gd name="connsiteX2" fmla="*/ 1781667 w 12179432"/>
              <a:gd name="connsiteY2" fmla="*/ 302190 h 635702"/>
              <a:gd name="connsiteX3" fmla="*/ 2422689 w 12179432"/>
              <a:gd name="connsiteY3" fmla="*/ 273910 h 635702"/>
              <a:gd name="connsiteX4" fmla="*/ 3195687 w 12179432"/>
              <a:gd name="connsiteY4" fmla="*/ 481300 h 635702"/>
              <a:gd name="connsiteX5" fmla="*/ 4402318 w 12179432"/>
              <a:gd name="connsiteY5" fmla="*/ 264483 h 635702"/>
              <a:gd name="connsiteX6" fmla="*/ 5750351 w 12179432"/>
              <a:gd name="connsiteY6" fmla="*/ 358751 h 635702"/>
              <a:gd name="connsiteX7" fmla="*/ 6938129 w 12179432"/>
              <a:gd name="connsiteY7" fmla="*/ 57094 h 635702"/>
              <a:gd name="connsiteX8" fmla="*/ 8323869 w 12179432"/>
              <a:gd name="connsiteY8" fmla="*/ 396458 h 635702"/>
              <a:gd name="connsiteX9" fmla="*/ 9690755 w 12179432"/>
              <a:gd name="connsiteY9" fmla="*/ 207922 h 635702"/>
              <a:gd name="connsiteX10" fmla="*/ 11331019 w 12179432"/>
              <a:gd name="connsiteY10" fmla="*/ 622702 h 635702"/>
              <a:gd name="connsiteX11" fmla="*/ 12179432 w 12179432"/>
              <a:gd name="connsiteY11" fmla="*/ 490726 h 635702"/>
              <a:gd name="connsiteX0" fmla="*/ 0 w 12217140"/>
              <a:gd name="connsiteY0" fmla="*/ 236204 h 635702"/>
              <a:gd name="connsiteX1" fmla="*/ 914403 w 12217140"/>
              <a:gd name="connsiteY1" fmla="*/ 531 h 635702"/>
              <a:gd name="connsiteX2" fmla="*/ 1819375 w 12217140"/>
              <a:gd name="connsiteY2" fmla="*/ 302190 h 635702"/>
              <a:gd name="connsiteX3" fmla="*/ 2460397 w 12217140"/>
              <a:gd name="connsiteY3" fmla="*/ 273910 h 635702"/>
              <a:gd name="connsiteX4" fmla="*/ 3233395 w 12217140"/>
              <a:gd name="connsiteY4" fmla="*/ 481300 h 635702"/>
              <a:gd name="connsiteX5" fmla="*/ 4440026 w 12217140"/>
              <a:gd name="connsiteY5" fmla="*/ 264483 h 635702"/>
              <a:gd name="connsiteX6" fmla="*/ 5788059 w 12217140"/>
              <a:gd name="connsiteY6" fmla="*/ 358751 h 635702"/>
              <a:gd name="connsiteX7" fmla="*/ 6975837 w 12217140"/>
              <a:gd name="connsiteY7" fmla="*/ 57094 h 635702"/>
              <a:gd name="connsiteX8" fmla="*/ 8361577 w 12217140"/>
              <a:gd name="connsiteY8" fmla="*/ 396458 h 635702"/>
              <a:gd name="connsiteX9" fmla="*/ 9728463 w 12217140"/>
              <a:gd name="connsiteY9" fmla="*/ 207922 h 635702"/>
              <a:gd name="connsiteX10" fmla="*/ 11368727 w 12217140"/>
              <a:gd name="connsiteY10" fmla="*/ 622702 h 635702"/>
              <a:gd name="connsiteX11" fmla="*/ 12217140 w 12217140"/>
              <a:gd name="connsiteY11" fmla="*/ 490726 h 635702"/>
              <a:gd name="connsiteX0" fmla="*/ 0 w 12217140"/>
              <a:gd name="connsiteY0" fmla="*/ 236204 h 3047325"/>
              <a:gd name="connsiteX1" fmla="*/ 914403 w 12217140"/>
              <a:gd name="connsiteY1" fmla="*/ 531 h 3047325"/>
              <a:gd name="connsiteX2" fmla="*/ 1819375 w 12217140"/>
              <a:gd name="connsiteY2" fmla="*/ 302190 h 3047325"/>
              <a:gd name="connsiteX3" fmla="*/ 2460397 w 12217140"/>
              <a:gd name="connsiteY3" fmla="*/ 273910 h 3047325"/>
              <a:gd name="connsiteX4" fmla="*/ 2949570 w 12217140"/>
              <a:gd name="connsiteY4" fmla="*/ 3047287 h 3047325"/>
              <a:gd name="connsiteX5" fmla="*/ 4440026 w 12217140"/>
              <a:gd name="connsiteY5" fmla="*/ 264483 h 3047325"/>
              <a:gd name="connsiteX6" fmla="*/ 5788059 w 12217140"/>
              <a:gd name="connsiteY6" fmla="*/ 358751 h 3047325"/>
              <a:gd name="connsiteX7" fmla="*/ 6975837 w 12217140"/>
              <a:gd name="connsiteY7" fmla="*/ 57094 h 3047325"/>
              <a:gd name="connsiteX8" fmla="*/ 8361577 w 12217140"/>
              <a:gd name="connsiteY8" fmla="*/ 396458 h 3047325"/>
              <a:gd name="connsiteX9" fmla="*/ 9728463 w 12217140"/>
              <a:gd name="connsiteY9" fmla="*/ 207922 h 3047325"/>
              <a:gd name="connsiteX10" fmla="*/ 11368727 w 12217140"/>
              <a:gd name="connsiteY10" fmla="*/ 622702 h 3047325"/>
              <a:gd name="connsiteX11" fmla="*/ 12217140 w 12217140"/>
              <a:gd name="connsiteY11" fmla="*/ 490726 h 3047325"/>
              <a:gd name="connsiteX0" fmla="*/ 0 w 12217140"/>
              <a:gd name="connsiteY0" fmla="*/ 308167 h 3119288"/>
              <a:gd name="connsiteX1" fmla="*/ 914403 w 12217140"/>
              <a:gd name="connsiteY1" fmla="*/ 72494 h 3119288"/>
              <a:gd name="connsiteX2" fmla="*/ 1819375 w 12217140"/>
              <a:gd name="connsiteY2" fmla="*/ 374153 h 3119288"/>
              <a:gd name="connsiteX3" fmla="*/ 2460397 w 12217140"/>
              <a:gd name="connsiteY3" fmla="*/ 345873 h 3119288"/>
              <a:gd name="connsiteX4" fmla="*/ 2949570 w 12217140"/>
              <a:gd name="connsiteY4" fmla="*/ 3119250 h 3119288"/>
              <a:gd name="connsiteX5" fmla="*/ 4440026 w 12217140"/>
              <a:gd name="connsiteY5" fmla="*/ 336446 h 3119288"/>
              <a:gd name="connsiteX6" fmla="*/ 5704307 w 12217140"/>
              <a:gd name="connsiteY6" fmla="*/ 2982525 h 3119288"/>
              <a:gd name="connsiteX7" fmla="*/ 6975837 w 12217140"/>
              <a:gd name="connsiteY7" fmla="*/ 129057 h 3119288"/>
              <a:gd name="connsiteX8" fmla="*/ 8361577 w 12217140"/>
              <a:gd name="connsiteY8" fmla="*/ 468421 h 3119288"/>
              <a:gd name="connsiteX9" fmla="*/ 9728463 w 12217140"/>
              <a:gd name="connsiteY9" fmla="*/ 279885 h 3119288"/>
              <a:gd name="connsiteX10" fmla="*/ 11368727 w 12217140"/>
              <a:gd name="connsiteY10" fmla="*/ 694665 h 3119288"/>
              <a:gd name="connsiteX11" fmla="*/ 12217140 w 12217140"/>
              <a:gd name="connsiteY11" fmla="*/ 562689 h 3119288"/>
              <a:gd name="connsiteX0" fmla="*/ 0 w 12217140"/>
              <a:gd name="connsiteY0" fmla="*/ 236204 h 3123303"/>
              <a:gd name="connsiteX1" fmla="*/ 914403 w 12217140"/>
              <a:gd name="connsiteY1" fmla="*/ 531 h 3123303"/>
              <a:gd name="connsiteX2" fmla="*/ 1819375 w 12217140"/>
              <a:gd name="connsiteY2" fmla="*/ 302190 h 3123303"/>
              <a:gd name="connsiteX3" fmla="*/ 2460397 w 12217140"/>
              <a:gd name="connsiteY3" fmla="*/ 273910 h 3123303"/>
              <a:gd name="connsiteX4" fmla="*/ 2949570 w 12217140"/>
              <a:gd name="connsiteY4" fmla="*/ 3047287 h 3123303"/>
              <a:gd name="connsiteX5" fmla="*/ 4440026 w 12217140"/>
              <a:gd name="connsiteY5" fmla="*/ 264483 h 3123303"/>
              <a:gd name="connsiteX6" fmla="*/ 5704307 w 12217140"/>
              <a:gd name="connsiteY6" fmla="*/ 2910562 h 3123303"/>
              <a:gd name="connsiteX7" fmla="*/ 6975837 w 12217140"/>
              <a:gd name="connsiteY7" fmla="*/ 57094 h 3123303"/>
              <a:gd name="connsiteX8" fmla="*/ 8752420 w 12217140"/>
              <a:gd name="connsiteY8" fmla="*/ 3123116 h 3123303"/>
              <a:gd name="connsiteX9" fmla="*/ 9728463 w 12217140"/>
              <a:gd name="connsiteY9" fmla="*/ 207922 h 3123303"/>
              <a:gd name="connsiteX10" fmla="*/ 11368727 w 12217140"/>
              <a:gd name="connsiteY10" fmla="*/ 622702 h 3123303"/>
              <a:gd name="connsiteX11" fmla="*/ 12217140 w 12217140"/>
              <a:gd name="connsiteY11" fmla="*/ 490726 h 3123303"/>
              <a:gd name="connsiteX0" fmla="*/ 0 w 12217140"/>
              <a:gd name="connsiteY0" fmla="*/ 287253 h 3174351"/>
              <a:gd name="connsiteX1" fmla="*/ 914403 w 12217140"/>
              <a:gd name="connsiteY1" fmla="*/ 51580 h 3174351"/>
              <a:gd name="connsiteX2" fmla="*/ 2460397 w 12217140"/>
              <a:gd name="connsiteY2" fmla="*/ 324959 h 3174351"/>
              <a:gd name="connsiteX3" fmla="*/ 2949570 w 12217140"/>
              <a:gd name="connsiteY3" fmla="*/ 3098336 h 3174351"/>
              <a:gd name="connsiteX4" fmla="*/ 4440026 w 12217140"/>
              <a:gd name="connsiteY4" fmla="*/ 315532 h 3174351"/>
              <a:gd name="connsiteX5" fmla="*/ 5704307 w 12217140"/>
              <a:gd name="connsiteY5" fmla="*/ 2961611 h 3174351"/>
              <a:gd name="connsiteX6" fmla="*/ 6975837 w 12217140"/>
              <a:gd name="connsiteY6" fmla="*/ 108143 h 3174351"/>
              <a:gd name="connsiteX7" fmla="*/ 8752420 w 12217140"/>
              <a:gd name="connsiteY7" fmla="*/ 3174165 h 3174351"/>
              <a:gd name="connsiteX8" fmla="*/ 9728463 w 12217140"/>
              <a:gd name="connsiteY8" fmla="*/ 258971 h 3174351"/>
              <a:gd name="connsiteX9" fmla="*/ 11368727 w 12217140"/>
              <a:gd name="connsiteY9" fmla="*/ 673751 h 3174351"/>
              <a:gd name="connsiteX10" fmla="*/ 12217140 w 12217140"/>
              <a:gd name="connsiteY10" fmla="*/ 541775 h 3174351"/>
              <a:gd name="connsiteX0" fmla="*/ 0 w 12217140"/>
              <a:gd name="connsiteY0" fmla="*/ 279749 h 3166847"/>
              <a:gd name="connsiteX1" fmla="*/ 914403 w 12217140"/>
              <a:gd name="connsiteY1" fmla="*/ 44076 h 3166847"/>
              <a:gd name="connsiteX2" fmla="*/ 2469703 w 12217140"/>
              <a:gd name="connsiteY2" fmla="*/ 331632 h 3166847"/>
              <a:gd name="connsiteX3" fmla="*/ 2949570 w 12217140"/>
              <a:gd name="connsiteY3" fmla="*/ 3090832 h 3166847"/>
              <a:gd name="connsiteX4" fmla="*/ 4440026 w 12217140"/>
              <a:gd name="connsiteY4" fmla="*/ 308028 h 3166847"/>
              <a:gd name="connsiteX5" fmla="*/ 5704307 w 12217140"/>
              <a:gd name="connsiteY5" fmla="*/ 2954107 h 3166847"/>
              <a:gd name="connsiteX6" fmla="*/ 6975837 w 12217140"/>
              <a:gd name="connsiteY6" fmla="*/ 100639 h 3166847"/>
              <a:gd name="connsiteX7" fmla="*/ 8752420 w 12217140"/>
              <a:gd name="connsiteY7" fmla="*/ 3166661 h 3166847"/>
              <a:gd name="connsiteX8" fmla="*/ 9728463 w 12217140"/>
              <a:gd name="connsiteY8" fmla="*/ 251467 h 3166847"/>
              <a:gd name="connsiteX9" fmla="*/ 11368727 w 12217140"/>
              <a:gd name="connsiteY9" fmla="*/ 666247 h 3166847"/>
              <a:gd name="connsiteX10" fmla="*/ 12217140 w 12217140"/>
              <a:gd name="connsiteY10" fmla="*/ 534271 h 3166847"/>
              <a:gd name="connsiteX0" fmla="*/ 0 w 12217140"/>
              <a:gd name="connsiteY0" fmla="*/ 409064 h 3296162"/>
              <a:gd name="connsiteX1" fmla="*/ 914403 w 12217140"/>
              <a:gd name="connsiteY1" fmla="*/ 173391 h 3296162"/>
              <a:gd name="connsiteX2" fmla="*/ 2949570 w 12217140"/>
              <a:gd name="connsiteY2" fmla="*/ 3220147 h 3296162"/>
              <a:gd name="connsiteX3" fmla="*/ 4440026 w 12217140"/>
              <a:gd name="connsiteY3" fmla="*/ 437343 h 3296162"/>
              <a:gd name="connsiteX4" fmla="*/ 5704307 w 12217140"/>
              <a:gd name="connsiteY4" fmla="*/ 3083422 h 3296162"/>
              <a:gd name="connsiteX5" fmla="*/ 6975837 w 12217140"/>
              <a:gd name="connsiteY5" fmla="*/ 229954 h 3296162"/>
              <a:gd name="connsiteX6" fmla="*/ 8752420 w 12217140"/>
              <a:gd name="connsiteY6" fmla="*/ 3295976 h 3296162"/>
              <a:gd name="connsiteX7" fmla="*/ 9728463 w 12217140"/>
              <a:gd name="connsiteY7" fmla="*/ 380782 h 3296162"/>
              <a:gd name="connsiteX8" fmla="*/ 11368727 w 12217140"/>
              <a:gd name="connsiteY8" fmla="*/ 795562 h 3296162"/>
              <a:gd name="connsiteX9" fmla="*/ 12217140 w 12217140"/>
              <a:gd name="connsiteY9" fmla="*/ 663586 h 3296162"/>
              <a:gd name="connsiteX0" fmla="*/ 0 w 12217140"/>
              <a:gd name="connsiteY0" fmla="*/ 179437 h 3066535"/>
              <a:gd name="connsiteX1" fmla="*/ 2949570 w 12217140"/>
              <a:gd name="connsiteY1" fmla="*/ 2990520 h 3066535"/>
              <a:gd name="connsiteX2" fmla="*/ 4440026 w 12217140"/>
              <a:gd name="connsiteY2" fmla="*/ 207716 h 3066535"/>
              <a:gd name="connsiteX3" fmla="*/ 5704307 w 12217140"/>
              <a:gd name="connsiteY3" fmla="*/ 2853795 h 3066535"/>
              <a:gd name="connsiteX4" fmla="*/ 6975837 w 12217140"/>
              <a:gd name="connsiteY4" fmla="*/ 327 h 3066535"/>
              <a:gd name="connsiteX5" fmla="*/ 8752420 w 12217140"/>
              <a:gd name="connsiteY5" fmla="*/ 3066349 h 3066535"/>
              <a:gd name="connsiteX6" fmla="*/ 9728463 w 12217140"/>
              <a:gd name="connsiteY6" fmla="*/ 151155 h 3066535"/>
              <a:gd name="connsiteX7" fmla="*/ 11368727 w 12217140"/>
              <a:gd name="connsiteY7" fmla="*/ 565935 h 3066535"/>
              <a:gd name="connsiteX8" fmla="*/ 12217140 w 12217140"/>
              <a:gd name="connsiteY8" fmla="*/ 433959 h 3066535"/>
              <a:gd name="connsiteX0" fmla="*/ 0 w 12217140"/>
              <a:gd name="connsiteY0" fmla="*/ 179437 h 3066535"/>
              <a:gd name="connsiteX1" fmla="*/ 2949570 w 12217140"/>
              <a:gd name="connsiteY1" fmla="*/ 2990520 h 3066535"/>
              <a:gd name="connsiteX2" fmla="*/ 4440026 w 12217140"/>
              <a:gd name="connsiteY2" fmla="*/ 207716 h 3066535"/>
              <a:gd name="connsiteX3" fmla="*/ 5704307 w 12217140"/>
              <a:gd name="connsiteY3" fmla="*/ 2853795 h 3066535"/>
              <a:gd name="connsiteX4" fmla="*/ 6975837 w 12217140"/>
              <a:gd name="connsiteY4" fmla="*/ 327 h 3066535"/>
              <a:gd name="connsiteX5" fmla="*/ 8752420 w 12217140"/>
              <a:gd name="connsiteY5" fmla="*/ 3066349 h 3066535"/>
              <a:gd name="connsiteX6" fmla="*/ 9728463 w 12217140"/>
              <a:gd name="connsiteY6" fmla="*/ 151155 h 3066535"/>
              <a:gd name="connsiteX7" fmla="*/ 11368727 w 12217140"/>
              <a:gd name="connsiteY7" fmla="*/ 565935 h 3066535"/>
              <a:gd name="connsiteX8" fmla="*/ 12217140 w 12217140"/>
              <a:gd name="connsiteY8" fmla="*/ 433959 h 3066535"/>
              <a:gd name="connsiteX0" fmla="*/ 0 w 12217140"/>
              <a:gd name="connsiteY0" fmla="*/ 179437 h 3066535"/>
              <a:gd name="connsiteX1" fmla="*/ 2949570 w 12217140"/>
              <a:gd name="connsiteY1" fmla="*/ 2990520 h 3066535"/>
              <a:gd name="connsiteX2" fmla="*/ 4440026 w 12217140"/>
              <a:gd name="connsiteY2" fmla="*/ 207716 h 3066535"/>
              <a:gd name="connsiteX3" fmla="*/ 5704307 w 12217140"/>
              <a:gd name="connsiteY3" fmla="*/ 2853795 h 3066535"/>
              <a:gd name="connsiteX4" fmla="*/ 6975837 w 12217140"/>
              <a:gd name="connsiteY4" fmla="*/ 327 h 3066535"/>
              <a:gd name="connsiteX5" fmla="*/ 8752420 w 12217140"/>
              <a:gd name="connsiteY5" fmla="*/ 3066349 h 3066535"/>
              <a:gd name="connsiteX6" fmla="*/ 9728463 w 12217140"/>
              <a:gd name="connsiteY6" fmla="*/ 151155 h 3066535"/>
              <a:gd name="connsiteX7" fmla="*/ 11368727 w 12217140"/>
              <a:gd name="connsiteY7" fmla="*/ 565935 h 3066535"/>
              <a:gd name="connsiteX8" fmla="*/ 12217140 w 12217140"/>
              <a:gd name="connsiteY8" fmla="*/ 433959 h 3066535"/>
              <a:gd name="connsiteX0" fmla="*/ 0 w 12217140"/>
              <a:gd name="connsiteY0" fmla="*/ 455470 h 3342568"/>
              <a:gd name="connsiteX1" fmla="*/ 2949570 w 12217140"/>
              <a:gd name="connsiteY1" fmla="*/ 3266553 h 3342568"/>
              <a:gd name="connsiteX2" fmla="*/ 4440026 w 12217140"/>
              <a:gd name="connsiteY2" fmla="*/ 483749 h 3342568"/>
              <a:gd name="connsiteX3" fmla="*/ 6975837 w 12217140"/>
              <a:gd name="connsiteY3" fmla="*/ 276360 h 3342568"/>
              <a:gd name="connsiteX4" fmla="*/ 8752420 w 12217140"/>
              <a:gd name="connsiteY4" fmla="*/ 3342382 h 3342568"/>
              <a:gd name="connsiteX5" fmla="*/ 9728463 w 12217140"/>
              <a:gd name="connsiteY5" fmla="*/ 427188 h 3342568"/>
              <a:gd name="connsiteX6" fmla="*/ 11368727 w 12217140"/>
              <a:gd name="connsiteY6" fmla="*/ 841968 h 3342568"/>
              <a:gd name="connsiteX7" fmla="*/ 12217140 w 12217140"/>
              <a:gd name="connsiteY7" fmla="*/ 709992 h 3342568"/>
              <a:gd name="connsiteX0" fmla="*/ 0 w 12217140"/>
              <a:gd name="connsiteY0" fmla="*/ 445706 h 3332771"/>
              <a:gd name="connsiteX1" fmla="*/ 2949570 w 12217140"/>
              <a:gd name="connsiteY1" fmla="*/ 3256789 h 3332771"/>
              <a:gd name="connsiteX2" fmla="*/ 4440026 w 12217140"/>
              <a:gd name="connsiteY2" fmla="*/ 473985 h 3332771"/>
              <a:gd name="connsiteX3" fmla="*/ 6989796 w 12217140"/>
              <a:gd name="connsiteY3" fmla="*/ 280773 h 3332771"/>
              <a:gd name="connsiteX4" fmla="*/ 8752420 w 12217140"/>
              <a:gd name="connsiteY4" fmla="*/ 3332618 h 3332771"/>
              <a:gd name="connsiteX5" fmla="*/ 9728463 w 12217140"/>
              <a:gd name="connsiteY5" fmla="*/ 417424 h 3332771"/>
              <a:gd name="connsiteX6" fmla="*/ 11368727 w 12217140"/>
              <a:gd name="connsiteY6" fmla="*/ 832204 h 3332771"/>
              <a:gd name="connsiteX7" fmla="*/ 12217140 w 12217140"/>
              <a:gd name="connsiteY7" fmla="*/ 700228 h 3332771"/>
              <a:gd name="connsiteX0" fmla="*/ 0 w 12217140"/>
              <a:gd name="connsiteY0" fmla="*/ 149874 h 3036809"/>
              <a:gd name="connsiteX1" fmla="*/ 2949570 w 12217140"/>
              <a:gd name="connsiteY1" fmla="*/ 2960957 h 3036809"/>
              <a:gd name="connsiteX2" fmla="*/ 4440026 w 12217140"/>
              <a:gd name="connsiteY2" fmla="*/ 178153 h 3036809"/>
              <a:gd name="connsiteX3" fmla="*/ 8752420 w 12217140"/>
              <a:gd name="connsiteY3" fmla="*/ 3036786 h 3036809"/>
              <a:gd name="connsiteX4" fmla="*/ 9728463 w 12217140"/>
              <a:gd name="connsiteY4" fmla="*/ 121592 h 3036809"/>
              <a:gd name="connsiteX5" fmla="*/ 11368727 w 12217140"/>
              <a:gd name="connsiteY5" fmla="*/ 536372 h 3036809"/>
              <a:gd name="connsiteX6" fmla="*/ 12217140 w 12217140"/>
              <a:gd name="connsiteY6" fmla="*/ 404396 h 3036809"/>
              <a:gd name="connsiteX0" fmla="*/ 0 w 12217140"/>
              <a:gd name="connsiteY0" fmla="*/ 151333 h 3038369"/>
              <a:gd name="connsiteX1" fmla="*/ 2949570 w 12217140"/>
              <a:gd name="connsiteY1" fmla="*/ 2962416 h 3038369"/>
              <a:gd name="connsiteX2" fmla="*/ 5780057 w 12217140"/>
              <a:gd name="connsiteY2" fmla="*/ 40 h 3038369"/>
              <a:gd name="connsiteX3" fmla="*/ 8752420 w 12217140"/>
              <a:gd name="connsiteY3" fmla="*/ 3038245 h 3038369"/>
              <a:gd name="connsiteX4" fmla="*/ 9728463 w 12217140"/>
              <a:gd name="connsiteY4" fmla="*/ 123051 h 3038369"/>
              <a:gd name="connsiteX5" fmla="*/ 11368727 w 12217140"/>
              <a:gd name="connsiteY5" fmla="*/ 537831 h 3038369"/>
              <a:gd name="connsiteX6" fmla="*/ 12217140 w 12217140"/>
              <a:gd name="connsiteY6" fmla="*/ 405855 h 3038369"/>
              <a:gd name="connsiteX0" fmla="*/ 0 w 12217140"/>
              <a:gd name="connsiteY0" fmla="*/ 151322 h 3038358"/>
              <a:gd name="connsiteX1" fmla="*/ 2949570 w 12217140"/>
              <a:gd name="connsiteY1" fmla="*/ 2962405 h 3038358"/>
              <a:gd name="connsiteX2" fmla="*/ 5780057 w 12217140"/>
              <a:gd name="connsiteY2" fmla="*/ 29 h 3038358"/>
              <a:gd name="connsiteX3" fmla="*/ 8752420 w 12217140"/>
              <a:gd name="connsiteY3" fmla="*/ 3038234 h 3038358"/>
              <a:gd name="connsiteX4" fmla="*/ 9728463 w 12217140"/>
              <a:gd name="connsiteY4" fmla="*/ 123040 h 3038358"/>
              <a:gd name="connsiteX5" fmla="*/ 11368727 w 12217140"/>
              <a:gd name="connsiteY5" fmla="*/ 537820 h 3038358"/>
              <a:gd name="connsiteX6" fmla="*/ 12217140 w 12217140"/>
              <a:gd name="connsiteY6" fmla="*/ 405844 h 3038358"/>
              <a:gd name="connsiteX0" fmla="*/ 0 w 12217140"/>
              <a:gd name="connsiteY0" fmla="*/ 151323 h 3040957"/>
              <a:gd name="connsiteX1" fmla="*/ 2949570 w 12217140"/>
              <a:gd name="connsiteY1" fmla="*/ 2962406 h 3040957"/>
              <a:gd name="connsiteX2" fmla="*/ 5780057 w 12217140"/>
              <a:gd name="connsiteY2" fmla="*/ 30 h 3040957"/>
              <a:gd name="connsiteX3" fmla="*/ 8752420 w 12217140"/>
              <a:gd name="connsiteY3" fmla="*/ 3038235 h 3040957"/>
              <a:gd name="connsiteX4" fmla="*/ 11368727 w 12217140"/>
              <a:gd name="connsiteY4" fmla="*/ 537821 h 3040957"/>
              <a:gd name="connsiteX5" fmla="*/ 12217140 w 12217140"/>
              <a:gd name="connsiteY5" fmla="*/ 405845 h 3040957"/>
              <a:gd name="connsiteX0" fmla="*/ 0 w 12217140"/>
              <a:gd name="connsiteY0" fmla="*/ 151323 h 3039794"/>
              <a:gd name="connsiteX1" fmla="*/ 2949570 w 12217140"/>
              <a:gd name="connsiteY1" fmla="*/ 2962406 h 3039794"/>
              <a:gd name="connsiteX2" fmla="*/ 5780057 w 12217140"/>
              <a:gd name="connsiteY2" fmla="*/ 30 h 3039794"/>
              <a:gd name="connsiteX3" fmla="*/ 8752420 w 12217140"/>
              <a:gd name="connsiteY3" fmla="*/ 3038235 h 3039794"/>
              <a:gd name="connsiteX4" fmla="*/ 12217140 w 12217140"/>
              <a:gd name="connsiteY4" fmla="*/ 405845 h 3039794"/>
              <a:gd name="connsiteX0" fmla="*/ 0 w 11379329"/>
              <a:gd name="connsiteY0" fmla="*/ 151323 h 3038334"/>
              <a:gd name="connsiteX1" fmla="*/ 2949570 w 11379329"/>
              <a:gd name="connsiteY1" fmla="*/ 2962406 h 3038334"/>
              <a:gd name="connsiteX2" fmla="*/ 5780057 w 11379329"/>
              <a:gd name="connsiteY2" fmla="*/ 30 h 3038334"/>
              <a:gd name="connsiteX3" fmla="*/ 8752420 w 11379329"/>
              <a:gd name="connsiteY3" fmla="*/ 3038235 h 3038334"/>
              <a:gd name="connsiteX4" fmla="*/ 11379329 w 11379329"/>
              <a:gd name="connsiteY4" fmla="*/ 107395 h 3038334"/>
              <a:gd name="connsiteX0" fmla="*/ 0 w 12204635"/>
              <a:gd name="connsiteY0" fmla="*/ 151323 h 3038275"/>
              <a:gd name="connsiteX1" fmla="*/ 2949570 w 12204635"/>
              <a:gd name="connsiteY1" fmla="*/ 2962406 h 3038275"/>
              <a:gd name="connsiteX2" fmla="*/ 5780057 w 12204635"/>
              <a:gd name="connsiteY2" fmla="*/ 30 h 3038275"/>
              <a:gd name="connsiteX3" fmla="*/ 8752420 w 12204635"/>
              <a:gd name="connsiteY3" fmla="*/ 3038235 h 3038275"/>
              <a:gd name="connsiteX4" fmla="*/ 12204635 w 12204635"/>
              <a:gd name="connsiteY4" fmla="*/ 69295 h 3038275"/>
              <a:gd name="connsiteX0" fmla="*/ 0 w 12867381"/>
              <a:gd name="connsiteY0" fmla="*/ 144972 h 3038275"/>
              <a:gd name="connsiteX1" fmla="*/ 3612316 w 12867381"/>
              <a:gd name="connsiteY1" fmla="*/ 2962406 h 3038275"/>
              <a:gd name="connsiteX2" fmla="*/ 6442803 w 12867381"/>
              <a:gd name="connsiteY2" fmla="*/ 30 h 3038275"/>
              <a:gd name="connsiteX3" fmla="*/ 9415166 w 12867381"/>
              <a:gd name="connsiteY3" fmla="*/ 3038235 h 3038275"/>
              <a:gd name="connsiteX4" fmla="*/ 12867381 w 12867381"/>
              <a:gd name="connsiteY4" fmla="*/ 69295 h 3038275"/>
              <a:gd name="connsiteX0" fmla="*/ 0 w 12867381"/>
              <a:gd name="connsiteY0" fmla="*/ 144972 h 3038262"/>
              <a:gd name="connsiteX1" fmla="*/ 3612316 w 12867381"/>
              <a:gd name="connsiteY1" fmla="*/ 2962406 h 3038262"/>
              <a:gd name="connsiteX2" fmla="*/ 6442803 w 12867381"/>
              <a:gd name="connsiteY2" fmla="*/ 30 h 3038262"/>
              <a:gd name="connsiteX3" fmla="*/ 9415166 w 12867381"/>
              <a:gd name="connsiteY3" fmla="*/ 3038235 h 3038262"/>
              <a:gd name="connsiteX4" fmla="*/ 12867381 w 12867381"/>
              <a:gd name="connsiteY4" fmla="*/ 56595 h 3038262"/>
              <a:gd name="connsiteX0" fmla="*/ 0 w 12867381"/>
              <a:gd name="connsiteY0" fmla="*/ 144972 h 3038257"/>
              <a:gd name="connsiteX1" fmla="*/ 3612316 w 12867381"/>
              <a:gd name="connsiteY1" fmla="*/ 2962406 h 3038257"/>
              <a:gd name="connsiteX2" fmla="*/ 6442803 w 12867381"/>
              <a:gd name="connsiteY2" fmla="*/ 30 h 3038257"/>
              <a:gd name="connsiteX3" fmla="*/ 9415166 w 12867381"/>
              <a:gd name="connsiteY3" fmla="*/ 3038235 h 3038257"/>
              <a:gd name="connsiteX4" fmla="*/ 12867381 w 12867381"/>
              <a:gd name="connsiteY4" fmla="*/ 56595 h 3038257"/>
              <a:gd name="connsiteX0" fmla="*/ 0 w 12867381"/>
              <a:gd name="connsiteY0" fmla="*/ 145005 h 3057341"/>
              <a:gd name="connsiteX1" fmla="*/ 3612316 w 12867381"/>
              <a:gd name="connsiteY1" fmla="*/ 2962439 h 3057341"/>
              <a:gd name="connsiteX2" fmla="*/ 6442803 w 12867381"/>
              <a:gd name="connsiteY2" fmla="*/ 63 h 3057341"/>
              <a:gd name="connsiteX3" fmla="*/ 9408913 w 12867381"/>
              <a:gd name="connsiteY3" fmla="*/ 3057318 h 3057341"/>
              <a:gd name="connsiteX4" fmla="*/ 12867381 w 12867381"/>
              <a:gd name="connsiteY4" fmla="*/ 56628 h 3057341"/>
              <a:gd name="connsiteX0" fmla="*/ 0 w 12867381"/>
              <a:gd name="connsiteY0" fmla="*/ 145005 h 3057440"/>
              <a:gd name="connsiteX1" fmla="*/ 3612316 w 12867381"/>
              <a:gd name="connsiteY1" fmla="*/ 2962439 h 3057440"/>
              <a:gd name="connsiteX2" fmla="*/ 6442803 w 12867381"/>
              <a:gd name="connsiteY2" fmla="*/ 63 h 3057440"/>
              <a:gd name="connsiteX3" fmla="*/ 9408913 w 12867381"/>
              <a:gd name="connsiteY3" fmla="*/ 3057318 h 3057440"/>
              <a:gd name="connsiteX4" fmla="*/ 12867381 w 12867381"/>
              <a:gd name="connsiteY4" fmla="*/ 56628 h 3057440"/>
              <a:gd name="connsiteX0" fmla="*/ 0 w 12867381"/>
              <a:gd name="connsiteY0" fmla="*/ 144965 h 3057399"/>
              <a:gd name="connsiteX1" fmla="*/ 3612316 w 12867381"/>
              <a:gd name="connsiteY1" fmla="*/ 2962399 h 3057399"/>
              <a:gd name="connsiteX2" fmla="*/ 6442803 w 12867381"/>
              <a:gd name="connsiteY2" fmla="*/ 23 h 3057399"/>
              <a:gd name="connsiteX3" fmla="*/ 9408913 w 12867381"/>
              <a:gd name="connsiteY3" fmla="*/ 3057278 h 3057399"/>
              <a:gd name="connsiteX4" fmla="*/ 12867381 w 12867381"/>
              <a:gd name="connsiteY4" fmla="*/ 56588 h 3057399"/>
              <a:gd name="connsiteX0" fmla="*/ 0 w 12867381"/>
              <a:gd name="connsiteY0" fmla="*/ 144965 h 3057399"/>
              <a:gd name="connsiteX1" fmla="*/ 3612316 w 12867381"/>
              <a:gd name="connsiteY1" fmla="*/ 2962399 h 3057399"/>
              <a:gd name="connsiteX2" fmla="*/ 6442803 w 12867381"/>
              <a:gd name="connsiteY2" fmla="*/ 23 h 3057399"/>
              <a:gd name="connsiteX3" fmla="*/ 9408913 w 12867381"/>
              <a:gd name="connsiteY3" fmla="*/ 3057278 h 3057399"/>
              <a:gd name="connsiteX4" fmla="*/ 12867381 w 12867381"/>
              <a:gd name="connsiteY4" fmla="*/ 56588 h 3057399"/>
              <a:gd name="connsiteX0" fmla="*/ 0 w 12867381"/>
              <a:gd name="connsiteY0" fmla="*/ 152970 h 3065404"/>
              <a:gd name="connsiteX1" fmla="*/ 2674469 w 12867381"/>
              <a:gd name="connsiteY1" fmla="*/ 2113155 h 3065404"/>
              <a:gd name="connsiteX2" fmla="*/ 6442803 w 12867381"/>
              <a:gd name="connsiteY2" fmla="*/ 8028 h 3065404"/>
              <a:gd name="connsiteX3" fmla="*/ 9408913 w 12867381"/>
              <a:gd name="connsiteY3" fmla="*/ 3065283 h 3065404"/>
              <a:gd name="connsiteX4" fmla="*/ 12867381 w 12867381"/>
              <a:gd name="connsiteY4" fmla="*/ 64593 h 3065404"/>
              <a:gd name="connsiteX0" fmla="*/ 0 w 12867381"/>
              <a:gd name="connsiteY0" fmla="*/ 152950 h 3065384"/>
              <a:gd name="connsiteX1" fmla="*/ 2674469 w 12867381"/>
              <a:gd name="connsiteY1" fmla="*/ 2113135 h 3065384"/>
              <a:gd name="connsiteX2" fmla="*/ 6442803 w 12867381"/>
              <a:gd name="connsiteY2" fmla="*/ 8008 h 3065384"/>
              <a:gd name="connsiteX3" fmla="*/ 9408913 w 12867381"/>
              <a:gd name="connsiteY3" fmla="*/ 3065263 h 3065384"/>
              <a:gd name="connsiteX4" fmla="*/ 12867381 w 12867381"/>
              <a:gd name="connsiteY4" fmla="*/ 64573 h 3065384"/>
              <a:gd name="connsiteX0" fmla="*/ 0 w 12867381"/>
              <a:gd name="connsiteY0" fmla="*/ 88377 h 3001011"/>
              <a:gd name="connsiteX1" fmla="*/ 2674469 w 12867381"/>
              <a:gd name="connsiteY1" fmla="*/ 2048562 h 3001011"/>
              <a:gd name="connsiteX2" fmla="*/ 4648387 w 12867381"/>
              <a:gd name="connsiteY2" fmla="*/ 203784 h 3001011"/>
              <a:gd name="connsiteX3" fmla="*/ 9408913 w 12867381"/>
              <a:gd name="connsiteY3" fmla="*/ 3000690 h 3001011"/>
              <a:gd name="connsiteX4" fmla="*/ 12867381 w 12867381"/>
              <a:gd name="connsiteY4" fmla="*/ 0 h 3001011"/>
              <a:gd name="connsiteX0" fmla="*/ 0 w 12867381"/>
              <a:gd name="connsiteY0" fmla="*/ 88377 h 3000996"/>
              <a:gd name="connsiteX1" fmla="*/ 2674469 w 12867381"/>
              <a:gd name="connsiteY1" fmla="*/ 2048562 h 3000996"/>
              <a:gd name="connsiteX2" fmla="*/ 4648387 w 12867381"/>
              <a:gd name="connsiteY2" fmla="*/ 203784 h 3000996"/>
              <a:gd name="connsiteX3" fmla="*/ 9408913 w 12867381"/>
              <a:gd name="connsiteY3" fmla="*/ 3000690 h 3000996"/>
              <a:gd name="connsiteX4" fmla="*/ 12867381 w 12867381"/>
              <a:gd name="connsiteY4" fmla="*/ 0 h 3000996"/>
              <a:gd name="connsiteX0" fmla="*/ 0 w 12867381"/>
              <a:gd name="connsiteY0" fmla="*/ 88377 h 3040623"/>
              <a:gd name="connsiteX1" fmla="*/ 2674469 w 12867381"/>
              <a:gd name="connsiteY1" fmla="*/ 2048562 h 3040623"/>
              <a:gd name="connsiteX2" fmla="*/ 4648387 w 12867381"/>
              <a:gd name="connsiteY2" fmla="*/ 203784 h 3040623"/>
              <a:gd name="connsiteX3" fmla="*/ 6922326 w 12867381"/>
              <a:gd name="connsiteY3" fmla="*/ 1625738 h 3040623"/>
              <a:gd name="connsiteX4" fmla="*/ 9408913 w 12867381"/>
              <a:gd name="connsiteY4" fmla="*/ 3000690 h 3040623"/>
              <a:gd name="connsiteX5" fmla="*/ 12867381 w 12867381"/>
              <a:gd name="connsiteY5" fmla="*/ 0 h 3040623"/>
              <a:gd name="connsiteX0" fmla="*/ 0 w 12867381"/>
              <a:gd name="connsiteY0" fmla="*/ 88377 h 3082274"/>
              <a:gd name="connsiteX1" fmla="*/ 2674469 w 12867381"/>
              <a:gd name="connsiteY1" fmla="*/ 2048562 h 3082274"/>
              <a:gd name="connsiteX2" fmla="*/ 4648387 w 12867381"/>
              <a:gd name="connsiteY2" fmla="*/ 203784 h 3082274"/>
              <a:gd name="connsiteX3" fmla="*/ 6353364 w 12867381"/>
              <a:gd name="connsiteY3" fmla="*/ 2057538 h 3082274"/>
              <a:gd name="connsiteX4" fmla="*/ 9408913 w 12867381"/>
              <a:gd name="connsiteY4" fmla="*/ 3000690 h 3082274"/>
              <a:gd name="connsiteX5" fmla="*/ 12867381 w 12867381"/>
              <a:gd name="connsiteY5" fmla="*/ 0 h 3082274"/>
              <a:gd name="connsiteX0" fmla="*/ 0 w 12867381"/>
              <a:gd name="connsiteY0" fmla="*/ 88377 h 3057778"/>
              <a:gd name="connsiteX1" fmla="*/ 2674469 w 12867381"/>
              <a:gd name="connsiteY1" fmla="*/ 2048562 h 3057778"/>
              <a:gd name="connsiteX2" fmla="*/ 4648387 w 12867381"/>
              <a:gd name="connsiteY2" fmla="*/ 203784 h 3057778"/>
              <a:gd name="connsiteX3" fmla="*/ 6353364 w 12867381"/>
              <a:gd name="connsiteY3" fmla="*/ 2057538 h 3057778"/>
              <a:gd name="connsiteX4" fmla="*/ 9408913 w 12867381"/>
              <a:gd name="connsiteY4" fmla="*/ 3000690 h 3057778"/>
              <a:gd name="connsiteX5" fmla="*/ 12867381 w 12867381"/>
              <a:gd name="connsiteY5" fmla="*/ 0 h 3057778"/>
              <a:gd name="connsiteX0" fmla="*/ 0 w 12867381"/>
              <a:gd name="connsiteY0" fmla="*/ 88377 h 3057778"/>
              <a:gd name="connsiteX1" fmla="*/ 2674469 w 12867381"/>
              <a:gd name="connsiteY1" fmla="*/ 2048562 h 3057778"/>
              <a:gd name="connsiteX2" fmla="*/ 4648387 w 12867381"/>
              <a:gd name="connsiteY2" fmla="*/ 203784 h 3057778"/>
              <a:gd name="connsiteX3" fmla="*/ 6353364 w 12867381"/>
              <a:gd name="connsiteY3" fmla="*/ 2057538 h 3057778"/>
              <a:gd name="connsiteX4" fmla="*/ 9408913 w 12867381"/>
              <a:gd name="connsiteY4" fmla="*/ 3000690 h 3057778"/>
              <a:gd name="connsiteX5" fmla="*/ 12867381 w 12867381"/>
              <a:gd name="connsiteY5" fmla="*/ 0 h 3057778"/>
              <a:gd name="connsiteX0" fmla="*/ 0 w 12867381"/>
              <a:gd name="connsiteY0" fmla="*/ 88377 h 3058923"/>
              <a:gd name="connsiteX1" fmla="*/ 2674469 w 12867381"/>
              <a:gd name="connsiteY1" fmla="*/ 2048562 h 3058923"/>
              <a:gd name="connsiteX2" fmla="*/ 4648387 w 12867381"/>
              <a:gd name="connsiteY2" fmla="*/ 203784 h 3058923"/>
              <a:gd name="connsiteX3" fmla="*/ 6353364 w 12867381"/>
              <a:gd name="connsiteY3" fmla="*/ 2057538 h 3058923"/>
              <a:gd name="connsiteX4" fmla="*/ 9408913 w 12867381"/>
              <a:gd name="connsiteY4" fmla="*/ 3000690 h 3058923"/>
              <a:gd name="connsiteX5" fmla="*/ 12867381 w 12867381"/>
              <a:gd name="connsiteY5" fmla="*/ 0 h 3058923"/>
              <a:gd name="connsiteX0" fmla="*/ 0 w 12867381"/>
              <a:gd name="connsiteY0" fmla="*/ 126253 h 2095423"/>
              <a:gd name="connsiteX1" fmla="*/ 2674469 w 12867381"/>
              <a:gd name="connsiteY1" fmla="*/ 2086438 h 2095423"/>
              <a:gd name="connsiteX2" fmla="*/ 4648387 w 12867381"/>
              <a:gd name="connsiteY2" fmla="*/ 241660 h 2095423"/>
              <a:gd name="connsiteX3" fmla="*/ 6353364 w 12867381"/>
              <a:gd name="connsiteY3" fmla="*/ 2095414 h 2095423"/>
              <a:gd name="connsiteX4" fmla="*/ 8245982 w 12867381"/>
              <a:gd name="connsiteY4" fmla="*/ 212817 h 2095423"/>
              <a:gd name="connsiteX5" fmla="*/ 12867381 w 12867381"/>
              <a:gd name="connsiteY5" fmla="*/ 37876 h 2095423"/>
              <a:gd name="connsiteX0" fmla="*/ 0 w 12867381"/>
              <a:gd name="connsiteY0" fmla="*/ 88377 h 2057547"/>
              <a:gd name="connsiteX1" fmla="*/ 2674469 w 12867381"/>
              <a:gd name="connsiteY1" fmla="*/ 2048562 h 2057547"/>
              <a:gd name="connsiteX2" fmla="*/ 4648387 w 12867381"/>
              <a:gd name="connsiteY2" fmla="*/ 203784 h 2057547"/>
              <a:gd name="connsiteX3" fmla="*/ 6353364 w 12867381"/>
              <a:gd name="connsiteY3" fmla="*/ 2057538 h 2057547"/>
              <a:gd name="connsiteX4" fmla="*/ 8245982 w 12867381"/>
              <a:gd name="connsiteY4" fmla="*/ 174941 h 2057547"/>
              <a:gd name="connsiteX5" fmla="*/ 12867381 w 12867381"/>
              <a:gd name="connsiteY5" fmla="*/ 0 h 2057547"/>
              <a:gd name="connsiteX0" fmla="*/ 0 w 12867381"/>
              <a:gd name="connsiteY0" fmla="*/ 88377 h 2057547"/>
              <a:gd name="connsiteX1" fmla="*/ 2674469 w 12867381"/>
              <a:gd name="connsiteY1" fmla="*/ 2048562 h 2057547"/>
              <a:gd name="connsiteX2" fmla="*/ 4648387 w 12867381"/>
              <a:gd name="connsiteY2" fmla="*/ 203784 h 2057547"/>
              <a:gd name="connsiteX3" fmla="*/ 6353364 w 12867381"/>
              <a:gd name="connsiteY3" fmla="*/ 2057538 h 2057547"/>
              <a:gd name="connsiteX4" fmla="*/ 8245982 w 12867381"/>
              <a:gd name="connsiteY4" fmla="*/ 174941 h 2057547"/>
              <a:gd name="connsiteX5" fmla="*/ 12867381 w 12867381"/>
              <a:gd name="connsiteY5" fmla="*/ 0 h 2057547"/>
              <a:gd name="connsiteX0" fmla="*/ 0 w 12867381"/>
              <a:gd name="connsiteY0" fmla="*/ 102425 h 2071595"/>
              <a:gd name="connsiteX1" fmla="*/ 2674469 w 12867381"/>
              <a:gd name="connsiteY1" fmla="*/ 2062610 h 2071595"/>
              <a:gd name="connsiteX2" fmla="*/ 4648387 w 12867381"/>
              <a:gd name="connsiteY2" fmla="*/ 217832 h 2071595"/>
              <a:gd name="connsiteX3" fmla="*/ 6353364 w 12867381"/>
              <a:gd name="connsiteY3" fmla="*/ 2071586 h 2071595"/>
              <a:gd name="connsiteX4" fmla="*/ 8245982 w 12867381"/>
              <a:gd name="connsiteY4" fmla="*/ 188989 h 2071595"/>
              <a:gd name="connsiteX5" fmla="*/ 10598688 w 12867381"/>
              <a:gd name="connsiteY5" fmla="*/ 45936 h 2071595"/>
              <a:gd name="connsiteX6" fmla="*/ 12867381 w 12867381"/>
              <a:gd name="connsiteY6" fmla="*/ 14048 h 2071595"/>
              <a:gd name="connsiteX0" fmla="*/ 0 w 12867381"/>
              <a:gd name="connsiteY0" fmla="*/ 88377 h 2083264"/>
              <a:gd name="connsiteX1" fmla="*/ 2674469 w 12867381"/>
              <a:gd name="connsiteY1" fmla="*/ 2048562 h 2083264"/>
              <a:gd name="connsiteX2" fmla="*/ 4648387 w 12867381"/>
              <a:gd name="connsiteY2" fmla="*/ 203784 h 2083264"/>
              <a:gd name="connsiteX3" fmla="*/ 6353364 w 12867381"/>
              <a:gd name="connsiteY3" fmla="*/ 2057538 h 2083264"/>
              <a:gd name="connsiteX4" fmla="*/ 8245982 w 12867381"/>
              <a:gd name="connsiteY4" fmla="*/ 174941 h 2083264"/>
              <a:gd name="connsiteX5" fmla="*/ 10198540 w 12867381"/>
              <a:gd name="connsiteY5" fmla="*/ 2082938 h 2083264"/>
              <a:gd name="connsiteX6" fmla="*/ 12867381 w 12867381"/>
              <a:gd name="connsiteY6" fmla="*/ 0 h 2083264"/>
              <a:gd name="connsiteX0" fmla="*/ 0 w 12867381"/>
              <a:gd name="connsiteY0" fmla="*/ 88377 h 2083264"/>
              <a:gd name="connsiteX1" fmla="*/ 2674469 w 12867381"/>
              <a:gd name="connsiteY1" fmla="*/ 2048562 h 2083264"/>
              <a:gd name="connsiteX2" fmla="*/ 4648387 w 12867381"/>
              <a:gd name="connsiteY2" fmla="*/ 203784 h 2083264"/>
              <a:gd name="connsiteX3" fmla="*/ 6353364 w 12867381"/>
              <a:gd name="connsiteY3" fmla="*/ 2057538 h 2083264"/>
              <a:gd name="connsiteX4" fmla="*/ 8245982 w 12867381"/>
              <a:gd name="connsiteY4" fmla="*/ 174941 h 2083264"/>
              <a:gd name="connsiteX5" fmla="*/ 10198540 w 12867381"/>
              <a:gd name="connsiteY5" fmla="*/ 2082938 h 2083264"/>
              <a:gd name="connsiteX6" fmla="*/ 12867381 w 12867381"/>
              <a:gd name="connsiteY6" fmla="*/ 0 h 2083264"/>
              <a:gd name="connsiteX0" fmla="*/ 0 w 12867381"/>
              <a:gd name="connsiteY0" fmla="*/ 88377 h 2082943"/>
              <a:gd name="connsiteX1" fmla="*/ 2674469 w 12867381"/>
              <a:gd name="connsiteY1" fmla="*/ 2048562 h 2082943"/>
              <a:gd name="connsiteX2" fmla="*/ 4648387 w 12867381"/>
              <a:gd name="connsiteY2" fmla="*/ 203784 h 2082943"/>
              <a:gd name="connsiteX3" fmla="*/ 6353364 w 12867381"/>
              <a:gd name="connsiteY3" fmla="*/ 2057538 h 2082943"/>
              <a:gd name="connsiteX4" fmla="*/ 8245982 w 12867381"/>
              <a:gd name="connsiteY4" fmla="*/ 174941 h 2082943"/>
              <a:gd name="connsiteX5" fmla="*/ 10198540 w 12867381"/>
              <a:gd name="connsiteY5" fmla="*/ 2082938 h 2082943"/>
              <a:gd name="connsiteX6" fmla="*/ 12867381 w 12867381"/>
              <a:gd name="connsiteY6" fmla="*/ 0 h 2082943"/>
              <a:gd name="connsiteX0" fmla="*/ 0 w 12867381"/>
              <a:gd name="connsiteY0" fmla="*/ 88377 h 2083218"/>
              <a:gd name="connsiteX1" fmla="*/ 2674469 w 12867381"/>
              <a:gd name="connsiteY1" fmla="*/ 2048562 h 2083218"/>
              <a:gd name="connsiteX2" fmla="*/ 4648387 w 12867381"/>
              <a:gd name="connsiteY2" fmla="*/ 203784 h 2083218"/>
              <a:gd name="connsiteX3" fmla="*/ 6353364 w 12867381"/>
              <a:gd name="connsiteY3" fmla="*/ 2057538 h 2083218"/>
              <a:gd name="connsiteX4" fmla="*/ 8296002 w 12867381"/>
              <a:gd name="connsiteY4" fmla="*/ 162241 h 2083218"/>
              <a:gd name="connsiteX5" fmla="*/ 10198540 w 12867381"/>
              <a:gd name="connsiteY5" fmla="*/ 2082938 h 2083218"/>
              <a:gd name="connsiteX6" fmla="*/ 12867381 w 12867381"/>
              <a:gd name="connsiteY6" fmla="*/ 0 h 2083218"/>
              <a:gd name="connsiteX0" fmla="*/ 0 w 12867381"/>
              <a:gd name="connsiteY0" fmla="*/ 88377 h 2083219"/>
              <a:gd name="connsiteX1" fmla="*/ 2674469 w 12867381"/>
              <a:gd name="connsiteY1" fmla="*/ 2048562 h 2083219"/>
              <a:gd name="connsiteX2" fmla="*/ 4648387 w 12867381"/>
              <a:gd name="connsiteY2" fmla="*/ 203784 h 2083219"/>
              <a:gd name="connsiteX3" fmla="*/ 6353364 w 12867381"/>
              <a:gd name="connsiteY3" fmla="*/ 2057538 h 2083219"/>
              <a:gd name="connsiteX4" fmla="*/ 8296002 w 12867381"/>
              <a:gd name="connsiteY4" fmla="*/ 162241 h 2083219"/>
              <a:gd name="connsiteX5" fmla="*/ 10198540 w 12867381"/>
              <a:gd name="connsiteY5" fmla="*/ 2082938 h 2083219"/>
              <a:gd name="connsiteX6" fmla="*/ 12867381 w 12867381"/>
              <a:gd name="connsiteY6" fmla="*/ 0 h 2083219"/>
              <a:gd name="connsiteX0" fmla="*/ 0 w 12867381"/>
              <a:gd name="connsiteY0" fmla="*/ 88377 h 2083216"/>
              <a:gd name="connsiteX1" fmla="*/ 2674469 w 12867381"/>
              <a:gd name="connsiteY1" fmla="*/ 2048562 h 2083216"/>
              <a:gd name="connsiteX2" fmla="*/ 4648387 w 12867381"/>
              <a:gd name="connsiteY2" fmla="*/ 203784 h 2083216"/>
              <a:gd name="connsiteX3" fmla="*/ 6409636 w 12867381"/>
              <a:gd name="connsiteY3" fmla="*/ 2076587 h 2083216"/>
              <a:gd name="connsiteX4" fmla="*/ 8296002 w 12867381"/>
              <a:gd name="connsiteY4" fmla="*/ 162241 h 2083216"/>
              <a:gd name="connsiteX5" fmla="*/ 10198540 w 12867381"/>
              <a:gd name="connsiteY5" fmla="*/ 2082938 h 2083216"/>
              <a:gd name="connsiteX6" fmla="*/ 12867381 w 12867381"/>
              <a:gd name="connsiteY6" fmla="*/ 0 h 2083216"/>
              <a:gd name="connsiteX0" fmla="*/ 0 w 12867381"/>
              <a:gd name="connsiteY0" fmla="*/ 88377 h 2083217"/>
              <a:gd name="connsiteX1" fmla="*/ 2674469 w 12867381"/>
              <a:gd name="connsiteY1" fmla="*/ 2048562 h 2083217"/>
              <a:gd name="connsiteX2" fmla="*/ 4648387 w 12867381"/>
              <a:gd name="connsiteY2" fmla="*/ 203784 h 2083217"/>
              <a:gd name="connsiteX3" fmla="*/ 6409636 w 12867381"/>
              <a:gd name="connsiteY3" fmla="*/ 2076587 h 2083217"/>
              <a:gd name="connsiteX4" fmla="*/ 8296002 w 12867381"/>
              <a:gd name="connsiteY4" fmla="*/ 162241 h 2083217"/>
              <a:gd name="connsiteX5" fmla="*/ 10198540 w 12867381"/>
              <a:gd name="connsiteY5" fmla="*/ 2082938 h 2083217"/>
              <a:gd name="connsiteX6" fmla="*/ 12867381 w 12867381"/>
              <a:gd name="connsiteY6" fmla="*/ 0 h 2083217"/>
              <a:gd name="connsiteX0" fmla="*/ 0 w 12867381"/>
              <a:gd name="connsiteY0" fmla="*/ 88377 h 2083217"/>
              <a:gd name="connsiteX1" fmla="*/ 2674469 w 12867381"/>
              <a:gd name="connsiteY1" fmla="*/ 2048562 h 2083217"/>
              <a:gd name="connsiteX2" fmla="*/ 4585864 w 12867381"/>
              <a:gd name="connsiteY2" fmla="*/ 184735 h 2083217"/>
              <a:gd name="connsiteX3" fmla="*/ 6409636 w 12867381"/>
              <a:gd name="connsiteY3" fmla="*/ 2076587 h 2083217"/>
              <a:gd name="connsiteX4" fmla="*/ 8296002 w 12867381"/>
              <a:gd name="connsiteY4" fmla="*/ 162241 h 2083217"/>
              <a:gd name="connsiteX5" fmla="*/ 10198540 w 12867381"/>
              <a:gd name="connsiteY5" fmla="*/ 2082938 h 2083217"/>
              <a:gd name="connsiteX6" fmla="*/ 12867381 w 12867381"/>
              <a:gd name="connsiteY6" fmla="*/ 0 h 2083217"/>
              <a:gd name="connsiteX0" fmla="*/ 0 w 12867381"/>
              <a:gd name="connsiteY0" fmla="*/ 88377 h 2083217"/>
              <a:gd name="connsiteX1" fmla="*/ 2674469 w 12867381"/>
              <a:gd name="connsiteY1" fmla="*/ 2048562 h 2083217"/>
              <a:gd name="connsiteX2" fmla="*/ 4585864 w 12867381"/>
              <a:gd name="connsiteY2" fmla="*/ 191084 h 2083217"/>
              <a:gd name="connsiteX3" fmla="*/ 6409636 w 12867381"/>
              <a:gd name="connsiteY3" fmla="*/ 2076587 h 2083217"/>
              <a:gd name="connsiteX4" fmla="*/ 8296002 w 12867381"/>
              <a:gd name="connsiteY4" fmla="*/ 162241 h 2083217"/>
              <a:gd name="connsiteX5" fmla="*/ 10198540 w 12867381"/>
              <a:gd name="connsiteY5" fmla="*/ 2082938 h 2083217"/>
              <a:gd name="connsiteX6" fmla="*/ 12867381 w 12867381"/>
              <a:gd name="connsiteY6" fmla="*/ 0 h 2083217"/>
              <a:gd name="connsiteX0" fmla="*/ 0 w 12867381"/>
              <a:gd name="connsiteY0" fmla="*/ 88377 h 2083217"/>
              <a:gd name="connsiteX1" fmla="*/ 2674469 w 12867381"/>
              <a:gd name="connsiteY1" fmla="*/ 2048562 h 2083217"/>
              <a:gd name="connsiteX2" fmla="*/ 4585864 w 12867381"/>
              <a:gd name="connsiteY2" fmla="*/ 191084 h 2083217"/>
              <a:gd name="connsiteX3" fmla="*/ 6409636 w 12867381"/>
              <a:gd name="connsiteY3" fmla="*/ 2076587 h 2083217"/>
              <a:gd name="connsiteX4" fmla="*/ 8296002 w 12867381"/>
              <a:gd name="connsiteY4" fmla="*/ 162241 h 2083217"/>
              <a:gd name="connsiteX5" fmla="*/ 10198540 w 12867381"/>
              <a:gd name="connsiteY5" fmla="*/ 2082938 h 2083217"/>
              <a:gd name="connsiteX6" fmla="*/ 12867381 w 12867381"/>
              <a:gd name="connsiteY6" fmla="*/ 0 h 2083217"/>
              <a:gd name="connsiteX0" fmla="*/ 0 w 12867381"/>
              <a:gd name="connsiteY0" fmla="*/ 88377 h 2083217"/>
              <a:gd name="connsiteX1" fmla="*/ 2674469 w 12867381"/>
              <a:gd name="connsiteY1" fmla="*/ 2048562 h 2083217"/>
              <a:gd name="connsiteX2" fmla="*/ 4585864 w 12867381"/>
              <a:gd name="connsiteY2" fmla="*/ 191084 h 2083217"/>
              <a:gd name="connsiteX3" fmla="*/ 6409636 w 12867381"/>
              <a:gd name="connsiteY3" fmla="*/ 2076587 h 2083217"/>
              <a:gd name="connsiteX4" fmla="*/ 8296002 w 12867381"/>
              <a:gd name="connsiteY4" fmla="*/ 162241 h 2083217"/>
              <a:gd name="connsiteX5" fmla="*/ 10198540 w 12867381"/>
              <a:gd name="connsiteY5" fmla="*/ 2082938 h 2083217"/>
              <a:gd name="connsiteX6" fmla="*/ 12867381 w 12867381"/>
              <a:gd name="connsiteY6" fmla="*/ 0 h 2083217"/>
              <a:gd name="connsiteX0" fmla="*/ 0 w 12867381"/>
              <a:gd name="connsiteY0" fmla="*/ 88377 h 2083217"/>
              <a:gd name="connsiteX1" fmla="*/ 2674469 w 12867381"/>
              <a:gd name="connsiteY1" fmla="*/ 2048562 h 2083217"/>
              <a:gd name="connsiteX2" fmla="*/ 4585864 w 12867381"/>
              <a:gd name="connsiteY2" fmla="*/ 191084 h 2083217"/>
              <a:gd name="connsiteX3" fmla="*/ 6409636 w 12867381"/>
              <a:gd name="connsiteY3" fmla="*/ 2076587 h 2083217"/>
              <a:gd name="connsiteX4" fmla="*/ 8296002 w 12867381"/>
              <a:gd name="connsiteY4" fmla="*/ 162241 h 2083217"/>
              <a:gd name="connsiteX5" fmla="*/ 10198540 w 12867381"/>
              <a:gd name="connsiteY5" fmla="*/ 2082938 h 2083217"/>
              <a:gd name="connsiteX6" fmla="*/ 12867381 w 12867381"/>
              <a:gd name="connsiteY6" fmla="*/ 0 h 2083217"/>
              <a:gd name="connsiteX0" fmla="*/ 0 w 12867381"/>
              <a:gd name="connsiteY0" fmla="*/ 88377 h 2082981"/>
              <a:gd name="connsiteX1" fmla="*/ 2674469 w 12867381"/>
              <a:gd name="connsiteY1" fmla="*/ 2048562 h 2082981"/>
              <a:gd name="connsiteX2" fmla="*/ 4585864 w 12867381"/>
              <a:gd name="connsiteY2" fmla="*/ 191084 h 2082981"/>
              <a:gd name="connsiteX3" fmla="*/ 6409636 w 12867381"/>
              <a:gd name="connsiteY3" fmla="*/ 2076587 h 2082981"/>
              <a:gd name="connsiteX4" fmla="*/ 8296002 w 12867381"/>
              <a:gd name="connsiteY4" fmla="*/ 162241 h 2082981"/>
              <a:gd name="connsiteX5" fmla="*/ 10198540 w 12867381"/>
              <a:gd name="connsiteY5" fmla="*/ 2082938 h 2082981"/>
              <a:gd name="connsiteX6" fmla="*/ 12867381 w 12867381"/>
              <a:gd name="connsiteY6" fmla="*/ 0 h 2082981"/>
              <a:gd name="connsiteX0" fmla="*/ 0 w 12867381"/>
              <a:gd name="connsiteY0" fmla="*/ 88377 h 2082981"/>
              <a:gd name="connsiteX1" fmla="*/ 2674469 w 12867381"/>
              <a:gd name="connsiteY1" fmla="*/ 2048562 h 2082981"/>
              <a:gd name="connsiteX2" fmla="*/ 4585864 w 12867381"/>
              <a:gd name="connsiteY2" fmla="*/ 191084 h 2082981"/>
              <a:gd name="connsiteX3" fmla="*/ 6409636 w 12867381"/>
              <a:gd name="connsiteY3" fmla="*/ 2076587 h 2082981"/>
              <a:gd name="connsiteX4" fmla="*/ 8296002 w 12867381"/>
              <a:gd name="connsiteY4" fmla="*/ 162241 h 2082981"/>
              <a:gd name="connsiteX5" fmla="*/ 10198540 w 12867381"/>
              <a:gd name="connsiteY5" fmla="*/ 2082938 h 2082981"/>
              <a:gd name="connsiteX6" fmla="*/ 12867381 w 12867381"/>
              <a:gd name="connsiteY6" fmla="*/ 0 h 2082981"/>
              <a:gd name="connsiteX0" fmla="*/ 0 w 12867381"/>
              <a:gd name="connsiteY0" fmla="*/ 88377 h 3375785"/>
              <a:gd name="connsiteX1" fmla="*/ 2580685 w 12867381"/>
              <a:gd name="connsiteY1" fmla="*/ 3375712 h 3375785"/>
              <a:gd name="connsiteX2" fmla="*/ 4585864 w 12867381"/>
              <a:gd name="connsiteY2" fmla="*/ 191084 h 3375785"/>
              <a:gd name="connsiteX3" fmla="*/ 6409636 w 12867381"/>
              <a:gd name="connsiteY3" fmla="*/ 2076587 h 3375785"/>
              <a:gd name="connsiteX4" fmla="*/ 8296002 w 12867381"/>
              <a:gd name="connsiteY4" fmla="*/ 162241 h 3375785"/>
              <a:gd name="connsiteX5" fmla="*/ 10198540 w 12867381"/>
              <a:gd name="connsiteY5" fmla="*/ 2082938 h 3375785"/>
              <a:gd name="connsiteX6" fmla="*/ 12867381 w 12867381"/>
              <a:gd name="connsiteY6" fmla="*/ 0 h 3375785"/>
              <a:gd name="connsiteX0" fmla="*/ 0 w 12867381"/>
              <a:gd name="connsiteY0" fmla="*/ 88377 h 3397061"/>
              <a:gd name="connsiteX1" fmla="*/ 2580685 w 12867381"/>
              <a:gd name="connsiteY1" fmla="*/ 3375712 h 3397061"/>
              <a:gd name="connsiteX2" fmla="*/ 4585864 w 12867381"/>
              <a:gd name="connsiteY2" fmla="*/ 191084 h 3397061"/>
              <a:gd name="connsiteX3" fmla="*/ 6409636 w 12867381"/>
              <a:gd name="connsiteY3" fmla="*/ 2076587 h 3397061"/>
              <a:gd name="connsiteX4" fmla="*/ 8296002 w 12867381"/>
              <a:gd name="connsiteY4" fmla="*/ 162241 h 3397061"/>
              <a:gd name="connsiteX5" fmla="*/ 10198540 w 12867381"/>
              <a:gd name="connsiteY5" fmla="*/ 2082938 h 3397061"/>
              <a:gd name="connsiteX6" fmla="*/ 12867381 w 12867381"/>
              <a:gd name="connsiteY6" fmla="*/ 0 h 3397061"/>
              <a:gd name="connsiteX0" fmla="*/ 0 w 12867381"/>
              <a:gd name="connsiteY0" fmla="*/ 88377 h 3463630"/>
              <a:gd name="connsiteX1" fmla="*/ 2580685 w 12867381"/>
              <a:gd name="connsiteY1" fmla="*/ 3375712 h 3463630"/>
              <a:gd name="connsiteX2" fmla="*/ 4585864 w 12867381"/>
              <a:gd name="connsiteY2" fmla="*/ 191084 h 3463630"/>
              <a:gd name="connsiteX3" fmla="*/ 6409636 w 12867381"/>
              <a:gd name="connsiteY3" fmla="*/ 2076587 h 3463630"/>
              <a:gd name="connsiteX4" fmla="*/ 8296002 w 12867381"/>
              <a:gd name="connsiteY4" fmla="*/ 162241 h 3463630"/>
              <a:gd name="connsiteX5" fmla="*/ 10198540 w 12867381"/>
              <a:gd name="connsiteY5" fmla="*/ 2082938 h 3463630"/>
              <a:gd name="connsiteX6" fmla="*/ 12867381 w 12867381"/>
              <a:gd name="connsiteY6" fmla="*/ 0 h 3463630"/>
              <a:gd name="connsiteX0" fmla="*/ 0 w 12867381"/>
              <a:gd name="connsiteY0" fmla="*/ 88377 h 3410311"/>
              <a:gd name="connsiteX1" fmla="*/ 2580685 w 12867381"/>
              <a:gd name="connsiteY1" fmla="*/ 3375712 h 3410311"/>
              <a:gd name="connsiteX2" fmla="*/ 4585864 w 12867381"/>
              <a:gd name="connsiteY2" fmla="*/ 191084 h 3410311"/>
              <a:gd name="connsiteX3" fmla="*/ 6409636 w 12867381"/>
              <a:gd name="connsiteY3" fmla="*/ 2076587 h 3410311"/>
              <a:gd name="connsiteX4" fmla="*/ 8296002 w 12867381"/>
              <a:gd name="connsiteY4" fmla="*/ 162241 h 3410311"/>
              <a:gd name="connsiteX5" fmla="*/ 10198540 w 12867381"/>
              <a:gd name="connsiteY5" fmla="*/ 2082938 h 3410311"/>
              <a:gd name="connsiteX6" fmla="*/ 12867381 w 12867381"/>
              <a:gd name="connsiteY6" fmla="*/ 0 h 3410311"/>
              <a:gd name="connsiteX0" fmla="*/ 0 w 12867381"/>
              <a:gd name="connsiteY0" fmla="*/ 88377 h 3504824"/>
              <a:gd name="connsiteX1" fmla="*/ 2255564 w 12867381"/>
              <a:gd name="connsiteY1" fmla="*/ 3470962 h 3504824"/>
              <a:gd name="connsiteX2" fmla="*/ 4585864 w 12867381"/>
              <a:gd name="connsiteY2" fmla="*/ 191084 h 3504824"/>
              <a:gd name="connsiteX3" fmla="*/ 6409636 w 12867381"/>
              <a:gd name="connsiteY3" fmla="*/ 2076587 h 3504824"/>
              <a:gd name="connsiteX4" fmla="*/ 8296002 w 12867381"/>
              <a:gd name="connsiteY4" fmla="*/ 162241 h 3504824"/>
              <a:gd name="connsiteX5" fmla="*/ 10198540 w 12867381"/>
              <a:gd name="connsiteY5" fmla="*/ 2082938 h 3504824"/>
              <a:gd name="connsiteX6" fmla="*/ 12867381 w 12867381"/>
              <a:gd name="connsiteY6" fmla="*/ 0 h 3504824"/>
              <a:gd name="connsiteX0" fmla="*/ 0 w 12867381"/>
              <a:gd name="connsiteY0" fmla="*/ 88377 h 3506747"/>
              <a:gd name="connsiteX1" fmla="*/ 2255564 w 12867381"/>
              <a:gd name="connsiteY1" fmla="*/ 3470962 h 3506747"/>
              <a:gd name="connsiteX2" fmla="*/ 4585864 w 12867381"/>
              <a:gd name="connsiteY2" fmla="*/ 191084 h 3506747"/>
              <a:gd name="connsiteX3" fmla="*/ 6409636 w 12867381"/>
              <a:gd name="connsiteY3" fmla="*/ 2076587 h 3506747"/>
              <a:gd name="connsiteX4" fmla="*/ 8296002 w 12867381"/>
              <a:gd name="connsiteY4" fmla="*/ 162241 h 3506747"/>
              <a:gd name="connsiteX5" fmla="*/ 10198540 w 12867381"/>
              <a:gd name="connsiteY5" fmla="*/ 2082938 h 3506747"/>
              <a:gd name="connsiteX6" fmla="*/ 12867381 w 12867381"/>
              <a:gd name="connsiteY6" fmla="*/ 0 h 3506747"/>
              <a:gd name="connsiteX0" fmla="*/ 0 w 12867381"/>
              <a:gd name="connsiteY0" fmla="*/ 88377 h 3531946"/>
              <a:gd name="connsiteX1" fmla="*/ 2430629 w 12867381"/>
              <a:gd name="connsiteY1" fmla="*/ 3496362 h 3531946"/>
              <a:gd name="connsiteX2" fmla="*/ 4585864 w 12867381"/>
              <a:gd name="connsiteY2" fmla="*/ 191084 h 3531946"/>
              <a:gd name="connsiteX3" fmla="*/ 6409636 w 12867381"/>
              <a:gd name="connsiteY3" fmla="*/ 2076587 h 3531946"/>
              <a:gd name="connsiteX4" fmla="*/ 8296002 w 12867381"/>
              <a:gd name="connsiteY4" fmla="*/ 162241 h 3531946"/>
              <a:gd name="connsiteX5" fmla="*/ 10198540 w 12867381"/>
              <a:gd name="connsiteY5" fmla="*/ 2082938 h 3531946"/>
              <a:gd name="connsiteX6" fmla="*/ 12867381 w 12867381"/>
              <a:gd name="connsiteY6" fmla="*/ 0 h 3531946"/>
              <a:gd name="connsiteX0" fmla="*/ 0 w 12867381"/>
              <a:gd name="connsiteY0" fmla="*/ 1154523 h 4569798"/>
              <a:gd name="connsiteX1" fmla="*/ 2430629 w 12867381"/>
              <a:gd name="connsiteY1" fmla="*/ 4562508 h 4569798"/>
              <a:gd name="connsiteX2" fmla="*/ 5054787 w 12867381"/>
              <a:gd name="connsiteY2" fmla="*/ 12631 h 4569798"/>
              <a:gd name="connsiteX3" fmla="*/ 6409636 w 12867381"/>
              <a:gd name="connsiteY3" fmla="*/ 3142733 h 4569798"/>
              <a:gd name="connsiteX4" fmla="*/ 8296002 w 12867381"/>
              <a:gd name="connsiteY4" fmla="*/ 1228387 h 4569798"/>
              <a:gd name="connsiteX5" fmla="*/ 10198540 w 12867381"/>
              <a:gd name="connsiteY5" fmla="*/ 3149084 h 4569798"/>
              <a:gd name="connsiteX6" fmla="*/ 12867381 w 12867381"/>
              <a:gd name="connsiteY6" fmla="*/ 1066146 h 4569798"/>
              <a:gd name="connsiteX0" fmla="*/ 0 w 12867381"/>
              <a:gd name="connsiteY0" fmla="*/ 1207700 h 4622977"/>
              <a:gd name="connsiteX1" fmla="*/ 2430629 w 12867381"/>
              <a:gd name="connsiteY1" fmla="*/ 4615685 h 4622977"/>
              <a:gd name="connsiteX2" fmla="*/ 5054787 w 12867381"/>
              <a:gd name="connsiteY2" fmla="*/ 65808 h 4622977"/>
              <a:gd name="connsiteX3" fmla="*/ 6409636 w 12867381"/>
              <a:gd name="connsiteY3" fmla="*/ 3195910 h 4622977"/>
              <a:gd name="connsiteX4" fmla="*/ 8296002 w 12867381"/>
              <a:gd name="connsiteY4" fmla="*/ 1281564 h 4622977"/>
              <a:gd name="connsiteX5" fmla="*/ 10198540 w 12867381"/>
              <a:gd name="connsiteY5" fmla="*/ 3202261 h 4622977"/>
              <a:gd name="connsiteX6" fmla="*/ 12867381 w 12867381"/>
              <a:gd name="connsiteY6" fmla="*/ 1119323 h 4622977"/>
              <a:gd name="connsiteX0" fmla="*/ 0 w 12867381"/>
              <a:gd name="connsiteY0" fmla="*/ 1164769 h 4580045"/>
              <a:gd name="connsiteX1" fmla="*/ 2430629 w 12867381"/>
              <a:gd name="connsiteY1" fmla="*/ 4572754 h 4580045"/>
              <a:gd name="connsiteX2" fmla="*/ 5054787 w 12867381"/>
              <a:gd name="connsiteY2" fmla="*/ 22877 h 4580045"/>
              <a:gd name="connsiteX3" fmla="*/ 6409636 w 12867381"/>
              <a:gd name="connsiteY3" fmla="*/ 3152979 h 4580045"/>
              <a:gd name="connsiteX4" fmla="*/ 8296002 w 12867381"/>
              <a:gd name="connsiteY4" fmla="*/ 1238633 h 4580045"/>
              <a:gd name="connsiteX5" fmla="*/ 10198540 w 12867381"/>
              <a:gd name="connsiteY5" fmla="*/ 3159330 h 4580045"/>
              <a:gd name="connsiteX6" fmla="*/ 12867381 w 12867381"/>
              <a:gd name="connsiteY6" fmla="*/ 1076392 h 4580045"/>
              <a:gd name="connsiteX0" fmla="*/ 0 w 12867381"/>
              <a:gd name="connsiteY0" fmla="*/ 1166437 h 4581713"/>
              <a:gd name="connsiteX1" fmla="*/ 2430629 w 12867381"/>
              <a:gd name="connsiteY1" fmla="*/ 4574422 h 4581713"/>
              <a:gd name="connsiteX2" fmla="*/ 5054787 w 12867381"/>
              <a:gd name="connsiteY2" fmla="*/ 24545 h 4581713"/>
              <a:gd name="connsiteX3" fmla="*/ 6409636 w 12867381"/>
              <a:gd name="connsiteY3" fmla="*/ 3154647 h 4581713"/>
              <a:gd name="connsiteX4" fmla="*/ 8296002 w 12867381"/>
              <a:gd name="connsiteY4" fmla="*/ 1240301 h 4581713"/>
              <a:gd name="connsiteX5" fmla="*/ 10198540 w 12867381"/>
              <a:gd name="connsiteY5" fmla="*/ 3160998 h 4581713"/>
              <a:gd name="connsiteX6" fmla="*/ 12867381 w 12867381"/>
              <a:gd name="connsiteY6" fmla="*/ 1078060 h 4581713"/>
              <a:gd name="connsiteX0" fmla="*/ 0 w 12867381"/>
              <a:gd name="connsiteY0" fmla="*/ 1204316 h 4620064"/>
              <a:gd name="connsiteX1" fmla="*/ 2430629 w 12867381"/>
              <a:gd name="connsiteY1" fmla="*/ 4612301 h 4620064"/>
              <a:gd name="connsiteX2" fmla="*/ 5254861 w 12867381"/>
              <a:gd name="connsiteY2" fmla="*/ 24324 h 4620064"/>
              <a:gd name="connsiteX3" fmla="*/ 6409636 w 12867381"/>
              <a:gd name="connsiteY3" fmla="*/ 3192526 h 4620064"/>
              <a:gd name="connsiteX4" fmla="*/ 8296002 w 12867381"/>
              <a:gd name="connsiteY4" fmla="*/ 1278180 h 4620064"/>
              <a:gd name="connsiteX5" fmla="*/ 10198540 w 12867381"/>
              <a:gd name="connsiteY5" fmla="*/ 3198877 h 4620064"/>
              <a:gd name="connsiteX6" fmla="*/ 12867381 w 12867381"/>
              <a:gd name="connsiteY6" fmla="*/ 1115939 h 4620064"/>
              <a:gd name="connsiteX0" fmla="*/ 0 w 12867381"/>
              <a:gd name="connsiteY0" fmla="*/ 1185377 h 4600887"/>
              <a:gd name="connsiteX1" fmla="*/ 2430629 w 12867381"/>
              <a:gd name="connsiteY1" fmla="*/ 4593362 h 4600887"/>
              <a:gd name="connsiteX2" fmla="*/ 5154824 w 12867381"/>
              <a:gd name="connsiteY2" fmla="*/ 24434 h 4600887"/>
              <a:gd name="connsiteX3" fmla="*/ 6409636 w 12867381"/>
              <a:gd name="connsiteY3" fmla="*/ 3173587 h 4600887"/>
              <a:gd name="connsiteX4" fmla="*/ 8296002 w 12867381"/>
              <a:gd name="connsiteY4" fmla="*/ 1259241 h 4600887"/>
              <a:gd name="connsiteX5" fmla="*/ 10198540 w 12867381"/>
              <a:gd name="connsiteY5" fmla="*/ 3179938 h 4600887"/>
              <a:gd name="connsiteX6" fmla="*/ 12867381 w 12867381"/>
              <a:gd name="connsiteY6" fmla="*/ 1097000 h 4600887"/>
              <a:gd name="connsiteX0" fmla="*/ 0 w 12867381"/>
              <a:gd name="connsiteY0" fmla="*/ 1185377 h 4614364"/>
              <a:gd name="connsiteX1" fmla="*/ 2430629 w 12867381"/>
              <a:gd name="connsiteY1" fmla="*/ 4593362 h 4614364"/>
              <a:gd name="connsiteX2" fmla="*/ 5154824 w 12867381"/>
              <a:gd name="connsiteY2" fmla="*/ 24434 h 4614364"/>
              <a:gd name="connsiteX3" fmla="*/ 6409636 w 12867381"/>
              <a:gd name="connsiteY3" fmla="*/ 3173587 h 4614364"/>
              <a:gd name="connsiteX4" fmla="*/ 8296002 w 12867381"/>
              <a:gd name="connsiteY4" fmla="*/ 1259241 h 4614364"/>
              <a:gd name="connsiteX5" fmla="*/ 10198540 w 12867381"/>
              <a:gd name="connsiteY5" fmla="*/ 3179938 h 4614364"/>
              <a:gd name="connsiteX6" fmla="*/ 12867381 w 12867381"/>
              <a:gd name="connsiteY6" fmla="*/ 1097000 h 4614364"/>
              <a:gd name="connsiteX0" fmla="*/ 0 w 12867381"/>
              <a:gd name="connsiteY0" fmla="*/ 1185377 h 4661641"/>
              <a:gd name="connsiteX1" fmla="*/ 2430629 w 12867381"/>
              <a:gd name="connsiteY1" fmla="*/ 4593362 h 4661641"/>
              <a:gd name="connsiteX2" fmla="*/ 5154824 w 12867381"/>
              <a:gd name="connsiteY2" fmla="*/ 24434 h 4661641"/>
              <a:gd name="connsiteX3" fmla="*/ 6409636 w 12867381"/>
              <a:gd name="connsiteY3" fmla="*/ 3173587 h 4661641"/>
              <a:gd name="connsiteX4" fmla="*/ 8296002 w 12867381"/>
              <a:gd name="connsiteY4" fmla="*/ 1259241 h 4661641"/>
              <a:gd name="connsiteX5" fmla="*/ 10198540 w 12867381"/>
              <a:gd name="connsiteY5" fmla="*/ 3179938 h 4661641"/>
              <a:gd name="connsiteX6" fmla="*/ 12867381 w 12867381"/>
              <a:gd name="connsiteY6" fmla="*/ 1097000 h 4661641"/>
              <a:gd name="connsiteX0" fmla="*/ 0 w 12867381"/>
              <a:gd name="connsiteY0" fmla="*/ 1160968 h 4656826"/>
              <a:gd name="connsiteX1" fmla="*/ 2430629 w 12867381"/>
              <a:gd name="connsiteY1" fmla="*/ 4568953 h 4656826"/>
              <a:gd name="connsiteX2" fmla="*/ 5154824 w 12867381"/>
              <a:gd name="connsiteY2" fmla="*/ 25 h 4656826"/>
              <a:gd name="connsiteX3" fmla="*/ 7760138 w 12867381"/>
              <a:gd name="connsiteY3" fmla="*/ 4647777 h 4656826"/>
              <a:gd name="connsiteX4" fmla="*/ 8296002 w 12867381"/>
              <a:gd name="connsiteY4" fmla="*/ 1234832 h 4656826"/>
              <a:gd name="connsiteX5" fmla="*/ 10198540 w 12867381"/>
              <a:gd name="connsiteY5" fmla="*/ 3155529 h 4656826"/>
              <a:gd name="connsiteX6" fmla="*/ 12867381 w 12867381"/>
              <a:gd name="connsiteY6" fmla="*/ 1072591 h 4656826"/>
              <a:gd name="connsiteX0" fmla="*/ 0 w 12867381"/>
              <a:gd name="connsiteY0" fmla="*/ 1160968 h 4648434"/>
              <a:gd name="connsiteX1" fmla="*/ 2430629 w 12867381"/>
              <a:gd name="connsiteY1" fmla="*/ 4568953 h 4648434"/>
              <a:gd name="connsiteX2" fmla="*/ 5154824 w 12867381"/>
              <a:gd name="connsiteY2" fmla="*/ 25 h 4648434"/>
              <a:gd name="connsiteX3" fmla="*/ 7760138 w 12867381"/>
              <a:gd name="connsiteY3" fmla="*/ 4647777 h 4648434"/>
              <a:gd name="connsiteX4" fmla="*/ 8296002 w 12867381"/>
              <a:gd name="connsiteY4" fmla="*/ 1234832 h 4648434"/>
              <a:gd name="connsiteX5" fmla="*/ 10198540 w 12867381"/>
              <a:gd name="connsiteY5" fmla="*/ 3155529 h 4648434"/>
              <a:gd name="connsiteX6" fmla="*/ 12867381 w 12867381"/>
              <a:gd name="connsiteY6" fmla="*/ 1072591 h 4648434"/>
              <a:gd name="connsiteX0" fmla="*/ 0 w 12867381"/>
              <a:gd name="connsiteY0" fmla="*/ 1160968 h 4648513"/>
              <a:gd name="connsiteX1" fmla="*/ 2430629 w 12867381"/>
              <a:gd name="connsiteY1" fmla="*/ 4568953 h 4648513"/>
              <a:gd name="connsiteX2" fmla="*/ 5154824 w 12867381"/>
              <a:gd name="connsiteY2" fmla="*/ 25 h 4648513"/>
              <a:gd name="connsiteX3" fmla="*/ 7760138 w 12867381"/>
              <a:gd name="connsiteY3" fmla="*/ 4647777 h 4648513"/>
              <a:gd name="connsiteX4" fmla="*/ 8296002 w 12867381"/>
              <a:gd name="connsiteY4" fmla="*/ 1234832 h 4648513"/>
              <a:gd name="connsiteX5" fmla="*/ 12867381 w 12867381"/>
              <a:gd name="connsiteY5" fmla="*/ 1072591 h 4648513"/>
              <a:gd name="connsiteX0" fmla="*/ 0 w 12867381"/>
              <a:gd name="connsiteY0" fmla="*/ 1160968 h 4648064"/>
              <a:gd name="connsiteX1" fmla="*/ 2430629 w 12867381"/>
              <a:gd name="connsiteY1" fmla="*/ 4568953 h 4648064"/>
              <a:gd name="connsiteX2" fmla="*/ 5154824 w 12867381"/>
              <a:gd name="connsiteY2" fmla="*/ 25 h 4648064"/>
              <a:gd name="connsiteX3" fmla="*/ 7760138 w 12867381"/>
              <a:gd name="connsiteY3" fmla="*/ 4647777 h 4648064"/>
              <a:gd name="connsiteX4" fmla="*/ 9590233 w 12867381"/>
              <a:gd name="connsiteY4" fmla="*/ 231533 h 4648064"/>
              <a:gd name="connsiteX5" fmla="*/ 12867381 w 12867381"/>
              <a:gd name="connsiteY5" fmla="*/ 1072591 h 4648064"/>
              <a:gd name="connsiteX0" fmla="*/ 0 w 12867381"/>
              <a:gd name="connsiteY0" fmla="*/ 1160968 h 4647907"/>
              <a:gd name="connsiteX1" fmla="*/ 2430629 w 12867381"/>
              <a:gd name="connsiteY1" fmla="*/ 4568953 h 4647907"/>
              <a:gd name="connsiteX2" fmla="*/ 5154824 w 12867381"/>
              <a:gd name="connsiteY2" fmla="*/ 25 h 4647907"/>
              <a:gd name="connsiteX3" fmla="*/ 7760138 w 12867381"/>
              <a:gd name="connsiteY3" fmla="*/ 4647777 h 4647907"/>
              <a:gd name="connsiteX4" fmla="*/ 9590233 w 12867381"/>
              <a:gd name="connsiteY4" fmla="*/ 231533 h 4647907"/>
              <a:gd name="connsiteX5" fmla="*/ 12867381 w 12867381"/>
              <a:gd name="connsiteY5" fmla="*/ 1072591 h 4647907"/>
              <a:gd name="connsiteX0" fmla="*/ 0 w 12867381"/>
              <a:gd name="connsiteY0" fmla="*/ 1160968 h 4647914"/>
              <a:gd name="connsiteX1" fmla="*/ 2430629 w 12867381"/>
              <a:gd name="connsiteY1" fmla="*/ 4568953 h 4647914"/>
              <a:gd name="connsiteX2" fmla="*/ 5154824 w 12867381"/>
              <a:gd name="connsiteY2" fmla="*/ 25 h 4647914"/>
              <a:gd name="connsiteX3" fmla="*/ 7760138 w 12867381"/>
              <a:gd name="connsiteY3" fmla="*/ 4647777 h 4647914"/>
              <a:gd name="connsiteX4" fmla="*/ 9590233 w 12867381"/>
              <a:gd name="connsiteY4" fmla="*/ 231533 h 4647914"/>
              <a:gd name="connsiteX5" fmla="*/ 12867381 w 12867381"/>
              <a:gd name="connsiteY5" fmla="*/ 1072591 h 4647914"/>
              <a:gd name="connsiteX0" fmla="*/ 0 w 12867381"/>
              <a:gd name="connsiteY0" fmla="*/ 1160968 h 4647782"/>
              <a:gd name="connsiteX1" fmla="*/ 2430629 w 12867381"/>
              <a:gd name="connsiteY1" fmla="*/ 4568953 h 4647782"/>
              <a:gd name="connsiteX2" fmla="*/ 5154824 w 12867381"/>
              <a:gd name="connsiteY2" fmla="*/ 25 h 4647782"/>
              <a:gd name="connsiteX3" fmla="*/ 7760138 w 12867381"/>
              <a:gd name="connsiteY3" fmla="*/ 4647777 h 4647782"/>
              <a:gd name="connsiteX4" fmla="*/ 9590233 w 12867381"/>
              <a:gd name="connsiteY4" fmla="*/ 231533 h 4647782"/>
              <a:gd name="connsiteX5" fmla="*/ 12867381 w 12867381"/>
              <a:gd name="connsiteY5" fmla="*/ 1072591 h 4647782"/>
              <a:gd name="connsiteX0" fmla="*/ 0 w 12867381"/>
              <a:gd name="connsiteY0" fmla="*/ 1161043 h 4647857"/>
              <a:gd name="connsiteX1" fmla="*/ 2430629 w 12867381"/>
              <a:gd name="connsiteY1" fmla="*/ 4569028 h 4647857"/>
              <a:gd name="connsiteX2" fmla="*/ 5154824 w 12867381"/>
              <a:gd name="connsiteY2" fmla="*/ 100 h 4647857"/>
              <a:gd name="connsiteX3" fmla="*/ 7760138 w 12867381"/>
              <a:gd name="connsiteY3" fmla="*/ 4647852 h 4647857"/>
              <a:gd name="connsiteX4" fmla="*/ 9590233 w 12867381"/>
              <a:gd name="connsiteY4" fmla="*/ 231608 h 4647857"/>
              <a:gd name="connsiteX5" fmla="*/ 12867381 w 12867381"/>
              <a:gd name="connsiteY5" fmla="*/ 1072666 h 4647857"/>
              <a:gd name="connsiteX0" fmla="*/ 0 w 12867381"/>
              <a:gd name="connsiteY0" fmla="*/ 1161043 h 4647876"/>
              <a:gd name="connsiteX1" fmla="*/ 2430629 w 12867381"/>
              <a:gd name="connsiteY1" fmla="*/ 4569028 h 4647876"/>
              <a:gd name="connsiteX2" fmla="*/ 5154824 w 12867381"/>
              <a:gd name="connsiteY2" fmla="*/ 100 h 4647876"/>
              <a:gd name="connsiteX3" fmla="*/ 7760138 w 12867381"/>
              <a:gd name="connsiteY3" fmla="*/ 4647852 h 4647876"/>
              <a:gd name="connsiteX4" fmla="*/ 9590233 w 12867381"/>
              <a:gd name="connsiteY4" fmla="*/ 231608 h 4647876"/>
              <a:gd name="connsiteX5" fmla="*/ 12867381 w 12867381"/>
              <a:gd name="connsiteY5" fmla="*/ 1072666 h 4647876"/>
              <a:gd name="connsiteX0" fmla="*/ 0 w 12867381"/>
              <a:gd name="connsiteY0" fmla="*/ 1161043 h 4647907"/>
              <a:gd name="connsiteX1" fmla="*/ 2430629 w 12867381"/>
              <a:gd name="connsiteY1" fmla="*/ 4569028 h 4647907"/>
              <a:gd name="connsiteX2" fmla="*/ 5154824 w 12867381"/>
              <a:gd name="connsiteY2" fmla="*/ 100 h 4647907"/>
              <a:gd name="connsiteX3" fmla="*/ 7760138 w 12867381"/>
              <a:gd name="connsiteY3" fmla="*/ 4647852 h 4647907"/>
              <a:gd name="connsiteX4" fmla="*/ 9590233 w 12867381"/>
              <a:gd name="connsiteY4" fmla="*/ 231608 h 4647907"/>
              <a:gd name="connsiteX5" fmla="*/ 12867381 w 12867381"/>
              <a:gd name="connsiteY5" fmla="*/ 1072666 h 4647907"/>
              <a:gd name="connsiteX0" fmla="*/ 0 w 12867381"/>
              <a:gd name="connsiteY0" fmla="*/ 1161043 h 4647906"/>
              <a:gd name="connsiteX1" fmla="*/ 2430629 w 12867381"/>
              <a:gd name="connsiteY1" fmla="*/ 4569028 h 4647906"/>
              <a:gd name="connsiteX2" fmla="*/ 5154824 w 12867381"/>
              <a:gd name="connsiteY2" fmla="*/ 100 h 4647906"/>
              <a:gd name="connsiteX3" fmla="*/ 7760138 w 12867381"/>
              <a:gd name="connsiteY3" fmla="*/ 4647852 h 4647906"/>
              <a:gd name="connsiteX4" fmla="*/ 9590233 w 12867381"/>
              <a:gd name="connsiteY4" fmla="*/ 231608 h 4647906"/>
              <a:gd name="connsiteX5" fmla="*/ 12867381 w 12867381"/>
              <a:gd name="connsiteY5" fmla="*/ 1072666 h 4647906"/>
              <a:gd name="connsiteX0" fmla="*/ 0 w 12867381"/>
              <a:gd name="connsiteY0" fmla="*/ 1160980 h 4647845"/>
              <a:gd name="connsiteX1" fmla="*/ 2661964 w 12867381"/>
              <a:gd name="connsiteY1" fmla="*/ 4556266 h 4647845"/>
              <a:gd name="connsiteX2" fmla="*/ 5154824 w 12867381"/>
              <a:gd name="connsiteY2" fmla="*/ 37 h 4647845"/>
              <a:gd name="connsiteX3" fmla="*/ 7760138 w 12867381"/>
              <a:gd name="connsiteY3" fmla="*/ 4647789 h 4647845"/>
              <a:gd name="connsiteX4" fmla="*/ 9590233 w 12867381"/>
              <a:gd name="connsiteY4" fmla="*/ 231545 h 4647845"/>
              <a:gd name="connsiteX5" fmla="*/ 12867381 w 12867381"/>
              <a:gd name="connsiteY5" fmla="*/ 1072603 h 4647845"/>
              <a:gd name="connsiteX0" fmla="*/ 0 w 12867381"/>
              <a:gd name="connsiteY0" fmla="*/ 1161027 h 4647889"/>
              <a:gd name="connsiteX1" fmla="*/ 2661964 w 12867381"/>
              <a:gd name="connsiteY1" fmla="*/ 4556313 h 4647889"/>
              <a:gd name="connsiteX2" fmla="*/ 5154824 w 12867381"/>
              <a:gd name="connsiteY2" fmla="*/ 84 h 4647889"/>
              <a:gd name="connsiteX3" fmla="*/ 7760138 w 12867381"/>
              <a:gd name="connsiteY3" fmla="*/ 4647836 h 4647889"/>
              <a:gd name="connsiteX4" fmla="*/ 9590233 w 12867381"/>
              <a:gd name="connsiteY4" fmla="*/ 231592 h 4647889"/>
              <a:gd name="connsiteX5" fmla="*/ 12867381 w 12867381"/>
              <a:gd name="connsiteY5" fmla="*/ 1072650 h 4647889"/>
              <a:gd name="connsiteX0" fmla="*/ 0 w 12867381"/>
              <a:gd name="connsiteY0" fmla="*/ 1161027 h 4647870"/>
              <a:gd name="connsiteX1" fmla="*/ 2661964 w 12867381"/>
              <a:gd name="connsiteY1" fmla="*/ 4556313 h 4647870"/>
              <a:gd name="connsiteX2" fmla="*/ 5154824 w 12867381"/>
              <a:gd name="connsiteY2" fmla="*/ 84 h 4647870"/>
              <a:gd name="connsiteX3" fmla="*/ 7760138 w 12867381"/>
              <a:gd name="connsiteY3" fmla="*/ 4647836 h 4647870"/>
              <a:gd name="connsiteX4" fmla="*/ 9590233 w 12867381"/>
              <a:gd name="connsiteY4" fmla="*/ 231592 h 4647870"/>
              <a:gd name="connsiteX5" fmla="*/ 12867381 w 12867381"/>
              <a:gd name="connsiteY5" fmla="*/ 1072650 h 4647870"/>
              <a:gd name="connsiteX0" fmla="*/ 0 w 12867381"/>
              <a:gd name="connsiteY0" fmla="*/ 1161027 h 4648121"/>
              <a:gd name="connsiteX1" fmla="*/ 2661964 w 12867381"/>
              <a:gd name="connsiteY1" fmla="*/ 4556313 h 4648121"/>
              <a:gd name="connsiteX2" fmla="*/ 5154824 w 12867381"/>
              <a:gd name="connsiteY2" fmla="*/ 84 h 4648121"/>
              <a:gd name="connsiteX3" fmla="*/ 7760138 w 12867381"/>
              <a:gd name="connsiteY3" fmla="*/ 4647836 h 4648121"/>
              <a:gd name="connsiteX4" fmla="*/ 9371401 w 12867381"/>
              <a:gd name="connsiteY4" fmla="*/ 225241 h 4648121"/>
              <a:gd name="connsiteX5" fmla="*/ 12867381 w 12867381"/>
              <a:gd name="connsiteY5" fmla="*/ 1072650 h 4648121"/>
              <a:gd name="connsiteX0" fmla="*/ 0 w 12867381"/>
              <a:gd name="connsiteY0" fmla="*/ 1161027 h 4647866"/>
              <a:gd name="connsiteX1" fmla="*/ 2661964 w 12867381"/>
              <a:gd name="connsiteY1" fmla="*/ 4556313 h 4647866"/>
              <a:gd name="connsiteX2" fmla="*/ 5154824 w 12867381"/>
              <a:gd name="connsiteY2" fmla="*/ 84 h 4647866"/>
              <a:gd name="connsiteX3" fmla="*/ 7760138 w 12867381"/>
              <a:gd name="connsiteY3" fmla="*/ 4647836 h 4647866"/>
              <a:gd name="connsiteX4" fmla="*/ 9371401 w 12867381"/>
              <a:gd name="connsiteY4" fmla="*/ 225241 h 4647866"/>
              <a:gd name="connsiteX5" fmla="*/ 12867381 w 12867381"/>
              <a:gd name="connsiteY5" fmla="*/ 1072650 h 4647866"/>
              <a:gd name="connsiteX0" fmla="*/ 0 w 12867381"/>
              <a:gd name="connsiteY0" fmla="*/ 1160998 h 4666886"/>
              <a:gd name="connsiteX1" fmla="*/ 2661964 w 12867381"/>
              <a:gd name="connsiteY1" fmla="*/ 4556284 h 4666886"/>
              <a:gd name="connsiteX2" fmla="*/ 5154824 w 12867381"/>
              <a:gd name="connsiteY2" fmla="*/ 55 h 4666886"/>
              <a:gd name="connsiteX3" fmla="*/ 7547560 w 12867381"/>
              <a:gd name="connsiteY3" fmla="*/ 4666858 h 4666886"/>
              <a:gd name="connsiteX4" fmla="*/ 9371401 w 12867381"/>
              <a:gd name="connsiteY4" fmla="*/ 225212 h 4666886"/>
              <a:gd name="connsiteX5" fmla="*/ 12867381 w 12867381"/>
              <a:gd name="connsiteY5" fmla="*/ 1072621 h 4666886"/>
              <a:gd name="connsiteX0" fmla="*/ 0 w 12867381"/>
              <a:gd name="connsiteY0" fmla="*/ 1167350 h 4673495"/>
              <a:gd name="connsiteX1" fmla="*/ 2661964 w 12867381"/>
              <a:gd name="connsiteY1" fmla="*/ 4562636 h 4673495"/>
              <a:gd name="connsiteX2" fmla="*/ 5192338 w 12867381"/>
              <a:gd name="connsiteY2" fmla="*/ 57 h 4673495"/>
              <a:gd name="connsiteX3" fmla="*/ 7547560 w 12867381"/>
              <a:gd name="connsiteY3" fmla="*/ 4673210 h 4673495"/>
              <a:gd name="connsiteX4" fmla="*/ 9371401 w 12867381"/>
              <a:gd name="connsiteY4" fmla="*/ 231564 h 4673495"/>
              <a:gd name="connsiteX5" fmla="*/ 12867381 w 12867381"/>
              <a:gd name="connsiteY5" fmla="*/ 1078973 h 4673495"/>
              <a:gd name="connsiteX0" fmla="*/ 0 w 12867381"/>
              <a:gd name="connsiteY0" fmla="*/ 1167350 h 4673495"/>
              <a:gd name="connsiteX1" fmla="*/ 2661964 w 12867381"/>
              <a:gd name="connsiteY1" fmla="*/ 4562636 h 4673495"/>
              <a:gd name="connsiteX2" fmla="*/ 5192338 w 12867381"/>
              <a:gd name="connsiteY2" fmla="*/ 57 h 4673495"/>
              <a:gd name="connsiteX3" fmla="*/ 7547560 w 12867381"/>
              <a:gd name="connsiteY3" fmla="*/ 4673210 h 4673495"/>
              <a:gd name="connsiteX4" fmla="*/ 9371401 w 12867381"/>
              <a:gd name="connsiteY4" fmla="*/ 231564 h 4673495"/>
              <a:gd name="connsiteX5" fmla="*/ 12867381 w 12867381"/>
              <a:gd name="connsiteY5" fmla="*/ 1078973 h 4673495"/>
              <a:gd name="connsiteX0" fmla="*/ 0 w 12867381"/>
              <a:gd name="connsiteY0" fmla="*/ 1167347 h 4673492"/>
              <a:gd name="connsiteX1" fmla="*/ 2661964 w 12867381"/>
              <a:gd name="connsiteY1" fmla="*/ 4562633 h 4673492"/>
              <a:gd name="connsiteX2" fmla="*/ 5192338 w 12867381"/>
              <a:gd name="connsiteY2" fmla="*/ 54 h 4673492"/>
              <a:gd name="connsiteX3" fmla="*/ 7547560 w 12867381"/>
              <a:gd name="connsiteY3" fmla="*/ 4673207 h 4673492"/>
              <a:gd name="connsiteX4" fmla="*/ 9371401 w 12867381"/>
              <a:gd name="connsiteY4" fmla="*/ 231561 h 4673492"/>
              <a:gd name="connsiteX5" fmla="*/ 12867381 w 12867381"/>
              <a:gd name="connsiteY5" fmla="*/ 1078970 h 4673492"/>
              <a:gd name="connsiteX0" fmla="*/ 0 w 12867381"/>
              <a:gd name="connsiteY0" fmla="*/ 1167348 h 4673493"/>
              <a:gd name="connsiteX1" fmla="*/ 2661964 w 12867381"/>
              <a:gd name="connsiteY1" fmla="*/ 4562634 h 4673493"/>
              <a:gd name="connsiteX2" fmla="*/ 5192338 w 12867381"/>
              <a:gd name="connsiteY2" fmla="*/ 55 h 4673493"/>
              <a:gd name="connsiteX3" fmla="*/ 7547560 w 12867381"/>
              <a:gd name="connsiteY3" fmla="*/ 4673208 h 4673493"/>
              <a:gd name="connsiteX4" fmla="*/ 9371401 w 12867381"/>
              <a:gd name="connsiteY4" fmla="*/ 231562 h 4673493"/>
              <a:gd name="connsiteX5" fmla="*/ 12867381 w 12867381"/>
              <a:gd name="connsiteY5" fmla="*/ 1078971 h 4673493"/>
              <a:gd name="connsiteX0" fmla="*/ 0 w 12867381"/>
              <a:gd name="connsiteY0" fmla="*/ 1167460 h 4673605"/>
              <a:gd name="connsiteX1" fmla="*/ 2661964 w 12867381"/>
              <a:gd name="connsiteY1" fmla="*/ 4562746 h 4673605"/>
              <a:gd name="connsiteX2" fmla="*/ 5192338 w 12867381"/>
              <a:gd name="connsiteY2" fmla="*/ 167 h 4673605"/>
              <a:gd name="connsiteX3" fmla="*/ 7547560 w 12867381"/>
              <a:gd name="connsiteY3" fmla="*/ 4673320 h 4673605"/>
              <a:gd name="connsiteX4" fmla="*/ 9371401 w 12867381"/>
              <a:gd name="connsiteY4" fmla="*/ 231674 h 4673605"/>
              <a:gd name="connsiteX5" fmla="*/ 12867381 w 12867381"/>
              <a:gd name="connsiteY5" fmla="*/ 1079083 h 4673605"/>
              <a:gd name="connsiteX0" fmla="*/ 0 w 12867381"/>
              <a:gd name="connsiteY0" fmla="*/ 1167459 h 4673341"/>
              <a:gd name="connsiteX1" fmla="*/ 2661964 w 12867381"/>
              <a:gd name="connsiteY1" fmla="*/ 4562745 h 4673341"/>
              <a:gd name="connsiteX2" fmla="*/ 5192338 w 12867381"/>
              <a:gd name="connsiteY2" fmla="*/ 166 h 4673341"/>
              <a:gd name="connsiteX3" fmla="*/ 7547560 w 12867381"/>
              <a:gd name="connsiteY3" fmla="*/ 4673319 h 4673341"/>
              <a:gd name="connsiteX4" fmla="*/ 9371401 w 12867381"/>
              <a:gd name="connsiteY4" fmla="*/ 231673 h 4673341"/>
              <a:gd name="connsiteX5" fmla="*/ 12867381 w 12867381"/>
              <a:gd name="connsiteY5" fmla="*/ 1079082 h 4673341"/>
              <a:gd name="connsiteX0" fmla="*/ 0 w 12867381"/>
              <a:gd name="connsiteY0" fmla="*/ 1179294 h 4685177"/>
              <a:gd name="connsiteX1" fmla="*/ 2661964 w 12867381"/>
              <a:gd name="connsiteY1" fmla="*/ 4574580 h 4685177"/>
              <a:gd name="connsiteX2" fmla="*/ 5192338 w 12867381"/>
              <a:gd name="connsiteY2" fmla="*/ 12001 h 4685177"/>
              <a:gd name="connsiteX3" fmla="*/ 7547560 w 12867381"/>
              <a:gd name="connsiteY3" fmla="*/ 4685154 h 4685177"/>
              <a:gd name="connsiteX4" fmla="*/ 9371401 w 12867381"/>
              <a:gd name="connsiteY4" fmla="*/ 243508 h 4685177"/>
              <a:gd name="connsiteX5" fmla="*/ 12867381 w 12867381"/>
              <a:gd name="connsiteY5" fmla="*/ 1090917 h 4685177"/>
              <a:gd name="connsiteX0" fmla="*/ 0 w 12867381"/>
              <a:gd name="connsiteY0" fmla="*/ 1179294 h 4685457"/>
              <a:gd name="connsiteX1" fmla="*/ 2661964 w 12867381"/>
              <a:gd name="connsiteY1" fmla="*/ 4574580 h 4685457"/>
              <a:gd name="connsiteX2" fmla="*/ 5192338 w 12867381"/>
              <a:gd name="connsiteY2" fmla="*/ 12001 h 4685457"/>
              <a:gd name="connsiteX3" fmla="*/ 7547560 w 12867381"/>
              <a:gd name="connsiteY3" fmla="*/ 4685154 h 4685457"/>
              <a:gd name="connsiteX4" fmla="*/ 9371401 w 12867381"/>
              <a:gd name="connsiteY4" fmla="*/ 243508 h 4685457"/>
              <a:gd name="connsiteX5" fmla="*/ 12867381 w 12867381"/>
              <a:gd name="connsiteY5" fmla="*/ 1090917 h 4685457"/>
              <a:gd name="connsiteX0" fmla="*/ 0 w 12867381"/>
              <a:gd name="connsiteY0" fmla="*/ 1179294 h 4685458"/>
              <a:gd name="connsiteX1" fmla="*/ 2661964 w 12867381"/>
              <a:gd name="connsiteY1" fmla="*/ 4574580 h 4685458"/>
              <a:gd name="connsiteX2" fmla="*/ 5192338 w 12867381"/>
              <a:gd name="connsiteY2" fmla="*/ 12001 h 4685458"/>
              <a:gd name="connsiteX3" fmla="*/ 7547560 w 12867381"/>
              <a:gd name="connsiteY3" fmla="*/ 4685154 h 4685458"/>
              <a:gd name="connsiteX4" fmla="*/ 9371401 w 12867381"/>
              <a:gd name="connsiteY4" fmla="*/ 243508 h 4685458"/>
              <a:gd name="connsiteX5" fmla="*/ 12867381 w 12867381"/>
              <a:gd name="connsiteY5" fmla="*/ 1090917 h 4685458"/>
              <a:gd name="connsiteX0" fmla="*/ 0 w 12867381"/>
              <a:gd name="connsiteY0" fmla="*/ 1179294 h 4685458"/>
              <a:gd name="connsiteX1" fmla="*/ 2661964 w 12867381"/>
              <a:gd name="connsiteY1" fmla="*/ 4574580 h 4685458"/>
              <a:gd name="connsiteX2" fmla="*/ 5192338 w 12867381"/>
              <a:gd name="connsiteY2" fmla="*/ 12001 h 4685458"/>
              <a:gd name="connsiteX3" fmla="*/ 7547560 w 12867381"/>
              <a:gd name="connsiteY3" fmla="*/ 4685154 h 4685458"/>
              <a:gd name="connsiteX4" fmla="*/ 9371401 w 12867381"/>
              <a:gd name="connsiteY4" fmla="*/ 243508 h 4685458"/>
              <a:gd name="connsiteX5" fmla="*/ 12867381 w 12867381"/>
              <a:gd name="connsiteY5" fmla="*/ 1090917 h 4685458"/>
              <a:gd name="connsiteX0" fmla="*/ 0 w 12867381"/>
              <a:gd name="connsiteY0" fmla="*/ 1268901 h 4775391"/>
              <a:gd name="connsiteX1" fmla="*/ 2661964 w 12867381"/>
              <a:gd name="connsiteY1" fmla="*/ 4664187 h 4775391"/>
              <a:gd name="connsiteX2" fmla="*/ 5192338 w 12867381"/>
              <a:gd name="connsiteY2" fmla="*/ 8 h 4775391"/>
              <a:gd name="connsiteX3" fmla="*/ 7547560 w 12867381"/>
              <a:gd name="connsiteY3" fmla="*/ 4774761 h 4775391"/>
              <a:gd name="connsiteX4" fmla="*/ 9371401 w 12867381"/>
              <a:gd name="connsiteY4" fmla="*/ 333115 h 4775391"/>
              <a:gd name="connsiteX5" fmla="*/ 12867381 w 12867381"/>
              <a:gd name="connsiteY5" fmla="*/ 1180524 h 4775391"/>
              <a:gd name="connsiteX0" fmla="*/ 0 w 12867381"/>
              <a:gd name="connsiteY0" fmla="*/ 1268901 h 4775391"/>
              <a:gd name="connsiteX1" fmla="*/ 2661964 w 12867381"/>
              <a:gd name="connsiteY1" fmla="*/ 4664187 h 4775391"/>
              <a:gd name="connsiteX2" fmla="*/ 5192338 w 12867381"/>
              <a:gd name="connsiteY2" fmla="*/ 8 h 4775391"/>
              <a:gd name="connsiteX3" fmla="*/ 7547560 w 12867381"/>
              <a:gd name="connsiteY3" fmla="*/ 4774761 h 4775391"/>
              <a:gd name="connsiteX4" fmla="*/ 9371401 w 12867381"/>
              <a:gd name="connsiteY4" fmla="*/ 333115 h 4775391"/>
              <a:gd name="connsiteX5" fmla="*/ 12867381 w 12867381"/>
              <a:gd name="connsiteY5" fmla="*/ 1180524 h 4775391"/>
              <a:gd name="connsiteX0" fmla="*/ 0 w 12867381"/>
              <a:gd name="connsiteY0" fmla="*/ 1268901 h 4774824"/>
              <a:gd name="connsiteX1" fmla="*/ 2661964 w 12867381"/>
              <a:gd name="connsiteY1" fmla="*/ 4664187 h 4774824"/>
              <a:gd name="connsiteX2" fmla="*/ 5192338 w 12867381"/>
              <a:gd name="connsiteY2" fmla="*/ 8 h 4774824"/>
              <a:gd name="connsiteX3" fmla="*/ 7547560 w 12867381"/>
              <a:gd name="connsiteY3" fmla="*/ 4774761 h 4774824"/>
              <a:gd name="connsiteX4" fmla="*/ 9371401 w 12867381"/>
              <a:gd name="connsiteY4" fmla="*/ 333115 h 4774824"/>
              <a:gd name="connsiteX5" fmla="*/ 12867381 w 12867381"/>
              <a:gd name="connsiteY5" fmla="*/ 1180524 h 4774824"/>
              <a:gd name="connsiteX0" fmla="*/ 0 w 12867381"/>
              <a:gd name="connsiteY0" fmla="*/ 1268901 h 4774824"/>
              <a:gd name="connsiteX1" fmla="*/ 2661964 w 12867381"/>
              <a:gd name="connsiteY1" fmla="*/ 4664187 h 4774824"/>
              <a:gd name="connsiteX2" fmla="*/ 5192338 w 12867381"/>
              <a:gd name="connsiteY2" fmla="*/ 8 h 4774824"/>
              <a:gd name="connsiteX3" fmla="*/ 7547560 w 12867381"/>
              <a:gd name="connsiteY3" fmla="*/ 4774761 h 4774824"/>
              <a:gd name="connsiteX4" fmla="*/ 9371401 w 12867381"/>
              <a:gd name="connsiteY4" fmla="*/ 333115 h 4774824"/>
              <a:gd name="connsiteX5" fmla="*/ 12867381 w 12867381"/>
              <a:gd name="connsiteY5" fmla="*/ 1180524 h 4774824"/>
              <a:gd name="connsiteX0" fmla="*/ 0 w 12867381"/>
              <a:gd name="connsiteY0" fmla="*/ 1269384 h 4775307"/>
              <a:gd name="connsiteX1" fmla="*/ 2661964 w 12867381"/>
              <a:gd name="connsiteY1" fmla="*/ 4664670 h 4775307"/>
              <a:gd name="connsiteX2" fmla="*/ 5192338 w 12867381"/>
              <a:gd name="connsiteY2" fmla="*/ 491 h 4775307"/>
              <a:gd name="connsiteX3" fmla="*/ 7547560 w 12867381"/>
              <a:gd name="connsiteY3" fmla="*/ 4775244 h 4775307"/>
              <a:gd name="connsiteX4" fmla="*/ 9371401 w 12867381"/>
              <a:gd name="connsiteY4" fmla="*/ 333598 h 4775307"/>
              <a:gd name="connsiteX5" fmla="*/ 12867381 w 12867381"/>
              <a:gd name="connsiteY5" fmla="*/ 1181007 h 477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67381" h="4775307">
                <a:moveTo>
                  <a:pt x="0" y="1269384"/>
                </a:moveTo>
                <a:cubicBezTo>
                  <a:pt x="2350021" y="1269055"/>
                  <a:pt x="383550" y="4539602"/>
                  <a:pt x="2661964" y="4664670"/>
                </a:cubicBezTo>
                <a:cubicBezTo>
                  <a:pt x="4940378" y="4789738"/>
                  <a:pt x="2683693" y="-56038"/>
                  <a:pt x="5192338" y="491"/>
                </a:cubicBezTo>
                <a:cubicBezTo>
                  <a:pt x="7700983" y="57020"/>
                  <a:pt x="5275466" y="4757826"/>
                  <a:pt x="7547560" y="4775244"/>
                </a:cubicBezTo>
                <a:cubicBezTo>
                  <a:pt x="9819654" y="4792662"/>
                  <a:pt x="7997084" y="1205686"/>
                  <a:pt x="9371401" y="333598"/>
                </a:cubicBezTo>
                <a:cubicBezTo>
                  <a:pt x="10745718" y="-538490"/>
                  <a:pt x="11915011" y="1214807"/>
                  <a:pt x="12867381" y="1181007"/>
                </a:cubicBezTo>
              </a:path>
            </a:pathLst>
          </a:custGeom>
          <a:noFill/>
          <a:ln w="76200">
            <a:solidFill>
              <a:srgbClr val="EA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Slide Number Placeholder 5">
            <a:extLst>
              <a:ext uri="{FF2B5EF4-FFF2-40B4-BE49-F238E27FC236}">
                <a16:creationId xmlns:a16="http://schemas.microsoft.com/office/drawing/2014/main" id="{18860CD8-CF02-4624-9EEA-030652739DF1}"/>
              </a:ext>
            </a:extLst>
          </p:cNvPr>
          <p:cNvSpPr txBox="1">
            <a:spLocks/>
          </p:cNvSpPr>
          <p:nvPr/>
        </p:nvSpPr>
        <p:spPr>
          <a:xfrm>
            <a:off x="324000" y="324000"/>
            <a:ext cx="324000" cy="125850"/>
          </a:xfrm>
          <a:prstGeom prst="rect">
            <a:avLst/>
          </a:prstGeom>
          <a:solidFill>
            <a:schemeClr val="bg1"/>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001965"/>
              </a:solidFill>
            </a:endParaRPr>
          </a:p>
        </p:txBody>
      </p:sp>
      <p:sp>
        <p:nvSpPr>
          <p:cNvPr id="10" name="Titel 5">
            <a:extLst>
              <a:ext uri="{FF2B5EF4-FFF2-40B4-BE49-F238E27FC236}">
                <a16:creationId xmlns:a16="http://schemas.microsoft.com/office/drawing/2014/main" id="{60825ADD-30E4-454E-9FE8-86BDB16805BD}"/>
              </a:ext>
            </a:extLst>
          </p:cNvPr>
          <p:cNvSpPr>
            <a:spLocks noGrp="1"/>
          </p:cNvSpPr>
          <p:nvPr>
            <p:ph type="title"/>
          </p:nvPr>
        </p:nvSpPr>
        <p:spPr/>
        <p:txBody>
          <a:bodyPr/>
          <a:lstStyle/>
          <a:p>
            <a:r>
              <a:rPr lang="en-GB" sz="3600" dirty="0">
                <a:solidFill>
                  <a:srgbClr val="001965"/>
                </a:solidFill>
              </a:rPr>
              <a:t>Graduate programme set-up</a:t>
            </a:r>
          </a:p>
        </p:txBody>
      </p:sp>
      <p:sp>
        <p:nvSpPr>
          <p:cNvPr id="2" name="Text Placeholder 1">
            <a:extLst>
              <a:ext uri="{FF2B5EF4-FFF2-40B4-BE49-F238E27FC236}">
                <a16:creationId xmlns:a16="http://schemas.microsoft.com/office/drawing/2014/main" id="{8493F638-9E5F-4CE9-9C81-CA85F9A69E4C}"/>
              </a:ext>
            </a:extLst>
          </p:cNvPr>
          <p:cNvSpPr>
            <a:spLocks noGrp="1"/>
          </p:cNvSpPr>
          <p:nvPr>
            <p:ph type="body" sz="quarter" idx="13"/>
          </p:nvPr>
        </p:nvSpPr>
        <p:spPr>
          <a:xfrm>
            <a:off x="5613010" y="352070"/>
            <a:ext cx="6132172" cy="418438"/>
          </a:xfrm>
        </p:spPr>
        <p:txBody>
          <a:bodyPr/>
          <a:lstStyle/>
          <a:p>
            <a:pPr lvl="0" algn="r" defTabSz="1308067">
              <a:spcBef>
                <a:spcPct val="30000"/>
              </a:spcBef>
              <a:spcAft>
                <a:spcPts val="0"/>
              </a:spcAft>
              <a:defRPr/>
            </a:pPr>
            <a:r>
              <a:rPr lang="en-GB" sz="1000" i="0" dirty="0">
                <a:solidFill>
                  <a:srgbClr val="001965"/>
                </a:solidFill>
                <a:latin typeface="+mj-lt"/>
              </a:rPr>
              <a:t>All Graduates at the International Operations Business Graduate Programme will go through the following three streams: Project Management, Marketing &amp; Sales and Finance-related projects</a:t>
            </a:r>
          </a:p>
        </p:txBody>
      </p:sp>
      <p:sp>
        <p:nvSpPr>
          <p:cNvPr id="11" name="TextBox 65">
            <a:extLst>
              <a:ext uri="{FF2B5EF4-FFF2-40B4-BE49-F238E27FC236}">
                <a16:creationId xmlns:a16="http://schemas.microsoft.com/office/drawing/2014/main" id="{D28FB94D-67C1-4DDE-B556-17D2F81DA0EA}"/>
              </a:ext>
            </a:extLst>
          </p:cNvPr>
          <p:cNvSpPr txBox="1">
            <a:spLocks/>
          </p:cNvSpPr>
          <p:nvPr/>
        </p:nvSpPr>
        <p:spPr>
          <a:xfrm flipH="1">
            <a:off x="3898527" y="4248941"/>
            <a:ext cx="1843677" cy="881624"/>
          </a:xfrm>
          <a:prstGeom prst="rect">
            <a:avLst/>
          </a:prstGeom>
          <a:noFill/>
        </p:spPr>
        <p:txBody>
          <a:bodyPr wrap="square" lIns="0" tIns="0" rIns="0" bIns="0" rtlCol="0" anchor="t" anchorCtr="0">
            <a:noAutofit/>
          </a:bodyPr>
          <a:lstStyle/>
          <a:p>
            <a:pPr lvl="0">
              <a:lnSpc>
                <a:spcPct val="90000"/>
              </a:lnSpc>
              <a:defRPr/>
            </a:pPr>
            <a:r>
              <a:rPr lang="en-GB" sz="1867" b="1" dirty="0">
                <a:solidFill>
                  <a:srgbClr val="001965"/>
                </a:solidFill>
              </a:rPr>
              <a:t>2</a:t>
            </a:r>
            <a:r>
              <a:rPr lang="en-GB" sz="1867" b="1" baseline="30000" dirty="0">
                <a:solidFill>
                  <a:srgbClr val="001965"/>
                </a:solidFill>
              </a:rPr>
              <a:t>nd</a:t>
            </a:r>
            <a:r>
              <a:rPr lang="en-GB" sz="1867" b="1" dirty="0">
                <a:solidFill>
                  <a:srgbClr val="001965"/>
                </a:solidFill>
              </a:rPr>
              <a:t> rotation</a:t>
            </a:r>
            <a:br>
              <a:rPr lang="en-GB" sz="1051" b="1" dirty="0">
                <a:solidFill>
                  <a:srgbClr val="001965"/>
                </a:solidFill>
                <a:latin typeface="+mj-lt"/>
              </a:rPr>
            </a:br>
            <a:r>
              <a:rPr lang="en-GB" sz="1100" b="1" dirty="0">
                <a:solidFill>
                  <a:srgbClr val="001965"/>
                </a:solidFill>
                <a:latin typeface="Verdana" pitchFamily="34" charset="0"/>
                <a:ea typeface="MS PGothic" pitchFamily="34" charset="-128"/>
              </a:rPr>
              <a:t>International Experience</a:t>
            </a:r>
          </a:p>
          <a:p>
            <a:pPr marL="228594" lvl="0" indent="-228594">
              <a:lnSpc>
                <a:spcPct val="90000"/>
              </a:lnSpc>
              <a:buFont typeface="Arial" pitchFamily="34" charset="0"/>
              <a:buChar char="•"/>
              <a:defRPr/>
            </a:pPr>
            <a:r>
              <a:rPr lang="en-GB" sz="1100" dirty="0">
                <a:solidFill>
                  <a:srgbClr val="001965"/>
                </a:solidFill>
                <a:latin typeface="Verdana" pitchFamily="34" charset="0"/>
                <a:ea typeface="MS PGothic" pitchFamily="34" charset="-128"/>
              </a:rPr>
              <a:t>Insight &amp; Responsibility</a:t>
            </a:r>
          </a:p>
          <a:p>
            <a:pPr marL="228594" lvl="0" indent="-228594">
              <a:lnSpc>
                <a:spcPct val="90000"/>
              </a:lnSpc>
              <a:buFont typeface="Arial" pitchFamily="34" charset="0"/>
              <a:buChar char="•"/>
              <a:defRPr/>
            </a:pPr>
            <a:r>
              <a:rPr lang="en-GB" sz="1100" dirty="0">
                <a:solidFill>
                  <a:srgbClr val="001965"/>
                </a:solidFill>
                <a:latin typeface="Verdana" pitchFamily="34" charset="0"/>
                <a:ea typeface="MS PGothic" pitchFamily="34" charset="-128"/>
              </a:rPr>
              <a:t>Headquarter experience</a:t>
            </a:r>
          </a:p>
        </p:txBody>
      </p:sp>
      <p:sp>
        <p:nvSpPr>
          <p:cNvPr id="12" name="TextBox 65">
            <a:extLst>
              <a:ext uri="{FF2B5EF4-FFF2-40B4-BE49-F238E27FC236}">
                <a16:creationId xmlns:a16="http://schemas.microsoft.com/office/drawing/2014/main" id="{F087D7E8-41C3-42D1-AFDD-8BF863B85CD1}"/>
              </a:ext>
            </a:extLst>
          </p:cNvPr>
          <p:cNvSpPr txBox="1">
            <a:spLocks/>
          </p:cNvSpPr>
          <p:nvPr/>
        </p:nvSpPr>
        <p:spPr>
          <a:xfrm flipH="1">
            <a:off x="1347261" y="3128967"/>
            <a:ext cx="1843675" cy="881624"/>
          </a:xfrm>
          <a:prstGeom prst="rect">
            <a:avLst/>
          </a:prstGeom>
          <a:noFill/>
        </p:spPr>
        <p:txBody>
          <a:bodyPr wrap="square" lIns="0" tIns="0" rIns="0" bIns="0" rtlCol="0" anchor="b" anchorCtr="0">
            <a:noAutofit/>
          </a:bodyPr>
          <a:lstStyle/>
          <a:p>
            <a:pPr lvl="0">
              <a:lnSpc>
                <a:spcPct val="90000"/>
              </a:lnSpc>
              <a:defRPr/>
            </a:pPr>
            <a:r>
              <a:rPr lang="en-GB" sz="1867" b="1" dirty="0">
                <a:solidFill>
                  <a:srgbClr val="001965"/>
                </a:solidFill>
              </a:rPr>
              <a:t>1</a:t>
            </a:r>
            <a:r>
              <a:rPr lang="en-GB" sz="1867" b="1" baseline="30000" dirty="0">
                <a:solidFill>
                  <a:srgbClr val="001965"/>
                </a:solidFill>
              </a:rPr>
              <a:t>st</a:t>
            </a:r>
            <a:r>
              <a:rPr lang="en-GB" sz="1867" b="1" dirty="0">
                <a:solidFill>
                  <a:srgbClr val="001965"/>
                </a:solidFill>
              </a:rPr>
              <a:t> rotation</a:t>
            </a:r>
            <a:br>
              <a:rPr lang="en-GB" sz="1051" b="1" dirty="0">
                <a:solidFill>
                  <a:srgbClr val="001965"/>
                </a:solidFill>
                <a:latin typeface="+mj-lt"/>
              </a:rPr>
            </a:br>
            <a:r>
              <a:rPr lang="en-GB" sz="1100" b="1" dirty="0">
                <a:solidFill>
                  <a:srgbClr val="001965"/>
                </a:solidFill>
                <a:latin typeface="Verdana" pitchFamily="34" charset="0"/>
                <a:ea typeface="MS PGothic" pitchFamily="34" charset="-128"/>
              </a:rPr>
              <a:t>Intro to corporate life</a:t>
            </a:r>
          </a:p>
          <a:p>
            <a:pPr marL="228594" lvl="0" indent="-228594">
              <a:lnSpc>
                <a:spcPct val="90000"/>
              </a:lnSpc>
              <a:buFont typeface="Arial" pitchFamily="34" charset="0"/>
              <a:buChar char="•"/>
              <a:defRPr/>
            </a:pPr>
            <a:r>
              <a:rPr lang="en-GB" sz="1100" dirty="0">
                <a:solidFill>
                  <a:srgbClr val="001965"/>
                </a:solidFill>
                <a:latin typeface="Verdana" pitchFamily="34" charset="0"/>
                <a:ea typeface="MS PGothic" pitchFamily="34" charset="-128"/>
              </a:rPr>
              <a:t>Hands-on learning </a:t>
            </a:r>
          </a:p>
          <a:p>
            <a:pPr marL="228594" lvl="0" indent="-228594">
              <a:lnSpc>
                <a:spcPct val="90000"/>
              </a:lnSpc>
              <a:buFont typeface="Arial" pitchFamily="34" charset="0"/>
              <a:buChar char="•"/>
              <a:defRPr/>
            </a:pPr>
            <a:r>
              <a:rPr lang="en-GB" sz="1100" dirty="0">
                <a:solidFill>
                  <a:srgbClr val="001965"/>
                </a:solidFill>
                <a:latin typeface="Verdana" pitchFamily="34" charset="0"/>
                <a:ea typeface="MS PGothic" pitchFamily="34" charset="-128"/>
              </a:rPr>
              <a:t>Local experience</a:t>
            </a:r>
            <a:r>
              <a:rPr lang="en-GB" sz="1100" dirty="0">
                <a:solidFill>
                  <a:srgbClr val="002060"/>
                </a:solidFill>
                <a:latin typeface="Verdana" pitchFamily="34" charset="0"/>
                <a:ea typeface="MS PGothic" pitchFamily="34" charset="-128"/>
                <a:cs typeface="Arial" pitchFamily="34" charset="0"/>
              </a:rPr>
              <a:t> to understand regional business priorities and to know affiliate challenges</a:t>
            </a:r>
          </a:p>
        </p:txBody>
      </p:sp>
      <p:sp>
        <p:nvSpPr>
          <p:cNvPr id="13" name="TextBox 65">
            <a:extLst>
              <a:ext uri="{FF2B5EF4-FFF2-40B4-BE49-F238E27FC236}">
                <a16:creationId xmlns:a16="http://schemas.microsoft.com/office/drawing/2014/main" id="{2C2D4922-989B-44D5-880A-911A348AFACD}"/>
              </a:ext>
            </a:extLst>
          </p:cNvPr>
          <p:cNvSpPr txBox="1">
            <a:spLocks/>
          </p:cNvSpPr>
          <p:nvPr/>
        </p:nvSpPr>
        <p:spPr>
          <a:xfrm flipH="1">
            <a:off x="9001059" y="4250591"/>
            <a:ext cx="1843677" cy="881624"/>
          </a:xfrm>
          <a:prstGeom prst="rect">
            <a:avLst/>
          </a:prstGeom>
          <a:noFill/>
        </p:spPr>
        <p:txBody>
          <a:bodyPr wrap="square" lIns="0" tIns="0" rIns="0" bIns="0" rtlCol="0" anchor="t" anchorCtr="0">
            <a:noAutofit/>
          </a:bodyPr>
          <a:lstStyle/>
          <a:p>
            <a:pPr lvl="0">
              <a:lnSpc>
                <a:spcPct val="90000"/>
              </a:lnSpc>
              <a:defRPr/>
            </a:pPr>
            <a:r>
              <a:rPr lang="en-GB" sz="1867" b="1" dirty="0">
                <a:solidFill>
                  <a:srgbClr val="001965"/>
                </a:solidFill>
                <a:latin typeface="+mj-lt"/>
              </a:rPr>
              <a:t>Post-graduate opportunities</a:t>
            </a:r>
            <a:br>
              <a:rPr lang="en-GB" sz="1051" b="1" dirty="0">
                <a:solidFill>
                  <a:srgbClr val="001965"/>
                </a:solidFill>
                <a:latin typeface="+mj-lt"/>
              </a:rPr>
            </a:br>
            <a:r>
              <a:rPr lang="en-GB" sz="1100" b="1" dirty="0">
                <a:solidFill>
                  <a:srgbClr val="001965"/>
                </a:solidFill>
                <a:latin typeface="Verdana" pitchFamily="34" charset="0"/>
                <a:ea typeface="MS PGothic" pitchFamily="34" charset="-128"/>
              </a:rPr>
              <a:t>Post graduates</a:t>
            </a:r>
          </a:p>
          <a:p>
            <a:pPr lvl="0">
              <a:lnSpc>
                <a:spcPct val="90000"/>
              </a:lnSpc>
              <a:defRPr/>
            </a:pPr>
            <a:r>
              <a:rPr lang="en-GB" sz="1100" dirty="0">
                <a:solidFill>
                  <a:srgbClr val="001965"/>
                </a:solidFill>
                <a:latin typeface="Verdana" pitchFamily="34" charset="0"/>
                <a:ea typeface="MS PGothic" pitchFamily="34" charset="-128"/>
              </a:rPr>
              <a:t>After the Graduate Programme our Graduates are hired locally in positions like:</a:t>
            </a:r>
          </a:p>
          <a:p>
            <a:pPr marL="228594" lvl="0" indent="-228594">
              <a:lnSpc>
                <a:spcPct val="90000"/>
              </a:lnSpc>
              <a:buFont typeface="Arial" pitchFamily="34" charset="0"/>
              <a:buChar char="•"/>
              <a:defRPr/>
            </a:pPr>
            <a:r>
              <a:rPr lang="en-GB" sz="1100" dirty="0">
                <a:solidFill>
                  <a:srgbClr val="001965"/>
                </a:solidFill>
                <a:latin typeface="Verdana" pitchFamily="34" charset="0"/>
                <a:ea typeface="MS PGothic" pitchFamily="34" charset="-128"/>
              </a:rPr>
              <a:t>Project coordinator/manager</a:t>
            </a:r>
          </a:p>
          <a:p>
            <a:pPr marL="228594" lvl="0" indent="-228594">
              <a:lnSpc>
                <a:spcPct val="90000"/>
              </a:lnSpc>
              <a:buFont typeface="Arial" pitchFamily="34" charset="0"/>
              <a:buChar char="•"/>
              <a:defRPr/>
            </a:pPr>
            <a:r>
              <a:rPr lang="en-GB" sz="1100" dirty="0">
                <a:solidFill>
                  <a:srgbClr val="001965"/>
                </a:solidFill>
                <a:latin typeface="Verdana" pitchFamily="34" charset="0"/>
                <a:ea typeface="MS PGothic" pitchFamily="34" charset="-128"/>
              </a:rPr>
              <a:t>Internal consultants</a:t>
            </a:r>
          </a:p>
          <a:p>
            <a:pPr marL="228594" lvl="0" indent="-228594">
              <a:lnSpc>
                <a:spcPct val="90000"/>
              </a:lnSpc>
              <a:buFont typeface="Arial" pitchFamily="34" charset="0"/>
              <a:buChar char="•"/>
              <a:defRPr/>
            </a:pPr>
            <a:r>
              <a:rPr lang="en-GB" sz="1100" dirty="0">
                <a:solidFill>
                  <a:srgbClr val="001965"/>
                </a:solidFill>
                <a:latin typeface="Verdana" pitchFamily="34" charset="0"/>
                <a:ea typeface="MS PGothic" pitchFamily="34" charset="-128"/>
              </a:rPr>
              <a:t>Specialists</a:t>
            </a:r>
          </a:p>
          <a:p>
            <a:pPr marL="228594" lvl="0" indent="-228594">
              <a:lnSpc>
                <a:spcPct val="90000"/>
              </a:lnSpc>
              <a:buFont typeface="Arial" pitchFamily="34" charset="0"/>
              <a:buChar char="•"/>
              <a:defRPr/>
            </a:pPr>
            <a:r>
              <a:rPr lang="en-GB" sz="1100" dirty="0">
                <a:solidFill>
                  <a:srgbClr val="001965"/>
                </a:solidFill>
                <a:latin typeface="Verdana" pitchFamily="34" charset="0"/>
                <a:ea typeface="MS PGothic" pitchFamily="34" charset="-128"/>
              </a:rPr>
              <a:t>Analyst</a:t>
            </a:r>
          </a:p>
          <a:p>
            <a:pPr marL="228594" lvl="0" indent="-228594">
              <a:lnSpc>
                <a:spcPct val="90000"/>
              </a:lnSpc>
              <a:buFont typeface="Arial" pitchFamily="34" charset="0"/>
              <a:buChar char="•"/>
              <a:defRPr/>
            </a:pPr>
            <a:r>
              <a:rPr lang="en-GB" sz="1100" dirty="0">
                <a:solidFill>
                  <a:srgbClr val="001965"/>
                </a:solidFill>
                <a:latin typeface="Verdana" pitchFamily="34" charset="0"/>
                <a:ea typeface="MS PGothic" pitchFamily="34" charset="-128"/>
              </a:rPr>
              <a:t>Etc.</a:t>
            </a:r>
          </a:p>
        </p:txBody>
      </p:sp>
      <p:sp>
        <p:nvSpPr>
          <p:cNvPr id="14" name="TextBox 65">
            <a:extLst>
              <a:ext uri="{FF2B5EF4-FFF2-40B4-BE49-F238E27FC236}">
                <a16:creationId xmlns:a16="http://schemas.microsoft.com/office/drawing/2014/main" id="{DA95E3EF-B2E1-49F7-B765-74A28AB56067}"/>
              </a:ext>
            </a:extLst>
          </p:cNvPr>
          <p:cNvSpPr txBox="1">
            <a:spLocks/>
          </p:cNvSpPr>
          <p:nvPr/>
        </p:nvSpPr>
        <p:spPr>
          <a:xfrm flipH="1">
            <a:off x="6449792" y="3128967"/>
            <a:ext cx="1843677" cy="881624"/>
          </a:xfrm>
          <a:prstGeom prst="rect">
            <a:avLst/>
          </a:prstGeom>
          <a:noFill/>
        </p:spPr>
        <p:txBody>
          <a:bodyPr wrap="square" lIns="0" tIns="0" rIns="0" bIns="0" rtlCol="0" anchor="b" anchorCtr="0">
            <a:noAutofit/>
          </a:bodyPr>
          <a:lstStyle/>
          <a:p>
            <a:pPr lvl="0">
              <a:lnSpc>
                <a:spcPct val="90000"/>
              </a:lnSpc>
              <a:defRPr/>
            </a:pPr>
            <a:r>
              <a:rPr lang="en-GB" sz="1867" b="1" dirty="0">
                <a:solidFill>
                  <a:srgbClr val="001965"/>
                </a:solidFill>
              </a:rPr>
              <a:t>3</a:t>
            </a:r>
            <a:r>
              <a:rPr lang="en-GB" sz="1867" b="1" baseline="30000" dirty="0">
                <a:solidFill>
                  <a:srgbClr val="001965"/>
                </a:solidFill>
              </a:rPr>
              <a:t>rd</a:t>
            </a:r>
            <a:r>
              <a:rPr lang="en-GB" sz="1867" b="1" dirty="0">
                <a:solidFill>
                  <a:srgbClr val="001965"/>
                </a:solidFill>
              </a:rPr>
              <a:t> rotation</a:t>
            </a:r>
            <a:br>
              <a:rPr lang="en-GB" sz="1051" b="1" dirty="0">
                <a:solidFill>
                  <a:srgbClr val="001965"/>
                </a:solidFill>
                <a:latin typeface="+mj-lt"/>
              </a:rPr>
            </a:br>
            <a:r>
              <a:rPr lang="en-GB" sz="1100" b="1" dirty="0">
                <a:solidFill>
                  <a:srgbClr val="001965"/>
                </a:solidFill>
                <a:latin typeface="Verdana" pitchFamily="34" charset="0"/>
                <a:ea typeface="MS PGothic" pitchFamily="34" charset="-128"/>
              </a:rPr>
              <a:t>Experienced Professional </a:t>
            </a:r>
          </a:p>
          <a:p>
            <a:pPr marL="380990" lvl="0" indent="-380990">
              <a:lnSpc>
                <a:spcPct val="90000"/>
              </a:lnSpc>
              <a:buFont typeface="Arial" pitchFamily="34" charset="0"/>
              <a:buChar char="•"/>
              <a:defRPr/>
            </a:pPr>
            <a:r>
              <a:rPr lang="en-GB" sz="1100" dirty="0">
                <a:solidFill>
                  <a:srgbClr val="001965"/>
                </a:solidFill>
                <a:latin typeface="Verdana" pitchFamily="34" charset="0"/>
                <a:ea typeface="MS PGothic" pitchFamily="34" charset="-128"/>
              </a:rPr>
              <a:t>Contribution</a:t>
            </a:r>
          </a:p>
          <a:p>
            <a:pPr marL="380990" lvl="0" indent="-380990">
              <a:lnSpc>
                <a:spcPct val="90000"/>
              </a:lnSpc>
              <a:buFont typeface="Arial" pitchFamily="34" charset="0"/>
              <a:buChar char="•"/>
              <a:defRPr/>
            </a:pPr>
            <a:r>
              <a:rPr lang="en-GB" sz="1100" dirty="0">
                <a:solidFill>
                  <a:srgbClr val="001965"/>
                </a:solidFill>
                <a:latin typeface="Verdana" pitchFamily="34" charset="0"/>
                <a:ea typeface="MS PGothic" pitchFamily="34" charset="-128"/>
              </a:rPr>
              <a:t>Regional experience</a:t>
            </a:r>
          </a:p>
          <a:p>
            <a:pPr marL="380990" lvl="0" indent="-380990">
              <a:lnSpc>
                <a:spcPct val="90000"/>
              </a:lnSpc>
              <a:buFont typeface="Arial" pitchFamily="34" charset="0"/>
              <a:buChar char="•"/>
              <a:defRPr/>
            </a:pPr>
            <a:r>
              <a:rPr lang="en-GB" sz="1100" dirty="0">
                <a:solidFill>
                  <a:srgbClr val="002060"/>
                </a:solidFill>
                <a:latin typeface="Verdana" pitchFamily="34" charset="0"/>
                <a:ea typeface="MS PGothic" pitchFamily="34" charset="-128"/>
                <a:cs typeface="Arial" pitchFamily="34" charset="0"/>
              </a:rPr>
              <a:t>3</a:t>
            </a:r>
            <a:r>
              <a:rPr lang="en-GB" sz="1100" baseline="30000" dirty="0">
                <a:solidFill>
                  <a:srgbClr val="002060"/>
                </a:solidFill>
                <a:latin typeface="Verdana" pitchFamily="34" charset="0"/>
                <a:ea typeface="MS PGothic" pitchFamily="34" charset="-128"/>
                <a:cs typeface="Arial" pitchFamily="34" charset="0"/>
              </a:rPr>
              <a:t>rd</a:t>
            </a:r>
            <a:r>
              <a:rPr lang="en-GB" sz="1100" dirty="0">
                <a:solidFill>
                  <a:srgbClr val="002060"/>
                </a:solidFill>
                <a:latin typeface="Verdana" pitchFamily="34" charset="0"/>
                <a:ea typeface="MS PGothic" pitchFamily="34" charset="-128"/>
                <a:cs typeface="Arial" pitchFamily="34" charset="0"/>
              </a:rPr>
              <a:t> rotation individually designed according to local vs. global business need at Graduate fit</a:t>
            </a:r>
          </a:p>
        </p:txBody>
      </p:sp>
      <p:sp>
        <p:nvSpPr>
          <p:cNvPr id="15" name="Subtitle 2">
            <a:extLst>
              <a:ext uri="{FF2B5EF4-FFF2-40B4-BE49-F238E27FC236}">
                <a16:creationId xmlns:a16="http://schemas.microsoft.com/office/drawing/2014/main" id="{897447AA-1B21-4AD1-A199-33849F188223}"/>
              </a:ext>
            </a:extLst>
          </p:cNvPr>
          <p:cNvSpPr txBox="1">
            <a:spLocks noChangeAspect="1"/>
          </p:cNvSpPr>
          <p:nvPr/>
        </p:nvSpPr>
        <p:spPr>
          <a:xfrm>
            <a:off x="1347262" y="4243804"/>
            <a:ext cx="1843677" cy="1843688"/>
          </a:xfrm>
          <a:prstGeom prst="ellipse">
            <a:avLst/>
          </a:prstGeom>
          <a:solidFill>
            <a:srgbClr val="001965"/>
          </a:solidFill>
          <a:ln w="38100">
            <a:noFill/>
          </a:ln>
          <a:effectLst>
            <a:outerShdw blurRad="50800" dist="38100" dir="8100000" algn="tr" rotWithShape="0">
              <a:prstClr val="black">
                <a:alpha val="40000"/>
              </a:prstClr>
            </a:outerShdw>
          </a:effectLst>
        </p:spPr>
        <p:txBody>
          <a:bodyPr lIns="36000" tIns="36000" rIns="36000" bIns="36000" anchor="ctr" anchorCtr="0">
            <a:noAutofit/>
          </a:bodyPr>
          <a:lstStyle>
            <a:lvl1pPr marL="0" indent="0" algn="ctr" defTabSz="914400" rtl="0" eaLnBrk="1" latinLnBrk="0" hangingPunct="1">
              <a:lnSpc>
                <a:spcPct val="90000"/>
              </a:lnSpc>
              <a:spcBef>
                <a:spcPts val="0"/>
              </a:spcBef>
              <a:buFont typeface="Arial" panose="020B0604020202020204" pitchFamily="34" charset="0"/>
              <a:buNone/>
              <a:defRPr sz="1800" kern="1200" cap="all" baseline="0">
                <a:solidFill>
                  <a:schemeClr val="bg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accent4"/>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accent4"/>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endParaRPr lang="en-GB" sz="10000" cap="none" dirty="0">
              <a:latin typeface="+mn-lt"/>
            </a:endParaRPr>
          </a:p>
        </p:txBody>
      </p:sp>
      <p:sp>
        <p:nvSpPr>
          <p:cNvPr id="16" name="Subtitle 2">
            <a:extLst>
              <a:ext uri="{FF2B5EF4-FFF2-40B4-BE49-F238E27FC236}">
                <a16:creationId xmlns:a16="http://schemas.microsoft.com/office/drawing/2014/main" id="{58C0F930-D727-4E69-8A66-700493BF5B57}"/>
              </a:ext>
            </a:extLst>
          </p:cNvPr>
          <p:cNvSpPr txBox="1">
            <a:spLocks noChangeAspect="1"/>
          </p:cNvSpPr>
          <p:nvPr/>
        </p:nvSpPr>
        <p:spPr>
          <a:xfrm>
            <a:off x="6449794" y="4243804"/>
            <a:ext cx="1843677" cy="1843688"/>
          </a:xfrm>
          <a:prstGeom prst="ellipse">
            <a:avLst/>
          </a:prstGeom>
          <a:solidFill>
            <a:srgbClr val="001965"/>
          </a:solidFill>
          <a:ln w="38100">
            <a:noFill/>
          </a:ln>
          <a:effectLst>
            <a:outerShdw blurRad="50800" dist="38100" dir="8100000" algn="tr" rotWithShape="0">
              <a:prstClr val="black">
                <a:alpha val="40000"/>
              </a:prstClr>
            </a:outerShdw>
          </a:effectLst>
        </p:spPr>
        <p:txBody>
          <a:bodyPr lIns="36000" tIns="36000" rIns="36000" bIns="36000" anchor="ctr" anchorCtr="0">
            <a:noAutofit/>
          </a:bodyPr>
          <a:lstStyle>
            <a:lvl1pPr marL="0" indent="0" algn="ctr" defTabSz="914400" rtl="0" eaLnBrk="1" latinLnBrk="0" hangingPunct="1">
              <a:lnSpc>
                <a:spcPct val="90000"/>
              </a:lnSpc>
              <a:spcBef>
                <a:spcPts val="0"/>
              </a:spcBef>
              <a:buFont typeface="Arial" panose="020B0604020202020204" pitchFamily="34" charset="0"/>
              <a:buNone/>
              <a:defRPr sz="1800" kern="1200" cap="all" baseline="0">
                <a:solidFill>
                  <a:schemeClr val="bg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accent4"/>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accent4"/>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endParaRPr lang="en-GB" sz="10000" cap="none" dirty="0">
              <a:latin typeface="+mn-lt"/>
            </a:endParaRPr>
          </a:p>
        </p:txBody>
      </p:sp>
      <p:sp>
        <p:nvSpPr>
          <p:cNvPr id="17" name="Subtitle 2">
            <a:extLst>
              <a:ext uri="{FF2B5EF4-FFF2-40B4-BE49-F238E27FC236}">
                <a16:creationId xmlns:a16="http://schemas.microsoft.com/office/drawing/2014/main" id="{022534C7-233E-4946-8D14-622F120D37BB}"/>
              </a:ext>
            </a:extLst>
          </p:cNvPr>
          <p:cNvSpPr txBox="1">
            <a:spLocks noChangeAspect="1"/>
          </p:cNvSpPr>
          <p:nvPr/>
        </p:nvSpPr>
        <p:spPr>
          <a:xfrm>
            <a:off x="9001060" y="2139765"/>
            <a:ext cx="1843677" cy="1843688"/>
          </a:xfrm>
          <a:prstGeom prst="ellipse">
            <a:avLst/>
          </a:prstGeom>
          <a:solidFill>
            <a:srgbClr val="001965"/>
          </a:solidFill>
          <a:ln w="38100">
            <a:noFill/>
          </a:ln>
          <a:effectLst>
            <a:outerShdw blurRad="50800" dist="38100" dir="8100000" algn="tr" rotWithShape="0">
              <a:prstClr val="black">
                <a:alpha val="40000"/>
              </a:prstClr>
            </a:outerShdw>
          </a:effectLst>
        </p:spPr>
        <p:txBody>
          <a:bodyPr lIns="36000" tIns="36000" rIns="36000" bIns="36000" anchor="ctr" anchorCtr="0">
            <a:noAutofit/>
          </a:bodyPr>
          <a:lstStyle>
            <a:lvl1pPr marL="0" indent="0" algn="ctr" defTabSz="914400" rtl="0" eaLnBrk="1" latinLnBrk="0" hangingPunct="1">
              <a:lnSpc>
                <a:spcPct val="90000"/>
              </a:lnSpc>
              <a:spcBef>
                <a:spcPts val="0"/>
              </a:spcBef>
              <a:buFont typeface="Arial" panose="020B0604020202020204" pitchFamily="34" charset="0"/>
              <a:buNone/>
              <a:defRPr sz="1800" kern="1200" cap="all" baseline="0">
                <a:solidFill>
                  <a:schemeClr val="bg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accent4"/>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accent4"/>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endParaRPr lang="en-GB" sz="10000" cap="none" dirty="0">
              <a:latin typeface="+mn-lt"/>
            </a:endParaRPr>
          </a:p>
        </p:txBody>
      </p:sp>
      <p:sp>
        <p:nvSpPr>
          <p:cNvPr id="18" name="Subtitle 2">
            <a:extLst>
              <a:ext uri="{FF2B5EF4-FFF2-40B4-BE49-F238E27FC236}">
                <a16:creationId xmlns:a16="http://schemas.microsoft.com/office/drawing/2014/main" id="{51BA82A7-277A-4B5C-9BCC-838D9D0DEAC6}"/>
              </a:ext>
            </a:extLst>
          </p:cNvPr>
          <p:cNvSpPr txBox="1">
            <a:spLocks noChangeAspect="1"/>
          </p:cNvSpPr>
          <p:nvPr/>
        </p:nvSpPr>
        <p:spPr>
          <a:xfrm>
            <a:off x="3898528" y="2139765"/>
            <a:ext cx="1843677" cy="1843688"/>
          </a:xfrm>
          <a:prstGeom prst="ellipse">
            <a:avLst/>
          </a:prstGeom>
          <a:solidFill>
            <a:srgbClr val="001965"/>
          </a:solidFill>
          <a:ln w="38100">
            <a:noFill/>
          </a:ln>
          <a:effectLst>
            <a:outerShdw blurRad="50800" dist="38100" dir="8100000" algn="tr" rotWithShape="0">
              <a:prstClr val="black">
                <a:alpha val="40000"/>
              </a:prstClr>
            </a:outerShdw>
          </a:effectLst>
        </p:spPr>
        <p:txBody>
          <a:bodyPr lIns="36000" tIns="36000" rIns="36000" bIns="36000" anchor="ctr" anchorCtr="0">
            <a:noAutofit/>
          </a:bodyPr>
          <a:lstStyle>
            <a:lvl1pPr marL="0" indent="0" algn="ctr" defTabSz="914400" rtl="0" eaLnBrk="1" latinLnBrk="0" hangingPunct="1">
              <a:lnSpc>
                <a:spcPct val="90000"/>
              </a:lnSpc>
              <a:spcBef>
                <a:spcPts val="0"/>
              </a:spcBef>
              <a:buFont typeface="Arial" panose="020B0604020202020204" pitchFamily="34" charset="0"/>
              <a:buNone/>
              <a:defRPr sz="1800" kern="1200" cap="all" baseline="0">
                <a:solidFill>
                  <a:schemeClr val="bg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accent4"/>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accent4"/>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accent4"/>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pPr>
            <a:endParaRPr lang="en-GB" sz="10000" cap="none" dirty="0">
              <a:latin typeface="+mn-lt"/>
            </a:endParaRPr>
          </a:p>
        </p:txBody>
      </p:sp>
      <p:pic>
        <p:nvPicPr>
          <p:cNvPr id="19" name="Graphic 18">
            <a:extLst>
              <a:ext uri="{FF2B5EF4-FFF2-40B4-BE49-F238E27FC236}">
                <a16:creationId xmlns:a16="http://schemas.microsoft.com/office/drawing/2014/main" id="{CAFCFAAE-90AC-4184-A161-68F7FBFE1AD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92850" y="4700944"/>
            <a:ext cx="952500" cy="952500"/>
          </a:xfrm>
          <a:prstGeom prst="rect">
            <a:avLst/>
          </a:prstGeom>
        </p:spPr>
      </p:pic>
      <p:pic>
        <p:nvPicPr>
          <p:cNvPr id="20" name="Graphic 19">
            <a:extLst>
              <a:ext uri="{FF2B5EF4-FFF2-40B4-BE49-F238E27FC236}">
                <a16:creationId xmlns:a16="http://schemas.microsoft.com/office/drawing/2014/main" id="{C19C6776-E20E-4A73-8507-CA6109782EC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44115" y="2556161"/>
            <a:ext cx="952500" cy="952500"/>
          </a:xfrm>
          <a:prstGeom prst="rect">
            <a:avLst/>
          </a:prstGeom>
        </p:spPr>
      </p:pic>
      <p:pic>
        <p:nvPicPr>
          <p:cNvPr id="21" name="Graphic 20">
            <a:extLst>
              <a:ext uri="{FF2B5EF4-FFF2-40B4-BE49-F238E27FC236}">
                <a16:creationId xmlns:a16="http://schemas.microsoft.com/office/drawing/2014/main" id="{16DD83DA-60AA-47D6-83BB-379CA3C8105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81312" y="4664736"/>
            <a:ext cx="952500" cy="952500"/>
          </a:xfrm>
          <a:prstGeom prst="rect">
            <a:avLst/>
          </a:prstGeom>
        </p:spPr>
      </p:pic>
      <p:pic>
        <p:nvPicPr>
          <p:cNvPr id="22" name="Graphic 21">
            <a:extLst>
              <a:ext uri="{FF2B5EF4-FFF2-40B4-BE49-F238E27FC236}">
                <a16:creationId xmlns:a16="http://schemas.microsoft.com/office/drawing/2014/main" id="{EEC6A630-FD1E-4623-9A88-4D6979E406A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446647" y="2559345"/>
            <a:ext cx="952500" cy="952500"/>
          </a:xfrm>
          <a:prstGeom prst="rect">
            <a:avLst/>
          </a:prstGeom>
        </p:spPr>
      </p:pic>
      <p:sp>
        <p:nvSpPr>
          <p:cNvPr id="4" name="Slide Number Placeholder 3">
            <a:extLst>
              <a:ext uri="{FF2B5EF4-FFF2-40B4-BE49-F238E27FC236}">
                <a16:creationId xmlns:a16="http://schemas.microsoft.com/office/drawing/2014/main" id="{BCD141AA-ACC0-4BE4-A641-6EB0923066D9}"/>
              </a:ext>
            </a:extLst>
          </p:cNvPr>
          <p:cNvSpPr>
            <a:spLocks noGrp="1"/>
          </p:cNvSpPr>
          <p:nvPr>
            <p:ph type="sldNum" sz="quarter" idx="12"/>
          </p:nvPr>
        </p:nvSpPr>
        <p:spPr/>
        <p:txBody>
          <a:bodyPr/>
          <a:lstStyle/>
          <a:p>
            <a:fld id="{23AA811B-2EBD-4900-905E-5BE206449611}" type="slidenum">
              <a:rPr lang="en-GB" smtClean="0"/>
              <a:t>24</a:t>
            </a:fld>
            <a:endParaRPr lang="en-GB" dirty="0"/>
          </a:p>
        </p:txBody>
      </p:sp>
      <p:sp>
        <p:nvSpPr>
          <p:cNvPr id="23" name="Footer Placeholder 3">
            <a:extLst>
              <a:ext uri="{FF2B5EF4-FFF2-40B4-BE49-F238E27FC236}">
                <a16:creationId xmlns:a16="http://schemas.microsoft.com/office/drawing/2014/main" id="{4CA0BB3B-1FA5-4C05-8873-1FE17DDFAC9A}"/>
              </a:ext>
            </a:extLst>
          </p:cNvPr>
          <p:cNvSpPr>
            <a:spLocks noGrp="1"/>
          </p:cNvSpPr>
          <p:nvPr>
            <p:ph type="ftr" sz="quarter" idx="11"/>
          </p:nvPr>
        </p:nvSpPr>
        <p:spPr>
          <a:xfrm>
            <a:off x="648000" y="323850"/>
            <a:ext cx="1919288" cy="126000"/>
          </a:xfrm>
        </p:spPr>
        <p:txBody>
          <a:bodyPr/>
          <a:lstStyle/>
          <a:p>
            <a:r>
              <a:rPr lang="en-GB">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Graduate Programme Introduction</a:t>
            </a:r>
            <a:endParaRPr lang="en-GB"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Tree>
    <p:custDataLst>
      <p:tags r:id="rId1"/>
    </p:custDataLst>
    <p:extLst>
      <p:ext uri="{BB962C8B-B14F-4D97-AF65-F5344CB8AC3E}">
        <p14:creationId xmlns:p14="http://schemas.microsoft.com/office/powerpoint/2010/main" val="1014782872"/>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9FAE0E3-8039-45C6-B3AD-069DEAEB0379}"/>
              </a:ext>
            </a:extLst>
          </p:cNvPr>
          <p:cNvGraphicFramePr>
            <a:graphicFrameLocks noChangeAspect="1"/>
          </p:cNvGraphicFramePr>
          <p:nvPr>
            <p:custDataLst>
              <p:tags r:id="rId3"/>
            </p:custDataLst>
            <p:extLst>
              <p:ext uri="{D42A27DB-BD31-4B8C-83A1-F6EECF244321}">
                <p14:modId xmlns:p14="http://schemas.microsoft.com/office/powerpoint/2010/main" val="53049368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77157" name="think-cell Slide" r:id="rId7" imgW="421" imgH="423" progId="TCLayout.ActiveDocument.1">
                  <p:embed/>
                </p:oleObj>
              </mc:Choice>
              <mc:Fallback>
                <p:oleObj name="think-cell Slide" r:id="rId7" imgW="421" imgH="423" progId="TCLayout.ActiveDocument.1">
                  <p:embed/>
                  <p:pic>
                    <p:nvPicPr>
                      <p:cNvPr id="8" name="Object 7" hidden="1">
                        <a:extLst>
                          <a:ext uri="{FF2B5EF4-FFF2-40B4-BE49-F238E27FC236}">
                            <a16:creationId xmlns:a16="http://schemas.microsoft.com/office/drawing/2014/main" id="{F9FAE0E3-8039-45C6-B3AD-069DEAEB0379}"/>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22F49BF-1378-4DE0-AB1A-6E8088AD5233}"/>
              </a:ext>
            </a:extLst>
          </p:cNvPr>
          <p:cNvSpPr/>
          <p:nvPr>
            <p:custDataLst>
              <p:tags r:id="rId4"/>
            </p:custDataLst>
          </p:nvPr>
        </p:nvSpPr>
        <p:spPr>
          <a:xfrm>
            <a:off x="1" y="1"/>
            <a:ext cx="158751" cy="158751"/>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a-DK" sz="3600" dirty="0" err="1">
              <a:latin typeface="Apis For Office" panose="020B0504010101010104" pitchFamily="34" charset="0"/>
              <a:ea typeface="+mj-ea"/>
              <a:cs typeface="+mj-cs"/>
              <a:sym typeface="Apis For Office" panose="020B0504010101010104" pitchFamily="34" charset="0"/>
            </a:endParaRPr>
          </a:p>
        </p:txBody>
      </p:sp>
      <p:sp>
        <p:nvSpPr>
          <p:cNvPr id="24" name="Oval 23">
            <a:extLst>
              <a:ext uri="{FF2B5EF4-FFF2-40B4-BE49-F238E27FC236}">
                <a16:creationId xmlns:a16="http://schemas.microsoft.com/office/drawing/2014/main" id="{74228F63-DE71-4BDA-86A0-8617CBC0D0F0}"/>
              </a:ext>
            </a:extLst>
          </p:cNvPr>
          <p:cNvSpPr>
            <a:spLocks/>
          </p:cNvSpPr>
          <p:nvPr/>
        </p:nvSpPr>
        <p:spPr>
          <a:xfrm>
            <a:off x="8542799" y="2621148"/>
            <a:ext cx="3120000" cy="3120000"/>
          </a:xfrm>
          <a:prstGeom prst="ellipse">
            <a:avLst/>
          </a:prstGeom>
          <a:solidFill>
            <a:schemeClr val="bg1"/>
          </a:solidFill>
          <a:ln w="38100">
            <a:solidFill>
              <a:srgbClr val="EBE8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1107" dirty="0" err="1">
              <a:solidFill>
                <a:srgbClr val="001965"/>
              </a:solidFill>
            </a:endParaRPr>
          </a:p>
        </p:txBody>
      </p:sp>
      <p:sp>
        <p:nvSpPr>
          <p:cNvPr id="5" name="Oval 4">
            <a:extLst>
              <a:ext uri="{FF2B5EF4-FFF2-40B4-BE49-F238E27FC236}">
                <a16:creationId xmlns:a16="http://schemas.microsoft.com/office/drawing/2014/main" id="{0A24EA65-DBC5-4B8A-B719-FED2E27B2DCE}"/>
              </a:ext>
            </a:extLst>
          </p:cNvPr>
          <p:cNvSpPr>
            <a:spLocks/>
          </p:cNvSpPr>
          <p:nvPr/>
        </p:nvSpPr>
        <p:spPr>
          <a:xfrm>
            <a:off x="5766001" y="2604860"/>
            <a:ext cx="3120000" cy="3120000"/>
          </a:xfrm>
          <a:prstGeom prst="ellipse">
            <a:avLst/>
          </a:prstGeom>
          <a:noFill/>
          <a:ln w="38100">
            <a:solidFill>
              <a:srgbClr val="CCC5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1107" dirty="0" err="1">
              <a:solidFill>
                <a:schemeClr val="tx2"/>
              </a:solidFill>
            </a:endParaRPr>
          </a:p>
        </p:txBody>
      </p:sp>
      <p:sp>
        <p:nvSpPr>
          <p:cNvPr id="25" name="Oval 24">
            <a:extLst>
              <a:ext uri="{FF2B5EF4-FFF2-40B4-BE49-F238E27FC236}">
                <a16:creationId xmlns:a16="http://schemas.microsoft.com/office/drawing/2014/main" id="{AAFB44B7-44F7-43A3-A65C-B5F4869A788D}"/>
              </a:ext>
            </a:extLst>
          </p:cNvPr>
          <p:cNvSpPr>
            <a:spLocks/>
          </p:cNvSpPr>
          <p:nvPr/>
        </p:nvSpPr>
        <p:spPr>
          <a:xfrm>
            <a:off x="2960005" y="2631308"/>
            <a:ext cx="3120000" cy="3120000"/>
          </a:xfrm>
          <a:prstGeom prst="ellipse">
            <a:avLst/>
          </a:prstGeom>
          <a:noFill/>
          <a:ln w="3810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1107" dirty="0" err="1">
              <a:solidFill>
                <a:schemeClr val="tx2"/>
              </a:solidFill>
            </a:endParaRPr>
          </a:p>
        </p:txBody>
      </p:sp>
      <p:sp>
        <p:nvSpPr>
          <p:cNvPr id="15" name="Text Box 9"/>
          <p:cNvSpPr txBox="1">
            <a:spLocks noChangeAspect="1" noChangeArrowheads="1"/>
          </p:cNvSpPr>
          <p:nvPr/>
        </p:nvSpPr>
        <p:spPr bwMode="auto">
          <a:xfrm>
            <a:off x="3829605" y="2969900"/>
            <a:ext cx="1380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algn="ctr" eaLnBrk="1" hangingPunct="1"/>
            <a:r>
              <a:rPr lang="en-GB" sz="2000" b="1" dirty="0">
                <a:solidFill>
                  <a:srgbClr val="001965"/>
                </a:solidFill>
                <a:latin typeface="+mn-lt"/>
                <a:ea typeface="MS PGothic" pitchFamily="34" charset="-128"/>
              </a:rPr>
              <a:t>Network</a:t>
            </a:r>
          </a:p>
        </p:txBody>
      </p:sp>
      <p:sp>
        <p:nvSpPr>
          <p:cNvPr id="18" name="Text Box 9"/>
          <p:cNvSpPr txBox="1">
            <a:spLocks noChangeAspect="1" noChangeArrowheads="1"/>
          </p:cNvSpPr>
          <p:nvPr/>
        </p:nvSpPr>
        <p:spPr bwMode="auto">
          <a:xfrm>
            <a:off x="6596432" y="2959654"/>
            <a:ext cx="145913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algn="ctr" eaLnBrk="1" hangingPunct="1"/>
            <a:r>
              <a:rPr lang="en-GB" sz="2000" b="1" dirty="0">
                <a:solidFill>
                  <a:srgbClr val="001965"/>
                </a:solidFill>
                <a:latin typeface="+mn-lt"/>
                <a:ea typeface="MS PGothic" pitchFamily="34" charset="-128"/>
              </a:rPr>
              <a:t>Mentoring</a:t>
            </a:r>
          </a:p>
        </p:txBody>
      </p:sp>
      <p:sp>
        <p:nvSpPr>
          <p:cNvPr id="21" name="Text Box 9"/>
          <p:cNvSpPr txBox="1">
            <a:spLocks noChangeAspect="1" noChangeArrowheads="1"/>
          </p:cNvSpPr>
          <p:nvPr/>
        </p:nvSpPr>
        <p:spPr bwMode="auto">
          <a:xfrm>
            <a:off x="9238888" y="2846406"/>
            <a:ext cx="17251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algn="ctr" eaLnBrk="1" hangingPunct="1"/>
            <a:r>
              <a:rPr lang="en-GB" sz="2000" b="1" dirty="0">
                <a:solidFill>
                  <a:srgbClr val="001965"/>
                </a:solidFill>
                <a:latin typeface="+mn-lt"/>
                <a:ea typeface="MS PGothic" pitchFamily="34" charset="-128"/>
              </a:rPr>
              <a:t>Global career</a:t>
            </a:r>
          </a:p>
        </p:txBody>
      </p:sp>
      <p:grpSp>
        <p:nvGrpSpPr>
          <p:cNvPr id="6" name="Group 5">
            <a:extLst>
              <a:ext uri="{FF2B5EF4-FFF2-40B4-BE49-F238E27FC236}">
                <a16:creationId xmlns:a16="http://schemas.microsoft.com/office/drawing/2014/main" id="{8BE46CC0-6904-4AB0-9416-818BF30D2E50}"/>
              </a:ext>
            </a:extLst>
          </p:cNvPr>
          <p:cNvGrpSpPr>
            <a:grpSpLocks/>
          </p:cNvGrpSpPr>
          <p:nvPr/>
        </p:nvGrpSpPr>
        <p:grpSpPr>
          <a:xfrm>
            <a:off x="-1785245" y="-1221040"/>
            <a:ext cx="11175597" cy="7009679"/>
            <a:chOff x="-1542884" y="-789638"/>
            <a:chExt cx="11803055" cy="7426968"/>
          </a:xfrm>
        </p:grpSpPr>
        <p:sp>
          <p:nvSpPr>
            <p:cNvPr id="27" name="Oval 26">
              <a:extLst>
                <a:ext uri="{FF2B5EF4-FFF2-40B4-BE49-F238E27FC236}">
                  <a16:creationId xmlns:a16="http://schemas.microsoft.com/office/drawing/2014/main" id="{2469F574-7BD9-451F-A618-721804A45ADB}"/>
                </a:ext>
              </a:extLst>
            </p:cNvPr>
            <p:cNvSpPr/>
            <p:nvPr/>
          </p:nvSpPr>
          <p:spPr>
            <a:xfrm>
              <a:off x="770696" y="3418689"/>
              <a:ext cx="3218641" cy="3218641"/>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1107" dirty="0" err="1">
                <a:solidFill>
                  <a:schemeClr val="tx2"/>
                </a:solidFill>
              </a:endParaRPr>
            </a:p>
          </p:txBody>
        </p:sp>
        <p:sp>
          <p:nvSpPr>
            <p:cNvPr id="23" name="Freeform: Shape 22">
              <a:extLst>
                <a:ext uri="{FF2B5EF4-FFF2-40B4-BE49-F238E27FC236}">
                  <a16:creationId xmlns:a16="http://schemas.microsoft.com/office/drawing/2014/main" id="{8309AC85-3AD1-453E-A629-A23A96178336}"/>
                </a:ext>
              </a:extLst>
            </p:cNvPr>
            <p:cNvSpPr>
              <a:spLocks/>
            </p:cNvSpPr>
            <p:nvPr/>
          </p:nvSpPr>
          <p:spPr>
            <a:xfrm>
              <a:off x="-1542884" y="-789638"/>
              <a:ext cx="11803055" cy="7398945"/>
            </a:xfrm>
            <a:custGeom>
              <a:avLst/>
              <a:gdLst>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46698 w 8070112"/>
                <a:gd name="connsiteY5" fmla="*/ 2489148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15027"/>
                <a:gd name="connsiteY0" fmla="*/ 2890697 h 2890697"/>
                <a:gd name="connsiteX1" fmla="*/ 1456660 w 8015027"/>
                <a:gd name="connsiteY1" fmla="*/ 2571721 h 2890697"/>
                <a:gd name="connsiteX2" fmla="*/ 2721935 w 8015027"/>
                <a:gd name="connsiteY2" fmla="*/ 1210753 h 2890697"/>
                <a:gd name="connsiteX3" fmla="*/ 4136065 w 8015027"/>
                <a:gd name="connsiteY3" fmla="*/ 944939 h 2890697"/>
                <a:gd name="connsiteX4" fmla="*/ 5108723 w 8015027"/>
                <a:gd name="connsiteY4" fmla="*/ 1886475 h 2890697"/>
                <a:gd name="connsiteX5" fmla="*/ 4137173 w 8015027"/>
                <a:gd name="connsiteY5" fmla="*/ 2853262 h 2890697"/>
                <a:gd name="connsiteX6" fmla="*/ 3190543 w 8015027"/>
                <a:gd name="connsiteY6" fmla="*/ 1859339 h 2890697"/>
                <a:gd name="connsiteX7" fmla="*/ 4125432 w 8015027"/>
                <a:gd name="connsiteY7" fmla="*/ 944939 h 2890697"/>
                <a:gd name="connsiteX8" fmla="*/ 5922335 w 8015027"/>
                <a:gd name="connsiteY8" fmla="*/ 881144 h 2890697"/>
                <a:gd name="connsiteX9" fmla="*/ 7272670 w 8015027"/>
                <a:gd name="connsiteY9" fmla="*/ 360149 h 2890697"/>
                <a:gd name="connsiteX10" fmla="*/ 8015027 w 8015027"/>
                <a:gd name="connsiteY10" fmla="*/ 6841 h 2890697"/>
                <a:gd name="connsiteX0" fmla="*/ 0 w 8015027"/>
                <a:gd name="connsiteY0" fmla="*/ 2883856 h 2883856"/>
                <a:gd name="connsiteX1" fmla="*/ 1456660 w 8015027"/>
                <a:gd name="connsiteY1" fmla="*/ 2564880 h 2883856"/>
                <a:gd name="connsiteX2" fmla="*/ 2721935 w 8015027"/>
                <a:gd name="connsiteY2" fmla="*/ 1203912 h 2883856"/>
                <a:gd name="connsiteX3" fmla="*/ 4136065 w 8015027"/>
                <a:gd name="connsiteY3" fmla="*/ 938098 h 2883856"/>
                <a:gd name="connsiteX4" fmla="*/ 5108723 w 8015027"/>
                <a:gd name="connsiteY4" fmla="*/ 1879634 h 2883856"/>
                <a:gd name="connsiteX5" fmla="*/ 4137173 w 8015027"/>
                <a:gd name="connsiteY5" fmla="*/ 2846421 h 2883856"/>
                <a:gd name="connsiteX6" fmla="*/ 3190543 w 8015027"/>
                <a:gd name="connsiteY6" fmla="*/ 1852498 h 2883856"/>
                <a:gd name="connsiteX7" fmla="*/ 4125432 w 8015027"/>
                <a:gd name="connsiteY7" fmla="*/ 938098 h 2883856"/>
                <a:gd name="connsiteX8" fmla="*/ 5922335 w 8015027"/>
                <a:gd name="connsiteY8" fmla="*/ 874303 h 2883856"/>
                <a:gd name="connsiteX9" fmla="*/ 7272670 w 8015027"/>
                <a:gd name="connsiteY9" fmla="*/ 353308 h 2883856"/>
                <a:gd name="connsiteX10" fmla="*/ 8015027 w 8015027"/>
                <a:gd name="connsiteY10" fmla="*/ 0 h 2883856"/>
                <a:gd name="connsiteX0" fmla="*/ 0 w 8103162"/>
                <a:gd name="connsiteY0" fmla="*/ 2707586 h 2707586"/>
                <a:gd name="connsiteX1" fmla="*/ 1456660 w 8103162"/>
                <a:gd name="connsiteY1" fmla="*/ 2388610 h 2707586"/>
                <a:gd name="connsiteX2" fmla="*/ 2721935 w 8103162"/>
                <a:gd name="connsiteY2" fmla="*/ 1027642 h 2707586"/>
                <a:gd name="connsiteX3" fmla="*/ 4136065 w 8103162"/>
                <a:gd name="connsiteY3" fmla="*/ 761828 h 2707586"/>
                <a:gd name="connsiteX4" fmla="*/ 5108723 w 8103162"/>
                <a:gd name="connsiteY4" fmla="*/ 1703364 h 2707586"/>
                <a:gd name="connsiteX5" fmla="*/ 4137173 w 8103162"/>
                <a:gd name="connsiteY5" fmla="*/ 2670151 h 2707586"/>
                <a:gd name="connsiteX6" fmla="*/ 3190543 w 8103162"/>
                <a:gd name="connsiteY6" fmla="*/ 1676228 h 2707586"/>
                <a:gd name="connsiteX7" fmla="*/ 4125432 w 8103162"/>
                <a:gd name="connsiteY7" fmla="*/ 761828 h 2707586"/>
                <a:gd name="connsiteX8" fmla="*/ 5922335 w 8103162"/>
                <a:gd name="connsiteY8" fmla="*/ 698033 h 2707586"/>
                <a:gd name="connsiteX9" fmla="*/ 7272670 w 8103162"/>
                <a:gd name="connsiteY9" fmla="*/ 177038 h 2707586"/>
                <a:gd name="connsiteX10" fmla="*/ 8103162 w 8103162"/>
                <a:gd name="connsiteY10" fmla="*/ 0 h 2707586"/>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7272670 w 7706555"/>
                <a:gd name="connsiteY9" fmla="*/ 331274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6942164 w 7706555"/>
                <a:gd name="connsiteY9" fmla="*/ 573645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6942164 w 7706555"/>
                <a:gd name="connsiteY9" fmla="*/ 573645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6942164 w 7706555"/>
                <a:gd name="connsiteY9" fmla="*/ 573645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6942164 w 7706555"/>
                <a:gd name="connsiteY9" fmla="*/ 573645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7706555 w 7706555"/>
                <a:gd name="connsiteY9" fmla="*/ 0 h 2861822"/>
                <a:gd name="connsiteX0" fmla="*/ 0 w 7761640"/>
                <a:gd name="connsiteY0" fmla="*/ 2927924 h 2927924"/>
                <a:gd name="connsiteX1" fmla="*/ 1456660 w 7761640"/>
                <a:gd name="connsiteY1" fmla="*/ 2608948 h 2927924"/>
                <a:gd name="connsiteX2" fmla="*/ 2721935 w 7761640"/>
                <a:gd name="connsiteY2" fmla="*/ 1247980 h 2927924"/>
                <a:gd name="connsiteX3" fmla="*/ 4136065 w 7761640"/>
                <a:gd name="connsiteY3" fmla="*/ 982166 h 2927924"/>
                <a:gd name="connsiteX4" fmla="*/ 5108723 w 7761640"/>
                <a:gd name="connsiteY4" fmla="*/ 1923702 h 2927924"/>
                <a:gd name="connsiteX5" fmla="*/ 4137173 w 7761640"/>
                <a:gd name="connsiteY5" fmla="*/ 2890489 h 2927924"/>
                <a:gd name="connsiteX6" fmla="*/ 3190543 w 7761640"/>
                <a:gd name="connsiteY6" fmla="*/ 1896566 h 2927924"/>
                <a:gd name="connsiteX7" fmla="*/ 4125432 w 7761640"/>
                <a:gd name="connsiteY7" fmla="*/ 982166 h 2927924"/>
                <a:gd name="connsiteX8" fmla="*/ 5922335 w 7761640"/>
                <a:gd name="connsiteY8" fmla="*/ 918371 h 2927924"/>
                <a:gd name="connsiteX9" fmla="*/ 7761640 w 7761640"/>
                <a:gd name="connsiteY9" fmla="*/ 0 h 2927924"/>
                <a:gd name="connsiteX0" fmla="*/ 0 w 7761640"/>
                <a:gd name="connsiteY0" fmla="*/ 2927924 h 2927924"/>
                <a:gd name="connsiteX1" fmla="*/ 1456660 w 7761640"/>
                <a:gd name="connsiteY1" fmla="*/ 2608948 h 2927924"/>
                <a:gd name="connsiteX2" fmla="*/ 2721935 w 7761640"/>
                <a:gd name="connsiteY2" fmla="*/ 1247980 h 2927924"/>
                <a:gd name="connsiteX3" fmla="*/ 4136065 w 7761640"/>
                <a:gd name="connsiteY3" fmla="*/ 982166 h 2927924"/>
                <a:gd name="connsiteX4" fmla="*/ 5108723 w 7761640"/>
                <a:gd name="connsiteY4" fmla="*/ 1923702 h 2927924"/>
                <a:gd name="connsiteX5" fmla="*/ 4137173 w 7761640"/>
                <a:gd name="connsiteY5" fmla="*/ 2890489 h 2927924"/>
                <a:gd name="connsiteX6" fmla="*/ 3190543 w 7761640"/>
                <a:gd name="connsiteY6" fmla="*/ 1896566 h 2927924"/>
                <a:gd name="connsiteX7" fmla="*/ 4125432 w 7761640"/>
                <a:gd name="connsiteY7" fmla="*/ 982166 h 2927924"/>
                <a:gd name="connsiteX8" fmla="*/ 5922335 w 7761640"/>
                <a:gd name="connsiteY8" fmla="*/ 918371 h 2927924"/>
                <a:gd name="connsiteX9" fmla="*/ 7761640 w 7761640"/>
                <a:gd name="connsiteY9" fmla="*/ 0 h 2927924"/>
                <a:gd name="connsiteX0" fmla="*/ 0 w 7761640"/>
                <a:gd name="connsiteY0" fmla="*/ 2927924 h 2927924"/>
                <a:gd name="connsiteX1" fmla="*/ 1456660 w 7761640"/>
                <a:gd name="connsiteY1" fmla="*/ 2608948 h 2927924"/>
                <a:gd name="connsiteX2" fmla="*/ 2721935 w 7761640"/>
                <a:gd name="connsiteY2" fmla="*/ 1247980 h 2927924"/>
                <a:gd name="connsiteX3" fmla="*/ 4136065 w 7761640"/>
                <a:gd name="connsiteY3" fmla="*/ 982166 h 2927924"/>
                <a:gd name="connsiteX4" fmla="*/ 5108723 w 7761640"/>
                <a:gd name="connsiteY4" fmla="*/ 1923702 h 2927924"/>
                <a:gd name="connsiteX5" fmla="*/ 4137173 w 7761640"/>
                <a:gd name="connsiteY5" fmla="*/ 2890489 h 2927924"/>
                <a:gd name="connsiteX6" fmla="*/ 3190543 w 7761640"/>
                <a:gd name="connsiteY6" fmla="*/ 1896566 h 2927924"/>
                <a:gd name="connsiteX7" fmla="*/ 4125432 w 7761640"/>
                <a:gd name="connsiteY7" fmla="*/ 982166 h 2927924"/>
                <a:gd name="connsiteX8" fmla="*/ 5922335 w 7761640"/>
                <a:gd name="connsiteY8" fmla="*/ 918371 h 2927924"/>
                <a:gd name="connsiteX9" fmla="*/ 7761640 w 7761640"/>
                <a:gd name="connsiteY9" fmla="*/ 0 h 2927924"/>
                <a:gd name="connsiteX0" fmla="*/ 0 w 7276898"/>
                <a:gd name="connsiteY0" fmla="*/ 2916907 h 2916907"/>
                <a:gd name="connsiteX1" fmla="*/ 1456660 w 7276898"/>
                <a:gd name="connsiteY1" fmla="*/ 2597931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276898"/>
                <a:gd name="connsiteY0" fmla="*/ 2916907 h 2916907"/>
                <a:gd name="connsiteX1" fmla="*/ 1434626 w 7276898"/>
                <a:gd name="connsiteY1" fmla="*/ 2509796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276898"/>
                <a:gd name="connsiteY0" fmla="*/ 2916907 h 2916907"/>
                <a:gd name="connsiteX1" fmla="*/ 1434626 w 7276898"/>
                <a:gd name="connsiteY1" fmla="*/ 2509796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276898"/>
                <a:gd name="connsiteY0" fmla="*/ 2916907 h 2916907"/>
                <a:gd name="connsiteX1" fmla="*/ 1434626 w 7276898"/>
                <a:gd name="connsiteY1" fmla="*/ 2509796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276898"/>
                <a:gd name="connsiteY0" fmla="*/ 2916907 h 2916907"/>
                <a:gd name="connsiteX1" fmla="*/ 1434626 w 7276898"/>
                <a:gd name="connsiteY1" fmla="*/ 2509796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342999"/>
                <a:gd name="connsiteY0" fmla="*/ 2520300 h 2879507"/>
                <a:gd name="connsiteX1" fmla="*/ 1500727 w 7342999"/>
                <a:gd name="connsiteY1" fmla="*/ 2509796 h 2879507"/>
                <a:gd name="connsiteX2" fmla="*/ 2788036 w 7342999"/>
                <a:gd name="connsiteY2" fmla="*/ 1236963 h 2879507"/>
                <a:gd name="connsiteX3" fmla="*/ 4202166 w 7342999"/>
                <a:gd name="connsiteY3" fmla="*/ 971149 h 2879507"/>
                <a:gd name="connsiteX4" fmla="*/ 5174824 w 7342999"/>
                <a:gd name="connsiteY4" fmla="*/ 1912685 h 2879507"/>
                <a:gd name="connsiteX5" fmla="*/ 4203274 w 7342999"/>
                <a:gd name="connsiteY5" fmla="*/ 2879472 h 2879507"/>
                <a:gd name="connsiteX6" fmla="*/ 3256644 w 7342999"/>
                <a:gd name="connsiteY6" fmla="*/ 1885549 h 2879507"/>
                <a:gd name="connsiteX7" fmla="*/ 4191533 w 7342999"/>
                <a:gd name="connsiteY7" fmla="*/ 971149 h 2879507"/>
                <a:gd name="connsiteX8" fmla="*/ 5988436 w 7342999"/>
                <a:gd name="connsiteY8" fmla="*/ 907354 h 2879507"/>
                <a:gd name="connsiteX9" fmla="*/ 7342999 w 7342999"/>
                <a:gd name="connsiteY9" fmla="*/ 0 h 2879507"/>
                <a:gd name="connsiteX0" fmla="*/ 0 w 7342999"/>
                <a:gd name="connsiteY0" fmla="*/ 2520300 h 2879507"/>
                <a:gd name="connsiteX1" fmla="*/ 1500727 w 7342999"/>
                <a:gd name="connsiteY1" fmla="*/ 2509796 h 2879507"/>
                <a:gd name="connsiteX2" fmla="*/ 2788036 w 7342999"/>
                <a:gd name="connsiteY2" fmla="*/ 1236963 h 2879507"/>
                <a:gd name="connsiteX3" fmla="*/ 4202166 w 7342999"/>
                <a:gd name="connsiteY3" fmla="*/ 971149 h 2879507"/>
                <a:gd name="connsiteX4" fmla="*/ 5174824 w 7342999"/>
                <a:gd name="connsiteY4" fmla="*/ 1912685 h 2879507"/>
                <a:gd name="connsiteX5" fmla="*/ 4203274 w 7342999"/>
                <a:gd name="connsiteY5" fmla="*/ 2879472 h 2879507"/>
                <a:gd name="connsiteX6" fmla="*/ 3256644 w 7342999"/>
                <a:gd name="connsiteY6" fmla="*/ 1885549 h 2879507"/>
                <a:gd name="connsiteX7" fmla="*/ 4191533 w 7342999"/>
                <a:gd name="connsiteY7" fmla="*/ 971149 h 2879507"/>
                <a:gd name="connsiteX8" fmla="*/ 5988436 w 7342999"/>
                <a:gd name="connsiteY8" fmla="*/ 907354 h 2879507"/>
                <a:gd name="connsiteX9" fmla="*/ 7342999 w 7342999"/>
                <a:gd name="connsiteY9" fmla="*/ 0 h 2879507"/>
                <a:gd name="connsiteX0" fmla="*/ 0 w 7342999"/>
                <a:gd name="connsiteY0" fmla="*/ 2520300 h 2879507"/>
                <a:gd name="connsiteX1" fmla="*/ 1500727 w 7342999"/>
                <a:gd name="connsiteY1" fmla="*/ 2509796 h 2879507"/>
                <a:gd name="connsiteX2" fmla="*/ 2788036 w 7342999"/>
                <a:gd name="connsiteY2" fmla="*/ 1236963 h 2879507"/>
                <a:gd name="connsiteX3" fmla="*/ 4202166 w 7342999"/>
                <a:gd name="connsiteY3" fmla="*/ 971149 h 2879507"/>
                <a:gd name="connsiteX4" fmla="*/ 5174824 w 7342999"/>
                <a:gd name="connsiteY4" fmla="*/ 1912685 h 2879507"/>
                <a:gd name="connsiteX5" fmla="*/ 4203274 w 7342999"/>
                <a:gd name="connsiteY5" fmla="*/ 2879472 h 2879507"/>
                <a:gd name="connsiteX6" fmla="*/ 3256644 w 7342999"/>
                <a:gd name="connsiteY6" fmla="*/ 1885549 h 2879507"/>
                <a:gd name="connsiteX7" fmla="*/ 4191533 w 7342999"/>
                <a:gd name="connsiteY7" fmla="*/ 971149 h 2879507"/>
                <a:gd name="connsiteX8" fmla="*/ 5988436 w 7342999"/>
                <a:gd name="connsiteY8" fmla="*/ 907354 h 2879507"/>
                <a:gd name="connsiteX9" fmla="*/ 7342999 w 7342999"/>
                <a:gd name="connsiteY9" fmla="*/ 0 h 2879507"/>
                <a:gd name="connsiteX0" fmla="*/ 0 w 9014774"/>
                <a:gd name="connsiteY0" fmla="*/ 4357188 h 4716395"/>
                <a:gd name="connsiteX1" fmla="*/ 1500727 w 9014774"/>
                <a:gd name="connsiteY1" fmla="*/ 4346684 h 4716395"/>
                <a:gd name="connsiteX2" fmla="*/ 2788036 w 9014774"/>
                <a:gd name="connsiteY2" fmla="*/ 3073851 h 4716395"/>
                <a:gd name="connsiteX3" fmla="*/ 4202166 w 9014774"/>
                <a:gd name="connsiteY3" fmla="*/ 2808037 h 4716395"/>
                <a:gd name="connsiteX4" fmla="*/ 5174824 w 9014774"/>
                <a:gd name="connsiteY4" fmla="*/ 3749573 h 4716395"/>
                <a:gd name="connsiteX5" fmla="*/ 4203274 w 9014774"/>
                <a:gd name="connsiteY5" fmla="*/ 4716360 h 4716395"/>
                <a:gd name="connsiteX6" fmla="*/ 3256644 w 9014774"/>
                <a:gd name="connsiteY6" fmla="*/ 3722437 h 4716395"/>
                <a:gd name="connsiteX7" fmla="*/ 4191533 w 9014774"/>
                <a:gd name="connsiteY7" fmla="*/ 2808037 h 4716395"/>
                <a:gd name="connsiteX8" fmla="*/ 5988436 w 9014774"/>
                <a:gd name="connsiteY8" fmla="*/ 2744242 h 4716395"/>
                <a:gd name="connsiteX9" fmla="*/ 9014774 w 9014774"/>
                <a:gd name="connsiteY9" fmla="*/ 0 h 4716395"/>
                <a:gd name="connsiteX0" fmla="*/ 0 w 9014774"/>
                <a:gd name="connsiteY0" fmla="*/ 4357188 h 4716395"/>
                <a:gd name="connsiteX1" fmla="*/ 1500727 w 9014774"/>
                <a:gd name="connsiteY1" fmla="*/ 4346684 h 4716395"/>
                <a:gd name="connsiteX2" fmla="*/ 2788036 w 9014774"/>
                <a:gd name="connsiteY2" fmla="*/ 3073851 h 4716395"/>
                <a:gd name="connsiteX3" fmla="*/ 4202166 w 9014774"/>
                <a:gd name="connsiteY3" fmla="*/ 2808037 h 4716395"/>
                <a:gd name="connsiteX4" fmla="*/ 5174824 w 9014774"/>
                <a:gd name="connsiteY4" fmla="*/ 3749573 h 4716395"/>
                <a:gd name="connsiteX5" fmla="*/ 4203274 w 9014774"/>
                <a:gd name="connsiteY5" fmla="*/ 4716360 h 4716395"/>
                <a:gd name="connsiteX6" fmla="*/ 3256644 w 9014774"/>
                <a:gd name="connsiteY6" fmla="*/ 3722437 h 4716395"/>
                <a:gd name="connsiteX7" fmla="*/ 4191533 w 9014774"/>
                <a:gd name="connsiteY7" fmla="*/ 2808037 h 4716395"/>
                <a:gd name="connsiteX8" fmla="*/ 5988436 w 9014774"/>
                <a:gd name="connsiteY8" fmla="*/ 2744242 h 4716395"/>
                <a:gd name="connsiteX9" fmla="*/ 9014774 w 9014774"/>
                <a:gd name="connsiteY9" fmla="*/ 0 h 4716395"/>
                <a:gd name="connsiteX0" fmla="*/ 0 w 9014774"/>
                <a:gd name="connsiteY0" fmla="*/ 4573900 h 4933107"/>
                <a:gd name="connsiteX1" fmla="*/ 1500727 w 9014774"/>
                <a:gd name="connsiteY1" fmla="*/ 4563396 h 4933107"/>
                <a:gd name="connsiteX2" fmla="*/ 2788036 w 9014774"/>
                <a:gd name="connsiteY2" fmla="*/ 3290563 h 4933107"/>
                <a:gd name="connsiteX3" fmla="*/ 4202166 w 9014774"/>
                <a:gd name="connsiteY3" fmla="*/ 3024749 h 4933107"/>
                <a:gd name="connsiteX4" fmla="*/ 5174824 w 9014774"/>
                <a:gd name="connsiteY4" fmla="*/ 3966285 h 4933107"/>
                <a:gd name="connsiteX5" fmla="*/ 4203274 w 9014774"/>
                <a:gd name="connsiteY5" fmla="*/ 4933072 h 4933107"/>
                <a:gd name="connsiteX6" fmla="*/ 3256644 w 9014774"/>
                <a:gd name="connsiteY6" fmla="*/ 3939149 h 4933107"/>
                <a:gd name="connsiteX7" fmla="*/ 4191533 w 9014774"/>
                <a:gd name="connsiteY7" fmla="*/ 3024749 h 4933107"/>
                <a:gd name="connsiteX8" fmla="*/ 5988436 w 9014774"/>
                <a:gd name="connsiteY8" fmla="*/ 2960954 h 4933107"/>
                <a:gd name="connsiteX9" fmla="*/ 9014774 w 9014774"/>
                <a:gd name="connsiteY9" fmla="*/ 0 h 4933107"/>
                <a:gd name="connsiteX0" fmla="*/ 0 w 8752859"/>
                <a:gd name="connsiteY0" fmla="*/ 3002407 h 3361614"/>
                <a:gd name="connsiteX1" fmla="*/ 1500727 w 8752859"/>
                <a:gd name="connsiteY1" fmla="*/ 2991903 h 3361614"/>
                <a:gd name="connsiteX2" fmla="*/ 2788036 w 8752859"/>
                <a:gd name="connsiteY2" fmla="*/ 1719070 h 3361614"/>
                <a:gd name="connsiteX3" fmla="*/ 4202166 w 8752859"/>
                <a:gd name="connsiteY3" fmla="*/ 1453256 h 3361614"/>
                <a:gd name="connsiteX4" fmla="*/ 5174824 w 8752859"/>
                <a:gd name="connsiteY4" fmla="*/ 2394792 h 3361614"/>
                <a:gd name="connsiteX5" fmla="*/ 4203274 w 8752859"/>
                <a:gd name="connsiteY5" fmla="*/ 3361579 h 3361614"/>
                <a:gd name="connsiteX6" fmla="*/ 3256644 w 8752859"/>
                <a:gd name="connsiteY6" fmla="*/ 2367656 h 3361614"/>
                <a:gd name="connsiteX7" fmla="*/ 4191533 w 8752859"/>
                <a:gd name="connsiteY7" fmla="*/ 1453256 h 3361614"/>
                <a:gd name="connsiteX8" fmla="*/ 5988436 w 8752859"/>
                <a:gd name="connsiteY8" fmla="*/ 1389461 h 3361614"/>
                <a:gd name="connsiteX9" fmla="*/ 8752859 w 8752859"/>
                <a:gd name="connsiteY9" fmla="*/ 0 h 3361614"/>
                <a:gd name="connsiteX0" fmla="*/ 0 w 8753217"/>
                <a:gd name="connsiteY0" fmla="*/ 3002407 h 3361614"/>
                <a:gd name="connsiteX1" fmla="*/ 1500727 w 8753217"/>
                <a:gd name="connsiteY1" fmla="*/ 2991903 h 3361614"/>
                <a:gd name="connsiteX2" fmla="*/ 2788036 w 8753217"/>
                <a:gd name="connsiteY2" fmla="*/ 1719070 h 3361614"/>
                <a:gd name="connsiteX3" fmla="*/ 4202166 w 8753217"/>
                <a:gd name="connsiteY3" fmla="*/ 1453256 h 3361614"/>
                <a:gd name="connsiteX4" fmla="*/ 5174824 w 8753217"/>
                <a:gd name="connsiteY4" fmla="*/ 2394792 h 3361614"/>
                <a:gd name="connsiteX5" fmla="*/ 4203274 w 8753217"/>
                <a:gd name="connsiteY5" fmla="*/ 3361579 h 3361614"/>
                <a:gd name="connsiteX6" fmla="*/ 3256644 w 8753217"/>
                <a:gd name="connsiteY6" fmla="*/ 2367656 h 3361614"/>
                <a:gd name="connsiteX7" fmla="*/ 4191533 w 8753217"/>
                <a:gd name="connsiteY7" fmla="*/ 1453256 h 3361614"/>
                <a:gd name="connsiteX8" fmla="*/ 5988436 w 8753217"/>
                <a:gd name="connsiteY8" fmla="*/ 1389461 h 3361614"/>
                <a:gd name="connsiteX9" fmla="*/ 8752859 w 8753217"/>
                <a:gd name="connsiteY9" fmla="*/ 0 h 3361614"/>
                <a:gd name="connsiteX0" fmla="*/ 0 w 7252490"/>
                <a:gd name="connsiteY0" fmla="*/ 2991903 h 3361614"/>
                <a:gd name="connsiteX1" fmla="*/ 1287309 w 7252490"/>
                <a:gd name="connsiteY1" fmla="*/ 1719070 h 3361614"/>
                <a:gd name="connsiteX2" fmla="*/ 2701439 w 7252490"/>
                <a:gd name="connsiteY2" fmla="*/ 1453256 h 3361614"/>
                <a:gd name="connsiteX3" fmla="*/ 3674097 w 7252490"/>
                <a:gd name="connsiteY3" fmla="*/ 2394792 h 3361614"/>
                <a:gd name="connsiteX4" fmla="*/ 2702547 w 7252490"/>
                <a:gd name="connsiteY4" fmla="*/ 3361579 h 3361614"/>
                <a:gd name="connsiteX5" fmla="*/ 1755917 w 7252490"/>
                <a:gd name="connsiteY5" fmla="*/ 2367656 h 3361614"/>
                <a:gd name="connsiteX6" fmla="*/ 2690806 w 7252490"/>
                <a:gd name="connsiteY6" fmla="*/ 1453256 h 3361614"/>
                <a:gd name="connsiteX7" fmla="*/ 4487709 w 7252490"/>
                <a:gd name="connsiteY7" fmla="*/ 1389461 h 3361614"/>
                <a:gd name="connsiteX8" fmla="*/ 7252132 w 7252490"/>
                <a:gd name="connsiteY8" fmla="*/ 0 h 3361614"/>
                <a:gd name="connsiteX0" fmla="*/ 0 w 5965181"/>
                <a:gd name="connsiteY0" fmla="*/ 1719070 h 3361614"/>
                <a:gd name="connsiteX1" fmla="*/ 1414130 w 5965181"/>
                <a:gd name="connsiteY1" fmla="*/ 1453256 h 3361614"/>
                <a:gd name="connsiteX2" fmla="*/ 2386788 w 5965181"/>
                <a:gd name="connsiteY2" fmla="*/ 2394792 h 3361614"/>
                <a:gd name="connsiteX3" fmla="*/ 1415238 w 5965181"/>
                <a:gd name="connsiteY3" fmla="*/ 3361579 h 3361614"/>
                <a:gd name="connsiteX4" fmla="*/ 468608 w 5965181"/>
                <a:gd name="connsiteY4" fmla="*/ 2367656 h 3361614"/>
                <a:gd name="connsiteX5" fmla="*/ 1403497 w 5965181"/>
                <a:gd name="connsiteY5" fmla="*/ 1453256 h 3361614"/>
                <a:gd name="connsiteX6" fmla="*/ 3200400 w 5965181"/>
                <a:gd name="connsiteY6" fmla="*/ 1389461 h 3361614"/>
                <a:gd name="connsiteX7" fmla="*/ 5964823 w 5965181"/>
                <a:gd name="connsiteY7" fmla="*/ 0 h 3361614"/>
                <a:gd name="connsiteX0" fmla="*/ 0 w 6125460"/>
                <a:gd name="connsiteY0" fmla="*/ 2745008 h 4387552"/>
                <a:gd name="connsiteX1" fmla="*/ 1414130 w 6125460"/>
                <a:gd name="connsiteY1" fmla="*/ 2479194 h 4387552"/>
                <a:gd name="connsiteX2" fmla="*/ 2386788 w 6125460"/>
                <a:gd name="connsiteY2" fmla="*/ 3420730 h 4387552"/>
                <a:gd name="connsiteX3" fmla="*/ 1415238 w 6125460"/>
                <a:gd name="connsiteY3" fmla="*/ 4387517 h 4387552"/>
                <a:gd name="connsiteX4" fmla="*/ 468608 w 6125460"/>
                <a:gd name="connsiteY4" fmla="*/ 3393594 h 4387552"/>
                <a:gd name="connsiteX5" fmla="*/ 1403497 w 6125460"/>
                <a:gd name="connsiteY5" fmla="*/ 2479194 h 4387552"/>
                <a:gd name="connsiteX6" fmla="*/ 3200400 w 6125460"/>
                <a:gd name="connsiteY6" fmla="*/ 2415399 h 4387552"/>
                <a:gd name="connsiteX7" fmla="*/ 6125126 w 6125460"/>
                <a:gd name="connsiteY7" fmla="*/ 0 h 4387552"/>
                <a:gd name="connsiteX0" fmla="*/ 0 w 7167428"/>
                <a:gd name="connsiteY0" fmla="*/ 2881266 h 4387552"/>
                <a:gd name="connsiteX1" fmla="*/ 2456098 w 7167428"/>
                <a:gd name="connsiteY1" fmla="*/ 2479194 h 4387552"/>
                <a:gd name="connsiteX2" fmla="*/ 3428756 w 7167428"/>
                <a:gd name="connsiteY2" fmla="*/ 3420730 h 4387552"/>
                <a:gd name="connsiteX3" fmla="*/ 2457206 w 7167428"/>
                <a:gd name="connsiteY3" fmla="*/ 4387517 h 4387552"/>
                <a:gd name="connsiteX4" fmla="*/ 1510576 w 7167428"/>
                <a:gd name="connsiteY4" fmla="*/ 3393594 h 4387552"/>
                <a:gd name="connsiteX5" fmla="*/ 2445465 w 7167428"/>
                <a:gd name="connsiteY5" fmla="*/ 2479194 h 4387552"/>
                <a:gd name="connsiteX6" fmla="*/ 4242368 w 7167428"/>
                <a:gd name="connsiteY6" fmla="*/ 2415399 h 4387552"/>
                <a:gd name="connsiteX7" fmla="*/ 7167094 w 7167428"/>
                <a:gd name="connsiteY7" fmla="*/ 0 h 4387552"/>
                <a:gd name="connsiteX0" fmla="*/ 0 w 7167432"/>
                <a:gd name="connsiteY0" fmla="*/ 2881266 h 4387552"/>
                <a:gd name="connsiteX1" fmla="*/ 2456098 w 7167432"/>
                <a:gd name="connsiteY1" fmla="*/ 2479194 h 4387552"/>
                <a:gd name="connsiteX2" fmla="*/ 3428756 w 7167432"/>
                <a:gd name="connsiteY2" fmla="*/ 3420730 h 4387552"/>
                <a:gd name="connsiteX3" fmla="*/ 2457206 w 7167432"/>
                <a:gd name="connsiteY3" fmla="*/ 4387517 h 4387552"/>
                <a:gd name="connsiteX4" fmla="*/ 1510576 w 7167432"/>
                <a:gd name="connsiteY4" fmla="*/ 3393594 h 4387552"/>
                <a:gd name="connsiteX5" fmla="*/ 2445465 w 7167432"/>
                <a:gd name="connsiteY5" fmla="*/ 2479194 h 4387552"/>
                <a:gd name="connsiteX6" fmla="*/ 4266414 w 7167432"/>
                <a:gd name="connsiteY6" fmla="*/ 2086779 h 4387552"/>
                <a:gd name="connsiteX7" fmla="*/ 7167094 w 7167432"/>
                <a:gd name="connsiteY7" fmla="*/ 0 h 4387552"/>
                <a:gd name="connsiteX0" fmla="*/ 0 w 7167432"/>
                <a:gd name="connsiteY0" fmla="*/ 2881266 h 4387544"/>
                <a:gd name="connsiteX1" fmla="*/ 2456098 w 7167432"/>
                <a:gd name="connsiteY1" fmla="*/ 2479194 h 4387544"/>
                <a:gd name="connsiteX2" fmla="*/ 3428756 w 7167432"/>
                <a:gd name="connsiteY2" fmla="*/ 3420730 h 4387544"/>
                <a:gd name="connsiteX3" fmla="*/ 2457206 w 7167432"/>
                <a:gd name="connsiteY3" fmla="*/ 4387517 h 4387544"/>
                <a:gd name="connsiteX4" fmla="*/ 1510576 w 7167432"/>
                <a:gd name="connsiteY4" fmla="*/ 3393594 h 4387544"/>
                <a:gd name="connsiteX5" fmla="*/ 2357298 w 7167432"/>
                <a:gd name="connsiteY5" fmla="*/ 2439119 h 4387544"/>
                <a:gd name="connsiteX6" fmla="*/ 4266414 w 7167432"/>
                <a:gd name="connsiteY6" fmla="*/ 2086779 h 4387544"/>
                <a:gd name="connsiteX7" fmla="*/ 7167094 w 7167432"/>
                <a:gd name="connsiteY7" fmla="*/ 0 h 4387544"/>
                <a:gd name="connsiteX0" fmla="*/ 0 w 7167432"/>
                <a:gd name="connsiteY0" fmla="*/ 2881266 h 4387544"/>
                <a:gd name="connsiteX1" fmla="*/ 2456098 w 7167432"/>
                <a:gd name="connsiteY1" fmla="*/ 2479194 h 4387544"/>
                <a:gd name="connsiteX2" fmla="*/ 3428756 w 7167432"/>
                <a:gd name="connsiteY2" fmla="*/ 3420730 h 4387544"/>
                <a:gd name="connsiteX3" fmla="*/ 2457206 w 7167432"/>
                <a:gd name="connsiteY3" fmla="*/ 4387517 h 4387544"/>
                <a:gd name="connsiteX4" fmla="*/ 1510576 w 7167432"/>
                <a:gd name="connsiteY4" fmla="*/ 3393594 h 4387544"/>
                <a:gd name="connsiteX5" fmla="*/ 2357298 w 7167432"/>
                <a:gd name="connsiteY5" fmla="*/ 2439119 h 4387544"/>
                <a:gd name="connsiteX6" fmla="*/ 4266414 w 7167432"/>
                <a:gd name="connsiteY6" fmla="*/ 2086779 h 4387544"/>
                <a:gd name="connsiteX7" fmla="*/ 7167094 w 7167432"/>
                <a:gd name="connsiteY7" fmla="*/ 0 h 4387544"/>
                <a:gd name="connsiteX0" fmla="*/ 0 w 7167432"/>
                <a:gd name="connsiteY0" fmla="*/ 2881266 h 4387555"/>
                <a:gd name="connsiteX1" fmla="*/ 2456098 w 7167432"/>
                <a:gd name="connsiteY1" fmla="*/ 2479194 h 4387555"/>
                <a:gd name="connsiteX2" fmla="*/ 3428756 w 7167432"/>
                <a:gd name="connsiteY2" fmla="*/ 3420730 h 4387555"/>
                <a:gd name="connsiteX3" fmla="*/ 2457206 w 7167432"/>
                <a:gd name="connsiteY3" fmla="*/ 4387517 h 4387555"/>
                <a:gd name="connsiteX4" fmla="*/ 1510576 w 7167432"/>
                <a:gd name="connsiteY4" fmla="*/ 3393594 h 4387555"/>
                <a:gd name="connsiteX5" fmla="*/ 2357298 w 7167432"/>
                <a:gd name="connsiteY5" fmla="*/ 2439119 h 4387555"/>
                <a:gd name="connsiteX6" fmla="*/ 4266414 w 7167432"/>
                <a:gd name="connsiteY6" fmla="*/ 2086779 h 4387555"/>
                <a:gd name="connsiteX7" fmla="*/ 7167094 w 7167432"/>
                <a:gd name="connsiteY7" fmla="*/ 0 h 4387555"/>
                <a:gd name="connsiteX0" fmla="*/ 0 w 7167432"/>
                <a:gd name="connsiteY0" fmla="*/ 2881266 h 4387558"/>
                <a:gd name="connsiteX1" fmla="*/ 2456098 w 7167432"/>
                <a:gd name="connsiteY1" fmla="*/ 2479194 h 4387558"/>
                <a:gd name="connsiteX2" fmla="*/ 3428756 w 7167432"/>
                <a:gd name="connsiteY2" fmla="*/ 3420730 h 4387558"/>
                <a:gd name="connsiteX3" fmla="*/ 2457206 w 7167432"/>
                <a:gd name="connsiteY3" fmla="*/ 4387517 h 4387558"/>
                <a:gd name="connsiteX4" fmla="*/ 1510576 w 7167432"/>
                <a:gd name="connsiteY4" fmla="*/ 3393594 h 4387558"/>
                <a:gd name="connsiteX5" fmla="*/ 2357298 w 7167432"/>
                <a:gd name="connsiteY5" fmla="*/ 2439119 h 4387558"/>
                <a:gd name="connsiteX6" fmla="*/ 4266414 w 7167432"/>
                <a:gd name="connsiteY6" fmla="*/ 2086779 h 4387558"/>
                <a:gd name="connsiteX7" fmla="*/ 7167094 w 7167432"/>
                <a:gd name="connsiteY7" fmla="*/ 0 h 4387558"/>
                <a:gd name="connsiteX0" fmla="*/ 0 w 7167432"/>
                <a:gd name="connsiteY0" fmla="*/ 2881266 h 4387562"/>
                <a:gd name="connsiteX1" fmla="*/ 2456098 w 7167432"/>
                <a:gd name="connsiteY1" fmla="*/ 2479194 h 4387562"/>
                <a:gd name="connsiteX2" fmla="*/ 3428756 w 7167432"/>
                <a:gd name="connsiteY2" fmla="*/ 3420730 h 4387562"/>
                <a:gd name="connsiteX3" fmla="*/ 2457206 w 7167432"/>
                <a:gd name="connsiteY3" fmla="*/ 4387517 h 4387562"/>
                <a:gd name="connsiteX4" fmla="*/ 1510576 w 7167432"/>
                <a:gd name="connsiteY4" fmla="*/ 3393594 h 4387562"/>
                <a:gd name="connsiteX5" fmla="*/ 2357298 w 7167432"/>
                <a:gd name="connsiteY5" fmla="*/ 2439119 h 4387562"/>
                <a:gd name="connsiteX6" fmla="*/ 4266414 w 7167432"/>
                <a:gd name="connsiteY6" fmla="*/ 2086779 h 4387562"/>
                <a:gd name="connsiteX7" fmla="*/ 7167094 w 7167432"/>
                <a:gd name="connsiteY7" fmla="*/ 0 h 4387562"/>
                <a:gd name="connsiteX0" fmla="*/ 0 w 7167432"/>
                <a:gd name="connsiteY0" fmla="*/ 2881266 h 4387549"/>
                <a:gd name="connsiteX1" fmla="*/ 2456098 w 7167432"/>
                <a:gd name="connsiteY1" fmla="*/ 2479194 h 4387549"/>
                <a:gd name="connsiteX2" fmla="*/ 3428756 w 7167432"/>
                <a:gd name="connsiteY2" fmla="*/ 3420730 h 4387549"/>
                <a:gd name="connsiteX3" fmla="*/ 2457206 w 7167432"/>
                <a:gd name="connsiteY3" fmla="*/ 4387517 h 4387549"/>
                <a:gd name="connsiteX4" fmla="*/ 1510576 w 7167432"/>
                <a:gd name="connsiteY4" fmla="*/ 3393594 h 4387549"/>
                <a:gd name="connsiteX5" fmla="*/ 2357298 w 7167432"/>
                <a:gd name="connsiteY5" fmla="*/ 2439119 h 4387549"/>
                <a:gd name="connsiteX6" fmla="*/ 4266414 w 7167432"/>
                <a:gd name="connsiteY6" fmla="*/ 2086779 h 4387549"/>
                <a:gd name="connsiteX7" fmla="*/ 7167094 w 7167432"/>
                <a:gd name="connsiteY7" fmla="*/ 0 h 4387549"/>
                <a:gd name="connsiteX0" fmla="*/ 0 w 7167432"/>
                <a:gd name="connsiteY0" fmla="*/ 2881266 h 4387551"/>
                <a:gd name="connsiteX1" fmla="*/ 2456098 w 7167432"/>
                <a:gd name="connsiteY1" fmla="*/ 2479194 h 4387551"/>
                <a:gd name="connsiteX2" fmla="*/ 3428756 w 7167432"/>
                <a:gd name="connsiteY2" fmla="*/ 3420730 h 4387551"/>
                <a:gd name="connsiteX3" fmla="*/ 2457206 w 7167432"/>
                <a:gd name="connsiteY3" fmla="*/ 4387517 h 4387551"/>
                <a:gd name="connsiteX4" fmla="*/ 1510576 w 7167432"/>
                <a:gd name="connsiteY4" fmla="*/ 3393594 h 4387551"/>
                <a:gd name="connsiteX5" fmla="*/ 2357298 w 7167432"/>
                <a:gd name="connsiteY5" fmla="*/ 2439119 h 4387551"/>
                <a:gd name="connsiteX6" fmla="*/ 4266414 w 7167432"/>
                <a:gd name="connsiteY6" fmla="*/ 2086779 h 4387551"/>
                <a:gd name="connsiteX7" fmla="*/ 7167094 w 7167432"/>
                <a:gd name="connsiteY7" fmla="*/ 0 h 4387551"/>
                <a:gd name="connsiteX0" fmla="*/ 0 w 7167432"/>
                <a:gd name="connsiteY0" fmla="*/ 2881266 h 4387551"/>
                <a:gd name="connsiteX1" fmla="*/ 2456098 w 7167432"/>
                <a:gd name="connsiteY1" fmla="*/ 2479194 h 4387551"/>
                <a:gd name="connsiteX2" fmla="*/ 3428756 w 7167432"/>
                <a:gd name="connsiteY2" fmla="*/ 3420730 h 4387551"/>
                <a:gd name="connsiteX3" fmla="*/ 2457206 w 7167432"/>
                <a:gd name="connsiteY3" fmla="*/ 4387517 h 4387551"/>
                <a:gd name="connsiteX4" fmla="*/ 1510576 w 7167432"/>
                <a:gd name="connsiteY4" fmla="*/ 3393594 h 4387551"/>
                <a:gd name="connsiteX5" fmla="*/ 2357298 w 7167432"/>
                <a:gd name="connsiteY5" fmla="*/ 2439119 h 4387551"/>
                <a:gd name="connsiteX6" fmla="*/ 4266414 w 7167432"/>
                <a:gd name="connsiteY6" fmla="*/ 2086779 h 4387551"/>
                <a:gd name="connsiteX7" fmla="*/ 7167094 w 7167432"/>
                <a:gd name="connsiteY7" fmla="*/ 0 h 4387551"/>
                <a:gd name="connsiteX0" fmla="*/ 0 w 7167492"/>
                <a:gd name="connsiteY0" fmla="*/ 2881266 h 4387551"/>
                <a:gd name="connsiteX1" fmla="*/ 2456098 w 7167492"/>
                <a:gd name="connsiteY1" fmla="*/ 2479194 h 4387551"/>
                <a:gd name="connsiteX2" fmla="*/ 3428756 w 7167492"/>
                <a:gd name="connsiteY2" fmla="*/ 3420730 h 4387551"/>
                <a:gd name="connsiteX3" fmla="*/ 2457206 w 7167492"/>
                <a:gd name="connsiteY3" fmla="*/ 4387517 h 4387551"/>
                <a:gd name="connsiteX4" fmla="*/ 1510576 w 7167492"/>
                <a:gd name="connsiteY4" fmla="*/ 3393594 h 4387551"/>
                <a:gd name="connsiteX5" fmla="*/ 2357298 w 7167492"/>
                <a:gd name="connsiteY5" fmla="*/ 2439119 h 4387551"/>
                <a:gd name="connsiteX6" fmla="*/ 4635111 w 7167492"/>
                <a:gd name="connsiteY6" fmla="*/ 2134870 h 4387551"/>
                <a:gd name="connsiteX7" fmla="*/ 7167094 w 7167492"/>
                <a:gd name="connsiteY7" fmla="*/ 0 h 4387551"/>
                <a:gd name="connsiteX0" fmla="*/ 0 w 7007189"/>
                <a:gd name="connsiteY0" fmla="*/ 2977448 h 4387551"/>
                <a:gd name="connsiteX1" fmla="*/ 2295795 w 7007189"/>
                <a:gd name="connsiteY1" fmla="*/ 2479194 h 4387551"/>
                <a:gd name="connsiteX2" fmla="*/ 3268453 w 7007189"/>
                <a:gd name="connsiteY2" fmla="*/ 3420730 h 4387551"/>
                <a:gd name="connsiteX3" fmla="*/ 2296903 w 7007189"/>
                <a:gd name="connsiteY3" fmla="*/ 4387517 h 4387551"/>
                <a:gd name="connsiteX4" fmla="*/ 1350273 w 7007189"/>
                <a:gd name="connsiteY4" fmla="*/ 3393594 h 4387551"/>
                <a:gd name="connsiteX5" fmla="*/ 2196995 w 7007189"/>
                <a:gd name="connsiteY5" fmla="*/ 2439119 h 4387551"/>
                <a:gd name="connsiteX6" fmla="*/ 4474808 w 7007189"/>
                <a:gd name="connsiteY6" fmla="*/ 2134870 h 4387551"/>
                <a:gd name="connsiteX7" fmla="*/ 7006791 w 7007189"/>
                <a:gd name="connsiteY7" fmla="*/ 0 h 4387551"/>
                <a:gd name="connsiteX0" fmla="*/ 0 w 7007189"/>
                <a:gd name="connsiteY0" fmla="*/ 2977448 h 4387551"/>
                <a:gd name="connsiteX1" fmla="*/ 2295795 w 7007189"/>
                <a:gd name="connsiteY1" fmla="*/ 2479194 h 4387551"/>
                <a:gd name="connsiteX2" fmla="*/ 3268453 w 7007189"/>
                <a:gd name="connsiteY2" fmla="*/ 3420730 h 4387551"/>
                <a:gd name="connsiteX3" fmla="*/ 2296903 w 7007189"/>
                <a:gd name="connsiteY3" fmla="*/ 4387517 h 4387551"/>
                <a:gd name="connsiteX4" fmla="*/ 1350273 w 7007189"/>
                <a:gd name="connsiteY4" fmla="*/ 3393594 h 4387551"/>
                <a:gd name="connsiteX5" fmla="*/ 2196995 w 7007189"/>
                <a:gd name="connsiteY5" fmla="*/ 2439119 h 4387551"/>
                <a:gd name="connsiteX6" fmla="*/ 4474808 w 7007189"/>
                <a:gd name="connsiteY6" fmla="*/ 2134870 h 4387551"/>
                <a:gd name="connsiteX7" fmla="*/ 7006791 w 7007189"/>
                <a:gd name="connsiteY7" fmla="*/ 0 h 4387551"/>
                <a:gd name="connsiteX0" fmla="*/ 0 w 7087340"/>
                <a:gd name="connsiteY0" fmla="*/ 2897296 h 4387551"/>
                <a:gd name="connsiteX1" fmla="*/ 2375946 w 7087340"/>
                <a:gd name="connsiteY1" fmla="*/ 2479194 h 4387551"/>
                <a:gd name="connsiteX2" fmla="*/ 3348604 w 7087340"/>
                <a:gd name="connsiteY2" fmla="*/ 3420730 h 4387551"/>
                <a:gd name="connsiteX3" fmla="*/ 2377054 w 7087340"/>
                <a:gd name="connsiteY3" fmla="*/ 4387517 h 4387551"/>
                <a:gd name="connsiteX4" fmla="*/ 1430424 w 7087340"/>
                <a:gd name="connsiteY4" fmla="*/ 3393594 h 4387551"/>
                <a:gd name="connsiteX5" fmla="*/ 2277146 w 7087340"/>
                <a:gd name="connsiteY5" fmla="*/ 2439119 h 4387551"/>
                <a:gd name="connsiteX6" fmla="*/ 4554959 w 7087340"/>
                <a:gd name="connsiteY6" fmla="*/ 2134870 h 4387551"/>
                <a:gd name="connsiteX7" fmla="*/ 7086942 w 7087340"/>
                <a:gd name="connsiteY7" fmla="*/ 0 h 4387551"/>
                <a:gd name="connsiteX0" fmla="*/ 0 w 7087340"/>
                <a:gd name="connsiteY0" fmla="*/ 2897296 h 4387551"/>
                <a:gd name="connsiteX1" fmla="*/ 2375946 w 7087340"/>
                <a:gd name="connsiteY1" fmla="*/ 2479194 h 4387551"/>
                <a:gd name="connsiteX2" fmla="*/ 3348604 w 7087340"/>
                <a:gd name="connsiteY2" fmla="*/ 3420730 h 4387551"/>
                <a:gd name="connsiteX3" fmla="*/ 2377054 w 7087340"/>
                <a:gd name="connsiteY3" fmla="*/ 4387517 h 4387551"/>
                <a:gd name="connsiteX4" fmla="*/ 1430424 w 7087340"/>
                <a:gd name="connsiteY4" fmla="*/ 3393594 h 4387551"/>
                <a:gd name="connsiteX5" fmla="*/ 2277146 w 7087340"/>
                <a:gd name="connsiteY5" fmla="*/ 2439119 h 4387551"/>
                <a:gd name="connsiteX6" fmla="*/ 4554959 w 7087340"/>
                <a:gd name="connsiteY6" fmla="*/ 2134870 h 4387551"/>
                <a:gd name="connsiteX7" fmla="*/ 7086942 w 7087340"/>
                <a:gd name="connsiteY7" fmla="*/ 0 h 4387551"/>
                <a:gd name="connsiteX0" fmla="*/ 0 w 7087340"/>
                <a:gd name="connsiteY0" fmla="*/ 2897296 h 4387551"/>
                <a:gd name="connsiteX1" fmla="*/ 2375946 w 7087340"/>
                <a:gd name="connsiteY1" fmla="*/ 2479194 h 4387551"/>
                <a:gd name="connsiteX2" fmla="*/ 3348604 w 7087340"/>
                <a:gd name="connsiteY2" fmla="*/ 3420730 h 4387551"/>
                <a:gd name="connsiteX3" fmla="*/ 2377054 w 7087340"/>
                <a:gd name="connsiteY3" fmla="*/ 4387517 h 4387551"/>
                <a:gd name="connsiteX4" fmla="*/ 1430424 w 7087340"/>
                <a:gd name="connsiteY4" fmla="*/ 3393594 h 4387551"/>
                <a:gd name="connsiteX5" fmla="*/ 2277146 w 7087340"/>
                <a:gd name="connsiteY5" fmla="*/ 2439119 h 4387551"/>
                <a:gd name="connsiteX6" fmla="*/ 4554959 w 7087340"/>
                <a:gd name="connsiteY6" fmla="*/ 2134870 h 4387551"/>
                <a:gd name="connsiteX7" fmla="*/ 7086942 w 7087340"/>
                <a:gd name="connsiteY7" fmla="*/ 0 h 4387551"/>
                <a:gd name="connsiteX0" fmla="*/ 0 w 7103370"/>
                <a:gd name="connsiteY0" fmla="*/ 3121721 h 4387551"/>
                <a:gd name="connsiteX1" fmla="*/ 2391976 w 7103370"/>
                <a:gd name="connsiteY1" fmla="*/ 2479194 h 4387551"/>
                <a:gd name="connsiteX2" fmla="*/ 3364634 w 7103370"/>
                <a:gd name="connsiteY2" fmla="*/ 3420730 h 4387551"/>
                <a:gd name="connsiteX3" fmla="*/ 2393084 w 7103370"/>
                <a:gd name="connsiteY3" fmla="*/ 4387517 h 4387551"/>
                <a:gd name="connsiteX4" fmla="*/ 1446454 w 7103370"/>
                <a:gd name="connsiteY4" fmla="*/ 3393594 h 4387551"/>
                <a:gd name="connsiteX5" fmla="*/ 2293176 w 7103370"/>
                <a:gd name="connsiteY5" fmla="*/ 2439119 h 4387551"/>
                <a:gd name="connsiteX6" fmla="*/ 4570989 w 7103370"/>
                <a:gd name="connsiteY6" fmla="*/ 2134870 h 4387551"/>
                <a:gd name="connsiteX7" fmla="*/ 7102972 w 7103370"/>
                <a:gd name="connsiteY7" fmla="*/ 0 h 4387551"/>
                <a:gd name="connsiteX0" fmla="*/ 0 w 6999173"/>
                <a:gd name="connsiteY0" fmla="*/ 3306069 h 4387551"/>
                <a:gd name="connsiteX1" fmla="*/ 2287779 w 6999173"/>
                <a:gd name="connsiteY1" fmla="*/ 2479194 h 4387551"/>
                <a:gd name="connsiteX2" fmla="*/ 3260437 w 6999173"/>
                <a:gd name="connsiteY2" fmla="*/ 3420730 h 4387551"/>
                <a:gd name="connsiteX3" fmla="*/ 2288887 w 6999173"/>
                <a:gd name="connsiteY3" fmla="*/ 4387517 h 4387551"/>
                <a:gd name="connsiteX4" fmla="*/ 1342257 w 6999173"/>
                <a:gd name="connsiteY4" fmla="*/ 3393594 h 4387551"/>
                <a:gd name="connsiteX5" fmla="*/ 2188979 w 6999173"/>
                <a:gd name="connsiteY5" fmla="*/ 2439119 h 4387551"/>
                <a:gd name="connsiteX6" fmla="*/ 4466792 w 6999173"/>
                <a:gd name="connsiteY6" fmla="*/ 2134870 h 4387551"/>
                <a:gd name="connsiteX7" fmla="*/ 6998775 w 6999173"/>
                <a:gd name="connsiteY7" fmla="*/ 0 h 438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99173" h="4387551">
                  <a:moveTo>
                    <a:pt x="0" y="3306069"/>
                  </a:moveTo>
                  <a:cubicBezTo>
                    <a:pt x="746800" y="2440477"/>
                    <a:pt x="1744373" y="2460084"/>
                    <a:pt x="2287779" y="2479194"/>
                  </a:cubicBezTo>
                  <a:cubicBezTo>
                    <a:pt x="2831185" y="2498304"/>
                    <a:pt x="3265014" y="2783243"/>
                    <a:pt x="3260437" y="3420730"/>
                  </a:cubicBezTo>
                  <a:cubicBezTo>
                    <a:pt x="3255860" y="4058217"/>
                    <a:pt x="2889572" y="4382515"/>
                    <a:pt x="2288887" y="4387517"/>
                  </a:cubicBezTo>
                  <a:cubicBezTo>
                    <a:pt x="1688202" y="4392519"/>
                    <a:pt x="1302802" y="3846567"/>
                    <a:pt x="1342257" y="3393594"/>
                  </a:cubicBezTo>
                  <a:cubicBezTo>
                    <a:pt x="1381712" y="2940621"/>
                    <a:pt x="1668223" y="2648906"/>
                    <a:pt x="2188979" y="2439119"/>
                  </a:cubicBezTo>
                  <a:cubicBezTo>
                    <a:pt x="2709735" y="2229332"/>
                    <a:pt x="3941548" y="2296728"/>
                    <a:pt x="4466792" y="2134870"/>
                  </a:cubicBezTo>
                  <a:cubicBezTo>
                    <a:pt x="4992036" y="1973012"/>
                    <a:pt x="7031881" y="837323"/>
                    <a:pt x="6998775" y="0"/>
                  </a:cubicBezTo>
                </a:path>
              </a:pathLst>
            </a:custGeom>
            <a:noFill/>
            <a:ln w="76200">
              <a:solidFill>
                <a:srgbClr val="EA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dirty="0"/>
            </a:p>
          </p:txBody>
        </p:sp>
      </p:grpSp>
      <p:sp>
        <p:nvSpPr>
          <p:cNvPr id="12" name="Text Box 9"/>
          <p:cNvSpPr txBox="1">
            <a:spLocks noChangeAspect="1" noChangeArrowheads="1"/>
          </p:cNvSpPr>
          <p:nvPr/>
        </p:nvSpPr>
        <p:spPr bwMode="auto">
          <a:xfrm>
            <a:off x="1007972" y="2959654"/>
            <a:ext cx="18296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algn="ctr" eaLnBrk="1" hangingPunct="1"/>
            <a:r>
              <a:rPr lang="en-GB" sz="2000" b="1" dirty="0">
                <a:solidFill>
                  <a:srgbClr val="001965"/>
                </a:solidFill>
                <a:latin typeface="+mn-lt"/>
                <a:ea typeface="MS PGothic" pitchFamily="34" charset="-128"/>
              </a:rPr>
              <a:t>Training</a:t>
            </a:r>
          </a:p>
        </p:txBody>
      </p:sp>
      <p:sp>
        <p:nvSpPr>
          <p:cNvPr id="4" name="Title 3">
            <a:extLst>
              <a:ext uri="{FF2B5EF4-FFF2-40B4-BE49-F238E27FC236}">
                <a16:creationId xmlns:a16="http://schemas.microsoft.com/office/drawing/2014/main" id="{19428525-7664-4B9E-B7C7-83D6B24D1FED}"/>
              </a:ext>
            </a:extLst>
          </p:cNvPr>
          <p:cNvSpPr>
            <a:spLocks noGrp="1"/>
          </p:cNvSpPr>
          <p:nvPr>
            <p:ph type="title"/>
          </p:nvPr>
        </p:nvSpPr>
        <p:spPr/>
        <p:txBody>
          <a:bodyPr/>
          <a:lstStyle/>
          <a:p>
            <a:r>
              <a:rPr lang="da-DK" dirty="0"/>
              <a:t>Two years with personal and professional development</a:t>
            </a:r>
          </a:p>
        </p:txBody>
      </p:sp>
      <p:pic>
        <p:nvPicPr>
          <p:cNvPr id="31" name="Graphic 30">
            <a:extLst>
              <a:ext uri="{FF2B5EF4-FFF2-40B4-BE49-F238E27FC236}">
                <a16:creationId xmlns:a16="http://schemas.microsoft.com/office/drawing/2014/main" id="{BE6EB843-2983-4F0E-9809-214B2EAEC5C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49753" y="3286810"/>
            <a:ext cx="952500" cy="952500"/>
          </a:xfrm>
          <a:prstGeom prst="rect">
            <a:avLst/>
          </a:prstGeom>
        </p:spPr>
      </p:pic>
      <p:pic>
        <p:nvPicPr>
          <p:cNvPr id="33" name="Graphic 32">
            <a:extLst>
              <a:ext uri="{FF2B5EF4-FFF2-40B4-BE49-F238E27FC236}">
                <a16:creationId xmlns:a16="http://schemas.microsoft.com/office/drawing/2014/main" id="{269049D0-6A60-4944-B874-EDB792A2B48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43757" y="3297055"/>
            <a:ext cx="952500" cy="952500"/>
          </a:xfrm>
          <a:prstGeom prst="rect">
            <a:avLst/>
          </a:prstGeom>
        </p:spPr>
      </p:pic>
      <p:pic>
        <p:nvPicPr>
          <p:cNvPr id="34" name="Graphic 33">
            <a:extLst>
              <a:ext uri="{FF2B5EF4-FFF2-40B4-BE49-F238E27FC236}">
                <a16:creationId xmlns:a16="http://schemas.microsoft.com/office/drawing/2014/main" id="{0C28EBF5-7AC1-449C-8C11-5A9EC6D1111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446533" y="3286810"/>
            <a:ext cx="952500" cy="952500"/>
          </a:xfrm>
          <a:prstGeom prst="rect">
            <a:avLst/>
          </a:prstGeom>
        </p:spPr>
      </p:pic>
      <p:sp>
        <p:nvSpPr>
          <p:cNvPr id="2" name="Footer Placeholder 1">
            <a:extLst>
              <a:ext uri="{FF2B5EF4-FFF2-40B4-BE49-F238E27FC236}">
                <a16:creationId xmlns:a16="http://schemas.microsoft.com/office/drawing/2014/main" id="{3A293299-9856-4CD5-A28D-E23A443B0450}"/>
              </a:ext>
            </a:extLst>
          </p:cNvPr>
          <p:cNvSpPr>
            <a:spLocks noGrp="1"/>
          </p:cNvSpPr>
          <p:nvPr>
            <p:ph type="ftr" sz="quarter" idx="11"/>
          </p:nvPr>
        </p:nvSpPr>
        <p:spPr/>
        <p:txBody>
          <a:bodyPr/>
          <a:lstStyle/>
          <a:p>
            <a:r>
              <a:rPr lang="en-GB"/>
              <a:t>Graduate Programme Introduction</a:t>
            </a:r>
            <a:endParaRPr lang="en-GB" dirty="0"/>
          </a:p>
        </p:txBody>
      </p:sp>
      <p:sp>
        <p:nvSpPr>
          <p:cNvPr id="3" name="Slide Number Placeholder 2">
            <a:extLst>
              <a:ext uri="{FF2B5EF4-FFF2-40B4-BE49-F238E27FC236}">
                <a16:creationId xmlns:a16="http://schemas.microsoft.com/office/drawing/2014/main" id="{05F5E510-8574-4ED7-AC32-0204FA0E5367}"/>
              </a:ext>
            </a:extLst>
          </p:cNvPr>
          <p:cNvSpPr>
            <a:spLocks noGrp="1"/>
          </p:cNvSpPr>
          <p:nvPr>
            <p:ph type="sldNum" sz="quarter" idx="12"/>
          </p:nvPr>
        </p:nvSpPr>
        <p:spPr/>
        <p:txBody>
          <a:bodyPr/>
          <a:lstStyle/>
          <a:p>
            <a:fld id="{23AA811B-2EBD-4900-905E-5BE206449611}" type="slidenum">
              <a:rPr lang="en-GB" smtClean="0"/>
              <a:t>25</a:t>
            </a:fld>
            <a:endParaRPr lang="en-GB" dirty="0"/>
          </a:p>
        </p:txBody>
      </p:sp>
      <p:sp>
        <p:nvSpPr>
          <p:cNvPr id="10" name="Rectangle 9">
            <a:extLst>
              <a:ext uri="{FF2B5EF4-FFF2-40B4-BE49-F238E27FC236}">
                <a16:creationId xmlns:a16="http://schemas.microsoft.com/office/drawing/2014/main" id="{D2A261BC-EB52-4176-92B2-B0DAD01B2914}"/>
              </a:ext>
            </a:extLst>
          </p:cNvPr>
          <p:cNvSpPr/>
          <p:nvPr/>
        </p:nvSpPr>
        <p:spPr>
          <a:xfrm>
            <a:off x="742991" y="4303217"/>
            <a:ext cx="2359581" cy="1072345"/>
          </a:xfrm>
          <a:prstGeom prst="rect">
            <a:avLst/>
          </a:prstGeom>
        </p:spPr>
        <p:txBody>
          <a:bodyPr wrap="square">
            <a:spAutoFit/>
          </a:bodyPr>
          <a:lstStyle/>
          <a:p>
            <a:pPr algn="ctr" defTabSz="1219140">
              <a:lnSpc>
                <a:spcPct val="150000"/>
              </a:lnSpc>
              <a:defRPr/>
            </a:pPr>
            <a:r>
              <a:rPr lang="en-GB" sz="1467" kern="0" dirty="0">
                <a:solidFill>
                  <a:srgbClr val="E0DED8">
                    <a:lumMod val="50000"/>
                  </a:srgbClr>
                </a:solidFill>
              </a:rPr>
              <a:t>Personal development</a:t>
            </a:r>
          </a:p>
          <a:p>
            <a:pPr algn="ctr" defTabSz="1219140">
              <a:lnSpc>
                <a:spcPct val="150000"/>
              </a:lnSpc>
              <a:defRPr/>
            </a:pPr>
            <a:r>
              <a:rPr lang="en-GB" sz="1467" kern="0" dirty="0">
                <a:solidFill>
                  <a:srgbClr val="E0DED8">
                    <a:lumMod val="50000"/>
                  </a:srgbClr>
                </a:solidFill>
              </a:rPr>
              <a:t>Presentation skills Project management</a:t>
            </a:r>
          </a:p>
        </p:txBody>
      </p:sp>
      <p:sp>
        <p:nvSpPr>
          <p:cNvPr id="14" name="Rectangle 13">
            <a:extLst>
              <a:ext uri="{FF2B5EF4-FFF2-40B4-BE49-F238E27FC236}">
                <a16:creationId xmlns:a16="http://schemas.microsoft.com/office/drawing/2014/main" id="{2DF94865-2DAA-4941-B875-03DC6C20EA4E}"/>
              </a:ext>
            </a:extLst>
          </p:cNvPr>
          <p:cNvSpPr/>
          <p:nvPr/>
        </p:nvSpPr>
        <p:spPr>
          <a:xfrm>
            <a:off x="3743119" y="4303218"/>
            <a:ext cx="1553773" cy="1072345"/>
          </a:xfrm>
          <a:prstGeom prst="rect">
            <a:avLst/>
          </a:prstGeom>
        </p:spPr>
        <p:txBody>
          <a:bodyPr wrap="square">
            <a:spAutoFit/>
          </a:bodyPr>
          <a:lstStyle/>
          <a:p>
            <a:pPr algn="ctr" defTabSz="1219140">
              <a:lnSpc>
                <a:spcPct val="150000"/>
              </a:lnSpc>
              <a:defRPr/>
            </a:pPr>
            <a:r>
              <a:rPr lang="en-GB" sz="1467" dirty="0">
                <a:solidFill>
                  <a:srgbClr val="E0DED8">
                    <a:lumMod val="50000"/>
                  </a:srgbClr>
                </a:solidFill>
              </a:rPr>
              <a:t>Internal</a:t>
            </a:r>
          </a:p>
          <a:p>
            <a:pPr algn="ctr" defTabSz="1219140">
              <a:lnSpc>
                <a:spcPct val="150000"/>
              </a:lnSpc>
              <a:defRPr/>
            </a:pPr>
            <a:r>
              <a:rPr lang="en-GB" sz="1467" dirty="0">
                <a:solidFill>
                  <a:srgbClr val="E0DED8">
                    <a:lumMod val="50000"/>
                  </a:srgbClr>
                </a:solidFill>
              </a:rPr>
              <a:t>External</a:t>
            </a:r>
          </a:p>
          <a:p>
            <a:pPr algn="ctr" defTabSz="1219140">
              <a:lnSpc>
                <a:spcPct val="150000"/>
              </a:lnSpc>
              <a:defRPr/>
            </a:pPr>
            <a:r>
              <a:rPr lang="en-GB" sz="1467" dirty="0">
                <a:solidFill>
                  <a:srgbClr val="E0DED8">
                    <a:lumMod val="50000"/>
                  </a:srgbClr>
                </a:solidFill>
              </a:rPr>
              <a:t>International</a:t>
            </a:r>
          </a:p>
        </p:txBody>
      </p:sp>
      <p:sp>
        <p:nvSpPr>
          <p:cNvPr id="17" name="Rectangle 16">
            <a:extLst>
              <a:ext uri="{FF2B5EF4-FFF2-40B4-BE49-F238E27FC236}">
                <a16:creationId xmlns:a16="http://schemas.microsoft.com/office/drawing/2014/main" id="{36E46475-9C34-415D-9994-B70E2F82EED8}"/>
              </a:ext>
            </a:extLst>
          </p:cNvPr>
          <p:cNvSpPr/>
          <p:nvPr/>
        </p:nvSpPr>
        <p:spPr>
          <a:xfrm>
            <a:off x="6044797" y="4133941"/>
            <a:ext cx="2545609" cy="1411027"/>
          </a:xfrm>
          <a:prstGeom prst="rect">
            <a:avLst/>
          </a:prstGeom>
        </p:spPr>
        <p:txBody>
          <a:bodyPr wrap="square">
            <a:spAutoFit/>
          </a:bodyPr>
          <a:lstStyle/>
          <a:p>
            <a:pPr algn="ctr" defTabSz="1219140">
              <a:lnSpc>
                <a:spcPct val="150000"/>
              </a:lnSpc>
              <a:defRPr/>
            </a:pPr>
            <a:r>
              <a:rPr lang="en-GB" sz="1467" kern="0" dirty="0">
                <a:solidFill>
                  <a:srgbClr val="E0DED8">
                    <a:lumMod val="50000"/>
                  </a:srgbClr>
                </a:solidFill>
              </a:rPr>
              <a:t>Programme Manager</a:t>
            </a:r>
          </a:p>
          <a:p>
            <a:pPr algn="ctr" defTabSz="1219140">
              <a:lnSpc>
                <a:spcPct val="150000"/>
              </a:lnSpc>
              <a:defRPr/>
            </a:pPr>
            <a:r>
              <a:rPr lang="en-GB" sz="1467" kern="0" dirty="0">
                <a:solidFill>
                  <a:srgbClr val="E0DED8">
                    <a:lumMod val="50000"/>
                  </a:srgbClr>
                </a:solidFill>
              </a:rPr>
              <a:t>Host Manager</a:t>
            </a:r>
          </a:p>
          <a:p>
            <a:pPr algn="ctr" defTabSz="1219140">
              <a:lnSpc>
                <a:spcPct val="150000"/>
              </a:lnSpc>
              <a:defRPr/>
            </a:pPr>
            <a:r>
              <a:rPr lang="en-GB" sz="1467" kern="0" dirty="0">
                <a:solidFill>
                  <a:srgbClr val="E0DED8">
                    <a:lumMod val="50000"/>
                  </a:srgbClr>
                </a:solidFill>
              </a:rPr>
              <a:t>Mentor</a:t>
            </a:r>
          </a:p>
          <a:p>
            <a:pPr algn="ctr" defTabSz="1219140">
              <a:lnSpc>
                <a:spcPct val="150000"/>
              </a:lnSpc>
              <a:defRPr/>
            </a:pPr>
            <a:r>
              <a:rPr lang="en-GB" sz="1467" kern="0" dirty="0">
                <a:solidFill>
                  <a:srgbClr val="E0DED8">
                    <a:lumMod val="50000"/>
                  </a:srgbClr>
                </a:solidFill>
              </a:rPr>
              <a:t>Buddy</a:t>
            </a:r>
            <a:endParaRPr lang="en-GB" sz="2400" dirty="0"/>
          </a:p>
        </p:txBody>
      </p:sp>
      <p:pic>
        <p:nvPicPr>
          <p:cNvPr id="28" name="Graphic 27" descr="Earth globe Africa and Europe">
            <a:extLst>
              <a:ext uri="{FF2B5EF4-FFF2-40B4-BE49-F238E27FC236}">
                <a16:creationId xmlns:a16="http://schemas.microsoft.com/office/drawing/2014/main" id="{1F22FF51-03BE-453E-8FAF-BDEF73E67AD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716653" y="3451836"/>
            <a:ext cx="769656" cy="769656"/>
          </a:xfrm>
          <a:prstGeom prst="rect">
            <a:avLst/>
          </a:prstGeom>
        </p:spPr>
      </p:pic>
      <p:sp>
        <p:nvSpPr>
          <p:cNvPr id="20" name="Rectangle 19">
            <a:extLst>
              <a:ext uri="{FF2B5EF4-FFF2-40B4-BE49-F238E27FC236}">
                <a16:creationId xmlns:a16="http://schemas.microsoft.com/office/drawing/2014/main" id="{C724DA73-6DF1-40D0-8C94-A328B0CB7702}"/>
              </a:ext>
            </a:extLst>
          </p:cNvPr>
          <p:cNvSpPr/>
          <p:nvPr/>
        </p:nvSpPr>
        <p:spPr>
          <a:xfrm>
            <a:off x="8886203" y="4472496"/>
            <a:ext cx="2430559" cy="733662"/>
          </a:xfrm>
          <a:prstGeom prst="rect">
            <a:avLst/>
          </a:prstGeom>
        </p:spPr>
        <p:txBody>
          <a:bodyPr wrap="square">
            <a:spAutoFit/>
          </a:bodyPr>
          <a:lstStyle/>
          <a:p>
            <a:pPr algn="ctr" defTabSz="1219140">
              <a:lnSpc>
                <a:spcPct val="150000"/>
              </a:lnSpc>
              <a:defRPr/>
            </a:pPr>
            <a:r>
              <a:rPr lang="en-GB" sz="1467" kern="0" dirty="0">
                <a:solidFill>
                  <a:srgbClr val="E0DED8">
                    <a:lumMod val="50000"/>
                  </a:srgbClr>
                </a:solidFill>
              </a:rPr>
              <a:t>International rotations</a:t>
            </a:r>
          </a:p>
          <a:p>
            <a:pPr algn="ctr" defTabSz="1219140">
              <a:lnSpc>
                <a:spcPct val="150000"/>
              </a:lnSpc>
              <a:defRPr/>
            </a:pPr>
            <a:r>
              <a:rPr lang="en-GB" sz="1467" kern="0" dirty="0">
                <a:solidFill>
                  <a:srgbClr val="E0DED8">
                    <a:lumMod val="50000"/>
                  </a:srgbClr>
                </a:solidFill>
              </a:rPr>
              <a:t>Cultural training</a:t>
            </a:r>
          </a:p>
        </p:txBody>
      </p:sp>
      <p:sp>
        <p:nvSpPr>
          <p:cNvPr id="9" name="Date Placeholder 8">
            <a:extLst>
              <a:ext uri="{FF2B5EF4-FFF2-40B4-BE49-F238E27FC236}">
                <a16:creationId xmlns:a16="http://schemas.microsoft.com/office/drawing/2014/main" id="{747C8F57-F496-4CD5-8C2C-BEAA1FEF9E5C}"/>
              </a:ext>
            </a:extLst>
          </p:cNvPr>
          <p:cNvSpPr>
            <a:spLocks noGrp="1"/>
          </p:cNvSpPr>
          <p:nvPr>
            <p:ph type="dt" sz="half" idx="10"/>
          </p:nvPr>
        </p:nvSpPr>
        <p:spPr/>
        <p:txBody>
          <a:bodyPr/>
          <a:lstStyle/>
          <a:p>
            <a:r>
              <a:rPr lang="en-US"/>
              <a:t>26 October 2020</a:t>
            </a:r>
            <a:endParaRPr lang="en-GB" dirty="0"/>
          </a:p>
        </p:txBody>
      </p:sp>
    </p:spTree>
    <p:custDataLst>
      <p:tags r:id="rId2"/>
    </p:custDataLst>
    <p:extLst>
      <p:ext uri="{BB962C8B-B14F-4D97-AF65-F5344CB8AC3E}">
        <p14:creationId xmlns:p14="http://schemas.microsoft.com/office/powerpoint/2010/main" val="3492311176"/>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78181" name="think-cell Slide" r:id="rId6" imgW="270" imgH="270" progId="TCLayout.ActiveDocument.1">
                  <p:embed/>
                </p:oleObj>
              </mc:Choice>
              <mc:Fallback>
                <p:oleObj name="think-cell Slide" r:id="rId6" imgW="270" imgH="270" progId="TCLayout.ActiveDocument.1">
                  <p:embed/>
                  <p:pic>
                    <p:nvPicPr>
                      <p:cNvPr id="13" name="Object 12" hidden="1"/>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3C08D60-7688-4A53-ABC9-4359DEA5E0EF}"/>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noProof="0" dirty="0" err="1">
              <a:latin typeface="Apis For Office" panose="020B0504010101010104" pitchFamily="34" charset="0"/>
              <a:ea typeface="+mj-ea"/>
              <a:cs typeface="+mj-cs"/>
              <a:sym typeface="Apis For Office" panose="020B0504010101010104" pitchFamily="34" charset="0"/>
            </a:endParaRPr>
          </a:p>
        </p:txBody>
      </p:sp>
      <p:sp>
        <p:nvSpPr>
          <p:cNvPr id="23" name="Title 2">
            <a:extLst>
              <a:ext uri="{FF2B5EF4-FFF2-40B4-BE49-F238E27FC236}">
                <a16:creationId xmlns:a16="http://schemas.microsoft.com/office/drawing/2014/main" id="{A9171CC9-BD6F-4D84-AC05-C993A1BBF962}"/>
              </a:ext>
            </a:extLst>
          </p:cNvPr>
          <p:cNvSpPr>
            <a:spLocks noGrp="1"/>
          </p:cNvSpPr>
          <p:nvPr>
            <p:ph type="title"/>
          </p:nvPr>
        </p:nvSpPr>
        <p:spPr>
          <a:xfrm>
            <a:off x="647999" y="648000"/>
            <a:ext cx="10896000" cy="900000"/>
          </a:xfrm>
        </p:spPr>
        <p:txBody>
          <a:bodyPr/>
          <a:lstStyle/>
          <a:p>
            <a:r>
              <a:rPr lang="en-GB" sz="3600" dirty="0"/>
              <a:t>Graduate campaign 2020 | Facts and figures</a:t>
            </a:r>
          </a:p>
        </p:txBody>
      </p:sp>
      <p:pic>
        <p:nvPicPr>
          <p:cNvPr id="113" name="Picture 112">
            <a:extLst>
              <a:ext uri="{FF2B5EF4-FFF2-40B4-BE49-F238E27FC236}">
                <a16:creationId xmlns:a16="http://schemas.microsoft.com/office/drawing/2014/main" id="{D5B67BB5-0B7E-4061-A9BC-B8126A4E4620}"/>
              </a:ext>
            </a:extLst>
          </p:cNvPr>
          <p:cNvPicPr>
            <a:picLocks noChangeAspect="1"/>
          </p:cNvPicPr>
          <p:nvPr/>
        </p:nvPicPr>
        <p:blipFill rotWithShape="1">
          <a:blip r:embed="rId8">
            <a:extLst>
              <a:ext uri="{BEBA8EAE-BF5A-486C-A8C5-ECC9F3942E4B}">
                <a14:imgProps xmlns:a14="http://schemas.microsoft.com/office/drawing/2010/main">
                  <a14:imgLayer r:embed="rId9">
                    <a14:imgEffect>
                      <a14:colorTemperature colorTemp="5900"/>
                    </a14:imgEffect>
                  </a14:imgLayer>
                </a14:imgProps>
              </a:ext>
              <a:ext uri="{28A0092B-C50C-407E-A947-70E740481C1C}">
                <a14:useLocalDpi xmlns:a14="http://schemas.microsoft.com/office/drawing/2010/main" val="0"/>
              </a:ext>
            </a:extLst>
          </a:blip>
          <a:srcRect l="16230" t="8285" r="15990" b="10668"/>
          <a:stretch/>
        </p:blipFill>
        <p:spPr>
          <a:xfrm>
            <a:off x="3545315" y="2200608"/>
            <a:ext cx="5189155" cy="3577992"/>
          </a:xfrm>
          <a:prstGeom prst="rect">
            <a:avLst/>
          </a:prstGeom>
        </p:spPr>
      </p:pic>
      <p:sp>
        <p:nvSpPr>
          <p:cNvPr id="114" name="Oval 113">
            <a:extLst>
              <a:ext uri="{FF2B5EF4-FFF2-40B4-BE49-F238E27FC236}">
                <a16:creationId xmlns:a16="http://schemas.microsoft.com/office/drawing/2014/main" id="{1AEEB634-B0DA-4315-990E-5B9D9CA0216D}"/>
              </a:ext>
            </a:extLst>
          </p:cNvPr>
          <p:cNvSpPr/>
          <p:nvPr/>
        </p:nvSpPr>
        <p:spPr>
          <a:xfrm>
            <a:off x="1135469" y="2189480"/>
            <a:ext cx="1739153" cy="1783976"/>
          </a:xfrm>
          <a:prstGeom prst="ellipse">
            <a:avLst/>
          </a:prstGeom>
          <a:solidFill>
            <a:srgbClr val="FFFFFF"/>
          </a:solidFill>
          <a:ln w="9525" cap="flat" cmpd="sng" algn="ctr">
            <a:solidFill>
              <a:srgbClr val="82786F"/>
            </a:solidFill>
            <a:prstDash val="solid"/>
          </a:ln>
          <a:effectLst/>
        </p:spPr>
        <p:txBody>
          <a:bodyPr rtlCol="0" anchor="ctr"/>
          <a:lstStyle/>
          <a:p>
            <a:pPr marL="0" marR="0" lvl="0" indent="0" algn="ctr" defTabSz="121911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FFFFFF"/>
              </a:solidFill>
              <a:effectLst/>
              <a:uLnTx/>
              <a:uFillTx/>
              <a:latin typeface="+mj-lt"/>
              <a:ea typeface="+mn-ea"/>
              <a:cs typeface="+mn-cs"/>
            </a:endParaRPr>
          </a:p>
        </p:txBody>
      </p:sp>
      <p:sp>
        <p:nvSpPr>
          <p:cNvPr id="115" name="Oval 114">
            <a:extLst>
              <a:ext uri="{FF2B5EF4-FFF2-40B4-BE49-F238E27FC236}">
                <a16:creationId xmlns:a16="http://schemas.microsoft.com/office/drawing/2014/main" id="{D7C80DED-A6F1-4DF0-B86E-1E906EBB836F}"/>
              </a:ext>
            </a:extLst>
          </p:cNvPr>
          <p:cNvSpPr/>
          <p:nvPr/>
        </p:nvSpPr>
        <p:spPr>
          <a:xfrm>
            <a:off x="1333805" y="2076510"/>
            <a:ext cx="567771" cy="574756"/>
          </a:xfrm>
          <a:prstGeom prst="ellipse">
            <a:avLst/>
          </a:prstGeom>
          <a:solidFill>
            <a:srgbClr val="FFFFFF"/>
          </a:solidFill>
          <a:ln w="9525" cap="flat" cmpd="sng" algn="ctr">
            <a:solidFill>
              <a:srgbClr val="82786F"/>
            </a:solidFill>
            <a:prstDash val="solid"/>
          </a:ln>
          <a:effectLst/>
        </p:spPr>
        <p:txBody>
          <a:bodyPr rtlCol="0" anchor="ctr"/>
          <a:lstStyle/>
          <a:p>
            <a:pPr marL="0" marR="0" lvl="0" indent="0" algn="ctr" defTabSz="121911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solidFill>
                <a:effectLst/>
                <a:uLnTx/>
                <a:uFillTx/>
                <a:latin typeface="+mj-lt"/>
                <a:ea typeface="+mn-ea"/>
                <a:cs typeface="+mn-cs"/>
              </a:rPr>
              <a:t>2</a:t>
            </a:r>
          </a:p>
        </p:txBody>
      </p:sp>
      <p:sp>
        <p:nvSpPr>
          <p:cNvPr id="116" name="Oval 115">
            <a:extLst>
              <a:ext uri="{FF2B5EF4-FFF2-40B4-BE49-F238E27FC236}">
                <a16:creationId xmlns:a16="http://schemas.microsoft.com/office/drawing/2014/main" id="{B5C68043-A4C3-4F4F-8572-EB8ECADD5EE6}"/>
              </a:ext>
            </a:extLst>
          </p:cNvPr>
          <p:cNvSpPr/>
          <p:nvPr/>
        </p:nvSpPr>
        <p:spPr>
          <a:xfrm>
            <a:off x="936789" y="3520682"/>
            <a:ext cx="567771" cy="574756"/>
          </a:xfrm>
          <a:prstGeom prst="ellipse">
            <a:avLst/>
          </a:prstGeom>
          <a:solidFill>
            <a:srgbClr val="FFFFFF"/>
          </a:solidFill>
          <a:ln w="9525" cap="flat" cmpd="sng" algn="ctr">
            <a:solidFill>
              <a:srgbClr val="82786F"/>
            </a:solidFill>
            <a:prstDash val="solid"/>
          </a:ln>
          <a:effectLst/>
        </p:spPr>
        <p:txBody>
          <a:bodyPr rtlCol="0" anchor="ctr"/>
          <a:lstStyle/>
          <a:p>
            <a:pPr marL="0" marR="0" lvl="0" indent="0" algn="ctr" defTabSz="121911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mj-lt"/>
              <a:ea typeface="+mn-ea"/>
              <a:cs typeface="+mn-cs"/>
            </a:endParaRPr>
          </a:p>
        </p:txBody>
      </p:sp>
      <p:sp>
        <p:nvSpPr>
          <p:cNvPr id="117" name="Oval 116">
            <a:extLst>
              <a:ext uri="{FF2B5EF4-FFF2-40B4-BE49-F238E27FC236}">
                <a16:creationId xmlns:a16="http://schemas.microsoft.com/office/drawing/2014/main" id="{D2D59CD1-262F-4009-AF92-4E4CD2D9B9B8}"/>
              </a:ext>
            </a:extLst>
          </p:cNvPr>
          <p:cNvSpPr/>
          <p:nvPr/>
        </p:nvSpPr>
        <p:spPr>
          <a:xfrm>
            <a:off x="2435109" y="3243386"/>
            <a:ext cx="567771" cy="574756"/>
          </a:xfrm>
          <a:prstGeom prst="ellipse">
            <a:avLst/>
          </a:prstGeom>
          <a:solidFill>
            <a:srgbClr val="FFFFFF"/>
          </a:solidFill>
          <a:ln w="9525" cap="flat" cmpd="sng" algn="ctr">
            <a:solidFill>
              <a:srgbClr val="82786F"/>
            </a:solidFill>
            <a:prstDash val="solid"/>
          </a:ln>
          <a:effectLst/>
        </p:spPr>
        <p:txBody>
          <a:bodyPr rtlCol="0" anchor="ctr"/>
          <a:lstStyle/>
          <a:p>
            <a:pPr marL="0" marR="0" lvl="0" indent="0" algn="ctr" defTabSz="121911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mj-lt"/>
              <a:ea typeface="+mn-ea"/>
              <a:cs typeface="+mn-cs"/>
            </a:endParaRPr>
          </a:p>
        </p:txBody>
      </p:sp>
      <p:sp>
        <p:nvSpPr>
          <p:cNvPr id="118" name="TextBox 117">
            <a:extLst>
              <a:ext uri="{FF2B5EF4-FFF2-40B4-BE49-F238E27FC236}">
                <a16:creationId xmlns:a16="http://schemas.microsoft.com/office/drawing/2014/main" id="{7BBA7EDF-D914-4B8B-BA3C-377E0A2C4BCE}"/>
              </a:ext>
            </a:extLst>
          </p:cNvPr>
          <p:cNvSpPr txBox="1"/>
          <p:nvPr/>
        </p:nvSpPr>
        <p:spPr>
          <a:xfrm>
            <a:off x="201871" y="2189482"/>
            <a:ext cx="994183" cy="261610"/>
          </a:xfrm>
          <a:prstGeom prst="rect">
            <a:avLst/>
          </a:prstGeom>
          <a:noFill/>
        </p:spPr>
        <p:txBody>
          <a:bodyPr wrap="none" rtlCol="0">
            <a:spAutoFit/>
          </a:bodyPr>
          <a:lstStyle/>
          <a:p>
            <a:pPr defTabSz="1219110">
              <a:defRPr/>
            </a:pPr>
            <a:r>
              <a:rPr lang="en-GB" sz="1100" dirty="0">
                <a:solidFill>
                  <a:srgbClr val="001965"/>
                </a:solidFill>
                <a:latin typeface="+mj-lt"/>
              </a:rPr>
              <a:t>Applications</a:t>
            </a:r>
          </a:p>
        </p:txBody>
      </p:sp>
      <p:sp>
        <p:nvSpPr>
          <p:cNvPr id="119" name="TextBox 118">
            <a:extLst>
              <a:ext uri="{FF2B5EF4-FFF2-40B4-BE49-F238E27FC236}">
                <a16:creationId xmlns:a16="http://schemas.microsoft.com/office/drawing/2014/main" id="{29CCEA0D-8BFC-4971-BC6C-115B5D90BAC7}"/>
              </a:ext>
            </a:extLst>
          </p:cNvPr>
          <p:cNvSpPr txBox="1"/>
          <p:nvPr/>
        </p:nvSpPr>
        <p:spPr>
          <a:xfrm>
            <a:off x="12275" y="3786047"/>
            <a:ext cx="864339" cy="430887"/>
          </a:xfrm>
          <a:prstGeom prst="rect">
            <a:avLst/>
          </a:prstGeom>
          <a:noFill/>
        </p:spPr>
        <p:txBody>
          <a:bodyPr wrap="none" rtlCol="0">
            <a:spAutoFit/>
          </a:bodyPr>
          <a:lstStyle/>
          <a:p>
            <a:pPr algn="r" defTabSz="1219110">
              <a:defRPr/>
            </a:pPr>
            <a:r>
              <a:rPr lang="en-GB" sz="1100" dirty="0">
                <a:solidFill>
                  <a:srgbClr val="001965"/>
                </a:solidFill>
                <a:latin typeface="+mj-lt"/>
              </a:rPr>
              <a:t>First </a:t>
            </a:r>
          </a:p>
          <a:p>
            <a:pPr algn="r" defTabSz="1219110">
              <a:defRPr/>
            </a:pPr>
            <a:r>
              <a:rPr lang="en-GB" sz="1100" dirty="0">
                <a:solidFill>
                  <a:srgbClr val="001965"/>
                </a:solidFill>
                <a:latin typeface="+mj-lt"/>
              </a:rPr>
              <a:t>interviews</a:t>
            </a:r>
          </a:p>
        </p:txBody>
      </p:sp>
      <p:sp>
        <p:nvSpPr>
          <p:cNvPr id="120" name="TextBox 119">
            <a:extLst>
              <a:ext uri="{FF2B5EF4-FFF2-40B4-BE49-F238E27FC236}">
                <a16:creationId xmlns:a16="http://schemas.microsoft.com/office/drawing/2014/main" id="{EA1ACD68-6548-4A17-82D3-CD23EECE4F7D}"/>
              </a:ext>
            </a:extLst>
          </p:cNvPr>
          <p:cNvSpPr txBox="1"/>
          <p:nvPr/>
        </p:nvSpPr>
        <p:spPr>
          <a:xfrm>
            <a:off x="2257063" y="3786047"/>
            <a:ext cx="1201268" cy="600164"/>
          </a:xfrm>
          <a:prstGeom prst="rect">
            <a:avLst/>
          </a:prstGeom>
          <a:noFill/>
        </p:spPr>
        <p:txBody>
          <a:bodyPr wrap="square" rtlCol="0">
            <a:spAutoFit/>
          </a:bodyPr>
          <a:lstStyle/>
          <a:p>
            <a:pPr algn="r" defTabSz="1219110">
              <a:defRPr/>
            </a:pPr>
            <a:r>
              <a:rPr lang="en-GB" sz="1100" dirty="0">
                <a:solidFill>
                  <a:srgbClr val="001965"/>
                </a:solidFill>
                <a:latin typeface="+mj-lt"/>
              </a:rPr>
              <a:t>Graduate Recruitment Centre</a:t>
            </a:r>
          </a:p>
        </p:txBody>
      </p:sp>
      <p:sp>
        <p:nvSpPr>
          <p:cNvPr id="121" name="TextBox 120">
            <a:extLst>
              <a:ext uri="{FF2B5EF4-FFF2-40B4-BE49-F238E27FC236}">
                <a16:creationId xmlns:a16="http://schemas.microsoft.com/office/drawing/2014/main" id="{2CBB38BD-ED48-4910-ACD7-3D9CF954DF89}"/>
              </a:ext>
            </a:extLst>
          </p:cNvPr>
          <p:cNvSpPr txBox="1"/>
          <p:nvPr/>
        </p:nvSpPr>
        <p:spPr>
          <a:xfrm>
            <a:off x="1355326" y="2231650"/>
            <a:ext cx="505267" cy="261610"/>
          </a:xfrm>
          <a:prstGeom prst="rect">
            <a:avLst/>
          </a:prstGeom>
          <a:noFill/>
        </p:spPr>
        <p:txBody>
          <a:bodyPr wrap="none" rtlCol="0">
            <a:spAutoFit/>
          </a:bodyPr>
          <a:lstStyle/>
          <a:p>
            <a:pPr defTabSz="1219110">
              <a:defRPr/>
            </a:pPr>
            <a:r>
              <a:rPr lang="en-GB" sz="1100" dirty="0">
                <a:solidFill>
                  <a:srgbClr val="002060"/>
                </a:solidFill>
                <a:latin typeface="+mj-lt"/>
              </a:rPr>
              <a:t>2624</a:t>
            </a:r>
          </a:p>
        </p:txBody>
      </p:sp>
      <p:sp>
        <p:nvSpPr>
          <p:cNvPr id="122" name="TextBox 121">
            <a:extLst>
              <a:ext uri="{FF2B5EF4-FFF2-40B4-BE49-F238E27FC236}">
                <a16:creationId xmlns:a16="http://schemas.microsoft.com/office/drawing/2014/main" id="{54933BDA-7620-4788-887D-3BB94CC79885}"/>
              </a:ext>
            </a:extLst>
          </p:cNvPr>
          <p:cNvSpPr txBox="1"/>
          <p:nvPr/>
        </p:nvSpPr>
        <p:spPr>
          <a:xfrm>
            <a:off x="1020848" y="3701176"/>
            <a:ext cx="425116" cy="261610"/>
          </a:xfrm>
          <a:prstGeom prst="rect">
            <a:avLst/>
          </a:prstGeom>
          <a:noFill/>
        </p:spPr>
        <p:txBody>
          <a:bodyPr wrap="none" rtlCol="0">
            <a:spAutoFit/>
          </a:bodyPr>
          <a:lstStyle/>
          <a:p>
            <a:pPr defTabSz="1219110">
              <a:defRPr/>
            </a:pPr>
            <a:r>
              <a:rPr lang="da-DK" sz="1100" dirty="0">
                <a:solidFill>
                  <a:srgbClr val="001965"/>
                </a:solidFill>
                <a:latin typeface="+mj-lt"/>
              </a:rPr>
              <a:t>2</a:t>
            </a:r>
            <a:r>
              <a:rPr lang="en-GB" sz="1100" dirty="0">
                <a:solidFill>
                  <a:srgbClr val="001965"/>
                </a:solidFill>
                <a:latin typeface="+mj-lt"/>
              </a:rPr>
              <a:t>78</a:t>
            </a:r>
          </a:p>
        </p:txBody>
      </p:sp>
      <p:sp>
        <p:nvSpPr>
          <p:cNvPr id="123" name="TextBox 122">
            <a:extLst>
              <a:ext uri="{FF2B5EF4-FFF2-40B4-BE49-F238E27FC236}">
                <a16:creationId xmlns:a16="http://schemas.microsoft.com/office/drawing/2014/main" id="{260EDB1A-84ED-4B5D-99CB-43AAE4F8C008}"/>
              </a:ext>
            </a:extLst>
          </p:cNvPr>
          <p:cNvSpPr txBox="1"/>
          <p:nvPr/>
        </p:nvSpPr>
        <p:spPr>
          <a:xfrm>
            <a:off x="2514468" y="3420955"/>
            <a:ext cx="425116" cy="261610"/>
          </a:xfrm>
          <a:prstGeom prst="rect">
            <a:avLst/>
          </a:prstGeom>
          <a:noFill/>
        </p:spPr>
        <p:txBody>
          <a:bodyPr wrap="none" rtlCol="0">
            <a:spAutoFit/>
          </a:bodyPr>
          <a:lstStyle/>
          <a:p>
            <a:pPr defTabSz="1219110">
              <a:defRPr/>
            </a:pPr>
            <a:r>
              <a:rPr lang="en-GB" sz="1100" dirty="0">
                <a:solidFill>
                  <a:srgbClr val="002060"/>
                </a:solidFill>
                <a:latin typeface="+mj-lt"/>
              </a:rPr>
              <a:t>131</a:t>
            </a:r>
          </a:p>
        </p:txBody>
      </p:sp>
      <p:cxnSp>
        <p:nvCxnSpPr>
          <p:cNvPr id="124" name="Straight Connector 123">
            <a:extLst>
              <a:ext uri="{FF2B5EF4-FFF2-40B4-BE49-F238E27FC236}">
                <a16:creationId xmlns:a16="http://schemas.microsoft.com/office/drawing/2014/main" id="{5D18D279-AF80-49F4-8810-BA6BEADD6556}"/>
              </a:ext>
            </a:extLst>
          </p:cNvPr>
          <p:cNvCxnSpPr>
            <a:cxnSpLocks/>
          </p:cNvCxnSpPr>
          <p:nvPr/>
        </p:nvCxnSpPr>
        <p:spPr>
          <a:xfrm flipH="1">
            <a:off x="201871" y="4559370"/>
            <a:ext cx="3071999" cy="1"/>
          </a:xfrm>
          <a:prstGeom prst="line">
            <a:avLst/>
          </a:prstGeom>
          <a:noFill/>
          <a:ln w="3175" cap="flat" cmpd="sng" algn="ctr">
            <a:solidFill>
              <a:srgbClr val="AEA79F"/>
            </a:solidFill>
            <a:prstDash val="solid"/>
          </a:ln>
          <a:effectLst/>
        </p:spPr>
      </p:cxnSp>
      <p:sp>
        <p:nvSpPr>
          <p:cNvPr id="125" name="TextBox 124">
            <a:extLst>
              <a:ext uri="{FF2B5EF4-FFF2-40B4-BE49-F238E27FC236}">
                <a16:creationId xmlns:a16="http://schemas.microsoft.com/office/drawing/2014/main" id="{05978670-339C-4E8A-8221-0B52101EE5AA}"/>
              </a:ext>
            </a:extLst>
          </p:cNvPr>
          <p:cNvSpPr txBox="1"/>
          <p:nvPr/>
        </p:nvSpPr>
        <p:spPr>
          <a:xfrm>
            <a:off x="856876" y="4650213"/>
            <a:ext cx="1667444" cy="384721"/>
          </a:xfrm>
          <a:prstGeom prst="rect">
            <a:avLst/>
          </a:prstGeom>
          <a:noFill/>
        </p:spPr>
        <p:txBody>
          <a:bodyPr wrap="none" rtlCol="0">
            <a:spAutoFit/>
          </a:bodyPr>
          <a:lstStyle/>
          <a:p>
            <a:pPr defTabSz="1219110">
              <a:defRPr/>
            </a:pPr>
            <a:r>
              <a:rPr lang="en-GB" sz="1900" b="1" dirty="0">
                <a:solidFill>
                  <a:srgbClr val="002060"/>
                </a:solidFill>
                <a:latin typeface="+mj-lt"/>
              </a:rPr>
              <a:t>Gender split</a:t>
            </a:r>
          </a:p>
        </p:txBody>
      </p:sp>
      <p:cxnSp>
        <p:nvCxnSpPr>
          <p:cNvPr id="132" name="Straight Connector 131">
            <a:extLst>
              <a:ext uri="{FF2B5EF4-FFF2-40B4-BE49-F238E27FC236}">
                <a16:creationId xmlns:a16="http://schemas.microsoft.com/office/drawing/2014/main" id="{E25A78CE-617E-49AC-AD53-C82C14B6DC45}"/>
              </a:ext>
            </a:extLst>
          </p:cNvPr>
          <p:cNvCxnSpPr/>
          <p:nvPr/>
        </p:nvCxnSpPr>
        <p:spPr>
          <a:xfrm flipV="1">
            <a:off x="3471977" y="1604227"/>
            <a:ext cx="0" cy="5040000"/>
          </a:xfrm>
          <a:prstGeom prst="line">
            <a:avLst/>
          </a:prstGeom>
          <a:noFill/>
          <a:ln w="3175" cap="flat" cmpd="sng" algn="ctr">
            <a:solidFill>
              <a:srgbClr val="AEA79F"/>
            </a:solidFill>
            <a:prstDash val="solid"/>
          </a:ln>
          <a:effectLst/>
        </p:spPr>
      </p:cxnSp>
      <p:sp>
        <p:nvSpPr>
          <p:cNvPr id="133" name="TextBox 132">
            <a:extLst>
              <a:ext uri="{FF2B5EF4-FFF2-40B4-BE49-F238E27FC236}">
                <a16:creationId xmlns:a16="http://schemas.microsoft.com/office/drawing/2014/main" id="{E5EC35F8-8B95-4B69-BC7A-194908C904AC}"/>
              </a:ext>
            </a:extLst>
          </p:cNvPr>
          <p:cNvSpPr txBox="1"/>
          <p:nvPr/>
        </p:nvSpPr>
        <p:spPr>
          <a:xfrm>
            <a:off x="4802062" y="1507687"/>
            <a:ext cx="2576346" cy="384721"/>
          </a:xfrm>
          <a:prstGeom prst="rect">
            <a:avLst/>
          </a:prstGeom>
          <a:noFill/>
        </p:spPr>
        <p:txBody>
          <a:bodyPr wrap="none" rtlCol="0">
            <a:spAutoFit/>
          </a:bodyPr>
          <a:lstStyle/>
          <a:p>
            <a:pPr defTabSz="1219110">
              <a:defRPr/>
            </a:pPr>
            <a:r>
              <a:rPr lang="en-GB" sz="1900" b="1" dirty="0">
                <a:solidFill>
                  <a:srgbClr val="001965"/>
                </a:solidFill>
                <a:latin typeface="+mj-lt"/>
              </a:rPr>
              <a:t>Top 10 nationalities</a:t>
            </a:r>
          </a:p>
        </p:txBody>
      </p:sp>
      <p:sp>
        <p:nvSpPr>
          <p:cNvPr id="134" name="TextBox 133">
            <a:extLst>
              <a:ext uri="{FF2B5EF4-FFF2-40B4-BE49-F238E27FC236}">
                <a16:creationId xmlns:a16="http://schemas.microsoft.com/office/drawing/2014/main" id="{731CABF5-59EA-4638-BA10-1D27589A88B1}"/>
              </a:ext>
            </a:extLst>
          </p:cNvPr>
          <p:cNvSpPr txBox="1"/>
          <p:nvPr/>
        </p:nvSpPr>
        <p:spPr>
          <a:xfrm>
            <a:off x="427316" y="1507687"/>
            <a:ext cx="2581156" cy="384721"/>
          </a:xfrm>
          <a:prstGeom prst="rect">
            <a:avLst/>
          </a:prstGeom>
          <a:noFill/>
        </p:spPr>
        <p:txBody>
          <a:bodyPr wrap="none" rtlCol="0">
            <a:spAutoFit/>
          </a:bodyPr>
          <a:lstStyle/>
          <a:p>
            <a:pPr defTabSz="1219110">
              <a:defRPr/>
            </a:pPr>
            <a:r>
              <a:rPr lang="en-GB" sz="1900" b="1" dirty="0">
                <a:solidFill>
                  <a:srgbClr val="001965"/>
                </a:solidFill>
                <a:latin typeface="+mj-lt"/>
              </a:rPr>
              <a:t>Candidate numbers</a:t>
            </a:r>
          </a:p>
        </p:txBody>
      </p:sp>
      <p:cxnSp>
        <p:nvCxnSpPr>
          <p:cNvPr id="135" name="Straight Connector 134">
            <a:extLst>
              <a:ext uri="{FF2B5EF4-FFF2-40B4-BE49-F238E27FC236}">
                <a16:creationId xmlns:a16="http://schemas.microsoft.com/office/drawing/2014/main" id="{4AB7D70B-FF69-46EB-BD88-29E3947E022C}"/>
              </a:ext>
            </a:extLst>
          </p:cNvPr>
          <p:cNvCxnSpPr/>
          <p:nvPr/>
        </p:nvCxnSpPr>
        <p:spPr>
          <a:xfrm flipV="1">
            <a:off x="8816637" y="1604227"/>
            <a:ext cx="0" cy="5041900"/>
          </a:xfrm>
          <a:prstGeom prst="line">
            <a:avLst/>
          </a:prstGeom>
          <a:noFill/>
          <a:ln w="3175" cap="flat" cmpd="sng" algn="ctr">
            <a:solidFill>
              <a:srgbClr val="AEA79F"/>
            </a:solidFill>
            <a:prstDash val="solid"/>
          </a:ln>
          <a:effectLst/>
        </p:spPr>
      </p:cxnSp>
      <p:sp>
        <p:nvSpPr>
          <p:cNvPr id="136" name="TextBox 135">
            <a:extLst>
              <a:ext uri="{FF2B5EF4-FFF2-40B4-BE49-F238E27FC236}">
                <a16:creationId xmlns:a16="http://schemas.microsoft.com/office/drawing/2014/main" id="{080BEC84-DFFB-4949-8CE5-3B31D7559BB6}"/>
              </a:ext>
            </a:extLst>
          </p:cNvPr>
          <p:cNvSpPr txBox="1"/>
          <p:nvPr/>
        </p:nvSpPr>
        <p:spPr>
          <a:xfrm>
            <a:off x="9542893" y="1507687"/>
            <a:ext cx="1580882" cy="384721"/>
          </a:xfrm>
          <a:prstGeom prst="rect">
            <a:avLst/>
          </a:prstGeom>
          <a:noFill/>
        </p:spPr>
        <p:txBody>
          <a:bodyPr wrap="none" rtlCol="0">
            <a:spAutoFit/>
          </a:bodyPr>
          <a:lstStyle/>
          <a:p>
            <a:pPr defTabSz="1219110">
              <a:defRPr/>
            </a:pPr>
            <a:r>
              <a:rPr lang="en-GB" sz="1900" b="1" dirty="0">
                <a:solidFill>
                  <a:srgbClr val="002060"/>
                </a:solidFill>
                <a:latin typeface="+mj-lt"/>
              </a:rPr>
              <a:t>Face-2-Face</a:t>
            </a:r>
          </a:p>
        </p:txBody>
      </p:sp>
      <p:sp>
        <p:nvSpPr>
          <p:cNvPr id="137" name="TextBox 136">
            <a:extLst>
              <a:ext uri="{FF2B5EF4-FFF2-40B4-BE49-F238E27FC236}">
                <a16:creationId xmlns:a16="http://schemas.microsoft.com/office/drawing/2014/main" id="{904BE7EB-7703-492E-AE62-78BECB34A80F}"/>
              </a:ext>
            </a:extLst>
          </p:cNvPr>
          <p:cNvSpPr txBox="1"/>
          <p:nvPr/>
        </p:nvSpPr>
        <p:spPr>
          <a:xfrm>
            <a:off x="9423470" y="4650213"/>
            <a:ext cx="1819729" cy="677108"/>
          </a:xfrm>
          <a:prstGeom prst="rect">
            <a:avLst/>
          </a:prstGeom>
          <a:noFill/>
        </p:spPr>
        <p:txBody>
          <a:bodyPr wrap="none" rtlCol="0">
            <a:spAutoFit/>
          </a:bodyPr>
          <a:lstStyle/>
          <a:p>
            <a:pPr algn="ctr" defTabSz="1219110">
              <a:defRPr/>
            </a:pPr>
            <a:r>
              <a:rPr lang="en-GB" sz="1900" b="1" dirty="0">
                <a:solidFill>
                  <a:srgbClr val="002060"/>
                </a:solidFill>
                <a:latin typeface="+mj-lt"/>
              </a:rPr>
              <a:t>International</a:t>
            </a:r>
          </a:p>
          <a:p>
            <a:pPr algn="ctr" defTabSz="1219110">
              <a:defRPr/>
            </a:pPr>
            <a:r>
              <a:rPr lang="en-GB" sz="1900" b="1" dirty="0">
                <a:solidFill>
                  <a:srgbClr val="002060"/>
                </a:solidFill>
                <a:latin typeface="+mj-lt"/>
              </a:rPr>
              <a:t>experience</a:t>
            </a:r>
          </a:p>
        </p:txBody>
      </p:sp>
      <p:cxnSp>
        <p:nvCxnSpPr>
          <p:cNvPr id="138" name="Straight Connector 137">
            <a:extLst>
              <a:ext uri="{FF2B5EF4-FFF2-40B4-BE49-F238E27FC236}">
                <a16:creationId xmlns:a16="http://schemas.microsoft.com/office/drawing/2014/main" id="{BF9AFFD6-21ED-466E-B00F-932E4860C474}"/>
              </a:ext>
            </a:extLst>
          </p:cNvPr>
          <p:cNvCxnSpPr/>
          <p:nvPr/>
        </p:nvCxnSpPr>
        <p:spPr>
          <a:xfrm flipH="1">
            <a:off x="8951603" y="4559370"/>
            <a:ext cx="2880996" cy="0"/>
          </a:xfrm>
          <a:prstGeom prst="line">
            <a:avLst/>
          </a:prstGeom>
          <a:noFill/>
          <a:ln w="3175" cap="flat" cmpd="sng" algn="ctr">
            <a:solidFill>
              <a:srgbClr val="AEA79F"/>
            </a:solidFill>
            <a:prstDash val="solid"/>
          </a:ln>
          <a:effectLst/>
        </p:spPr>
      </p:cxnSp>
      <p:sp>
        <p:nvSpPr>
          <p:cNvPr id="139" name="AutoShape 71">
            <a:extLst>
              <a:ext uri="{FF2B5EF4-FFF2-40B4-BE49-F238E27FC236}">
                <a16:creationId xmlns:a16="http://schemas.microsoft.com/office/drawing/2014/main" id="{CA3D2E1C-7CBD-488A-80C9-C5D5C31EE989}"/>
              </a:ext>
            </a:extLst>
          </p:cNvPr>
          <p:cNvSpPr>
            <a:spLocks noChangeAspect="1" noChangeArrowheads="1" noTextEdit="1"/>
          </p:cNvSpPr>
          <p:nvPr/>
        </p:nvSpPr>
        <p:spPr bwMode="auto">
          <a:xfrm>
            <a:off x="9202979" y="3780916"/>
            <a:ext cx="402167" cy="364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GB" sz="2400">
              <a:solidFill>
                <a:srgbClr val="001965"/>
              </a:solidFill>
              <a:latin typeface="+mj-lt"/>
            </a:endParaRPr>
          </a:p>
        </p:txBody>
      </p:sp>
      <p:sp>
        <p:nvSpPr>
          <p:cNvPr id="140" name="AutoShape 71">
            <a:extLst>
              <a:ext uri="{FF2B5EF4-FFF2-40B4-BE49-F238E27FC236}">
                <a16:creationId xmlns:a16="http://schemas.microsoft.com/office/drawing/2014/main" id="{1F294379-6B29-45BF-AC12-87DE75B1D6EE}"/>
              </a:ext>
            </a:extLst>
          </p:cNvPr>
          <p:cNvSpPr>
            <a:spLocks noChangeAspect="1" noChangeArrowheads="1" noTextEdit="1"/>
          </p:cNvSpPr>
          <p:nvPr/>
        </p:nvSpPr>
        <p:spPr bwMode="auto">
          <a:xfrm>
            <a:off x="9147326" y="3805580"/>
            <a:ext cx="402167" cy="364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10">
              <a:defRPr/>
            </a:pPr>
            <a:endParaRPr lang="en-GB" sz="2400">
              <a:solidFill>
                <a:srgbClr val="001965"/>
              </a:solidFill>
              <a:latin typeface="+mj-lt"/>
            </a:endParaRPr>
          </a:p>
        </p:txBody>
      </p:sp>
      <p:sp>
        <p:nvSpPr>
          <p:cNvPr id="141" name="TextBox 140">
            <a:extLst>
              <a:ext uri="{FF2B5EF4-FFF2-40B4-BE49-F238E27FC236}">
                <a16:creationId xmlns:a16="http://schemas.microsoft.com/office/drawing/2014/main" id="{EBE3A8F9-4AFC-4C77-891F-E3BA39F88F51}"/>
              </a:ext>
            </a:extLst>
          </p:cNvPr>
          <p:cNvSpPr txBox="1"/>
          <p:nvPr/>
        </p:nvSpPr>
        <p:spPr>
          <a:xfrm>
            <a:off x="9024671" y="2970254"/>
            <a:ext cx="1083772" cy="461665"/>
          </a:xfrm>
          <a:prstGeom prst="rect">
            <a:avLst/>
          </a:prstGeom>
          <a:noFill/>
        </p:spPr>
        <p:txBody>
          <a:bodyPr wrap="square" rtlCol="0">
            <a:spAutoFit/>
          </a:bodyPr>
          <a:lstStyle/>
          <a:p>
            <a:pPr defTabSz="1219110">
              <a:defRPr/>
            </a:pPr>
            <a:r>
              <a:rPr lang="en-GB" sz="2400" b="1" dirty="0">
                <a:solidFill>
                  <a:srgbClr val="00B0F0"/>
                </a:solidFill>
                <a:latin typeface="+mj-lt"/>
              </a:rPr>
              <a:t>48%</a:t>
            </a:r>
          </a:p>
        </p:txBody>
      </p:sp>
      <p:sp>
        <p:nvSpPr>
          <p:cNvPr id="142" name="TextBox 141">
            <a:extLst>
              <a:ext uri="{FF2B5EF4-FFF2-40B4-BE49-F238E27FC236}">
                <a16:creationId xmlns:a16="http://schemas.microsoft.com/office/drawing/2014/main" id="{BBC1F18C-DC8A-4D3E-90A4-37CEDF02311C}"/>
              </a:ext>
            </a:extLst>
          </p:cNvPr>
          <p:cNvSpPr txBox="1"/>
          <p:nvPr/>
        </p:nvSpPr>
        <p:spPr>
          <a:xfrm>
            <a:off x="10101180" y="2919696"/>
            <a:ext cx="1541985" cy="769441"/>
          </a:xfrm>
          <a:prstGeom prst="rect">
            <a:avLst/>
          </a:prstGeom>
          <a:noFill/>
        </p:spPr>
        <p:txBody>
          <a:bodyPr wrap="square" rtlCol="0">
            <a:spAutoFit/>
          </a:bodyPr>
          <a:lstStyle/>
          <a:p>
            <a:pPr defTabSz="1219110">
              <a:defRPr/>
            </a:pPr>
            <a:r>
              <a:rPr lang="en-GB" sz="1100" dirty="0">
                <a:solidFill>
                  <a:srgbClr val="001965"/>
                </a:solidFill>
                <a:latin typeface="+mj-lt"/>
              </a:rPr>
              <a:t>…of the applicants have engaged with Novo Nordisk before applying</a:t>
            </a:r>
          </a:p>
        </p:txBody>
      </p:sp>
      <p:sp>
        <p:nvSpPr>
          <p:cNvPr id="143" name="TextBox 142">
            <a:extLst>
              <a:ext uri="{FF2B5EF4-FFF2-40B4-BE49-F238E27FC236}">
                <a16:creationId xmlns:a16="http://schemas.microsoft.com/office/drawing/2014/main" id="{A7A072B1-6065-4186-9C21-DA7EF9E7BC16}"/>
              </a:ext>
            </a:extLst>
          </p:cNvPr>
          <p:cNvSpPr txBox="1"/>
          <p:nvPr/>
        </p:nvSpPr>
        <p:spPr>
          <a:xfrm>
            <a:off x="3642499" y="5855671"/>
            <a:ext cx="4878259" cy="261610"/>
          </a:xfrm>
          <a:prstGeom prst="rect">
            <a:avLst/>
          </a:prstGeom>
          <a:noFill/>
        </p:spPr>
        <p:txBody>
          <a:bodyPr wrap="none" rtlCol="0">
            <a:spAutoFit/>
          </a:bodyPr>
          <a:lstStyle/>
          <a:p>
            <a:pPr defTabSz="1219110">
              <a:defRPr/>
            </a:pPr>
            <a:r>
              <a:rPr lang="en-GB" sz="1100" b="1" dirty="0">
                <a:solidFill>
                  <a:srgbClr val="00B0F0"/>
                </a:solidFill>
                <a:latin typeface="+mj-lt"/>
              </a:rPr>
              <a:t>98</a:t>
            </a:r>
            <a:r>
              <a:rPr lang="en-GB" sz="1100" dirty="0">
                <a:solidFill>
                  <a:srgbClr val="001965"/>
                </a:solidFill>
                <a:latin typeface="+mj-lt"/>
              </a:rPr>
              <a:t> different nationalities applied for the graduate programmes in 2020</a:t>
            </a:r>
          </a:p>
        </p:txBody>
      </p:sp>
      <p:sp>
        <p:nvSpPr>
          <p:cNvPr id="144" name="TextBox 143">
            <a:extLst>
              <a:ext uri="{FF2B5EF4-FFF2-40B4-BE49-F238E27FC236}">
                <a16:creationId xmlns:a16="http://schemas.microsoft.com/office/drawing/2014/main" id="{860E13C8-5507-4685-A061-26DC021332FD}"/>
              </a:ext>
            </a:extLst>
          </p:cNvPr>
          <p:cNvSpPr txBox="1"/>
          <p:nvPr/>
        </p:nvSpPr>
        <p:spPr>
          <a:xfrm>
            <a:off x="4681602" y="6107530"/>
            <a:ext cx="2751074" cy="261610"/>
          </a:xfrm>
          <a:prstGeom prst="rect">
            <a:avLst/>
          </a:prstGeom>
          <a:noFill/>
        </p:spPr>
        <p:txBody>
          <a:bodyPr wrap="none" rtlCol="0">
            <a:spAutoFit/>
          </a:bodyPr>
          <a:lstStyle/>
          <a:p>
            <a:pPr defTabSz="1219110">
              <a:defRPr/>
            </a:pPr>
            <a:r>
              <a:rPr lang="en-GB" sz="1100" b="1" dirty="0">
                <a:solidFill>
                  <a:srgbClr val="00B0F0"/>
                </a:solidFill>
                <a:latin typeface="+mj-lt"/>
              </a:rPr>
              <a:t>89% </a:t>
            </a:r>
            <a:r>
              <a:rPr lang="en-GB" sz="1100" dirty="0">
                <a:solidFill>
                  <a:srgbClr val="001965"/>
                </a:solidFill>
                <a:latin typeface="+mj-lt"/>
              </a:rPr>
              <a:t>of the applicants were Non-Danes</a:t>
            </a:r>
          </a:p>
        </p:txBody>
      </p:sp>
      <p:sp>
        <p:nvSpPr>
          <p:cNvPr id="145" name="Oval 144">
            <a:extLst>
              <a:ext uri="{FF2B5EF4-FFF2-40B4-BE49-F238E27FC236}">
                <a16:creationId xmlns:a16="http://schemas.microsoft.com/office/drawing/2014/main" id="{57FAA28F-72FE-499C-B365-7E3CAB580F49}"/>
              </a:ext>
            </a:extLst>
          </p:cNvPr>
          <p:cNvSpPr/>
          <p:nvPr/>
        </p:nvSpPr>
        <p:spPr>
          <a:xfrm>
            <a:off x="896381" y="2711350"/>
            <a:ext cx="567771" cy="574756"/>
          </a:xfrm>
          <a:prstGeom prst="ellipse">
            <a:avLst/>
          </a:prstGeom>
          <a:solidFill>
            <a:srgbClr val="FFFFFF"/>
          </a:solidFill>
          <a:ln w="9525" cap="flat" cmpd="sng" algn="ctr">
            <a:solidFill>
              <a:srgbClr val="82786F"/>
            </a:solidFill>
            <a:prstDash val="solid"/>
          </a:ln>
          <a:effectLst/>
        </p:spPr>
        <p:txBody>
          <a:bodyPr rtlCol="0" anchor="ctr"/>
          <a:lstStyle/>
          <a:p>
            <a:pPr marL="0" marR="0" lvl="0" indent="0" algn="ctr" defTabSz="121911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srgbClr val="FFFFFF"/>
              </a:solidFill>
              <a:effectLst/>
              <a:uLnTx/>
              <a:uFillTx/>
              <a:latin typeface="+mj-lt"/>
              <a:ea typeface="+mn-ea"/>
              <a:cs typeface="+mn-cs"/>
            </a:endParaRPr>
          </a:p>
        </p:txBody>
      </p:sp>
      <p:sp>
        <p:nvSpPr>
          <p:cNvPr id="146" name="TextBox 145">
            <a:extLst>
              <a:ext uri="{FF2B5EF4-FFF2-40B4-BE49-F238E27FC236}">
                <a16:creationId xmlns:a16="http://schemas.microsoft.com/office/drawing/2014/main" id="{DAF90F76-A332-476F-8BDF-2CB58B82BBCB}"/>
              </a:ext>
            </a:extLst>
          </p:cNvPr>
          <p:cNvSpPr txBox="1"/>
          <p:nvPr/>
        </p:nvSpPr>
        <p:spPr>
          <a:xfrm>
            <a:off x="201868" y="2782614"/>
            <a:ext cx="846536" cy="430887"/>
          </a:xfrm>
          <a:prstGeom prst="rect">
            <a:avLst/>
          </a:prstGeom>
          <a:noFill/>
        </p:spPr>
        <p:txBody>
          <a:bodyPr wrap="square" rtlCol="0">
            <a:spAutoFit/>
          </a:bodyPr>
          <a:lstStyle/>
          <a:p>
            <a:pPr defTabSz="1219110">
              <a:defRPr/>
            </a:pPr>
            <a:r>
              <a:rPr lang="en-GB" sz="1100" dirty="0">
                <a:solidFill>
                  <a:srgbClr val="001965"/>
                </a:solidFill>
                <a:latin typeface="+mj-lt"/>
              </a:rPr>
              <a:t>Open Tracks</a:t>
            </a:r>
          </a:p>
        </p:txBody>
      </p:sp>
      <p:sp>
        <p:nvSpPr>
          <p:cNvPr id="147" name="TextBox 146">
            <a:extLst>
              <a:ext uri="{FF2B5EF4-FFF2-40B4-BE49-F238E27FC236}">
                <a16:creationId xmlns:a16="http://schemas.microsoft.com/office/drawing/2014/main" id="{277594C0-5EEB-47A5-A6FD-5F7134B6F026}"/>
              </a:ext>
            </a:extLst>
          </p:cNvPr>
          <p:cNvSpPr txBox="1"/>
          <p:nvPr/>
        </p:nvSpPr>
        <p:spPr>
          <a:xfrm>
            <a:off x="8882805" y="5376261"/>
            <a:ext cx="2849987" cy="1139158"/>
          </a:xfrm>
          <a:prstGeom prst="rect">
            <a:avLst/>
          </a:prstGeom>
          <a:noFill/>
        </p:spPr>
        <p:txBody>
          <a:bodyPr wrap="square" rtlCol="0">
            <a:spAutoFit/>
          </a:bodyPr>
          <a:lstStyle/>
          <a:p>
            <a:pPr algn="ctr" defTabSz="1219110">
              <a:defRPr/>
            </a:pPr>
            <a:r>
              <a:rPr lang="en-GB" sz="1067" dirty="0">
                <a:solidFill>
                  <a:srgbClr val="001965"/>
                </a:solidFill>
                <a:latin typeface="+mj-lt"/>
              </a:rPr>
              <a:t>On average, the candidates have had</a:t>
            </a:r>
          </a:p>
          <a:p>
            <a:pPr algn="ctr" defTabSz="1219110">
              <a:defRPr/>
            </a:pPr>
            <a:endParaRPr lang="en-GB" sz="1067" dirty="0">
              <a:solidFill>
                <a:srgbClr val="001965"/>
              </a:solidFill>
              <a:latin typeface="+mj-lt"/>
            </a:endParaRPr>
          </a:p>
          <a:p>
            <a:pPr algn="ctr" defTabSz="1219110">
              <a:defRPr/>
            </a:pPr>
            <a:r>
              <a:rPr lang="en-GB" sz="1467" b="1" dirty="0">
                <a:solidFill>
                  <a:srgbClr val="00B0F0"/>
                </a:solidFill>
                <a:latin typeface="+mj-lt"/>
              </a:rPr>
              <a:t> 2 years and 2 months</a:t>
            </a:r>
          </a:p>
          <a:p>
            <a:pPr algn="ctr" defTabSz="1219110">
              <a:defRPr/>
            </a:pPr>
            <a:endParaRPr lang="en-GB" sz="1067" dirty="0">
              <a:solidFill>
                <a:srgbClr val="001965"/>
              </a:solidFill>
              <a:latin typeface="+mj-lt"/>
            </a:endParaRPr>
          </a:p>
          <a:p>
            <a:pPr algn="ctr" defTabSz="1219110">
              <a:defRPr/>
            </a:pPr>
            <a:r>
              <a:rPr lang="en-GB" sz="1067" dirty="0">
                <a:solidFill>
                  <a:srgbClr val="001965"/>
                </a:solidFill>
                <a:latin typeface="+mj-lt"/>
              </a:rPr>
              <a:t>of international experience</a:t>
            </a:r>
          </a:p>
          <a:p>
            <a:pPr algn="ctr" defTabSz="1219110">
              <a:defRPr/>
            </a:pPr>
            <a:r>
              <a:rPr lang="en-GB" sz="1067" dirty="0">
                <a:solidFill>
                  <a:srgbClr val="001965"/>
                </a:solidFill>
                <a:latin typeface="+mj-lt"/>
              </a:rPr>
              <a:t>- working or studying abroad</a:t>
            </a:r>
            <a:endParaRPr lang="en-GB" sz="1467" dirty="0">
              <a:solidFill>
                <a:srgbClr val="001965"/>
              </a:solidFill>
              <a:latin typeface="+mj-lt"/>
            </a:endParaRPr>
          </a:p>
        </p:txBody>
      </p:sp>
      <p:sp>
        <p:nvSpPr>
          <p:cNvPr id="148" name="TextBox 147">
            <a:extLst>
              <a:ext uri="{FF2B5EF4-FFF2-40B4-BE49-F238E27FC236}">
                <a16:creationId xmlns:a16="http://schemas.microsoft.com/office/drawing/2014/main" id="{EC8D480E-5FC1-4398-8188-CCD60B0BCEB1}"/>
              </a:ext>
            </a:extLst>
          </p:cNvPr>
          <p:cNvSpPr txBox="1"/>
          <p:nvPr/>
        </p:nvSpPr>
        <p:spPr>
          <a:xfrm>
            <a:off x="988904" y="2886382"/>
            <a:ext cx="344966" cy="261610"/>
          </a:xfrm>
          <a:prstGeom prst="rect">
            <a:avLst/>
          </a:prstGeom>
          <a:noFill/>
        </p:spPr>
        <p:txBody>
          <a:bodyPr wrap="none" rtlCol="0">
            <a:spAutoFit/>
          </a:bodyPr>
          <a:lstStyle/>
          <a:p>
            <a:pPr defTabSz="1219110">
              <a:defRPr/>
            </a:pPr>
            <a:r>
              <a:rPr lang="da-DK" sz="1100" dirty="0">
                <a:solidFill>
                  <a:srgbClr val="002060"/>
                </a:solidFill>
                <a:latin typeface="+mj-lt"/>
              </a:rPr>
              <a:t>1</a:t>
            </a:r>
            <a:r>
              <a:rPr lang="en-GB" sz="1100" dirty="0">
                <a:solidFill>
                  <a:srgbClr val="002060"/>
                </a:solidFill>
                <a:latin typeface="+mj-lt"/>
              </a:rPr>
              <a:t>2</a:t>
            </a:r>
          </a:p>
        </p:txBody>
      </p:sp>
      <p:cxnSp>
        <p:nvCxnSpPr>
          <p:cNvPr id="149" name="Straight Connector 148">
            <a:extLst>
              <a:ext uri="{FF2B5EF4-FFF2-40B4-BE49-F238E27FC236}">
                <a16:creationId xmlns:a16="http://schemas.microsoft.com/office/drawing/2014/main" id="{FE989279-6B85-4044-ACFB-935AFB7FE9A5}"/>
              </a:ext>
            </a:extLst>
          </p:cNvPr>
          <p:cNvCxnSpPr/>
          <p:nvPr/>
        </p:nvCxnSpPr>
        <p:spPr>
          <a:xfrm>
            <a:off x="6096001" y="3428588"/>
            <a:ext cx="848927" cy="0"/>
          </a:xfrm>
          <a:prstGeom prst="line">
            <a:avLst/>
          </a:prstGeom>
          <a:noFill/>
          <a:ln w="10160" cap="flat" cmpd="sng" algn="ctr">
            <a:solidFill>
              <a:srgbClr val="001965"/>
            </a:solidFill>
            <a:prstDash val="solid"/>
            <a:headEnd type="oval" w="sm" len="sm"/>
          </a:ln>
          <a:effectLst/>
        </p:spPr>
      </p:cxnSp>
      <p:sp>
        <p:nvSpPr>
          <p:cNvPr id="150" name="TextBox 149">
            <a:extLst>
              <a:ext uri="{FF2B5EF4-FFF2-40B4-BE49-F238E27FC236}">
                <a16:creationId xmlns:a16="http://schemas.microsoft.com/office/drawing/2014/main" id="{73C982A0-A99D-4D0C-8134-3CBFCB610CC7}"/>
              </a:ext>
            </a:extLst>
          </p:cNvPr>
          <p:cNvSpPr txBox="1"/>
          <p:nvPr/>
        </p:nvSpPr>
        <p:spPr>
          <a:xfrm>
            <a:off x="6351192" y="3202182"/>
            <a:ext cx="699229" cy="256545"/>
          </a:xfrm>
          <a:prstGeom prst="rect">
            <a:avLst/>
          </a:prstGeom>
          <a:noFill/>
        </p:spPr>
        <p:txBody>
          <a:bodyPr wrap="none" rtlCol="0">
            <a:spAutoFit/>
          </a:bodyPr>
          <a:lstStyle/>
          <a:p>
            <a:pPr algn="r" defTabSz="1219110">
              <a:defRPr/>
            </a:pPr>
            <a:r>
              <a:rPr lang="en-GB" sz="1067" dirty="0">
                <a:solidFill>
                  <a:srgbClr val="001965"/>
                </a:solidFill>
                <a:latin typeface="+mj-lt"/>
              </a:rPr>
              <a:t>DANISH</a:t>
            </a:r>
            <a:endParaRPr lang="en-GB" sz="2400" dirty="0">
              <a:solidFill>
                <a:srgbClr val="001965"/>
              </a:solidFill>
              <a:latin typeface="+mj-lt"/>
            </a:endParaRPr>
          </a:p>
        </p:txBody>
      </p:sp>
      <p:cxnSp>
        <p:nvCxnSpPr>
          <p:cNvPr id="151" name="Straight Connector 156">
            <a:extLst>
              <a:ext uri="{FF2B5EF4-FFF2-40B4-BE49-F238E27FC236}">
                <a16:creationId xmlns:a16="http://schemas.microsoft.com/office/drawing/2014/main" id="{4F372A85-CB0A-42A7-87DD-31E410F50F17}"/>
              </a:ext>
            </a:extLst>
          </p:cNvPr>
          <p:cNvCxnSpPr/>
          <p:nvPr/>
        </p:nvCxnSpPr>
        <p:spPr>
          <a:xfrm rot="10800000">
            <a:off x="6639381" y="3924104"/>
            <a:ext cx="445231" cy="219003"/>
          </a:xfrm>
          <a:prstGeom prst="bentConnector3">
            <a:avLst>
              <a:gd name="adj1" fmla="val -710"/>
            </a:avLst>
          </a:prstGeom>
          <a:noFill/>
          <a:ln w="10160" cap="flat" cmpd="sng" algn="ctr">
            <a:solidFill>
              <a:srgbClr val="001965"/>
            </a:solidFill>
            <a:prstDash val="solid"/>
            <a:headEnd type="oval" w="sm" len="sm"/>
          </a:ln>
          <a:effectLst/>
        </p:spPr>
      </p:cxnSp>
      <p:sp>
        <p:nvSpPr>
          <p:cNvPr id="152" name="TextBox 151">
            <a:extLst>
              <a:ext uri="{FF2B5EF4-FFF2-40B4-BE49-F238E27FC236}">
                <a16:creationId xmlns:a16="http://schemas.microsoft.com/office/drawing/2014/main" id="{C9A7398F-0E19-466A-B583-F1EDA20F986B}"/>
              </a:ext>
            </a:extLst>
          </p:cNvPr>
          <p:cNvSpPr txBox="1"/>
          <p:nvPr/>
        </p:nvSpPr>
        <p:spPr>
          <a:xfrm>
            <a:off x="6530268" y="3686198"/>
            <a:ext cx="673581" cy="256545"/>
          </a:xfrm>
          <a:prstGeom prst="rect">
            <a:avLst/>
          </a:prstGeom>
          <a:noFill/>
        </p:spPr>
        <p:txBody>
          <a:bodyPr wrap="none" rtlCol="0">
            <a:spAutoFit/>
          </a:bodyPr>
          <a:lstStyle/>
          <a:p>
            <a:pPr algn="r" defTabSz="1219110">
              <a:defRPr/>
            </a:pPr>
            <a:r>
              <a:rPr lang="en-GB" sz="1067" dirty="0">
                <a:solidFill>
                  <a:srgbClr val="001965"/>
                </a:solidFill>
                <a:latin typeface="+mj-lt"/>
              </a:rPr>
              <a:t>INDIAN</a:t>
            </a:r>
            <a:endParaRPr lang="en-GB" sz="2400" dirty="0">
              <a:solidFill>
                <a:srgbClr val="001965"/>
              </a:solidFill>
              <a:latin typeface="+mj-lt"/>
            </a:endParaRPr>
          </a:p>
        </p:txBody>
      </p:sp>
      <p:pic>
        <p:nvPicPr>
          <p:cNvPr id="153" name="Picture 35">
            <a:extLst>
              <a:ext uri="{FF2B5EF4-FFF2-40B4-BE49-F238E27FC236}">
                <a16:creationId xmlns:a16="http://schemas.microsoft.com/office/drawing/2014/main" id="{A315144A-5096-4050-95D1-A9C1AE3F84B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24573" y="2679666"/>
            <a:ext cx="760939" cy="772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54" name="Straight Connector 153">
            <a:extLst>
              <a:ext uri="{FF2B5EF4-FFF2-40B4-BE49-F238E27FC236}">
                <a16:creationId xmlns:a16="http://schemas.microsoft.com/office/drawing/2014/main" id="{73433B64-4EDE-4E44-BB90-2BF8A182AC47}"/>
              </a:ext>
            </a:extLst>
          </p:cNvPr>
          <p:cNvCxnSpPr/>
          <p:nvPr/>
        </p:nvCxnSpPr>
        <p:spPr>
          <a:xfrm>
            <a:off x="6519776" y="4524487"/>
            <a:ext cx="807261" cy="0"/>
          </a:xfrm>
          <a:prstGeom prst="line">
            <a:avLst/>
          </a:prstGeom>
          <a:noFill/>
          <a:ln w="10160" cap="flat" cmpd="sng" algn="ctr">
            <a:solidFill>
              <a:srgbClr val="001965"/>
            </a:solidFill>
            <a:prstDash val="solid"/>
            <a:headEnd type="oval" w="sm" len="sm"/>
          </a:ln>
          <a:effectLst/>
        </p:spPr>
      </p:cxnSp>
      <p:sp>
        <p:nvSpPr>
          <p:cNvPr id="155" name="TextBox 154">
            <a:extLst>
              <a:ext uri="{FF2B5EF4-FFF2-40B4-BE49-F238E27FC236}">
                <a16:creationId xmlns:a16="http://schemas.microsoft.com/office/drawing/2014/main" id="{72DCC599-6731-4B45-907D-6E9307D9228D}"/>
              </a:ext>
            </a:extLst>
          </p:cNvPr>
          <p:cNvSpPr txBox="1"/>
          <p:nvPr/>
        </p:nvSpPr>
        <p:spPr>
          <a:xfrm>
            <a:off x="6729256" y="4285842"/>
            <a:ext cx="718465" cy="256545"/>
          </a:xfrm>
          <a:prstGeom prst="rect">
            <a:avLst/>
          </a:prstGeom>
          <a:noFill/>
        </p:spPr>
        <p:txBody>
          <a:bodyPr wrap="none" rtlCol="0">
            <a:spAutoFit/>
          </a:bodyPr>
          <a:lstStyle/>
          <a:p>
            <a:pPr algn="r" defTabSz="1219110">
              <a:defRPr/>
            </a:pPr>
            <a:r>
              <a:rPr lang="en-GB" sz="1067" dirty="0">
                <a:solidFill>
                  <a:srgbClr val="001965"/>
                </a:solidFill>
                <a:latin typeface="+mj-lt"/>
              </a:rPr>
              <a:t>KENYAN</a:t>
            </a:r>
            <a:endParaRPr lang="en-GB" sz="2400" dirty="0">
              <a:solidFill>
                <a:srgbClr val="001965"/>
              </a:solidFill>
              <a:latin typeface="+mj-lt"/>
            </a:endParaRPr>
          </a:p>
        </p:txBody>
      </p:sp>
      <p:cxnSp>
        <p:nvCxnSpPr>
          <p:cNvPr id="156" name="Straight Connector 182">
            <a:extLst>
              <a:ext uri="{FF2B5EF4-FFF2-40B4-BE49-F238E27FC236}">
                <a16:creationId xmlns:a16="http://schemas.microsoft.com/office/drawing/2014/main" id="{41EA49D0-9DC5-47E1-AD71-C17761884D72}"/>
              </a:ext>
            </a:extLst>
          </p:cNvPr>
          <p:cNvCxnSpPr/>
          <p:nvPr/>
        </p:nvCxnSpPr>
        <p:spPr>
          <a:xfrm rot="10800000" flipV="1">
            <a:off x="5351647" y="4181455"/>
            <a:ext cx="765192" cy="208773"/>
          </a:xfrm>
          <a:prstGeom prst="bentConnector3">
            <a:avLst>
              <a:gd name="adj1" fmla="val 430"/>
            </a:avLst>
          </a:prstGeom>
          <a:noFill/>
          <a:ln w="10160" cap="flat" cmpd="sng" algn="ctr">
            <a:solidFill>
              <a:srgbClr val="001965"/>
            </a:solidFill>
            <a:prstDash val="solid"/>
            <a:headEnd type="oval" w="sm" len="sm"/>
          </a:ln>
          <a:effectLst/>
        </p:spPr>
      </p:cxnSp>
      <p:sp>
        <p:nvSpPr>
          <p:cNvPr id="157" name="TextBox 156">
            <a:extLst>
              <a:ext uri="{FF2B5EF4-FFF2-40B4-BE49-F238E27FC236}">
                <a16:creationId xmlns:a16="http://schemas.microsoft.com/office/drawing/2014/main" id="{1BAFD4CA-6BFF-4C9A-A753-C7547D6667EC}"/>
              </a:ext>
            </a:extLst>
          </p:cNvPr>
          <p:cNvSpPr txBox="1"/>
          <p:nvPr/>
        </p:nvSpPr>
        <p:spPr>
          <a:xfrm>
            <a:off x="5265134" y="4175202"/>
            <a:ext cx="843500" cy="256545"/>
          </a:xfrm>
          <a:prstGeom prst="rect">
            <a:avLst/>
          </a:prstGeom>
          <a:noFill/>
        </p:spPr>
        <p:txBody>
          <a:bodyPr wrap="none" rtlCol="0">
            <a:spAutoFit/>
          </a:bodyPr>
          <a:lstStyle/>
          <a:p>
            <a:pPr algn="r" defTabSz="1219110">
              <a:defRPr/>
            </a:pPr>
            <a:r>
              <a:rPr lang="en-GB" sz="1067" dirty="0">
                <a:solidFill>
                  <a:srgbClr val="001965"/>
                </a:solidFill>
                <a:latin typeface="+mj-lt"/>
              </a:rPr>
              <a:t>ALGERIAN</a:t>
            </a:r>
            <a:endParaRPr lang="en-GB" sz="2400" dirty="0">
              <a:solidFill>
                <a:srgbClr val="001965"/>
              </a:solidFill>
              <a:latin typeface="+mj-lt"/>
            </a:endParaRPr>
          </a:p>
        </p:txBody>
      </p:sp>
      <p:cxnSp>
        <p:nvCxnSpPr>
          <p:cNvPr id="158" name="Straight Connector 194">
            <a:extLst>
              <a:ext uri="{FF2B5EF4-FFF2-40B4-BE49-F238E27FC236}">
                <a16:creationId xmlns:a16="http://schemas.microsoft.com/office/drawing/2014/main" id="{0C6FA39B-FD85-43F2-90EC-B06BC7CF3481}"/>
              </a:ext>
            </a:extLst>
          </p:cNvPr>
          <p:cNvCxnSpPr/>
          <p:nvPr/>
        </p:nvCxnSpPr>
        <p:spPr>
          <a:xfrm rot="10800000" flipV="1">
            <a:off x="5351651" y="3786230"/>
            <a:ext cx="862644" cy="172660"/>
          </a:xfrm>
          <a:prstGeom prst="bentConnector3">
            <a:avLst>
              <a:gd name="adj1" fmla="val -252"/>
            </a:avLst>
          </a:prstGeom>
          <a:noFill/>
          <a:ln w="10160" cap="flat" cmpd="sng" algn="ctr">
            <a:solidFill>
              <a:srgbClr val="001965"/>
            </a:solidFill>
            <a:prstDash val="solid"/>
            <a:headEnd type="oval" w="sm" len="sm"/>
          </a:ln>
          <a:effectLst/>
        </p:spPr>
      </p:cxnSp>
      <p:sp>
        <p:nvSpPr>
          <p:cNvPr id="159" name="TextBox 158">
            <a:extLst>
              <a:ext uri="{FF2B5EF4-FFF2-40B4-BE49-F238E27FC236}">
                <a16:creationId xmlns:a16="http://schemas.microsoft.com/office/drawing/2014/main" id="{1AEAF4A5-774B-44AA-A1C6-DF94032B7488}"/>
              </a:ext>
            </a:extLst>
          </p:cNvPr>
          <p:cNvSpPr txBox="1"/>
          <p:nvPr/>
        </p:nvSpPr>
        <p:spPr>
          <a:xfrm>
            <a:off x="5361171" y="3733258"/>
            <a:ext cx="705642" cy="256545"/>
          </a:xfrm>
          <a:prstGeom prst="rect">
            <a:avLst/>
          </a:prstGeom>
          <a:noFill/>
        </p:spPr>
        <p:txBody>
          <a:bodyPr wrap="none" rtlCol="0">
            <a:spAutoFit/>
          </a:bodyPr>
          <a:lstStyle/>
          <a:p>
            <a:pPr algn="r" defTabSz="1219110">
              <a:defRPr/>
            </a:pPr>
            <a:r>
              <a:rPr lang="en-GB" sz="1067" dirty="0">
                <a:solidFill>
                  <a:srgbClr val="001965"/>
                </a:solidFill>
                <a:latin typeface="+mj-lt"/>
              </a:rPr>
              <a:t>ITALIAN</a:t>
            </a:r>
            <a:endParaRPr lang="en-GB" sz="2400" dirty="0">
              <a:solidFill>
                <a:srgbClr val="001965"/>
              </a:solidFill>
              <a:latin typeface="+mj-lt"/>
            </a:endParaRPr>
          </a:p>
        </p:txBody>
      </p:sp>
      <p:cxnSp>
        <p:nvCxnSpPr>
          <p:cNvPr id="160" name="Straight Connector 198">
            <a:extLst>
              <a:ext uri="{FF2B5EF4-FFF2-40B4-BE49-F238E27FC236}">
                <a16:creationId xmlns:a16="http://schemas.microsoft.com/office/drawing/2014/main" id="{C9A83B36-CB4B-4EC5-AEF1-61785D04C374}"/>
              </a:ext>
            </a:extLst>
          </p:cNvPr>
          <p:cNvCxnSpPr/>
          <p:nvPr/>
        </p:nvCxnSpPr>
        <p:spPr>
          <a:xfrm>
            <a:off x="7604196" y="4575896"/>
            <a:ext cx="1055792" cy="183496"/>
          </a:xfrm>
          <a:prstGeom prst="bentConnector3">
            <a:avLst>
              <a:gd name="adj1" fmla="val -468"/>
            </a:avLst>
          </a:prstGeom>
          <a:noFill/>
          <a:ln w="10160" cap="flat" cmpd="sng" algn="ctr">
            <a:solidFill>
              <a:srgbClr val="001965"/>
            </a:solidFill>
            <a:prstDash val="solid"/>
            <a:headEnd type="oval" w="sm" len="sm"/>
          </a:ln>
          <a:effectLst/>
        </p:spPr>
      </p:cxnSp>
      <p:sp>
        <p:nvSpPr>
          <p:cNvPr id="161" name="TextBox 160">
            <a:extLst>
              <a:ext uri="{FF2B5EF4-FFF2-40B4-BE49-F238E27FC236}">
                <a16:creationId xmlns:a16="http://schemas.microsoft.com/office/drawing/2014/main" id="{12001D2C-E783-42AB-BCED-6D1D517B595E}"/>
              </a:ext>
            </a:extLst>
          </p:cNvPr>
          <p:cNvSpPr txBox="1"/>
          <p:nvPr/>
        </p:nvSpPr>
        <p:spPr>
          <a:xfrm>
            <a:off x="5120144" y="3101698"/>
            <a:ext cx="702436" cy="256545"/>
          </a:xfrm>
          <a:prstGeom prst="rect">
            <a:avLst/>
          </a:prstGeom>
          <a:noFill/>
        </p:spPr>
        <p:txBody>
          <a:bodyPr wrap="none" rtlCol="0">
            <a:spAutoFit/>
          </a:bodyPr>
          <a:lstStyle/>
          <a:p>
            <a:pPr algn="r" defTabSz="1219110">
              <a:defRPr/>
            </a:pPr>
            <a:r>
              <a:rPr lang="en-GB" sz="1067" dirty="0">
                <a:solidFill>
                  <a:srgbClr val="001965"/>
                </a:solidFill>
                <a:latin typeface="+mj-lt"/>
              </a:rPr>
              <a:t>BRITISH</a:t>
            </a:r>
            <a:endParaRPr lang="en-GB" sz="2400" dirty="0">
              <a:solidFill>
                <a:srgbClr val="001965"/>
              </a:solidFill>
              <a:latin typeface="+mj-lt"/>
            </a:endParaRPr>
          </a:p>
        </p:txBody>
      </p:sp>
      <p:cxnSp>
        <p:nvCxnSpPr>
          <p:cNvPr id="162" name="Straight Connector 207">
            <a:extLst>
              <a:ext uri="{FF2B5EF4-FFF2-40B4-BE49-F238E27FC236}">
                <a16:creationId xmlns:a16="http://schemas.microsoft.com/office/drawing/2014/main" id="{78C95257-82BD-46BE-A8CF-70F522BA888D}"/>
              </a:ext>
            </a:extLst>
          </p:cNvPr>
          <p:cNvCxnSpPr/>
          <p:nvPr/>
        </p:nvCxnSpPr>
        <p:spPr>
          <a:xfrm flipH="1">
            <a:off x="5177904" y="3551003"/>
            <a:ext cx="888913" cy="0"/>
          </a:xfrm>
          <a:prstGeom prst="straightConnector1">
            <a:avLst/>
          </a:prstGeom>
          <a:noFill/>
          <a:ln w="10160" cap="flat" cmpd="sng" algn="ctr">
            <a:solidFill>
              <a:srgbClr val="001965"/>
            </a:solidFill>
            <a:prstDash val="solid"/>
            <a:headEnd type="oval" w="sm" len="sm"/>
          </a:ln>
          <a:effectLst/>
        </p:spPr>
      </p:cxnSp>
      <p:sp>
        <p:nvSpPr>
          <p:cNvPr id="163" name="TextBox 162">
            <a:extLst>
              <a:ext uri="{FF2B5EF4-FFF2-40B4-BE49-F238E27FC236}">
                <a16:creationId xmlns:a16="http://schemas.microsoft.com/office/drawing/2014/main" id="{2E3AFC46-DB24-4B0B-89BB-90F006740A1B}"/>
              </a:ext>
            </a:extLst>
          </p:cNvPr>
          <p:cNvSpPr txBox="1"/>
          <p:nvPr/>
        </p:nvSpPr>
        <p:spPr>
          <a:xfrm>
            <a:off x="5126003" y="3340922"/>
            <a:ext cx="782586" cy="256545"/>
          </a:xfrm>
          <a:prstGeom prst="rect">
            <a:avLst/>
          </a:prstGeom>
          <a:noFill/>
        </p:spPr>
        <p:txBody>
          <a:bodyPr wrap="none" rtlCol="0">
            <a:spAutoFit/>
          </a:bodyPr>
          <a:lstStyle/>
          <a:p>
            <a:pPr algn="r" defTabSz="1219110">
              <a:defRPr/>
            </a:pPr>
            <a:r>
              <a:rPr lang="en-GB" sz="1067" dirty="0">
                <a:solidFill>
                  <a:srgbClr val="001965"/>
                </a:solidFill>
                <a:latin typeface="+mj-lt"/>
              </a:rPr>
              <a:t>GERMAN</a:t>
            </a:r>
            <a:endParaRPr lang="en-GB" sz="2400" dirty="0">
              <a:solidFill>
                <a:srgbClr val="001965"/>
              </a:solidFill>
              <a:latin typeface="+mj-lt"/>
            </a:endParaRPr>
          </a:p>
        </p:txBody>
      </p:sp>
      <p:cxnSp>
        <p:nvCxnSpPr>
          <p:cNvPr id="164" name="Straight Connector 218">
            <a:extLst>
              <a:ext uri="{FF2B5EF4-FFF2-40B4-BE49-F238E27FC236}">
                <a16:creationId xmlns:a16="http://schemas.microsoft.com/office/drawing/2014/main" id="{6608AF55-C121-4038-8749-CE2CB0250C39}"/>
              </a:ext>
            </a:extLst>
          </p:cNvPr>
          <p:cNvCxnSpPr/>
          <p:nvPr/>
        </p:nvCxnSpPr>
        <p:spPr>
          <a:xfrm flipV="1">
            <a:off x="7517537" y="4033607"/>
            <a:ext cx="989771" cy="5"/>
          </a:xfrm>
          <a:prstGeom prst="straightConnector1">
            <a:avLst/>
          </a:prstGeom>
          <a:noFill/>
          <a:ln w="10160" cap="flat" cmpd="sng" algn="ctr">
            <a:solidFill>
              <a:srgbClr val="001965"/>
            </a:solidFill>
            <a:prstDash val="solid"/>
            <a:headEnd type="oval" w="sm" len="sm"/>
          </a:ln>
          <a:effectLst/>
        </p:spPr>
      </p:cxnSp>
      <p:sp>
        <p:nvSpPr>
          <p:cNvPr id="165" name="TextBox 164">
            <a:extLst>
              <a:ext uri="{FF2B5EF4-FFF2-40B4-BE49-F238E27FC236}">
                <a16:creationId xmlns:a16="http://schemas.microsoft.com/office/drawing/2014/main" id="{9AECACE4-5913-47D5-A7DC-37930E391552}"/>
              </a:ext>
            </a:extLst>
          </p:cNvPr>
          <p:cNvSpPr txBox="1"/>
          <p:nvPr/>
        </p:nvSpPr>
        <p:spPr>
          <a:xfrm>
            <a:off x="7840433" y="3794946"/>
            <a:ext cx="748923" cy="256545"/>
          </a:xfrm>
          <a:prstGeom prst="rect">
            <a:avLst/>
          </a:prstGeom>
          <a:noFill/>
        </p:spPr>
        <p:txBody>
          <a:bodyPr wrap="none" rtlCol="0">
            <a:spAutoFit/>
          </a:bodyPr>
          <a:lstStyle/>
          <a:p>
            <a:pPr algn="r" defTabSz="1219110">
              <a:defRPr/>
            </a:pPr>
            <a:r>
              <a:rPr lang="en-GB" sz="1067" dirty="0">
                <a:solidFill>
                  <a:srgbClr val="001965"/>
                </a:solidFill>
                <a:latin typeface="+mj-lt"/>
              </a:rPr>
              <a:t>CHINESE</a:t>
            </a:r>
            <a:endParaRPr lang="en-GB" sz="2400" dirty="0">
              <a:solidFill>
                <a:srgbClr val="001965"/>
              </a:solidFill>
              <a:latin typeface="+mj-lt"/>
            </a:endParaRPr>
          </a:p>
        </p:txBody>
      </p:sp>
      <p:cxnSp>
        <p:nvCxnSpPr>
          <p:cNvPr id="166" name="Straight Connector 165">
            <a:extLst>
              <a:ext uri="{FF2B5EF4-FFF2-40B4-BE49-F238E27FC236}">
                <a16:creationId xmlns:a16="http://schemas.microsoft.com/office/drawing/2014/main" id="{FC4C6147-45CF-4C01-BF19-D787BB33E609}"/>
              </a:ext>
            </a:extLst>
          </p:cNvPr>
          <p:cNvCxnSpPr>
            <a:cxnSpLocks/>
          </p:cNvCxnSpPr>
          <p:nvPr/>
        </p:nvCxnSpPr>
        <p:spPr>
          <a:xfrm flipH="1" flipV="1">
            <a:off x="5250569" y="3735013"/>
            <a:ext cx="722264" cy="6876"/>
          </a:xfrm>
          <a:prstGeom prst="line">
            <a:avLst/>
          </a:prstGeom>
          <a:noFill/>
          <a:ln w="10160" cap="flat" cmpd="sng" algn="ctr">
            <a:solidFill>
              <a:srgbClr val="001965"/>
            </a:solidFill>
            <a:prstDash val="solid"/>
            <a:headEnd type="oval" w="sm" len="sm"/>
          </a:ln>
          <a:effectLst/>
        </p:spPr>
      </p:cxnSp>
      <p:sp>
        <p:nvSpPr>
          <p:cNvPr id="167" name="TextBox 166">
            <a:extLst>
              <a:ext uri="{FF2B5EF4-FFF2-40B4-BE49-F238E27FC236}">
                <a16:creationId xmlns:a16="http://schemas.microsoft.com/office/drawing/2014/main" id="{618D88FB-B6A8-4F71-959C-52379342C388}"/>
              </a:ext>
            </a:extLst>
          </p:cNvPr>
          <p:cNvSpPr txBox="1"/>
          <p:nvPr/>
        </p:nvSpPr>
        <p:spPr>
          <a:xfrm>
            <a:off x="5246081" y="3530882"/>
            <a:ext cx="758541" cy="256545"/>
          </a:xfrm>
          <a:prstGeom prst="rect">
            <a:avLst/>
          </a:prstGeom>
          <a:noFill/>
        </p:spPr>
        <p:txBody>
          <a:bodyPr wrap="none" rtlCol="0">
            <a:spAutoFit/>
          </a:bodyPr>
          <a:lstStyle/>
          <a:p>
            <a:pPr algn="r" defTabSz="1219110">
              <a:defRPr/>
            </a:pPr>
            <a:r>
              <a:rPr lang="da-DK" sz="1067" dirty="0">
                <a:solidFill>
                  <a:srgbClr val="001965"/>
                </a:solidFill>
                <a:latin typeface="+mj-lt"/>
              </a:rPr>
              <a:t>S</a:t>
            </a:r>
            <a:r>
              <a:rPr lang="en-GB" sz="1067" dirty="0">
                <a:solidFill>
                  <a:srgbClr val="001965"/>
                </a:solidFill>
                <a:latin typeface="+mj-lt"/>
              </a:rPr>
              <a:t>PANISH</a:t>
            </a:r>
            <a:endParaRPr lang="en-GB" sz="2400" dirty="0">
              <a:solidFill>
                <a:srgbClr val="001965"/>
              </a:solidFill>
              <a:latin typeface="+mj-lt"/>
            </a:endParaRPr>
          </a:p>
        </p:txBody>
      </p:sp>
      <p:sp>
        <p:nvSpPr>
          <p:cNvPr id="168" name="TextBox 167">
            <a:extLst>
              <a:ext uri="{FF2B5EF4-FFF2-40B4-BE49-F238E27FC236}">
                <a16:creationId xmlns:a16="http://schemas.microsoft.com/office/drawing/2014/main" id="{C7866689-626A-4A9C-B226-32B01F2C8AFD}"/>
              </a:ext>
            </a:extLst>
          </p:cNvPr>
          <p:cNvSpPr txBox="1"/>
          <p:nvPr/>
        </p:nvSpPr>
        <p:spPr>
          <a:xfrm>
            <a:off x="7698609" y="4493713"/>
            <a:ext cx="1035861" cy="256545"/>
          </a:xfrm>
          <a:prstGeom prst="rect">
            <a:avLst/>
          </a:prstGeom>
          <a:noFill/>
        </p:spPr>
        <p:txBody>
          <a:bodyPr wrap="none" rtlCol="0">
            <a:spAutoFit/>
          </a:bodyPr>
          <a:lstStyle/>
          <a:p>
            <a:pPr algn="r" defTabSz="1219110">
              <a:defRPr/>
            </a:pPr>
            <a:r>
              <a:rPr lang="en-GB" sz="1067" dirty="0">
                <a:solidFill>
                  <a:srgbClr val="001965"/>
                </a:solidFill>
                <a:latin typeface="+mj-lt"/>
              </a:rPr>
              <a:t>INDONESIAN</a:t>
            </a:r>
            <a:endParaRPr lang="en-GB" sz="2400" dirty="0">
              <a:solidFill>
                <a:srgbClr val="001965"/>
              </a:solidFill>
              <a:latin typeface="+mj-lt"/>
            </a:endParaRPr>
          </a:p>
        </p:txBody>
      </p:sp>
      <p:sp>
        <p:nvSpPr>
          <p:cNvPr id="177" name="TextBox 176">
            <a:extLst>
              <a:ext uri="{FF2B5EF4-FFF2-40B4-BE49-F238E27FC236}">
                <a16:creationId xmlns:a16="http://schemas.microsoft.com/office/drawing/2014/main" id="{FA7386AF-2A85-42B4-B46C-52480CA06EB4}"/>
              </a:ext>
            </a:extLst>
          </p:cNvPr>
          <p:cNvSpPr txBox="1"/>
          <p:nvPr/>
        </p:nvSpPr>
        <p:spPr>
          <a:xfrm>
            <a:off x="1629420" y="3479739"/>
            <a:ext cx="945745" cy="261610"/>
          </a:xfrm>
          <a:prstGeom prst="rect">
            <a:avLst/>
          </a:prstGeom>
          <a:noFill/>
        </p:spPr>
        <p:txBody>
          <a:bodyPr wrap="square" rtlCol="0">
            <a:spAutoFit/>
          </a:bodyPr>
          <a:lstStyle/>
          <a:p>
            <a:pPr defTabSz="1219110">
              <a:defRPr/>
            </a:pPr>
            <a:r>
              <a:rPr lang="en-GB" sz="1100" dirty="0">
                <a:solidFill>
                  <a:srgbClr val="002060"/>
                </a:solidFill>
                <a:latin typeface="+mj-lt"/>
              </a:rPr>
              <a:t>47 hires</a:t>
            </a:r>
          </a:p>
        </p:txBody>
      </p:sp>
      <p:sp>
        <p:nvSpPr>
          <p:cNvPr id="178" name="TextBox 177">
            <a:extLst>
              <a:ext uri="{FF2B5EF4-FFF2-40B4-BE49-F238E27FC236}">
                <a16:creationId xmlns:a16="http://schemas.microsoft.com/office/drawing/2014/main" id="{FE76BDDC-E76D-4BAC-9745-210C812BCBBD}"/>
              </a:ext>
            </a:extLst>
          </p:cNvPr>
          <p:cNvSpPr txBox="1"/>
          <p:nvPr/>
        </p:nvSpPr>
        <p:spPr>
          <a:xfrm>
            <a:off x="785124" y="5955023"/>
            <a:ext cx="1486689" cy="461665"/>
          </a:xfrm>
          <a:prstGeom prst="rect">
            <a:avLst/>
          </a:prstGeom>
          <a:noFill/>
        </p:spPr>
        <p:txBody>
          <a:bodyPr wrap="square" rtlCol="0">
            <a:spAutoFit/>
          </a:bodyPr>
          <a:lstStyle/>
          <a:p>
            <a:pPr defTabSz="1219110">
              <a:defRPr/>
            </a:pPr>
            <a:r>
              <a:rPr lang="en-GB" sz="2400" b="1" dirty="0">
                <a:solidFill>
                  <a:srgbClr val="00B0F0"/>
                </a:solidFill>
                <a:latin typeface="+mj-lt"/>
              </a:rPr>
              <a:t>51%</a:t>
            </a:r>
          </a:p>
        </p:txBody>
      </p:sp>
      <p:sp>
        <p:nvSpPr>
          <p:cNvPr id="179" name="TextBox 178">
            <a:extLst>
              <a:ext uri="{FF2B5EF4-FFF2-40B4-BE49-F238E27FC236}">
                <a16:creationId xmlns:a16="http://schemas.microsoft.com/office/drawing/2014/main" id="{9C3D5F02-821D-4E1A-8B95-F5165FE6C411}"/>
              </a:ext>
            </a:extLst>
          </p:cNvPr>
          <p:cNvSpPr txBox="1"/>
          <p:nvPr/>
        </p:nvSpPr>
        <p:spPr>
          <a:xfrm>
            <a:off x="1832770" y="5955023"/>
            <a:ext cx="814647" cy="461665"/>
          </a:xfrm>
          <a:prstGeom prst="rect">
            <a:avLst/>
          </a:prstGeom>
          <a:noFill/>
        </p:spPr>
        <p:txBody>
          <a:bodyPr wrap="none" rtlCol="0">
            <a:spAutoFit/>
          </a:bodyPr>
          <a:lstStyle/>
          <a:p>
            <a:pPr defTabSz="1219110">
              <a:defRPr/>
            </a:pPr>
            <a:r>
              <a:rPr lang="en-GB" sz="2400" b="1" dirty="0">
                <a:solidFill>
                  <a:srgbClr val="00B0F0"/>
                </a:solidFill>
                <a:latin typeface="+mj-lt"/>
              </a:rPr>
              <a:t>49%</a:t>
            </a:r>
          </a:p>
        </p:txBody>
      </p:sp>
      <p:sp>
        <p:nvSpPr>
          <p:cNvPr id="181" name="TextBox 180">
            <a:extLst>
              <a:ext uri="{FF2B5EF4-FFF2-40B4-BE49-F238E27FC236}">
                <a16:creationId xmlns:a16="http://schemas.microsoft.com/office/drawing/2014/main" id="{314DF208-6CA1-473B-97B4-5E91594CAA22}"/>
              </a:ext>
            </a:extLst>
          </p:cNvPr>
          <p:cNvSpPr txBox="1"/>
          <p:nvPr/>
        </p:nvSpPr>
        <p:spPr>
          <a:xfrm>
            <a:off x="9049666" y="3863373"/>
            <a:ext cx="1083772" cy="461665"/>
          </a:xfrm>
          <a:prstGeom prst="rect">
            <a:avLst/>
          </a:prstGeom>
          <a:noFill/>
        </p:spPr>
        <p:txBody>
          <a:bodyPr wrap="square" rtlCol="0">
            <a:spAutoFit/>
          </a:bodyPr>
          <a:lstStyle/>
          <a:p>
            <a:pPr defTabSz="1219110">
              <a:defRPr/>
            </a:pPr>
            <a:r>
              <a:rPr lang="en-GB" sz="2400" b="1" dirty="0">
                <a:solidFill>
                  <a:srgbClr val="00B0F0"/>
                </a:solidFill>
                <a:latin typeface="+mj-lt"/>
              </a:rPr>
              <a:t>70%</a:t>
            </a:r>
          </a:p>
        </p:txBody>
      </p:sp>
      <p:sp>
        <p:nvSpPr>
          <p:cNvPr id="182" name="TextBox 181">
            <a:extLst>
              <a:ext uri="{FF2B5EF4-FFF2-40B4-BE49-F238E27FC236}">
                <a16:creationId xmlns:a16="http://schemas.microsoft.com/office/drawing/2014/main" id="{9EC0AD29-FC7D-451F-90ED-7B16E6D75240}"/>
              </a:ext>
            </a:extLst>
          </p:cNvPr>
          <p:cNvSpPr txBox="1"/>
          <p:nvPr/>
        </p:nvSpPr>
        <p:spPr>
          <a:xfrm>
            <a:off x="10101180" y="3699396"/>
            <a:ext cx="1541985" cy="769441"/>
          </a:xfrm>
          <a:prstGeom prst="rect">
            <a:avLst/>
          </a:prstGeom>
          <a:noFill/>
        </p:spPr>
        <p:txBody>
          <a:bodyPr wrap="square" rtlCol="0">
            <a:spAutoFit/>
          </a:bodyPr>
          <a:lstStyle/>
          <a:p>
            <a:pPr defTabSz="1219110">
              <a:defRPr/>
            </a:pPr>
            <a:r>
              <a:rPr lang="en-GB" sz="1100" dirty="0">
                <a:solidFill>
                  <a:srgbClr val="001965"/>
                </a:solidFill>
                <a:latin typeface="+mj-lt"/>
              </a:rPr>
              <a:t>…and that number is even higher for the GRC invited candidates</a:t>
            </a:r>
          </a:p>
        </p:txBody>
      </p:sp>
      <p:cxnSp>
        <p:nvCxnSpPr>
          <p:cNvPr id="183" name="Straight Connector 207">
            <a:extLst>
              <a:ext uri="{FF2B5EF4-FFF2-40B4-BE49-F238E27FC236}">
                <a16:creationId xmlns:a16="http://schemas.microsoft.com/office/drawing/2014/main" id="{D7521D55-3B27-4718-A940-85AEBE93CA8F}"/>
              </a:ext>
            </a:extLst>
          </p:cNvPr>
          <p:cNvCxnSpPr>
            <a:cxnSpLocks/>
          </p:cNvCxnSpPr>
          <p:nvPr/>
        </p:nvCxnSpPr>
        <p:spPr>
          <a:xfrm flipH="1">
            <a:off x="5083922" y="3354610"/>
            <a:ext cx="888913" cy="0"/>
          </a:xfrm>
          <a:prstGeom prst="straightConnector1">
            <a:avLst/>
          </a:prstGeom>
          <a:noFill/>
          <a:ln w="10160" cap="flat" cmpd="sng" algn="ctr">
            <a:solidFill>
              <a:srgbClr val="001965"/>
            </a:solidFill>
            <a:prstDash val="solid"/>
            <a:headEnd type="oval" w="sm" len="sm"/>
          </a:ln>
          <a:effectLst/>
        </p:spPr>
      </p:cxnSp>
      <p:pic>
        <p:nvPicPr>
          <p:cNvPr id="184" name="Graphic 183">
            <a:extLst>
              <a:ext uri="{FF2B5EF4-FFF2-40B4-BE49-F238E27FC236}">
                <a16:creationId xmlns:a16="http://schemas.microsoft.com/office/drawing/2014/main" id="{422962DE-8F12-4D21-A2F6-5DD50B96DE9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61055" y="5078554"/>
            <a:ext cx="863600" cy="863600"/>
          </a:xfrm>
          <a:prstGeom prst="rect">
            <a:avLst/>
          </a:prstGeom>
        </p:spPr>
      </p:pic>
      <p:pic>
        <p:nvPicPr>
          <p:cNvPr id="185" name="Graphic 184">
            <a:extLst>
              <a:ext uri="{FF2B5EF4-FFF2-40B4-BE49-F238E27FC236}">
                <a16:creationId xmlns:a16="http://schemas.microsoft.com/office/drawing/2014/main" id="{146C8016-9AAB-4E6A-A7EF-64189DD515B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99537" y="5090967"/>
            <a:ext cx="861788" cy="861788"/>
          </a:xfrm>
          <a:prstGeom prst="rect">
            <a:avLst/>
          </a:prstGeom>
        </p:spPr>
      </p:pic>
      <p:grpSp>
        <p:nvGrpSpPr>
          <p:cNvPr id="2" name="Graphic 185">
            <a:extLst>
              <a:ext uri="{FF2B5EF4-FFF2-40B4-BE49-F238E27FC236}">
                <a16:creationId xmlns:a16="http://schemas.microsoft.com/office/drawing/2014/main" id="{E16F9F60-82B5-4601-B467-D4B0CD7D4A64}"/>
              </a:ext>
            </a:extLst>
          </p:cNvPr>
          <p:cNvGrpSpPr/>
          <p:nvPr/>
        </p:nvGrpSpPr>
        <p:grpSpPr>
          <a:xfrm>
            <a:off x="9712556" y="1961778"/>
            <a:ext cx="1206006" cy="795926"/>
            <a:chOff x="11413986" y="1163637"/>
            <a:chExt cx="914497" cy="585900"/>
          </a:xfrm>
          <a:solidFill>
            <a:srgbClr val="001965"/>
          </a:solidFill>
        </p:grpSpPr>
        <p:sp>
          <p:nvSpPr>
            <p:cNvPr id="4" name="Freeform: Shape 3">
              <a:extLst>
                <a:ext uri="{FF2B5EF4-FFF2-40B4-BE49-F238E27FC236}">
                  <a16:creationId xmlns:a16="http://schemas.microsoft.com/office/drawing/2014/main" id="{0D714CB7-6377-4F87-ABD4-DB5D79968C00}"/>
                </a:ext>
              </a:extLst>
            </p:cNvPr>
            <p:cNvSpPr/>
            <p:nvPr/>
          </p:nvSpPr>
          <p:spPr>
            <a:xfrm>
              <a:off x="11413986" y="1711437"/>
              <a:ext cx="647700" cy="38100"/>
            </a:xfrm>
            <a:custGeom>
              <a:avLst/>
              <a:gdLst>
                <a:gd name="connsiteX0" fmla="*/ 634651 w 647700"/>
                <a:gd name="connsiteY0" fmla="*/ 38100 h 38100"/>
                <a:gd name="connsiteX1" fmla="*/ 19050 w 647700"/>
                <a:gd name="connsiteY1" fmla="*/ 38100 h 38100"/>
                <a:gd name="connsiteX2" fmla="*/ 0 w 647700"/>
                <a:gd name="connsiteY2" fmla="*/ 19050 h 38100"/>
                <a:gd name="connsiteX3" fmla="*/ 19050 w 647700"/>
                <a:gd name="connsiteY3" fmla="*/ 0 h 38100"/>
                <a:gd name="connsiteX4" fmla="*/ 634651 w 647700"/>
                <a:gd name="connsiteY4" fmla="*/ 0 h 38100"/>
                <a:gd name="connsiteX5" fmla="*/ 653701 w 647700"/>
                <a:gd name="connsiteY5" fmla="*/ 19050 h 38100"/>
                <a:gd name="connsiteX6" fmla="*/ 634651 w 647700"/>
                <a:gd name="connsiteY6"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700" h="38100">
                  <a:moveTo>
                    <a:pt x="634651" y="38100"/>
                  </a:moveTo>
                  <a:lnTo>
                    <a:pt x="19050" y="38100"/>
                  </a:lnTo>
                  <a:cubicBezTo>
                    <a:pt x="8572" y="38100"/>
                    <a:pt x="0" y="29527"/>
                    <a:pt x="0" y="19050"/>
                  </a:cubicBezTo>
                  <a:cubicBezTo>
                    <a:pt x="0" y="8573"/>
                    <a:pt x="8572" y="0"/>
                    <a:pt x="19050" y="0"/>
                  </a:cubicBezTo>
                  <a:lnTo>
                    <a:pt x="634651" y="0"/>
                  </a:lnTo>
                  <a:cubicBezTo>
                    <a:pt x="645128" y="0"/>
                    <a:pt x="653701" y="8573"/>
                    <a:pt x="653701" y="19050"/>
                  </a:cubicBezTo>
                  <a:cubicBezTo>
                    <a:pt x="653701" y="29527"/>
                    <a:pt x="645224" y="38100"/>
                    <a:pt x="634651" y="38100"/>
                  </a:cubicBezTo>
                  <a:close/>
                </a:path>
              </a:pathLst>
            </a:custGeom>
            <a:solidFill>
              <a:srgbClr val="001965"/>
            </a:solidFill>
            <a:ln w="9525" cap="flat">
              <a:noFill/>
              <a:prstDash val="solid"/>
              <a:miter/>
            </a:ln>
          </p:spPr>
          <p:txBody>
            <a:bodyPr rtlCol="0" anchor="ctr"/>
            <a:lstStyle/>
            <a:p>
              <a:endParaRPr lang="en-GB"/>
            </a:p>
          </p:txBody>
        </p:sp>
        <p:grpSp>
          <p:nvGrpSpPr>
            <p:cNvPr id="9" name="Graphic 185">
              <a:extLst>
                <a:ext uri="{FF2B5EF4-FFF2-40B4-BE49-F238E27FC236}">
                  <a16:creationId xmlns:a16="http://schemas.microsoft.com/office/drawing/2014/main" id="{E16F9F60-82B5-4601-B467-D4B0CD7D4A64}"/>
                </a:ext>
              </a:extLst>
            </p:cNvPr>
            <p:cNvGrpSpPr/>
            <p:nvPr/>
          </p:nvGrpSpPr>
          <p:grpSpPr>
            <a:xfrm>
              <a:off x="11506474" y="1415876"/>
              <a:ext cx="209550" cy="323850"/>
              <a:chOff x="11506474" y="1415876"/>
              <a:chExt cx="209550" cy="323850"/>
            </a:xfrm>
            <a:solidFill>
              <a:srgbClr val="001965"/>
            </a:solidFill>
          </p:grpSpPr>
          <p:sp>
            <p:nvSpPr>
              <p:cNvPr id="10" name="Freeform: Shape 9">
                <a:extLst>
                  <a:ext uri="{FF2B5EF4-FFF2-40B4-BE49-F238E27FC236}">
                    <a16:creationId xmlns:a16="http://schemas.microsoft.com/office/drawing/2014/main" id="{2967E5E8-2900-44CB-9B70-3E4D1C7F8735}"/>
                  </a:ext>
                </a:extLst>
              </p:cNvPr>
              <p:cNvSpPr/>
              <p:nvPr/>
            </p:nvSpPr>
            <p:spPr>
              <a:xfrm>
                <a:off x="11506474" y="1575420"/>
                <a:ext cx="209550" cy="161925"/>
              </a:xfrm>
              <a:custGeom>
                <a:avLst/>
                <a:gdLst>
                  <a:gd name="connsiteX0" fmla="*/ 191453 w 209550"/>
                  <a:gd name="connsiteY0" fmla="*/ 167926 h 161925"/>
                  <a:gd name="connsiteX1" fmla="*/ 172403 w 209550"/>
                  <a:gd name="connsiteY1" fmla="*/ 148876 h 161925"/>
                  <a:gd name="connsiteX2" fmla="*/ 172403 w 209550"/>
                  <a:gd name="connsiteY2" fmla="*/ 54197 h 161925"/>
                  <a:gd name="connsiteX3" fmla="*/ 132969 w 209550"/>
                  <a:gd name="connsiteY3" fmla="*/ 38100 h 161925"/>
                  <a:gd name="connsiteX4" fmla="*/ 77533 w 209550"/>
                  <a:gd name="connsiteY4" fmla="*/ 38100 h 161925"/>
                  <a:gd name="connsiteX5" fmla="*/ 38100 w 209550"/>
                  <a:gd name="connsiteY5" fmla="*/ 54197 h 161925"/>
                  <a:gd name="connsiteX6" fmla="*/ 38100 w 209550"/>
                  <a:gd name="connsiteY6" fmla="*/ 148876 h 161925"/>
                  <a:gd name="connsiteX7" fmla="*/ 19050 w 209550"/>
                  <a:gd name="connsiteY7" fmla="*/ 167926 h 161925"/>
                  <a:gd name="connsiteX8" fmla="*/ 0 w 209550"/>
                  <a:gd name="connsiteY8" fmla="*/ 148876 h 161925"/>
                  <a:gd name="connsiteX9" fmla="*/ 0 w 209550"/>
                  <a:gd name="connsiteY9" fmla="*/ 54197 h 161925"/>
                  <a:gd name="connsiteX10" fmla="*/ 77533 w 209550"/>
                  <a:gd name="connsiteY10" fmla="*/ 0 h 161925"/>
                  <a:gd name="connsiteX11" fmla="*/ 132969 w 209550"/>
                  <a:gd name="connsiteY11" fmla="*/ 0 h 161925"/>
                  <a:gd name="connsiteX12" fmla="*/ 210502 w 209550"/>
                  <a:gd name="connsiteY12" fmla="*/ 54197 h 161925"/>
                  <a:gd name="connsiteX13" fmla="*/ 210502 w 209550"/>
                  <a:gd name="connsiteY13" fmla="*/ 148876 h 161925"/>
                  <a:gd name="connsiteX14" fmla="*/ 191453 w 209550"/>
                  <a:gd name="connsiteY14" fmla="*/ 167926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550" h="161925">
                    <a:moveTo>
                      <a:pt x="191453" y="167926"/>
                    </a:moveTo>
                    <a:cubicBezTo>
                      <a:pt x="180975" y="167926"/>
                      <a:pt x="172403" y="159353"/>
                      <a:pt x="172403" y="148876"/>
                    </a:cubicBezTo>
                    <a:lnTo>
                      <a:pt x="172403" y="54197"/>
                    </a:lnTo>
                    <a:cubicBezTo>
                      <a:pt x="172403" y="50197"/>
                      <a:pt x="158401" y="38100"/>
                      <a:pt x="132969" y="38100"/>
                    </a:cubicBezTo>
                    <a:lnTo>
                      <a:pt x="77533" y="38100"/>
                    </a:lnTo>
                    <a:cubicBezTo>
                      <a:pt x="52102" y="38100"/>
                      <a:pt x="38100" y="50197"/>
                      <a:pt x="38100" y="54197"/>
                    </a:cubicBezTo>
                    <a:lnTo>
                      <a:pt x="38100" y="148876"/>
                    </a:lnTo>
                    <a:cubicBezTo>
                      <a:pt x="38100" y="159353"/>
                      <a:pt x="29527" y="167926"/>
                      <a:pt x="19050" y="167926"/>
                    </a:cubicBezTo>
                    <a:cubicBezTo>
                      <a:pt x="8572" y="167926"/>
                      <a:pt x="0" y="159353"/>
                      <a:pt x="0" y="148876"/>
                    </a:cubicBezTo>
                    <a:lnTo>
                      <a:pt x="0" y="54197"/>
                    </a:lnTo>
                    <a:cubicBezTo>
                      <a:pt x="0" y="23813"/>
                      <a:pt x="34004" y="0"/>
                      <a:pt x="77533" y="0"/>
                    </a:cubicBezTo>
                    <a:lnTo>
                      <a:pt x="132969" y="0"/>
                    </a:lnTo>
                    <a:cubicBezTo>
                      <a:pt x="176403" y="0"/>
                      <a:pt x="210502" y="23813"/>
                      <a:pt x="210502" y="54197"/>
                    </a:cubicBezTo>
                    <a:lnTo>
                      <a:pt x="210502" y="148876"/>
                    </a:lnTo>
                    <a:cubicBezTo>
                      <a:pt x="210502" y="159353"/>
                      <a:pt x="202025" y="167926"/>
                      <a:pt x="191453" y="167926"/>
                    </a:cubicBezTo>
                    <a:close/>
                  </a:path>
                </a:pathLst>
              </a:custGeom>
              <a:solidFill>
                <a:srgbClr val="001965"/>
              </a:solid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64BFC80E-80DE-4F05-B917-DF9098988D6F}"/>
                  </a:ext>
                </a:extLst>
              </p:cNvPr>
              <p:cNvSpPr/>
              <p:nvPr/>
            </p:nvSpPr>
            <p:spPr>
              <a:xfrm>
                <a:off x="11544383" y="1415876"/>
                <a:ext cx="133350" cy="133350"/>
              </a:xfrm>
              <a:custGeom>
                <a:avLst/>
                <a:gdLst>
                  <a:gd name="connsiteX0" fmla="*/ 68770 w 133350"/>
                  <a:gd name="connsiteY0" fmla="*/ 137446 h 133350"/>
                  <a:gd name="connsiteX1" fmla="*/ 0 w 133350"/>
                  <a:gd name="connsiteY1" fmla="*/ 68675 h 133350"/>
                  <a:gd name="connsiteX2" fmla="*/ 68770 w 133350"/>
                  <a:gd name="connsiteY2" fmla="*/ 0 h 133350"/>
                  <a:gd name="connsiteX3" fmla="*/ 137541 w 133350"/>
                  <a:gd name="connsiteY3" fmla="*/ 68771 h 133350"/>
                  <a:gd name="connsiteX4" fmla="*/ 68770 w 133350"/>
                  <a:gd name="connsiteY4" fmla="*/ 137446 h 133350"/>
                  <a:gd name="connsiteX5" fmla="*/ 68770 w 133350"/>
                  <a:gd name="connsiteY5" fmla="*/ 38100 h 133350"/>
                  <a:gd name="connsiteX6" fmla="*/ 38100 w 133350"/>
                  <a:gd name="connsiteY6" fmla="*/ 68771 h 133350"/>
                  <a:gd name="connsiteX7" fmla="*/ 68770 w 133350"/>
                  <a:gd name="connsiteY7" fmla="*/ 99441 h 133350"/>
                  <a:gd name="connsiteX8" fmla="*/ 99441 w 133350"/>
                  <a:gd name="connsiteY8" fmla="*/ 68771 h 133350"/>
                  <a:gd name="connsiteX9" fmla="*/ 68770 w 133350"/>
                  <a:gd name="connsiteY9" fmla="*/ 381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3350">
                    <a:moveTo>
                      <a:pt x="68770" y="137446"/>
                    </a:moveTo>
                    <a:cubicBezTo>
                      <a:pt x="30861" y="137446"/>
                      <a:pt x="0" y="106585"/>
                      <a:pt x="0" y="68675"/>
                    </a:cubicBezTo>
                    <a:cubicBezTo>
                      <a:pt x="0" y="30766"/>
                      <a:pt x="30861" y="0"/>
                      <a:pt x="68770" y="0"/>
                    </a:cubicBezTo>
                    <a:cubicBezTo>
                      <a:pt x="106680" y="0"/>
                      <a:pt x="137541" y="30861"/>
                      <a:pt x="137541" y="68771"/>
                    </a:cubicBezTo>
                    <a:cubicBezTo>
                      <a:pt x="137541" y="106680"/>
                      <a:pt x="106680" y="137446"/>
                      <a:pt x="68770" y="137446"/>
                    </a:cubicBezTo>
                    <a:close/>
                    <a:moveTo>
                      <a:pt x="68770" y="38100"/>
                    </a:moveTo>
                    <a:cubicBezTo>
                      <a:pt x="51911" y="38100"/>
                      <a:pt x="38100" y="51816"/>
                      <a:pt x="38100" y="68771"/>
                    </a:cubicBezTo>
                    <a:cubicBezTo>
                      <a:pt x="38100" y="85725"/>
                      <a:pt x="51816" y="99441"/>
                      <a:pt x="68770" y="99441"/>
                    </a:cubicBezTo>
                    <a:cubicBezTo>
                      <a:pt x="85725" y="99441"/>
                      <a:pt x="99441" y="85725"/>
                      <a:pt x="99441" y="68771"/>
                    </a:cubicBezTo>
                    <a:cubicBezTo>
                      <a:pt x="99441" y="51816"/>
                      <a:pt x="85630" y="38100"/>
                      <a:pt x="68770" y="38100"/>
                    </a:cubicBezTo>
                    <a:close/>
                  </a:path>
                </a:pathLst>
              </a:custGeom>
              <a:solidFill>
                <a:srgbClr val="001965"/>
              </a:solidFill>
              <a:ln w="9525" cap="flat">
                <a:noFill/>
                <a:prstDash val="solid"/>
                <a:miter/>
              </a:ln>
            </p:spPr>
            <p:txBody>
              <a:bodyPr rtlCol="0" anchor="ctr"/>
              <a:lstStyle/>
              <a:p>
                <a:endParaRPr lang="en-GB"/>
              </a:p>
            </p:txBody>
          </p:sp>
        </p:grpSp>
        <p:grpSp>
          <p:nvGrpSpPr>
            <p:cNvPr id="12" name="Graphic 185">
              <a:extLst>
                <a:ext uri="{FF2B5EF4-FFF2-40B4-BE49-F238E27FC236}">
                  <a16:creationId xmlns:a16="http://schemas.microsoft.com/office/drawing/2014/main" id="{E16F9F60-82B5-4601-B467-D4B0CD7D4A64}"/>
                </a:ext>
              </a:extLst>
            </p:cNvPr>
            <p:cNvGrpSpPr/>
            <p:nvPr/>
          </p:nvGrpSpPr>
          <p:grpSpPr>
            <a:xfrm>
              <a:off x="11758981" y="1415876"/>
              <a:ext cx="209550" cy="323850"/>
              <a:chOff x="11758981" y="1415876"/>
              <a:chExt cx="209550" cy="323850"/>
            </a:xfrm>
            <a:solidFill>
              <a:srgbClr val="001965"/>
            </a:solidFill>
          </p:grpSpPr>
          <p:sp>
            <p:nvSpPr>
              <p:cNvPr id="14" name="Freeform: Shape 13">
                <a:extLst>
                  <a:ext uri="{FF2B5EF4-FFF2-40B4-BE49-F238E27FC236}">
                    <a16:creationId xmlns:a16="http://schemas.microsoft.com/office/drawing/2014/main" id="{FF4DBD82-E994-4ED9-A9E5-CA0938F32F62}"/>
                  </a:ext>
                </a:extLst>
              </p:cNvPr>
              <p:cNvSpPr/>
              <p:nvPr/>
            </p:nvSpPr>
            <p:spPr>
              <a:xfrm>
                <a:off x="11758981" y="1575420"/>
                <a:ext cx="209550" cy="161925"/>
              </a:xfrm>
              <a:custGeom>
                <a:avLst/>
                <a:gdLst>
                  <a:gd name="connsiteX0" fmla="*/ 191453 w 209550"/>
                  <a:gd name="connsiteY0" fmla="*/ 167926 h 161925"/>
                  <a:gd name="connsiteX1" fmla="*/ 172403 w 209550"/>
                  <a:gd name="connsiteY1" fmla="*/ 148876 h 161925"/>
                  <a:gd name="connsiteX2" fmla="*/ 172403 w 209550"/>
                  <a:gd name="connsiteY2" fmla="*/ 54197 h 161925"/>
                  <a:gd name="connsiteX3" fmla="*/ 132969 w 209550"/>
                  <a:gd name="connsiteY3" fmla="*/ 38100 h 161925"/>
                  <a:gd name="connsiteX4" fmla="*/ 77534 w 209550"/>
                  <a:gd name="connsiteY4" fmla="*/ 38100 h 161925"/>
                  <a:gd name="connsiteX5" fmla="*/ 38100 w 209550"/>
                  <a:gd name="connsiteY5" fmla="*/ 54197 h 161925"/>
                  <a:gd name="connsiteX6" fmla="*/ 38100 w 209550"/>
                  <a:gd name="connsiteY6" fmla="*/ 148876 h 161925"/>
                  <a:gd name="connsiteX7" fmla="*/ 19050 w 209550"/>
                  <a:gd name="connsiteY7" fmla="*/ 167926 h 161925"/>
                  <a:gd name="connsiteX8" fmla="*/ 0 w 209550"/>
                  <a:gd name="connsiteY8" fmla="*/ 148876 h 161925"/>
                  <a:gd name="connsiteX9" fmla="*/ 0 w 209550"/>
                  <a:gd name="connsiteY9" fmla="*/ 54197 h 161925"/>
                  <a:gd name="connsiteX10" fmla="*/ 77534 w 209550"/>
                  <a:gd name="connsiteY10" fmla="*/ 0 h 161925"/>
                  <a:gd name="connsiteX11" fmla="*/ 132969 w 209550"/>
                  <a:gd name="connsiteY11" fmla="*/ 0 h 161925"/>
                  <a:gd name="connsiteX12" fmla="*/ 210503 w 209550"/>
                  <a:gd name="connsiteY12" fmla="*/ 54197 h 161925"/>
                  <a:gd name="connsiteX13" fmla="*/ 210503 w 209550"/>
                  <a:gd name="connsiteY13" fmla="*/ 148876 h 161925"/>
                  <a:gd name="connsiteX14" fmla="*/ 191453 w 209550"/>
                  <a:gd name="connsiteY14" fmla="*/ 167926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550" h="161925">
                    <a:moveTo>
                      <a:pt x="191453" y="167926"/>
                    </a:moveTo>
                    <a:cubicBezTo>
                      <a:pt x="180975" y="167926"/>
                      <a:pt x="172403" y="159353"/>
                      <a:pt x="172403" y="148876"/>
                    </a:cubicBezTo>
                    <a:lnTo>
                      <a:pt x="172403" y="54197"/>
                    </a:lnTo>
                    <a:cubicBezTo>
                      <a:pt x="172403" y="50197"/>
                      <a:pt x="158401" y="38100"/>
                      <a:pt x="132969" y="38100"/>
                    </a:cubicBezTo>
                    <a:lnTo>
                      <a:pt x="77534" y="38100"/>
                    </a:lnTo>
                    <a:cubicBezTo>
                      <a:pt x="52102" y="38100"/>
                      <a:pt x="38100" y="50197"/>
                      <a:pt x="38100" y="54197"/>
                    </a:cubicBezTo>
                    <a:lnTo>
                      <a:pt x="38100" y="148876"/>
                    </a:lnTo>
                    <a:cubicBezTo>
                      <a:pt x="38100" y="159353"/>
                      <a:pt x="29528" y="167926"/>
                      <a:pt x="19050" y="167926"/>
                    </a:cubicBezTo>
                    <a:cubicBezTo>
                      <a:pt x="8573" y="167926"/>
                      <a:pt x="0" y="159353"/>
                      <a:pt x="0" y="148876"/>
                    </a:cubicBezTo>
                    <a:lnTo>
                      <a:pt x="0" y="54197"/>
                    </a:lnTo>
                    <a:cubicBezTo>
                      <a:pt x="0" y="23813"/>
                      <a:pt x="34004" y="0"/>
                      <a:pt x="77534" y="0"/>
                    </a:cubicBezTo>
                    <a:lnTo>
                      <a:pt x="132969" y="0"/>
                    </a:lnTo>
                    <a:cubicBezTo>
                      <a:pt x="176403" y="0"/>
                      <a:pt x="210503" y="23813"/>
                      <a:pt x="210503" y="54197"/>
                    </a:cubicBezTo>
                    <a:lnTo>
                      <a:pt x="210503" y="148876"/>
                    </a:lnTo>
                    <a:cubicBezTo>
                      <a:pt x="210503" y="159353"/>
                      <a:pt x="201930" y="167926"/>
                      <a:pt x="191453" y="167926"/>
                    </a:cubicBezTo>
                    <a:close/>
                  </a:path>
                </a:pathLst>
              </a:custGeom>
              <a:solidFill>
                <a:srgbClr val="001965"/>
              </a:solid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15416D14-DDD9-4AB9-8D29-0C7528D7D56F}"/>
                  </a:ext>
                </a:extLst>
              </p:cNvPr>
              <p:cNvSpPr/>
              <p:nvPr/>
            </p:nvSpPr>
            <p:spPr>
              <a:xfrm>
                <a:off x="11796795" y="1415876"/>
                <a:ext cx="133350" cy="133350"/>
              </a:xfrm>
              <a:custGeom>
                <a:avLst/>
                <a:gdLst>
                  <a:gd name="connsiteX0" fmla="*/ 68771 w 133350"/>
                  <a:gd name="connsiteY0" fmla="*/ 137446 h 133350"/>
                  <a:gd name="connsiteX1" fmla="*/ 0 w 133350"/>
                  <a:gd name="connsiteY1" fmla="*/ 68675 h 133350"/>
                  <a:gd name="connsiteX2" fmla="*/ 68771 w 133350"/>
                  <a:gd name="connsiteY2" fmla="*/ 0 h 133350"/>
                  <a:gd name="connsiteX3" fmla="*/ 137541 w 133350"/>
                  <a:gd name="connsiteY3" fmla="*/ 68771 h 133350"/>
                  <a:gd name="connsiteX4" fmla="*/ 68771 w 133350"/>
                  <a:gd name="connsiteY4" fmla="*/ 137446 h 133350"/>
                  <a:gd name="connsiteX5" fmla="*/ 68771 w 133350"/>
                  <a:gd name="connsiteY5" fmla="*/ 38100 h 133350"/>
                  <a:gd name="connsiteX6" fmla="*/ 38100 w 133350"/>
                  <a:gd name="connsiteY6" fmla="*/ 68771 h 133350"/>
                  <a:gd name="connsiteX7" fmla="*/ 68771 w 133350"/>
                  <a:gd name="connsiteY7" fmla="*/ 99441 h 133350"/>
                  <a:gd name="connsiteX8" fmla="*/ 99441 w 133350"/>
                  <a:gd name="connsiteY8" fmla="*/ 68771 h 133350"/>
                  <a:gd name="connsiteX9" fmla="*/ 68771 w 133350"/>
                  <a:gd name="connsiteY9" fmla="*/ 381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3350">
                    <a:moveTo>
                      <a:pt x="68771" y="137446"/>
                    </a:moveTo>
                    <a:cubicBezTo>
                      <a:pt x="30861" y="137446"/>
                      <a:pt x="0" y="106585"/>
                      <a:pt x="0" y="68675"/>
                    </a:cubicBezTo>
                    <a:cubicBezTo>
                      <a:pt x="0" y="30766"/>
                      <a:pt x="30861" y="0"/>
                      <a:pt x="68771" y="0"/>
                    </a:cubicBezTo>
                    <a:cubicBezTo>
                      <a:pt x="106680" y="0"/>
                      <a:pt x="137541" y="30861"/>
                      <a:pt x="137541" y="68771"/>
                    </a:cubicBezTo>
                    <a:cubicBezTo>
                      <a:pt x="137541" y="106680"/>
                      <a:pt x="106680" y="137446"/>
                      <a:pt x="68771" y="137446"/>
                    </a:cubicBezTo>
                    <a:close/>
                    <a:moveTo>
                      <a:pt x="68771" y="38100"/>
                    </a:moveTo>
                    <a:cubicBezTo>
                      <a:pt x="51911" y="38100"/>
                      <a:pt x="38100" y="51816"/>
                      <a:pt x="38100" y="68771"/>
                    </a:cubicBezTo>
                    <a:cubicBezTo>
                      <a:pt x="38100" y="85725"/>
                      <a:pt x="51816" y="99441"/>
                      <a:pt x="68771" y="99441"/>
                    </a:cubicBezTo>
                    <a:cubicBezTo>
                      <a:pt x="85725" y="99441"/>
                      <a:pt x="99441" y="85725"/>
                      <a:pt x="99441" y="68771"/>
                    </a:cubicBezTo>
                    <a:cubicBezTo>
                      <a:pt x="99441" y="51816"/>
                      <a:pt x="85725" y="38100"/>
                      <a:pt x="68771" y="38100"/>
                    </a:cubicBezTo>
                    <a:close/>
                  </a:path>
                </a:pathLst>
              </a:custGeom>
              <a:solidFill>
                <a:srgbClr val="001965"/>
              </a:solidFill>
              <a:ln w="9525" cap="flat">
                <a:noFill/>
                <a:prstDash val="solid"/>
                <a:miter/>
              </a:ln>
            </p:spPr>
            <p:txBody>
              <a:bodyPr rtlCol="0" anchor="ctr"/>
              <a:lstStyle/>
              <a:p>
                <a:endParaRPr lang="en-GB"/>
              </a:p>
            </p:txBody>
          </p:sp>
        </p:grpSp>
        <p:grpSp>
          <p:nvGrpSpPr>
            <p:cNvPr id="16" name="Graphic 185">
              <a:extLst>
                <a:ext uri="{FF2B5EF4-FFF2-40B4-BE49-F238E27FC236}">
                  <a16:creationId xmlns:a16="http://schemas.microsoft.com/office/drawing/2014/main" id="{E16F9F60-82B5-4601-B467-D4B0CD7D4A64}"/>
                </a:ext>
              </a:extLst>
            </p:cNvPr>
            <p:cNvGrpSpPr/>
            <p:nvPr/>
          </p:nvGrpSpPr>
          <p:grpSpPr>
            <a:xfrm>
              <a:off x="11947483" y="1163637"/>
              <a:ext cx="381000" cy="381000"/>
              <a:chOff x="11947483" y="1163637"/>
              <a:chExt cx="381000" cy="381000"/>
            </a:xfrm>
            <a:solidFill>
              <a:srgbClr val="001965"/>
            </a:solidFill>
          </p:grpSpPr>
          <p:sp>
            <p:nvSpPr>
              <p:cNvPr id="19" name="Freeform: Shape 18">
                <a:extLst>
                  <a:ext uri="{FF2B5EF4-FFF2-40B4-BE49-F238E27FC236}">
                    <a16:creationId xmlns:a16="http://schemas.microsoft.com/office/drawing/2014/main" id="{FF402FD9-D316-45E3-AAF6-3EDDA3270A97}"/>
                  </a:ext>
                </a:extLst>
              </p:cNvPr>
              <p:cNvSpPr/>
              <p:nvPr/>
            </p:nvSpPr>
            <p:spPr>
              <a:xfrm>
                <a:off x="11947483" y="1163637"/>
                <a:ext cx="381000" cy="381000"/>
              </a:xfrm>
              <a:custGeom>
                <a:avLst/>
                <a:gdLst>
                  <a:gd name="connsiteX0" fmla="*/ 192974 w 381000"/>
                  <a:gd name="connsiteY0" fmla="*/ 386541 h 381000"/>
                  <a:gd name="connsiteX1" fmla="*/ 30097 w 381000"/>
                  <a:gd name="connsiteY1" fmla="*/ 386541 h 381000"/>
                  <a:gd name="connsiteX2" fmla="*/ 7141 w 381000"/>
                  <a:gd name="connsiteY2" fmla="*/ 370825 h 381000"/>
                  <a:gd name="connsiteX3" fmla="*/ 13428 w 381000"/>
                  <a:gd name="connsiteY3" fmla="*/ 343679 h 381000"/>
                  <a:gd name="connsiteX4" fmla="*/ 43908 w 381000"/>
                  <a:gd name="connsiteY4" fmla="*/ 315675 h 381000"/>
                  <a:gd name="connsiteX5" fmla="*/ 379 w 381000"/>
                  <a:gd name="connsiteY5" fmla="*/ 180992 h 381000"/>
                  <a:gd name="connsiteX6" fmla="*/ 179353 w 381000"/>
                  <a:gd name="connsiteY6" fmla="*/ 493 h 381000"/>
                  <a:gd name="connsiteX7" fmla="*/ 324705 w 381000"/>
                  <a:gd name="connsiteY7" fmla="*/ 51928 h 381000"/>
                  <a:gd name="connsiteX8" fmla="*/ 385951 w 381000"/>
                  <a:gd name="connsiteY8" fmla="*/ 193088 h 381000"/>
                  <a:gd name="connsiteX9" fmla="*/ 202785 w 381000"/>
                  <a:gd name="connsiteY9" fmla="*/ 385874 h 381000"/>
                  <a:gd name="connsiteX10" fmla="*/ 202594 w 381000"/>
                  <a:gd name="connsiteY10" fmla="*/ 386160 h 381000"/>
                  <a:gd name="connsiteX11" fmla="*/ 192974 w 381000"/>
                  <a:gd name="connsiteY11" fmla="*/ 386541 h 381000"/>
                  <a:gd name="connsiteX12" fmla="*/ 64577 w 381000"/>
                  <a:gd name="connsiteY12" fmla="*/ 348441 h 381000"/>
                  <a:gd name="connsiteX13" fmla="*/ 193260 w 381000"/>
                  <a:gd name="connsiteY13" fmla="*/ 348060 h 381000"/>
                  <a:gd name="connsiteX14" fmla="*/ 347851 w 381000"/>
                  <a:gd name="connsiteY14" fmla="*/ 193088 h 381000"/>
                  <a:gd name="connsiteX15" fmla="*/ 298606 w 381000"/>
                  <a:gd name="connsiteY15" fmla="*/ 79836 h 381000"/>
                  <a:gd name="connsiteX16" fmla="*/ 181925 w 381000"/>
                  <a:gd name="connsiteY16" fmla="*/ 38593 h 381000"/>
                  <a:gd name="connsiteX17" fmla="*/ 38288 w 381000"/>
                  <a:gd name="connsiteY17" fmla="*/ 183373 h 381000"/>
                  <a:gd name="connsiteX18" fmla="*/ 80484 w 381000"/>
                  <a:gd name="connsiteY18" fmla="*/ 299673 h 381000"/>
                  <a:gd name="connsiteX19" fmla="*/ 87247 w 381000"/>
                  <a:gd name="connsiteY19" fmla="*/ 317580 h 381000"/>
                  <a:gd name="connsiteX20" fmla="*/ 79341 w 381000"/>
                  <a:gd name="connsiteY20" fmla="*/ 334820 h 381000"/>
                  <a:gd name="connsiteX21" fmla="*/ 64577 w 381000"/>
                  <a:gd name="connsiteY21" fmla="*/ 348441 h 381000"/>
                  <a:gd name="connsiteX22" fmla="*/ 52861 w 381000"/>
                  <a:gd name="connsiteY22" fmla="*/ 325867 h 381000"/>
                  <a:gd name="connsiteX23" fmla="*/ 52861 w 381000"/>
                  <a:gd name="connsiteY23" fmla="*/ 325867 h 381000"/>
                  <a:gd name="connsiteX24" fmla="*/ 52861 w 381000"/>
                  <a:gd name="connsiteY24" fmla="*/ 3258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1000" h="381000">
                    <a:moveTo>
                      <a:pt x="192974" y="386541"/>
                    </a:moveTo>
                    <a:lnTo>
                      <a:pt x="30097" y="386541"/>
                    </a:lnTo>
                    <a:cubicBezTo>
                      <a:pt x="19810" y="386541"/>
                      <a:pt x="10856" y="380350"/>
                      <a:pt x="7141" y="370825"/>
                    </a:cubicBezTo>
                    <a:cubicBezTo>
                      <a:pt x="3427" y="361300"/>
                      <a:pt x="5903" y="350632"/>
                      <a:pt x="13428" y="343679"/>
                    </a:cubicBezTo>
                    <a:lnTo>
                      <a:pt x="43908" y="315675"/>
                    </a:lnTo>
                    <a:cubicBezTo>
                      <a:pt x="12761" y="277956"/>
                      <a:pt x="-2669" y="230617"/>
                      <a:pt x="379" y="180992"/>
                    </a:cubicBezTo>
                    <a:cubicBezTo>
                      <a:pt x="6284" y="84694"/>
                      <a:pt x="83246" y="7160"/>
                      <a:pt x="179353" y="493"/>
                    </a:cubicBezTo>
                    <a:cubicBezTo>
                      <a:pt x="233646" y="-3317"/>
                      <a:pt x="285176" y="15066"/>
                      <a:pt x="324705" y="51928"/>
                    </a:cubicBezTo>
                    <a:cubicBezTo>
                      <a:pt x="363662" y="88409"/>
                      <a:pt x="385951" y="139844"/>
                      <a:pt x="385951" y="193088"/>
                    </a:cubicBezTo>
                    <a:cubicBezTo>
                      <a:pt x="385951" y="296149"/>
                      <a:pt x="304607" y="380731"/>
                      <a:pt x="202785" y="385874"/>
                    </a:cubicBezTo>
                    <a:lnTo>
                      <a:pt x="202594" y="386160"/>
                    </a:lnTo>
                    <a:lnTo>
                      <a:pt x="192974" y="386541"/>
                    </a:lnTo>
                    <a:close/>
                    <a:moveTo>
                      <a:pt x="64577" y="348441"/>
                    </a:moveTo>
                    <a:lnTo>
                      <a:pt x="193260" y="348060"/>
                    </a:lnTo>
                    <a:cubicBezTo>
                      <a:pt x="278509" y="347870"/>
                      <a:pt x="347851" y="278337"/>
                      <a:pt x="347851" y="193088"/>
                    </a:cubicBezTo>
                    <a:cubicBezTo>
                      <a:pt x="347851" y="149654"/>
                      <a:pt x="330420" y="109459"/>
                      <a:pt x="298606" y="79836"/>
                    </a:cubicBezTo>
                    <a:cubicBezTo>
                      <a:pt x="266888" y="50213"/>
                      <a:pt x="225359" y="35545"/>
                      <a:pt x="181925" y="38593"/>
                    </a:cubicBezTo>
                    <a:cubicBezTo>
                      <a:pt x="104773" y="43927"/>
                      <a:pt x="43051" y="106125"/>
                      <a:pt x="38288" y="183373"/>
                    </a:cubicBezTo>
                    <a:cubicBezTo>
                      <a:pt x="35621" y="226902"/>
                      <a:pt x="50575" y="268145"/>
                      <a:pt x="80484" y="299673"/>
                    </a:cubicBezTo>
                    <a:cubicBezTo>
                      <a:pt x="85056" y="304436"/>
                      <a:pt x="87532" y="311008"/>
                      <a:pt x="87247" y="317580"/>
                    </a:cubicBezTo>
                    <a:cubicBezTo>
                      <a:pt x="87056" y="324248"/>
                      <a:pt x="84199" y="330344"/>
                      <a:pt x="79341" y="334820"/>
                    </a:cubicBezTo>
                    <a:lnTo>
                      <a:pt x="64577" y="348441"/>
                    </a:lnTo>
                    <a:close/>
                    <a:moveTo>
                      <a:pt x="52861" y="325867"/>
                    </a:moveTo>
                    <a:cubicBezTo>
                      <a:pt x="52861" y="325867"/>
                      <a:pt x="52861" y="325867"/>
                      <a:pt x="52861" y="325867"/>
                    </a:cubicBezTo>
                    <a:cubicBezTo>
                      <a:pt x="52861" y="325867"/>
                      <a:pt x="52861" y="325867"/>
                      <a:pt x="52861" y="325867"/>
                    </a:cubicBezTo>
                    <a:close/>
                  </a:path>
                </a:pathLst>
              </a:custGeom>
              <a:solidFill>
                <a:srgbClr val="001965"/>
              </a:solidFill>
              <a:ln w="9525"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31BE2485-3B86-43BE-B44C-1F952B102630}"/>
                  </a:ext>
                </a:extLst>
              </p:cNvPr>
              <p:cNvSpPr/>
              <p:nvPr/>
            </p:nvSpPr>
            <p:spPr>
              <a:xfrm>
                <a:off x="12062353" y="1274620"/>
                <a:ext cx="152400" cy="38100"/>
              </a:xfrm>
              <a:custGeom>
                <a:avLst/>
                <a:gdLst>
                  <a:gd name="connsiteX0" fmla="*/ 137160 w 152400"/>
                  <a:gd name="connsiteY0" fmla="*/ 38100 h 38100"/>
                  <a:gd name="connsiteX1" fmla="*/ 19050 w 152400"/>
                  <a:gd name="connsiteY1" fmla="*/ 38100 h 38100"/>
                  <a:gd name="connsiteX2" fmla="*/ 0 w 152400"/>
                  <a:gd name="connsiteY2" fmla="*/ 19050 h 38100"/>
                  <a:gd name="connsiteX3" fmla="*/ 19050 w 152400"/>
                  <a:gd name="connsiteY3" fmla="*/ 0 h 38100"/>
                  <a:gd name="connsiteX4" fmla="*/ 137255 w 152400"/>
                  <a:gd name="connsiteY4" fmla="*/ 0 h 38100"/>
                  <a:gd name="connsiteX5" fmla="*/ 156305 w 152400"/>
                  <a:gd name="connsiteY5" fmla="*/ 19050 h 38100"/>
                  <a:gd name="connsiteX6" fmla="*/ 137160 w 152400"/>
                  <a:gd name="connsiteY6"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38100">
                    <a:moveTo>
                      <a:pt x="137160" y="38100"/>
                    </a:moveTo>
                    <a:lnTo>
                      <a:pt x="19050" y="38100"/>
                    </a:lnTo>
                    <a:cubicBezTo>
                      <a:pt x="8573" y="38100"/>
                      <a:pt x="0" y="29528"/>
                      <a:pt x="0" y="19050"/>
                    </a:cubicBezTo>
                    <a:cubicBezTo>
                      <a:pt x="0" y="8572"/>
                      <a:pt x="8573" y="0"/>
                      <a:pt x="19050" y="0"/>
                    </a:cubicBezTo>
                    <a:lnTo>
                      <a:pt x="137255" y="0"/>
                    </a:lnTo>
                    <a:cubicBezTo>
                      <a:pt x="147733" y="0"/>
                      <a:pt x="156305" y="8572"/>
                      <a:pt x="156305" y="19050"/>
                    </a:cubicBezTo>
                    <a:cubicBezTo>
                      <a:pt x="156305" y="29528"/>
                      <a:pt x="147733" y="38100"/>
                      <a:pt x="137160" y="38100"/>
                    </a:cubicBezTo>
                    <a:close/>
                  </a:path>
                </a:pathLst>
              </a:custGeom>
              <a:solidFill>
                <a:srgbClr val="001965"/>
              </a:solidFill>
              <a:ln w="9525"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5F4A347D-2BF7-4308-BD71-51559F050123}"/>
                  </a:ext>
                </a:extLst>
              </p:cNvPr>
              <p:cNvSpPr/>
              <p:nvPr/>
            </p:nvSpPr>
            <p:spPr>
              <a:xfrm>
                <a:off x="12062353" y="1337581"/>
                <a:ext cx="152400" cy="38100"/>
              </a:xfrm>
              <a:custGeom>
                <a:avLst/>
                <a:gdLst>
                  <a:gd name="connsiteX0" fmla="*/ 137160 w 152400"/>
                  <a:gd name="connsiteY0" fmla="*/ 38100 h 38100"/>
                  <a:gd name="connsiteX1" fmla="*/ 19050 w 152400"/>
                  <a:gd name="connsiteY1" fmla="*/ 38100 h 38100"/>
                  <a:gd name="connsiteX2" fmla="*/ 0 w 152400"/>
                  <a:gd name="connsiteY2" fmla="*/ 19050 h 38100"/>
                  <a:gd name="connsiteX3" fmla="*/ 19050 w 152400"/>
                  <a:gd name="connsiteY3" fmla="*/ 0 h 38100"/>
                  <a:gd name="connsiteX4" fmla="*/ 137255 w 152400"/>
                  <a:gd name="connsiteY4" fmla="*/ 0 h 38100"/>
                  <a:gd name="connsiteX5" fmla="*/ 156305 w 152400"/>
                  <a:gd name="connsiteY5" fmla="*/ 19050 h 38100"/>
                  <a:gd name="connsiteX6" fmla="*/ 137160 w 152400"/>
                  <a:gd name="connsiteY6"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38100">
                    <a:moveTo>
                      <a:pt x="137160" y="38100"/>
                    </a:moveTo>
                    <a:lnTo>
                      <a:pt x="19050" y="38100"/>
                    </a:lnTo>
                    <a:cubicBezTo>
                      <a:pt x="8573" y="38100"/>
                      <a:pt x="0" y="29527"/>
                      <a:pt x="0" y="19050"/>
                    </a:cubicBezTo>
                    <a:cubicBezTo>
                      <a:pt x="0" y="8572"/>
                      <a:pt x="8573" y="0"/>
                      <a:pt x="19050" y="0"/>
                    </a:cubicBezTo>
                    <a:lnTo>
                      <a:pt x="137255" y="0"/>
                    </a:lnTo>
                    <a:cubicBezTo>
                      <a:pt x="147733" y="0"/>
                      <a:pt x="156305" y="8572"/>
                      <a:pt x="156305" y="19050"/>
                    </a:cubicBezTo>
                    <a:cubicBezTo>
                      <a:pt x="156305" y="29527"/>
                      <a:pt x="147733" y="38100"/>
                      <a:pt x="137160" y="38100"/>
                    </a:cubicBezTo>
                    <a:close/>
                  </a:path>
                </a:pathLst>
              </a:custGeom>
              <a:solidFill>
                <a:srgbClr val="001965"/>
              </a:solidFill>
              <a:ln w="9525" cap="flat">
                <a:noFill/>
                <a:prstDash val="solid"/>
                <a:miter/>
              </a:ln>
            </p:spPr>
            <p:txBody>
              <a:bodyPr rtlCol="0" anchor="ctr"/>
              <a:lstStyle/>
              <a:p>
                <a:endParaRPr lang="en-GB"/>
              </a:p>
            </p:txBody>
          </p:sp>
          <p:sp>
            <p:nvSpPr>
              <p:cNvPr id="187" name="Freeform: Shape 186">
                <a:extLst>
                  <a:ext uri="{FF2B5EF4-FFF2-40B4-BE49-F238E27FC236}">
                    <a16:creationId xmlns:a16="http://schemas.microsoft.com/office/drawing/2014/main" id="{0DA99755-25B5-41BF-8E56-66DCCB098439}"/>
                  </a:ext>
                </a:extLst>
              </p:cNvPr>
              <p:cNvSpPr/>
              <p:nvPr/>
            </p:nvSpPr>
            <p:spPr>
              <a:xfrm>
                <a:off x="12062353" y="1400636"/>
                <a:ext cx="152400" cy="38100"/>
              </a:xfrm>
              <a:custGeom>
                <a:avLst/>
                <a:gdLst>
                  <a:gd name="connsiteX0" fmla="*/ 137160 w 152400"/>
                  <a:gd name="connsiteY0" fmla="*/ 38100 h 38100"/>
                  <a:gd name="connsiteX1" fmla="*/ 19050 w 152400"/>
                  <a:gd name="connsiteY1" fmla="*/ 38100 h 38100"/>
                  <a:gd name="connsiteX2" fmla="*/ 0 w 152400"/>
                  <a:gd name="connsiteY2" fmla="*/ 19050 h 38100"/>
                  <a:gd name="connsiteX3" fmla="*/ 19050 w 152400"/>
                  <a:gd name="connsiteY3" fmla="*/ 0 h 38100"/>
                  <a:gd name="connsiteX4" fmla="*/ 137255 w 152400"/>
                  <a:gd name="connsiteY4" fmla="*/ 0 h 38100"/>
                  <a:gd name="connsiteX5" fmla="*/ 156305 w 152400"/>
                  <a:gd name="connsiteY5" fmla="*/ 19050 h 38100"/>
                  <a:gd name="connsiteX6" fmla="*/ 137160 w 152400"/>
                  <a:gd name="connsiteY6"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38100">
                    <a:moveTo>
                      <a:pt x="137160" y="38100"/>
                    </a:moveTo>
                    <a:lnTo>
                      <a:pt x="19050" y="38100"/>
                    </a:lnTo>
                    <a:cubicBezTo>
                      <a:pt x="8573" y="38100"/>
                      <a:pt x="0" y="29527"/>
                      <a:pt x="0" y="19050"/>
                    </a:cubicBezTo>
                    <a:cubicBezTo>
                      <a:pt x="0" y="8572"/>
                      <a:pt x="8573" y="0"/>
                      <a:pt x="19050" y="0"/>
                    </a:cubicBezTo>
                    <a:lnTo>
                      <a:pt x="137255" y="0"/>
                    </a:lnTo>
                    <a:cubicBezTo>
                      <a:pt x="147733" y="0"/>
                      <a:pt x="156305" y="8572"/>
                      <a:pt x="156305" y="19050"/>
                    </a:cubicBezTo>
                    <a:cubicBezTo>
                      <a:pt x="156305" y="29527"/>
                      <a:pt x="147733" y="38100"/>
                      <a:pt x="137160" y="38100"/>
                    </a:cubicBezTo>
                    <a:close/>
                  </a:path>
                </a:pathLst>
              </a:custGeom>
              <a:solidFill>
                <a:srgbClr val="001965"/>
              </a:solidFill>
              <a:ln w="9525" cap="flat">
                <a:noFill/>
                <a:prstDash val="solid"/>
                <a:miter/>
              </a:ln>
            </p:spPr>
            <p:txBody>
              <a:bodyPr rtlCol="0" anchor="ctr"/>
              <a:lstStyle/>
              <a:p>
                <a:endParaRPr lang="en-GB"/>
              </a:p>
            </p:txBody>
          </p:sp>
        </p:grpSp>
      </p:grpSp>
      <p:sp>
        <p:nvSpPr>
          <p:cNvPr id="188" name="Footer Placeholder 187">
            <a:extLst>
              <a:ext uri="{FF2B5EF4-FFF2-40B4-BE49-F238E27FC236}">
                <a16:creationId xmlns:a16="http://schemas.microsoft.com/office/drawing/2014/main" id="{0E86FAA0-AE12-4362-ADCB-E1D72046767E}"/>
              </a:ext>
            </a:extLst>
          </p:cNvPr>
          <p:cNvSpPr>
            <a:spLocks noGrp="1"/>
          </p:cNvSpPr>
          <p:nvPr>
            <p:ph type="ftr" sz="quarter" idx="11"/>
          </p:nvPr>
        </p:nvSpPr>
        <p:spPr/>
        <p:txBody>
          <a:bodyPr/>
          <a:lstStyle/>
          <a:p>
            <a:r>
              <a:rPr lang="en-GB"/>
              <a:t>Graduate Programme Introduction</a:t>
            </a:r>
            <a:endParaRPr lang="en-GB" dirty="0"/>
          </a:p>
        </p:txBody>
      </p:sp>
      <p:sp>
        <p:nvSpPr>
          <p:cNvPr id="189" name="Slide Number Placeholder 188">
            <a:extLst>
              <a:ext uri="{FF2B5EF4-FFF2-40B4-BE49-F238E27FC236}">
                <a16:creationId xmlns:a16="http://schemas.microsoft.com/office/drawing/2014/main" id="{8C2AD097-9AB0-442D-82DF-67610D98FAC2}"/>
              </a:ext>
            </a:extLst>
          </p:cNvPr>
          <p:cNvSpPr>
            <a:spLocks noGrp="1"/>
          </p:cNvSpPr>
          <p:nvPr>
            <p:ph type="sldNum" sz="quarter" idx="12"/>
          </p:nvPr>
        </p:nvSpPr>
        <p:spPr/>
        <p:txBody>
          <a:bodyPr/>
          <a:lstStyle/>
          <a:p>
            <a:fld id="{23AA811B-2EBD-4900-905E-5BE206449611}" type="slidenum">
              <a:rPr lang="en-GB" smtClean="0"/>
              <a:t>26</a:t>
            </a:fld>
            <a:endParaRPr lang="en-GB" dirty="0"/>
          </a:p>
        </p:txBody>
      </p:sp>
    </p:spTree>
    <p:extLst>
      <p:ext uri="{BB962C8B-B14F-4D97-AF65-F5344CB8AC3E}">
        <p14:creationId xmlns:p14="http://schemas.microsoft.com/office/powerpoint/2010/main" val="17403395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79205" name="think-cell Slide" r:id="rId6" imgW="270" imgH="270" progId="TCLayout.ActiveDocument.1">
                  <p:embed/>
                </p:oleObj>
              </mc:Choice>
              <mc:Fallback>
                <p:oleObj name="think-cell Slide" r:id="rId6" imgW="270" imgH="270" progId="TCLayout.ActiveDocument.1">
                  <p:embed/>
                  <p:pic>
                    <p:nvPicPr>
                      <p:cNvPr id="14" name="Object 13" hidden="1"/>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5E4DB79-F42F-4D3E-94C7-CF7E9D2513A5}"/>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noProof="0" dirty="0" err="1">
              <a:latin typeface="Apis For Office" panose="020B0504010101010104" pitchFamily="34" charset="0"/>
              <a:ea typeface="+mj-ea"/>
              <a:cs typeface="+mj-cs"/>
              <a:sym typeface="Apis For Office" panose="020B0504010101010104" pitchFamily="34" charset="0"/>
            </a:endParaRPr>
          </a:p>
        </p:txBody>
      </p:sp>
      <p:sp>
        <p:nvSpPr>
          <p:cNvPr id="3" name="Title 2"/>
          <p:cNvSpPr>
            <a:spLocks noGrp="1"/>
          </p:cNvSpPr>
          <p:nvPr>
            <p:ph type="title"/>
          </p:nvPr>
        </p:nvSpPr>
        <p:spPr/>
        <p:txBody>
          <a:bodyPr/>
          <a:lstStyle/>
          <a:p>
            <a:r>
              <a:rPr lang="en-GB" sz="3600" dirty="0">
                <a:solidFill>
                  <a:srgbClr val="002060"/>
                </a:solidFill>
              </a:rPr>
              <a:t>Graduate programme job opportunities 2021</a:t>
            </a:r>
            <a:endParaRPr lang="en-GB" sz="3600" dirty="0">
              <a:solidFill>
                <a:srgbClr val="009FDA"/>
              </a:solidFill>
            </a:endParaRPr>
          </a:p>
        </p:txBody>
      </p:sp>
      <p:grpSp>
        <p:nvGrpSpPr>
          <p:cNvPr id="219156" name="Group 219155"/>
          <p:cNvGrpSpPr/>
          <p:nvPr/>
        </p:nvGrpSpPr>
        <p:grpSpPr>
          <a:xfrm>
            <a:off x="-3599" y="1950068"/>
            <a:ext cx="12195599" cy="3748785"/>
            <a:chOff x="-2699" y="1298244"/>
            <a:chExt cx="9146699" cy="2811589"/>
          </a:xfrm>
        </p:grpSpPr>
        <p:sp>
          <p:nvSpPr>
            <p:cNvPr id="13" name="Parallelogram 6"/>
            <p:cNvSpPr/>
            <p:nvPr/>
          </p:nvSpPr>
          <p:spPr>
            <a:xfrm>
              <a:off x="5671790" y="1298245"/>
              <a:ext cx="3472210" cy="2811587"/>
            </a:xfrm>
            <a:prstGeom prst="rect">
              <a:avLst/>
            </a:prstGeom>
            <a:solidFill>
              <a:srgbClr val="EBE8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7" name="Parallelogram 6"/>
            <p:cNvSpPr/>
            <p:nvPr/>
          </p:nvSpPr>
          <p:spPr>
            <a:xfrm>
              <a:off x="-2699" y="1298244"/>
              <a:ext cx="3412596" cy="2811587"/>
            </a:xfrm>
            <a:prstGeom prst="rect">
              <a:avLst/>
            </a:prstGeom>
            <a:solidFill>
              <a:srgbClr val="B1D5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8" name="Parallelogram 7"/>
            <p:cNvSpPr/>
            <p:nvPr/>
          </p:nvSpPr>
          <p:spPr>
            <a:xfrm>
              <a:off x="2539862" y="1298245"/>
              <a:ext cx="3780619" cy="2811588"/>
            </a:xfrm>
            <a:prstGeom prst="parallelogram">
              <a:avLst>
                <a:gd name="adj" fmla="val 17002"/>
              </a:avLst>
            </a:prstGeom>
            <a:solidFill>
              <a:srgbClr val="D4E9E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grpSp>
      <p:sp>
        <p:nvSpPr>
          <p:cNvPr id="67" name="TextBox 66">
            <a:extLst>
              <a:ext uri="{FF2B5EF4-FFF2-40B4-BE49-F238E27FC236}">
                <a16:creationId xmlns:a16="http://schemas.microsoft.com/office/drawing/2014/main" id="{9ED566AF-6FE4-4816-A1BE-69CE93424F40}"/>
              </a:ext>
            </a:extLst>
          </p:cNvPr>
          <p:cNvSpPr txBox="1"/>
          <p:nvPr/>
        </p:nvSpPr>
        <p:spPr>
          <a:xfrm>
            <a:off x="857986" y="2145482"/>
            <a:ext cx="208669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01965"/>
                </a:solidFill>
                <a:effectLst/>
                <a:uLnTx/>
                <a:uFillTx/>
                <a:latin typeface="+mj-lt"/>
                <a:ea typeface="+mn-ea"/>
                <a:cs typeface="+mn-cs"/>
              </a:rPr>
              <a:t>Research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01965"/>
                </a:solidFill>
                <a:effectLst/>
                <a:uLnTx/>
                <a:uFillTx/>
                <a:latin typeface="+mj-lt"/>
                <a:ea typeface="+mn-ea"/>
                <a:cs typeface="+mn-cs"/>
              </a:rPr>
              <a:t>Development</a:t>
            </a:r>
          </a:p>
        </p:txBody>
      </p:sp>
      <p:sp>
        <p:nvSpPr>
          <p:cNvPr id="68" name="TextBox 67">
            <a:extLst>
              <a:ext uri="{FF2B5EF4-FFF2-40B4-BE49-F238E27FC236}">
                <a16:creationId xmlns:a16="http://schemas.microsoft.com/office/drawing/2014/main" id="{2F505803-7C8D-485C-AC82-47BBC0D912ED}"/>
              </a:ext>
            </a:extLst>
          </p:cNvPr>
          <p:cNvSpPr txBox="1"/>
          <p:nvPr/>
        </p:nvSpPr>
        <p:spPr>
          <a:xfrm>
            <a:off x="9380028" y="2145482"/>
            <a:ext cx="203372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01965"/>
                </a:solidFill>
                <a:effectLst/>
                <a:uLnTx/>
                <a:uFillTx/>
                <a:latin typeface="+mj-lt"/>
                <a:ea typeface="+mn-ea"/>
                <a:cs typeface="+mn-cs"/>
              </a:rPr>
              <a:t>Finance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01965"/>
                </a:solidFill>
                <a:effectLst/>
                <a:uLnTx/>
                <a:uFillTx/>
                <a:latin typeface="+mj-lt"/>
                <a:ea typeface="+mn-ea"/>
                <a:cs typeface="+mn-cs"/>
              </a:rPr>
              <a:t>Procurement</a:t>
            </a:r>
          </a:p>
        </p:txBody>
      </p:sp>
      <p:sp>
        <p:nvSpPr>
          <p:cNvPr id="69" name="TextBox 68">
            <a:extLst>
              <a:ext uri="{FF2B5EF4-FFF2-40B4-BE49-F238E27FC236}">
                <a16:creationId xmlns:a16="http://schemas.microsoft.com/office/drawing/2014/main" id="{D08CCF78-369E-400F-86E7-78537178A5D6}"/>
              </a:ext>
            </a:extLst>
          </p:cNvPr>
          <p:cNvSpPr txBox="1"/>
          <p:nvPr/>
        </p:nvSpPr>
        <p:spPr>
          <a:xfrm>
            <a:off x="4852656" y="2145482"/>
            <a:ext cx="269688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01965"/>
                </a:solidFill>
                <a:effectLst/>
                <a:uLnTx/>
                <a:uFillTx/>
                <a:latin typeface="+mj-lt"/>
                <a:ea typeface="+mn-ea"/>
                <a:cs typeface="+mn-cs"/>
              </a:rPr>
              <a:t>Business, Marke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01965"/>
                </a:solidFill>
                <a:effectLst/>
                <a:uLnTx/>
                <a:uFillTx/>
                <a:latin typeface="+mj-lt"/>
                <a:ea typeface="+mn-ea"/>
                <a:cs typeface="+mn-cs"/>
              </a:rPr>
              <a:t>HR &amp; Market Access</a:t>
            </a:r>
          </a:p>
        </p:txBody>
      </p:sp>
      <p:sp>
        <p:nvSpPr>
          <p:cNvPr id="70" name="TextBox 69">
            <a:extLst>
              <a:ext uri="{FF2B5EF4-FFF2-40B4-BE49-F238E27FC236}">
                <a16:creationId xmlns:a16="http://schemas.microsoft.com/office/drawing/2014/main" id="{EE09999C-59AB-4220-9BC0-EF27388394B5}"/>
              </a:ext>
            </a:extLst>
          </p:cNvPr>
          <p:cNvSpPr txBox="1"/>
          <p:nvPr/>
        </p:nvSpPr>
        <p:spPr>
          <a:xfrm>
            <a:off x="366958" y="2918474"/>
            <a:ext cx="3426998" cy="339773"/>
          </a:xfrm>
          <a:prstGeom prst="rect">
            <a:avLst/>
          </a:prstGeom>
          <a:noFill/>
        </p:spPr>
        <p:txBody>
          <a:bodyPr wrap="square" rtlCol="0">
            <a:spAutoFit/>
          </a:bodyPr>
          <a:lstStyle/>
          <a:p>
            <a:pPr lvl="0">
              <a:lnSpc>
                <a:spcPct val="150000"/>
              </a:lnSpc>
              <a:defRPr/>
            </a:pPr>
            <a:r>
              <a:rPr lang="en-GB" sz="1200" dirty="0">
                <a:solidFill>
                  <a:srgbClr val="001965"/>
                </a:solidFill>
                <a:latin typeface="+mj-lt"/>
              </a:rPr>
              <a:t>Medical, Regulatory &amp; Safety </a:t>
            </a:r>
            <a:endParaRPr kumimoji="0" lang="en-GB" sz="1200" b="0" i="0" u="none" strike="noStrike" kern="1200" cap="none" spc="0" normalizeH="0" baseline="0" noProof="0" dirty="0">
              <a:ln>
                <a:noFill/>
              </a:ln>
              <a:solidFill>
                <a:srgbClr val="001965"/>
              </a:solidFill>
              <a:effectLst/>
              <a:uLnTx/>
              <a:uFillTx/>
              <a:latin typeface="+mj-lt"/>
            </a:endParaRPr>
          </a:p>
        </p:txBody>
      </p:sp>
      <p:sp>
        <p:nvSpPr>
          <p:cNvPr id="71" name="TextBox 70">
            <a:extLst>
              <a:ext uri="{FF2B5EF4-FFF2-40B4-BE49-F238E27FC236}">
                <a16:creationId xmlns:a16="http://schemas.microsoft.com/office/drawing/2014/main" id="{9B7EE44F-5A38-4709-BD02-4E850A11CB81}"/>
              </a:ext>
            </a:extLst>
          </p:cNvPr>
          <p:cNvSpPr txBox="1"/>
          <p:nvPr/>
        </p:nvSpPr>
        <p:spPr>
          <a:xfrm>
            <a:off x="8466803" y="2918474"/>
            <a:ext cx="3218248" cy="2001766"/>
          </a:xfrm>
          <a:prstGeom prst="rect">
            <a:avLst/>
          </a:prstGeom>
          <a:noFill/>
        </p:spPr>
        <p:txBody>
          <a:bodyPr wrap="square" rtlCol="0">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mj-lt"/>
              </a:rPr>
              <a:t>Global Procurement </a:t>
            </a:r>
          </a:p>
          <a:p>
            <a:pPr marL="0" marR="0" lvl="0" indent="0"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mj-lt"/>
              </a:rPr>
              <a:t>Global Finance </a:t>
            </a:r>
          </a:p>
          <a:p>
            <a:pPr marL="0" marR="0" lvl="0" indent="0"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mj-lt"/>
              </a:rPr>
              <a:t>European Finance </a:t>
            </a:r>
          </a:p>
          <a:p>
            <a:pPr marL="0" marR="0" lvl="0" indent="0"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mj-lt"/>
              </a:rPr>
              <a:t>International Operations Finance in</a:t>
            </a:r>
          </a:p>
          <a:p>
            <a:pPr lvl="0">
              <a:lnSpc>
                <a:spcPct val="150000"/>
              </a:lnSpc>
              <a:defRPr/>
            </a:pPr>
            <a:r>
              <a:rPr lang="en-GB" sz="1200" dirty="0">
                <a:solidFill>
                  <a:srgbClr val="001965"/>
                </a:solidFill>
                <a:latin typeface="+mj-lt"/>
              </a:rPr>
              <a:t>Denmark, Philippines, Indonesia, Australia, Brazil, Colombia, Mexico,  Poland, Turkey and Algeria</a:t>
            </a:r>
          </a:p>
        </p:txBody>
      </p:sp>
      <p:sp>
        <p:nvSpPr>
          <p:cNvPr id="72" name="TextBox 71">
            <a:extLst>
              <a:ext uri="{FF2B5EF4-FFF2-40B4-BE49-F238E27FC236}">
                <a16:creationId xmlns:a16="http://schemas.microsoft.com/office/drawing/2014/main" id="{BD9A0CEA-72FC-4BDA-A3DB-BBA42819B362}"/>
              </a:ext>
            </a:extLst>
          </p:cNvPr>
          <p:cNvSpPr txBox="1"/>
          <p:nvPr/>
        </p:nvSpPr>
        <p:spPr>
          <a:xfrm>
            <a:off x="3915446" y="2918474"/>
            <a:ext cx="3982896" cy="2278765"/>
          </a:xfrm>
          <a:prstGeom prst="rect">
            <a:avLst/>
          </a:prstGeom>
          <a:noFill/>
        </p:spPr>
        <p:txBody>
          <a:bodyPr wrap="square" rtlCol="0">
            <a:spAutoFit/>
          </a:bodyPr>
          <a:lstStyle/>
          <a:p>
            <a:pPr marL="0" marR="0" lvl="0" indent="0"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mj-lt"/>
              </a:rPr>
              <a:t>Global Business</a:t>
            </a:r>
          </a:p>
          <a:p>
            <a:pPr marL="0" marR="0" lvl="0" indent="0"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mj-lt"/>
              </a:rPr>
              <a:t>Global Marketing </a:t>
            </a:r>
          </a:p>
          <a:p>
            <a:pPr marL="0" marR="0" lvl="0" indent="0" defTabSz="914400" rtl="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mj-lt"/>
              </a:rPr>
              <a:t>Global Market Access </a:t>
            </a:r>
          </a:p>
          <a:p>
            <a:pPr lvl="0">
              <a:lnSpc>
                <a:spcPct val="150000"/>
              </a:lnSpc>
              <a:defRPr/>
            </a:pPr>
            <a:r>
              <a:rPr kumimoji="0" lang="en-GB" sz="1200" b="0" i="0" u="none" strike="noStrike" kern="1200" cap="none" spc="0" normalizeH="0" baseline="0" noProof="0" dirty="0">
                <a:ln>
                  <a:noFill/>
                </a:ln>
                <a:solidFill>
                  <a:srgbClr val="001965"/>
                </a:solidFill>
                <a:effectLst/>
                <a:uLnTx/>
                <a:uFillTx/>
                <a:latin typeface="+mj-lt"/>
              </a:rPr>
              <a:t>International Operations</a:t>
            </a:r>
            <a:r>
              <a:rPr kumimoji="0" lang="en-GB" sz="1200" b="0" i="0" u="none" strike="noStrike" kern="1200" cap="none" spc="0" normalizeH="0" noProof="0" dirty="0">
                <a:ln>
                  <a:noFill/>
                </a:ln>
                <a:solidFill>
                  <a:srgbClr val="001965"/>
                </a:solidFill>
                <a:effectLst/>
                <a:uLnTx/>
                <a:uFillTx/>
                <a:latin typeface="+mj-lt"/>
              </a:rPr>
              <a:t> Business </a:t>
            </a:r>
            <a:r>
              <a:rPr lang="en-GB" sz="1200" dirty="0">
                <a:solidFill>
                  <a:srgbClr val="001965"/>
                </a:solidFill>
                <a:latin typeface="+mj-lt"/>
              </a:rPr>
              <a:t>in </a:t>
            </a:r>
          </a:p>
          <a:p>
            <a:pPr lvl="0">
              <a:lnSpc>
                <a:spcPct val="150000"/>
              </a:lnSpc>
              <a:defRPr/>
            </a:pPr>
            <a:r>
              <a:rPr lang="en-GB" sz="1200" dirty="0">
                <a:solidFill>
                  <a:srgbClr val="001965"/>
                </a:solidFill>
                <a:latin typeface="+mj-lt"/>
              </a:rPr>
              <a:t>Poland, Gulf Cluster, Thailand, Pakistan, Korea, India, Brazil and Columbia</a:t>
            </a:r>
          </a:p>
          <a:p>
            <a:pPr lvl="0">
              <a:lnSpc>
                <a:spcPct val="150000"/>
              </a:lnSpc>
              <a:defRPr/>
            </a:pPr>
            <a:r>
              <a:rPr kumimoji="0" lang="en-GB" sz="1200" b="0" i="0" u="none" strike="noStrike" kern="1200" cap="none" spc="0" normalizeH="0" baseline="0" noProof="0" dirty="0">
                <a:ln>
                  <a:noFill/>
                </a:ln>
                <a:solidFill>
                  <a:srgbClr val="001965"/>
                </a:solidFill>
                <a:effectLst/>
                <a:uLnTx/>
                <a:uFillTx/>
                <a:latin typeface="+mj-lt"/>
              </a:rPr>
              <a:t>International Operations People &amp; Organisation (HR) </a:t>
            </a:r>
            <a:r>
              <a:rPr lang="en-GB" sz="1200" dirty="0">
                <a:solidFill>
                  <a:srgbClr val="001965"/>
                </a:solidFill>
                <a:latin typeface="+mj-lt"/>
              </a:rPr>
              <a:t>in Turkey and Italy </a:t>
            </a:r>
          </a:p>
        </p:txBody>
      </p:sp>
      <p:sp>
        <p:nvSpPr>
          <p:cNvPr id="2" name="Footer Placeholder 1">
            <a:extLst>
              <a:ext uri="{FF2B5EF4-FFF2-40B4-BE49-F238E27FC236}">
                <a16:creationId xmlns:a16="http://schemas.microsoft.com/office/drawing/2014/main" id="{D6519AD7-E65A-45A2-A830-CF7886033B38}"/>
              </a:ext>
            </a:extLst>
          </p:cNvPr>
          <p:cNvSpPr>
            <a:spLocks noGrp="1"/>
          </p:cNvSpPr>
          <p:nvPr>
            <p:ph type="ftr" sz="quarter" idx="11"/>
          </p:nvPr>
        </p:nvSpPr>
        <p:spPr/>
        <p:txBody>
          <a:bodyPr/>
          <a:lstStyle/>
          <a:p>
            <a:r>
              <a:rPr lang="en-GB"/>
              <a:t>Graduate Programme Introduction</a:t>
            </a:r>
            <a:endParaRPr lang="en-GB" dirty="0"/>
          </a:p>
        </p:txBody>
      </p:sp>
      <p:sp>
        <p:nvSpPr>
          <p:cNvPr id="4" name="Slide Number Placeholder 3">
            <a:extLst>
              <a:ext uri="{FF2B5EF4-FFF2-40B4-BE49-F238E27FC236}">
                <a16:creationId xmlns:a16="http://schemas.microsoft.com/office/drawing/2014/main" id="{A5804175-1103-4242-8AE9-7C87820D2E8D}"/>
              </a:ext>
            </a:extLst>
          </p:cNvPr>
          <p:cNvSpPr>
            <a:spLocks noGrp="1"/>
          </p:cNvSpPr>
          <p:nvPr>
            <p:ph type="sldNum" sz="quarter" idx="12"/>
          </p:nvPr>
        </p:nvSpPr>
        <p:spPr/>
        <p:txBody>
          <a:bodyPr/>
          <a:lstStyle/>
          <a:p>
            <a:fld id="{23AA811B-2EBD-4900-905E-5BE206449611}" type="slidenum">
              <a:rPr lang="en-GB" smtClean="0"/>
              <a:t>27</a:t>
            </a:fld>
            <a:endParaRPr lang="en-GB" dirty="0"/>
          </a:p>
        </p:txBody>
      </p:sp>
      <p:sp>
        <p:nvSpPr>
          <p:cNvPr id="5" name="Rectangle 4">
            <a:extLst>
              <a:ext uri="{FF2B5EF4-FFF2-40B4-BE49-F238E27FC236}">
                <a16:creationId xmlns:a16="http://schemas.microsoft.com/office/drawing/2014/main" id="{288094AE-64B2-42F3-A0AA-84E81D9C80C6}"/>
              </a:ext>
            </a:extLst>
          </p:cNvPr>
          <p:cNvSpPr/>
          <p:nvPr/>
        </p:nvSpPr>
        <p:spPr>
          <a:xfrm>
            <a:off x="3915446" y="2947051"/>
            <a:ext cx="4144033" cy="841744"/>
          </a:xfrm>
          <a:prstGeom prst="rect">
            <a:avLst/>
          </a:prstGeom>
          <a:noFill/>
          <a:ln>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8" name="Rectangle 17">
            <a:extLst>
              <a:ext uri="{FF2B5EF4-FFF2-40B4-BE49-F238E27FC236}">
                <a16:creationId xmlns:a16="http://schemas.microsoft.com/office/drawing/2014/main" id="{E01C206D-571C-4932-B0F0-082FB553EC53}"/>
              </a:ext>
            </a:extLst>
          </p:cNvPr>
          <p:cNvSpPr/>
          <p:nvPr/>
        </p:nvSpPr>
        <p:spPr>
          <a:xfrm>
            <a:off x="8427306" y="2947050"/>
            <a:ext cx="3646941" cy="573289"/>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29787639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80229" name="think-cell Slide" r:id="rId6" imgW="270" imgH="270" progId="TCLayout.ActiveDocument.1">
                  <p:embed/>
                </p:oleObj>
              </mc:Choice>
              <mc:Fallback>
                <p:oleObj name="think-cell Slide" r:id="rId6" imgW="270" imgH="270" progId="TCLayout.ActiveDocument.1">
                  <p:embed/>
                  <p:pic>
                    <p:nvPicPr>
                      <p:cNvPr id="13" name="Object 12" hidden="1"/>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3C08D60-7688-4A53-ABC9-4359DEA5E0EF}"/>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noProof="0" dirty="0" err="1">
              <a:latin typeface="Apis For Office" panose="020B0504010101010104" pitchFamily="34" charset="0"/>
              <a:ea typeface="+mj-ea"/>
              <a:cs typeface="+mj-cs"/>
              <a:sym typeface="Apis For Office" panose="020B0504010101010104" pitchFamily="34" charset="0"/>
            </a:endParaRPr>
          </a:p>
        </p:txBody>
      </p:sp>
      <p:sp>
        <p:nvSpPr>
          <p:cNvPr id="15" name="Isosceles Triangle 14">
            <a:extLst>
              <a:ext uri="{FF2B5EF4-FFF2-40B4-BE49-F238E27FC236}">
                <a16:creationId xmlns:a16="http://schemas.microsoft.com/office/drawing/2014/main" id="{7C1BFC35-6B68-4F61-B727-F51F70B942ED}"/>
              </a:ext>
            </a:extLst>
          </p:cNvPr>
          <p:cNvSpPr/>
          <p:nvPr/>
        </p:nvSpPr>
        <p:spPr>
          <a:xfrm rot="10800000">
            <a:off x="4996433" y="1701800"/>
            <a:ext cx="4201028" cy="2264649"/>
          </a:xfrm>
          <a:prstGeom prst="triangle">
            <a:avLst>
              <a:gd name="adj" fmla="val 85440"/>
            </a:avLst>
          </a:prstGeom>
          <a:solidFill>
            <a:srgbClr val="D4E9E8"/>
          </a:solidFill>
          <a:ln w="0">
            <a:solidFill>
              <a:srgbClr val="D4E9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62" name="Rounded Rectangle 61"/>
          <p:cNvSpPr/>
          <p:nvPr/>
        </p:nvSpPr>
        <p:spPr>
          <a:xfrm>
            <a:off x="5708783" y="1701801"/>
            <a:ext cx="6483217" cy="4129372"/>
          </a:xfrm>
          <a:prstGeom prst="roundRect">
            <a:avLst>
              <a:gd name="adj" fmla="val 0"/>
            </a:avLst>
          </a:prstGeom>
          <a:solidFill>
            <a:srgbClr val="D4E9E8"/>
          </a:solidFill>
          <a:ln w="0">
            <a:solidFill>
              <a:srgbClr val="D4E9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7" name="Isosceles Triangle 16">
            <a:extLst>
              <a:ext uri="{FF2B5EF4-FFF2-40B4-BE49-F238E27FC236}">
                <a16:creationId xmlns:a16="http://schemas.microsoft.com/office/drawing/2014/main" id="{5B87EF41-A89F-4804-841A-04B5F084ED9A}"/>
              </a:ext>
            </a:extLst>
          </p:cNvPr>
          <p:cNvSpPr/>
          <p:nvPr/>
        </p:nvSpPr>
        <p:spPr>
          <a:xfrm rot="10800000" flipV="1">
            <a:off x="4996436" y="3479172"/>
            <a:ext cx="4201028" cy="2352000"/>
          </a:xfrm>
          <a:prstGeom prst="triangle">
            <a:avLst>
              <a:gd name="adj" fmla="val 85440"/>
            </a:avLst>
          </a:prstGeom>
          <a:solidFill>
            <a:srgbClr val="D4E9E8"/>
          </a:solidFill>
          <a:ln w="0">
            <a:solidFill>
              <a:srgbClr val="D4E9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50" name="TextBox 49">
            <a:extLst>
              <a:ext uri="{FF2B5EF4-FFF2-40B4-BE49-F238E27FC236}">
                <a16:creationId xmlns:a16="http://schemas.microsoft.com/office/drawing/2014/main" id="{7DFF4C68-561D-4745-B5AC-87A159AE737C}"/>
              </a:ext>
            </a:extLst>
          </p:cNvPr>
          <p:cNvSpPr txBox="1"/>
          <p:nvPr/>
        </p:nvSpPr>
        <p:spPr>
          <a:xfrm>
            <a:off x="5708783" y="2177150"/>
            <a:ext cx="5976939" cy="3002745"/>
          </a:xfrm>
          <a:prstGeom prst="rect">
            <a:avLst/>
          </a:prstGeom>
          <a:noFill/>
        </p:spPr>
        <p:txBody>
          <a:bodyPr wrap="square" rtlCol="0">
            <a:spAutoFit/>
          </a:bodyPr>
          <a:lstStyle/>
          <a:p>
            <a:pPr marL="228594" indent="-228594">
              <a:lnSpc>
                <a:spcPct val="150000"/>
              </a:lnSpc>
              <a:spcBef>
                <a:spcPts val="1200"/>
              </a:spcBef>
              <a:buFont typeface="Wingdings" panose="05000000000000000000" pitchFamily="2" charset="2"/>
              <a:buChar char="§"/>
            </a:pPr>
            <a:r>
              <a:rPr lang="en-GB" b="1" dirty="0">
                <a:solidFill>
                  <a:srgbClr val="001965"/>
                </a:solidFill>
              </a:rPr>
              <a:t>Am I interested in health topics and willing to learn about pharmaceutical products?</a:t>
            </a:r>
          </a:p>
          <a:p>
            <a:pPr marL="228594" indent="-228594">
              <a:lnSpc>
                <a:spcPct val="150000"/>
              </a:lnSpc>
              <a:spcBef>
                <a:spcPts val="1200"/>
              </a:spcBef>
              <a:buFont typeface="Wingdings" panose="05000000000000000000" pitchFamily="2" charset="2"/>
              <a:buChar char="§"/>
            </a:pPr>
            <a:r>
              <a:rPr lang="en-GB" b="1" dirty="0">
                <a:solidFill>
                  <a:srgbClr val="001965"/>
                </a:solidFill>
              </a:rPr>
              <a:t>Am I ready for changes and being outside my comfort zone?</a:t>
            </a:r>
          </a:p>
          <a:p>
            <a:pPr marL="228594" indent="-228594">
              <a:lnSpc>
                <a:spcPct val="150000"/>
              </a:lnSpc>
              <a:spcBef>
                <a:spcPts val="1200"/>
              </a:spcBef>
              <a:buFont typeface="Wingdings" panose="05000000000000000000" pitchFamily="2" charset="2"/>
              <a:buChar char="§"/>
            </a:pPr>
            <a:r>
              <a:rPr lang="en-GB" b="1" dirty="0">
                <a:solidFill>
                  <a:srgbClr val="001965"/>
                </a:solidFill>
              </a:rPr>
              <a:t>Am I willing to relocate and travel?</a:t>
            </a:r>
          </a:p>
          <a:p>
            <a:pPr marL="228594" indent="-228594">
              <a:lnSpc>
                <a:spcPct val="150000"/>
              </a:lnSpc>
              <a:spcBef>
                <a:spcPts val="1200"/>
              </a:spcBef>
              <a:buFont typeface="Wingdings" panose="05000000000000000000" pitchFamily="2" charset="2"/>
              <a:buChar char="§"/>
            </a:pPr>
            <a:r>
              <a:rPr lang="en-GB" b="1" dirty="0">
                <a:solidFill>
                  <a:srgbClr val="001965"/>
                </a:solidFill>
              </a:rPr>
              <a:t>Am I willing to challenge and be challenged?</a:t>
            </a:r>
          </a:p>
        </p:txBody>
      </p:sp>
      <p:sp>
        <p:nvSpPr>
          <p:cNvPr id="23" name="Title 2">
            <a:extLst>
              <a:ext uri="{FF2B5EF4-FFF2-40B4-BE49-F238E27FC236}">
                <a16:creationId xmlns:a16="http://schemas.microsoft.com/office/drawing/2014/main" id="{A9171CC9-BD6F-4D84-AC05-C993A1BBF962}"/>
              </a:ext>
            </a:extLst>
          </p:cNvPr>
          <p:cNvSpPr>
            <a:spLocks noGrp="1"/>
          </p:cNvSpPr>
          <p:nvPr>
            <p:ph type="title"/>
          </p:nvPr>
        </p:nvSpPr>
        <p:spPr>
          <a:xfrm>
            <a:off x="647999" y="648000"/>
            <a:ext cx="10896000" cy="900000"/>
          </a:xfrm>
        </p:spPr>
        <p:txBody>
          <a:bodyPr/>
          <a:lstStyle/>
          <a:p>
            <a:r>
              <a:rPr lang="en-GB" sz="3600" dirty="0"/>
              <a:t>Some questions to think about…</a:t>
            </a:r>
          </a:p>
        </p:txBody>
      </p:sp>
      <p:pic>
        <p:nvPicPr>
          <p:cNvPr id="26" name="Picture Placeholder 53">
            <a:extLst>
              <a:ext uri="{FF2B5EF4-FFF2-40B4-BE49-F238E27FC236}">
                <a16:creationId xmlns:a16="http://schemas.microsoft.com/office/drawing/2014/main" id="{FE8E00BC-6CD9-4C6C-BDDB-271F38FFB80F}"/>
              </a:ext>
            </a:extLst>
          </p:cNvPr>
          <p:cNvPicPr>
            <a:picLocks noChangeAspect="1"/>
          </p:cNvPicPr>
          <p:nvPr/>
        </p:nvPicPr>
        <p:blipFill>
          <a:blip r:embed="rId8" cstate="print">
            <a:extLst>
              <a:ext uri="{28A0092B-C50C-407E-A947-70E740481C1C}">
                <a14:useLocalDpi xmlns:a14="http://schemas.microsoft.com/office/drawing/2010/main" val="0"/>
              </a:ext>
            </a:extLst>
          </a:blip>
          <a:srcRect l="16647" r="16647"/>
          <a:stretch>
            <a:fillRect/>
          </a:stretch>
        </p:blipFill>
        <p:spPr>
          <a:xfrm>
            <a:off x="647999" y="1701798"/>
            <a:ext cx="4129674" cy="4127500"/>
          </a:xfrm>
          <a:prstGeom prst="rect">
            <a:avLst/>
          </a:prstGeom>
        </p:spPr>
      </p:pic>
      <p:sp>
        <p:nvSpPr>
          <p:cNvPr id="30" name="Text Placeholder 7">
            <a:extLst>
              <a:ext uri="{FF2B5EF4-FFF2-40B4-BE49-F238E27FC236}">
                <a16:creationId xmlns:a16="http://schemas.microsoft.com/office/drawing/2014/main" id="{55129142-33B4-42F7-BBF0-C992DFD7D69F}"/>
              </a:ext>
            </a:extLst>
          </p:cNvPr>
          <p:cNvSpPr txBox="1">
            <a:spLocks/>
          </p:cNvSpPr>
          <p:nvPr/>
        </p:nvSpPr>
        <p:spPr>
          <a:xfrm>
            <a:off x="2498679" y="1784835"/>
            <a:ext cx="2229610" cy="606422"/>
          </a:xfrm>
          <a:prstGeom prst="rect">
            <a:avLst/>
          </a:prstGeom>
        </p:spPr>
        <p:txBody>
          <a:bodyPr/>
          <a:lstStyle>
            <a:lvl1pPr marL="27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1pPr>
            <a:lvl2pPr marL="54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2pPr>
            <a:lvl3pPr marL="810000" indent="-270000" algn="l" defTabSz="914400" rtl="0" eaLnBrk="1" latinLnBrk="0" hangingPunct="1">
              <a:lnSpc>
                <a:spcPct val="100000"/>
              </a:lnSpc>
              <a:spcBef>
                <a:spcPts val="300"/>
              </a:spcBef>
              <a:spcAft>
                <a:spcPts val="600"/>
              </a:spcAft>
              <a:buFont typeface="Arial" panose="020B0604020202020204" pitchFamily="34" charset="0"/>
              <a:buChar char="•"/>
              <a:defRPr sz="2000" kern="1200">
                <a:solidFill>
                  <a:schemeClr val="tx2"/>
                </a:solidFill>
                <a:latin typeface="+mn-lt"/>
                <a:ea typeface="+mn-ea"/>
                <a:cs typeface="+mn-cs"/>
              </a:defRPr>
            </a:lvl3pPr>
            <a:lvl4pPr marL="0" indent="0" algn="l" defTabSz="914400" rtl="0" eaLnBrk="1" latinLnBrk="0" hangingPunct="1">
              <a:lnSpc>
                <a:spcPct val="100000"/>
              </a:lnSpc>
              <a:spcBef>
                <a:spcPts val="1200"/>
              </a:spcBef>
              <a:spcAft>
                <a:spcPts val="1200"/>
              </a:spcAft>
              <a:buFont typeface="Arial" panose="020B0604020202020204" pitchFamily="34" charset="0"/>
              <a:buChar char="​"/>
              <a:defRPr sz="2000" b="1"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600"/>
              </a:spcAft>
              <a:buFont typeface="Arial" panose="020B0604020202020204" pitchFamily="34" charset="0"/>
              <a:buChar char="​"/>
              <a:tabLst/>
              <a:defRPr sz="2000" kern="1200">
                <a:solidFill>
                  <a:schemeClr val="tx2"/>
                </a:solidFill>
                <a:latin typeface="+mn-lt"/>
                <a:ea typeface="+mn-ea"/>
                <a:cs typeface="+mn-cs"/>
              </a:defRPr>
            </a:lvl5pPr>
            <a:lvl6pPr marL="0" indent="0" algn="l" defTabSz="914400" rtl="0" eaLnBrk="1" latinLnBrk="0" hangingPunct="1">
              <a:lnSpc>
                <a:spcPct val="100000"/>
              </a:lnSpc>
              <a:spcBef>
                <a:spcPts val="1200"/>
              </a:spcBef>
              <a:spcAft>
                <a:spcPts val="1200"/>
              </a:spcAft>
              <a:buFont typeface="Arial" panose="020B0604020202020204" pitchFamily="34" charset="0"/>
              <a:buChar char="​"/>
              <a:defRPr sz="1000" b="1" kern="1200">
                <a:solidFill>
                  <a:schemeClr val="tx2"/>
                </a:solidFill>
                <a:latin typeface="+mn-lt"/>
                <a:ea typeface="+mn-ea"/>
                <a:cs typeface="+mn-cs"/>
              </a:defRPr>
            </a:lvl6pPr>
            <a:lvl7pPr marL="0" indent="0" algn="l" defTabSz="914400" rtl="0" eaLnBrk="1" latinLnBrk="0" hangingPunct="1">
              <a:lnSpc>
                <a:spcPct val="100000"/>
              </a:lnSpc>
              <a:spcBef>
                <a:spcPts val="300"/>
              </a:spcBef>
              <a:spcAft>
                <a:spcPts val="600"/>
              </a:spcAft>
              <a:buFont typeface="Arial" panose="020B0604020202020204" pitchFamily="34" charset="0"/>
              <a:buChar char="​"/>
              <a:defRPr sz="1000" b="0" kern="1200" baseline="0">
                <a:solidFill>
                  <a:schemeClr val="tx2"/>
                </a:solidFill>
                <a:latin typeface="+mn-lt"/>
                <a:ea typeface="+mn-ea"/>
                <a:cs typeface="+mn-cs"/>
              </a:defRPr>
            </a:lvl7pPr>
            <a:lvl8pPr marL="180000" indent="-180000" algn="l" defTabSz="914400" rtl="0" eaLnBrk="1" latinLnBrk="0" hangingPunct="1">
              <a:lnSpc>
                <a:spcPct val="100000"/>
              </a:lnSpc>
              <a:spcBef>
                <a:spcPts val="300"/>
              </a:spcBef>
              <a:spcAft>
                <a:spcPts val="600"/>
              </a:spcAft>
              <a:buFont typeface="Arial" panose="020B0604020202020204" pitchFamily="34" charset="0"/>
              <a:buChar char="•"/>
              <a:defRPr sz="10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1200"/>
              </a:spcAft>
              <a:buFont typeface="Arial" panose="020B0604020202020204" pitchFamily="34" charset="0"/>
              <a:buChar char="​"/>
              <a:defRPr sz="4400" kern="1200" baseline="0">
                <a:solidFill>
                  <a:schemeClr val="tx2"/>
                </a:solidFill>
                <a:latin typeface="+mn-lt"/>
                <a:ea typeface="+mn-ea"/>
                <a:cs typeface="+mn-cs"/>
              </a:defRPr>
            </a:lvl9pPr>
          </a:lstStyle>
          <a:p>
            <a:pPr marL="0" indent="0" algn="r">
              <a:lnSpc>
                <a:spcPct val="120000"/>
              </a:lnSpc>
              <a:buNone/>
            </a:pPr>
            <a:r>
              <a:rPr lang="en-GB" sz="700" dirty="0">
                <a:solidFill>
                  <a:srgbClr val="FFFFFF"/>
                </a:solidFill>
              </a:rPr>
              <a:t>YANNICK VAN BALLAER and MARIANA PRADO </a:t>
            </a:r>
          </a:p>
          <a:p>
            <a:pPr marL="0" indent="0" algn="r">
              <a:lnSpc>
                <a:spcPct val="120000"/>
              </a:lnSpc>
              <a:buNone/>
            </a:pPr>
            <a:r>
              <a:rPr lang="en-GB" sz="700" dirty="0">
                <a:solidFill>
                  <a:srgbClr val="FFFFFF"/>
                </a:solidFill>
              </a:rPr>
              <a:t>Global Business Graduates                             Denmark</a:t>
            </a:r>
          </a:p>
        </p:txBody>
      </p:sp>
      <p:sp>
        <p:nvSpPr>
          <p:cNvPr id="2" name="Footer Placeholder 1">
            <a:extLst>
              <a:ext uri="{FF2B5EF4-FFF2-40B4-BE49-F238E27FC236}">
                <a16:creationId xmlns:a16="http://schemas.microsoft.com/office/drawing/2014/main" id="{098ECBA4-758C-4DDC-B086-CFABDD840717}"/>
              </a:ext>
            </a:extLst>
          </p:cNvPr>
          <p:cNvSpPr>
            <a:spLocks noGrp="1"/>
          </p:cNvSpPr>
          <p:nvPr>
            <p:ph type="ftr" sz="quarter" idx="11"/>
          </p:nvPr>
        </p:nvSpPr>
        <p:spPr/>
        <p:txBody>
          <a:bodyPr/>
          <a:lstStyle/>
          <a:p>
            <a:r>
              <a:rPr lang="en-GB"/>
              <a:t>Graduate Programme Introduction</a:t>
            </a:r>
            <a:endParaRPr lang="en-GB" dirty="0"/>
          </a:p>
        </p:txBody>
      </p:sp>
      <p:sp>
        <p:nvSpPr>
          <p:cNvPr id="3" name="Slide Number Placeholder 2">
            <a:extLst>
              <a:ext uri="{FF2B5EF4-FFF2-40B4-BE49-F238E27FC236}">
                <a16:creationId xmlns:a16="http://schemas.microsoft.com/office/drawing/2014/main" id="{3204AC05-CDFA-4035-9774-D71F73B66DB7}"/>
              </a:ext>
            </a:extLst>
          </p:cNvPr>
          <p:cNvSpPr>
            <a:spLocks noGrp="1"/>
          </p:cNvSpPr>
          <p:nvPr>
            <p:ph type="sldNum" sz="quarter" idx="12"/>
          </p:nvPr>
        </p:nvSpPr>
        <p:spPr/>
        <p:txBody>
          <a:bodyPr/>
          <a:lstStyle/>
          <a:p>
            <a:fld id="{23AA811B-2EBD-4900-905E-5BE206449611}" type="slidenum">
              <a:rPr lang="en-GB" smtClean="0"/>
              <a:t>28</a:t>
            </a:fld>
            <a:endParaRPr lang="en-GB" dirty="0"/>
          </a:p>
        </p:txBody>
      </p:sp>
    </p:spTree>
    <p:extLst>
      <p:ext uri="{BB962C8B-B14F-4D97-AF65-F5344CB8AC3E}">
        <p14:creationId xmlns:p14="http://schemas.microsoft.com/office/powerpoint/2010/main" val="972615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F907BA3-A349-4B26-ACBD-3D5A47D407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53" name="think-cell Slide" r:id="rId5" imgW="421" imgH="423" progId="TCLayout.ActiveDocument.1">
                  <p:embed/>
                </p:oleObj>
              </mc:Choice>
              <mc:Fallback>
                <p:oleObj name="think-cell Slide" r:id="rId5" imgW="421" imgH="423" progId="TCLayout.ActiveDocument.1">
                  <p:embed/>
                  <p:pic>
                    <p:nvPicPr>
                      <p:cNvPr id="13" name="Object 12" hidden="1">
                        <a:extLst>
                          <a:ext uri="{FF2B5EF4-FFF2-40B4-BE49-F238E27FC236}">
                            <a16:creationId xmlns:a16="http://schemas.microsoft.com/office/drawing/2014/main" id="{FF907BA3-A349-4B26-ACBD-3D5A47D407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1B6455A-FD8A-40CD-96EE-7EE5B096D96F}"/>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4400" noProof="0" dirty="0" err="1">
              <a:latin typeface="Apis For Office" panose="020B0504010101010104" pitchFamily="34" charset="0"/>
              <a:ea typeface="+mj-ea"/>
              <a:cs typeface="+mj-cs"/>
              <a:sym typeface="Apis For Office" panose="020B0504010101010104" pitchFamily="34" charset="0"/>
            </a:endParaRPr>
          </a:p>
        </p:txBody>
      </p:sp>
      <p:sp>
        <p:nvSpPr>
          <p:cNvPr id="19" name="Title 18">
            <a:extLst>
              <a:ext uri="{FF2B5EF4-FFF2-40B4-BE49-F238E27FC236}">
                <a16:creationId xmlns:a16="http://schemas.microsoft.com/office/drawing/2014/main" id="{60A4004A-120B-49A2-80E3-9B3EFC559CC4}"/>
              </a:ext>
            </a:extLst>
          </p:cNvPr>
          <p:cNvSpPr>
            <a:spLocks noGrp="1"/>
          </p:cNvSpPr>
          <p:nvPr>
            <p:ph type="ctrTitle"/>
          </p:nvPr>
        </p:nvSpPr>
        <p:spPr/>
        <p:txBody>
          <a:bodyPr/>
          <a:lstStyle/>
          <a:p>
            <a:r>
              <a:rPr lang="en-GB" dirty="0"/>
              <a:t>What does the application process look like?</a:t>
            </a:r>
          </a:p>
        </p:txBody>
      </p:sp>
      <p:pic>
        <p:nvPicPr>
          <p:cNvPr id="11" name="Picture Placeholder 13">
            <a:extLst>
              <a:ext uri="{FF2B5EF4-FFF2-40B4-BE49-F238E27FC236}">
                <a16:creationId xmlns:a16="http://schemas.microsoft.com/office/drawing/2014/main" id="{9966A9E6-07E6-455A-96A1-5BF8E970E644}"/>
              </a:ext>
            </a:extLst>
          </p:cNvPr>
          <p:cNvPicPr>
            <a:picLocks noGrp="1" noChangeAspect="1"/>
          </p:cNvPicPr>
          <p:nvPr>
            <p:ph type="pic" sz="quarter" idx="18"/>
          </p:nvPr>
        </p:nvPicPr>
        <p:blipFill rotWithShape="1">
          <a:blip r:embed="rId7" cstate="print">
            <a:extLst>
              <a:ext uri="{28A0092B-C50C-407E-A947-70E740481C1C}">
                <a14:useLocalDpi xmlns:a14="http://schemas.microsoft.com/office/drawing/2010/main" val="0"/>
              </a:ext>
            </a:extLst>
          </a:blip>
          <a:srcRect l="29242" r="22596"/>
          <a:stretch/>
        </p:blipFill>
        <p:spPr>
          <a:xfrm>
            <a:off x="323850" y="323850"/>
            <a:ext cx="4487863" cy="6210300"/>
          </a:xfrm>
          <a:prstGeom prst="rect">
            <a:avLst/>
          </a:prstGeom>
        </p:spPr>
      </p:pic>
      <p:sp>
        <p:nvSpPr>
          <p:cNvPr id="8" name="TextBox 70">
            <a:extLst>
              <a:ext uri="{FF2B5EF4-FFF2-40B4-BE49-F238E27FC236}">
                <a16:creationId xmlns:a16="http://schemas.microsoft.com/office/drawing/2014/main" id="{F2BC54B6-DA00-4DC0-9E29-78F5E2A1DAC6}"/>
              </a:ext>
            </a:extLst>
          </p:cNvPr>
          <p:cNvSpPr txBox="1">
            <a:spLocks noChangeArrowheads="1"/>
          </p:cNvSpPr>
          <p:nvPr/>
        </p:nvSpPr>
        <p:spPr bwMode="auto">
          <a:xfrm>
            <a:off x="2443163" y="460049"/>
            <a:ext cx="23685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lvl="0" algn="r" fontAlgn="base">
              <a:spcBef>
                <a:spcPct val="0"/>
              </a:spcBef>
              <a:spcAft>
                <a:spcPct val="0"/>
              </a:spcAft>
            </a:pPr>
            <a:r>
              <a:rPr lang="en-GB" altLang="da-DK" sz="700" dirty="0">
                <a:solidFill>
                  <a:srgbClr val="FFFFFF"/>
                </a:solidFill>
                <a:latin typeface="+mj-lt"/>
              </a:rPr>
              <a:t>NADIA VINCENTS NIELSEN and ARUN RAMANATHAN</a:t>
            </a:r>
          </a:p>
          <a:p>
            <a:pPr lvl="0" algn="r" fontAlgn="base">
              <a:spcBef>
                <a:spcPct val="0"/>
              </a:spcBef>
              <a:spcAft>
                <a:spcPct val="0"/>
              </a:spcAft>
            </a:pPr>
            <a:r>
              <a:rPr lang="en-GB" altLang="da-DK" sz="700" dirty="0">
                <a:solidFill>
                  <a:srgbClr val="FFFFFF"/>
                </a:solidFill>
                <a:latin typeface="+mj-lt"/>
              </a:rPr>
              <a:t>Global Finance Graduates</a:t>
            </a:r>
          </a:p>
          <a:p>
            <a:pPr lvl="0" algn="r" fontAlgn="base">
              <a:spcBef>
                <a:spcPct val="0"/>
              </a:spcBef>
              <a:spcAft>
                <a:spcPct val="0"/>
              </a:spcAft>
            </a:pPr>
            <a:r>
              <a:rPr lang="en-GB" altLang="da-DK" sz="700" dirty="0">
                <a:solidFill>
                  <a:srgbClr val="FFFFFF"/>
                </a:solidFill>
                <a:latin typeface="+mj-lt"/>
              </a:rPr>
              <a:t>Denmark</a:t>
            </a:r>
          </a:p>
        </p:txBody>
      </p:sp>
    </p:spTree>
    <p:extLst>
      <p:ext uri="{BB962C8B-B14F-4D97-AF65-F5344CB8AC3E}">
        <p14:creationId xmlns:p14="http://schemas.microsoft.com/office/powerpoint/2010/main" val="3186630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0">
            <a:extLst>
              <a:ext uri="{FF2B5EF4-FFF2-40B4-BE49-F238E27FC236}">
                <a16:creationId xmlns:a16="http://schemas.microsoft.com/office/drawing/2014/main" id="{09EB606F-ABBA-4AA1-ADDF-B07C585DA853}"/>
              </a:ext>
            </a:extLst>
          </p:cNvPr>
          <p:cNvPicPr>
            <a:picLocks noChangeAspect="1"/>
          </p:cNvPicPr>
          <p:nvPr/>
        </p:nvPicPr>
        <p:blipFill rotWithShape="1">
          <a:blip r:embed="rId6">
            <a:extLst>
              <a:ext uri="{28A0092B-C50C-407E-A947-70E740481C1C}">
                <a14:useLocalDpi xmlns:a14="http://schemas.microsoft.com/office/drawing/2010/main" val="0"/>
              </a:ext>
            </a:extLst>
          </a:blip>
          <a:srcRect t="12500" b="12500"/>
          <a:stretch/>
        </p:blipFill>
        <p:spPr>
          <a:xfrm>
            <a:off x="-772160" y="0"/>
            <a:ext cx="13350240" cy="6858000"/>
          </a:xfrm>
          <a:prstGeom prst="rect">
            <a:avLst/>
          </a:prstGeom>
        </p:spPr>
      </p:pic>
      <p:sp>
        <p:nvSpPr>
          <p:cNvPr id="8" name="Rectangle 7">
            <a:extLst>
              <a:ext uri="{FF2B5EF4-FFF2-40B4-BE49-F238E27FC236}">
                <a16:creationId xmlns:a16="http://schemas.microsoft.com/office/drawing/2014/main" id="{0B08022A-3D04-4B64-AFDF-67DC59674F16}"/>
              </a:ext>
            </a:extLst>
          </p:cNvPr>
          <p:cNvSpPr>
            <a:spLocks/>
          </p:cNvSpPr>
          <p:nvPr/>
        </p:nvSpPr>
        <p:spPr>
          <a:xfrm rot="5400000">
            <a:off x="4821943" y="-4821942"/>
            <a:ext cx="2543175" cy="12187060"/>
          </a:xfrm>
          <a:prstGeom prst="rect">
            <a:avLst/>
          </a:prstGeom>
          <a:gradFill>
            <a:gsLst>
              <a:gs pos="39000">
                <a:schemeClr val="tx1">
                  <a:lumMod val="95000"/>
                  <a:lumOff val="5000"/>
                  <a:alpha val="46000"/>
                </a:schemeClr>
              </a:gs>
              <a:gs pos="93000">
                <a:schemeClr val="tx1">
                  <a:lumMod val="95000"/>
                  <a:lumOff val="5000"/>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en-GB" sz="2133" dirty="0">
              <a:solidFill>
                <a:srgbClr val="FFFFFF"/>
              </a:solidFill>
              <a:latin typeface="Verdana"/>
            </a:endParaRPr>
          </a:p>
        </p:txBody>
      </p:sp>
      <p:sp>
        <p:nvSpPr>
          <p:cNvPr id="9" name="Tekstfelt 10">
            <a:extLst>
              <a:ext uri="{FF2B5EF4-FFF2-40B4-BE49-F238E27FC236}">
                <a16:creationId xmlns:a16="http://schemas.microsoft.com/office/drawing/2014/main" id="{7C7E104E-747C-4479-B095-1A44B6EE7EA6}"/>
              </a:ext>
            </a:extLst>
          </p:cNvPr>
          <p:cNvSpPr txBox="1">
            <a:spLocks/>
          </p:cNvSpPr>
          <p:nvPr/>
        </p:nvSpPr>
        <p:spPr>
          <a:xfrm>
            <a:off x="584162" y="821532"/>
            <a:ext cx="11418039" cy="997196"/>
          </a:xfrm>
          <a:prstGeom prst="rect">
            <a:avLst/>
          </a:prstGeom>
          <a:noFill/>
        </p:spPr>
        <p:txBody>
          <a:bodyPr wrap="square" lIns="0" tIns="0" rIns="0" bIns="0" rtlCol="0" anchor="b" anchorCtr="0">
            <a:spAutoFit/>
          </a:bodyPr>
          <a:lstStyle/>
          <a:p>
            <a:pPr>
              <a:lnSpc>
                <a:spcPct val="90000"/>
              </a:lnSpc>
            </a:pPr>
            <a:r>
              <a:rPr lang="en-GB" sz="7200" dirty="0">
                <a:solidFill>
                  <a:schemeClr val="bg1"/>
                </a:solidFill>
                <a:latin typeface="Apis For Office" panose="020B0504010101010104" pitchFamily="34" charset="0"/>
                <a:ea typeface="Apis For Office" panose="020B0504010101010104" pitchFamily="34" charset="0"/>
                <a:cs typeface="Apis For Office" panose="020B0504010101010104" pitchFamily="34" charset="0"/>
              </a:rPr>
              <a:t>Who are we?</a:t>
            </a:r>
          </a:p>
        </p:txBody>
      </p:sp>
      <p:sp>
        <p:nvSpPr>
          <p:cNvPr id="2" name="Freeform: Shape 1">
            <a:extLst>
              <a:ext uri="{FF2B5EF4-FFF2-40B4-BE49-F238E27FC236}">
                <a16:creationId xmlns:a16="http://schemas.microsoft.com/office/drawing/2014/main" id="{D36153BC-D3BB-4546-8A1B-310CD8DA9CD4}"/>
              </a:ext>
            </a:extLst>
          </p:cNvPr>
          <p:cNvSpPr>
            <a:spLocks/>
          </p:cNvSpPr>
          <p:nvPr/>
        </p:nvSpPr>
        <p:spPr>
          <a:xfrm>
            <a:off x="11172825" y="321620"/>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sp>
        <p:nvSpPr>
          <p:cNvPr id="4" name="Slide Number Placeholder 3">
            <a:extLst>
              <a:ext uri="{FF2B5EF4-FFF2-40B4-BE49-F238E27FC236}">
                <a16:creationId xmlns:a16="http://schemas.microsoft.com/office/drawing/2014/main" id="{75173AAA-25F0-4A8D-9D43-8BA5CE5C5EA4}"/>
              </a:ext>
            </a:extLst>
          </p:cNvPr>
          <p:cNvSpPr>
            <a:spLocks noGrp="1"/>
          </p:cNvSpPr>
          <p:nvPr>
            <p:ph type="sldNum" sz="quarter" idx="4"/>
          </p:nvPr>
        </p:nvSpPr>
        <p:spPr/>
        <p:txBody>
          <a:bodyPr/>
          <a:lstStyle/>
          <a:p>
            <a:fld id="{23AA811B-2EBD-4900-905E-5BE206449611}" type="slidenum">
              <a:rPr lang="en-GB" smtClean="0"/>
              <a:pPr/>
              <a:t>3</a:t>
            </a:fld>
            <a:endParaRPr lang="en-GB" dirty="0"/>
          </a:p>
        </p:txBody>
      </p:sp>
      <p:sp>
        <p:nvSpPr>
          <p:cNvPr id="5" name="Footer Placeholder 4">
            <a:extLst>
              <a:ext uri="{FF2B5EF4-FFF2-40B4-BE49-F238E27FC236}">
                <a16:creationId xmlns:a16="http://schemas.microsoft.com/office/drawing/2014/main" id="{87EE3184-9159-426D-BC07-573B07844619}"/>
              </a:ext>
            </a:extLst>
          </p:cNvPr>
          <p:cNvSpPr>
            <a:spLocks noGrp="1"/>
          </p:cNvSpPr>
          <p:nvPr>
            <p:ph type="ftr" sz="quarter" idx="11"/>
          </p:nvPr>
        </p:nvSpPr>
        <p:spPr/>
        <p:txBody>
          <a:bodyPr/>
          <a:lstStyle/>
          <a:p>
            <a:endParaRPr lang="en-GB" dirty="0"/>
          </a:p>
        </p:txBody>
      </p:sp>
    </p:spTree>
    <p:custDataLst>
      <p:custData r:id="rId1"/>
      <p:custData r:id="rId2"/>
      <p:tags r:id="rId3"/>
    </p:custDataLst>
    <p:extLst>
      <p:ext uri="{BB962C8B-B14F-4D97-AF65-F5344CB8AC3E}">
        <p14:creationId xmlns:p14="http://schemas.microsoft.com/office/powerpoint/2010/main" val="26197628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 name="Object 70" hidden="1">
            <a:extLst>
              <a:ext uri="{FF2B5EF4-FFF2-40B4-BE49-F238E27FC236}">
                <a16:creationId xmlns:a16="http://schemas.microsoft.com/office/drawing/2014/main" id="{DE6D8774-FDC0-4E3B-A2EA-AB9D26EF09B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7" name="think-cell Slide" r:id="rId11" imgW="421" imgH="423" progId="TCLayout.ActiveDocument.1">
                  <p:embed/>
                </p:oleObj>
              </mc:Choice>
              <mc:Fallback>
                <p:oleObj name="think-cell Slide" r:id="rId11" imgW="421" imgH="423" progId="TCLayout.ActiveDocument.1">
                  <p:embed/>
                  <p:pic>
                    <p:nvPicPr>
                      <p:cNvPr id="71" name="Object 70" hidden="1">
                        <a:extLst>
                          <a:ext uri="{FF2B5EF4-FFF2-40B4-BE49-F238E27FC236}">
                            <a16:creationId xmlns:a16="http://schemas.microsoft.com/office/drawing/2014/main" id="{DE6D8774-FDC0-4E3B-A2EA-AB9D26EF09B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0" name="Rectangle 69" hidden="1">
            <a:extLst>
              <a:ext uri="{FF2B5EF4-FFF2-40B4-BE49-F238E27FC236}">
                <a16:creationId xmlns:a16="http://schemas.microsoft.com/office/drawing/2014/main" id="{084D6A77-873F-4572-80B7-8F5DB786238E}"/>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noProof="0" dirty="0" err="1">
              <a:latin typeface="Apis For Office" panose="020B0504010101010104" pitchFamily="34" charset="0"/>
              <a:ea typeface="+mj-ea"/>
              <a:cs typeface="+mj-cs"/>
              <a:sym typeface="Apis For Office" panose="020B0504010101010104" pitchFamily="34" charset="0"/>
            </a:endParaRPr>
          </a:p>
        </p:txBody>
      </p:sp>
      <p:sp>
        <p:nvSpPr>
          <p:cNvPr id="15" name="Title 14">
            <a:extLst>
              <a:ext uri="{FF2B5EF4-FFF2-40B4-BE49-F238E27FC236}">
                <a16:creationId xmlns:a16="http://schemas.microsoft.com/office/drawing/2014/main" id="{43CD3646-6269-4B27-9A68-EFA01DDD7F31}"/>
              </a:ext>
            </a:extLst>
          </p:cNvPr>
          <p:cNvSpPr>
            <a:spLocks noGrp="1"/>
          </p:cNvSpPr>
          <p:nvPr>
            <p:ph type="title"/>
          </p:nvPr>
        </p:nvSpPr>
        <p:spPr/>
        <p:txBody>
          <a:bodyPr/>
          <a:lstStyle/>
          <a:p>
            <a:pPr lvl="0"/>
            <a:r>
              <a:rPr lang="en-GB" dirty="0"/>
              <a:t>Graduate recruitment process</a:t>
            </a:r>
            <a:endParaRPr lang="en-US" dirty="0"/>
          </a:p>
        </p:txBody>
      </p:sp>
      <p:sp>
        <p:nvSpPr>
          <p:cNvPr id="7" name="Freeform: Shape 6">
            <a:extLst>
              <a:ext uri="{FF2B5EF4-FFF2-40B4-BE49-F238E27FC236}">
                <a16:creationId xmlns:a16="http://schemas.microsoft.com/office/drawing/2014/main" id="{3459A9BA-7378-4CCF-BB02-18D7C1821C90}"/>
              </a:ext>
            </a:extLst>
          </p:cNvPr>
          <p:cNvSpPr>
            <a:spLocks/>
          </p:cNvSpPr>
          <p:nvPr/>
        </p:nvSpPr>
        <p:spPr>
          <a:xfrm>
            <a:off x="-114291" y="3796177"/>
            <a:ext cx="12408013" cy="635703"/>
          </a:xfrm>
          <a:custGeom>
            <a:avLst/>
            <a:gdLst>
              <a:gd name="connsiteX0" fmla="*/ 0 w 12198285"/>
              <a:gd name="connsiteY0" fmla="*/ 763699 h 763840"/>
              <a:gd name="connsiteX1" fmla="*/ 1225485 w 12198285"/>
              <a:gd name="connsiteY1" fmla="*/ 669431 h 763840"/>
              <a:gd name="connsiteX2" fmla="*/ 1800520 w 12198285"/>
              <a:gd name="connsiteY2" fmla="*/ 188664 h 763840"/>
              <a:gd name="connsiteX3" fmla="*/ 2441542 w 12198285"/>
              <a:gd name="connsiteY3" fmla="*/ 160384 h 763840"/>
              <a:gd name="connsiteX4" fmla="*/ 3205113 w 12198285"/>
              <a:gd name="connsiteY4" fmla="*/ 301786 h 763840"/>
              <a:gd name="connsiteX5" fmla="*/ 4421171 w 12198285"/>
              <a:gd name="connsiteY5" fmla="*/ 150957 h 763840"/>
              <a:gd name="connsiteX6" fmla="*/ 5769204 w 12198285"/>
              <a:gd name="connsiteY6" fmla="*/ 245225 h 763840"/>
              <a:gd name="connsiteX7" fmla="*/ 6872140 w 12198285"/>
              <a:gd name="connsiteY7" fmla="*/ 128 h 763840"/>
              <a:gd name="connsiteX8" fmla="*/ 8342722 w 12198285"/>
              <a:gd name="connsiteY8" fmla="*/ 282932 h 763840"/>
              <a:gd name="connsiteX9" fmla="*/ 9709608 w 12198285"/>
              <a:gd name="connsiteY9" fmla="*/ 94396 h 763840"/>
              <a:gd name="connsiteX10" fmla="*/ 11349872 w 12198285"/>
              <a:gd name="connsiteY10" fmla="*/ 509176 h 763840"/>
              <a:gd name="connsiteX11" fmla="*/ 12198285 w 12198285"/>
              <a:gd name="connsiteY11" fmla="*/ 377200 h 763840"/>
              <a:gd name="connsiteX0" fmla="*/ 0 w 12198285"/>
              <a:gd name="connsiteY0" fmla="*/ 763699 h 763699"/>
              <a:gd name="connsiteX1" fmla="*/ 1055803 w 12198285"/>
              <a:gd name="connsiteY1" fmla="*/ 113249 h 763699"/>
              <a:gd name="connsiteX2" fmla="*/ 1800520 w 12198285"/>
              <a:gd name="connsiteY2" fmla="*/ 188664 h 763699"/>
              <a:gd name="connsiteX3" fmla="*/ 2441542 w 12198285"/>
              <a:gd name="connsiteY3" fmla="*/ 160384 h 763699"/>
              <a:gd name="connsiteX4" fmla="*/ 3205113 w 12198285"/>
              <a:gd name="connsiteY4" fmla="*/ 301786 h 763699"/>
              <a:gd name="connsiteX5" fmla="*/ 4421171 w 12198285"/>
              <a:gd name="connsiteY5" fmla="*/ 150957 h 763699"/>
              <a:gd name="connsiteX6" fmla="*/ 5769204 w 12198285"/>
              <a:gd name="connsiteY6" fmla="*/ 245225 h 763699"/>
              <a:gd name="connsiteX7" fmla="*/ 6872140 w 12198285"/>
              <a:gd name="connsiteY7" fmla="*/ 128 h 763699"/>
              <a:gd name="connsiteX8" fmla="*/ 8342722 w 12198285"/>
              <a:gd name="connsiteY8" fmla="*/ 282932 h 763699"/>
              <a:gd name="connsiteX9" fmla="*/ 9709608 w 12198285"/>
              <a:gd name="connsiteY9" fmla="*/ 94396 h 763699"/>
              <a:gd name="connsiteX10" fmla="*/ 11349872 w 12198285"/>
              <a:gd name="connsiteY10" fmla="*/ 509176 h 763699"/>
              <a:gd name="connsiteX11" fmla="*/ 12198285 w 12198285"/>
              <a:gd name="connsiteY11" fmla="*/ 377200 h 763699"/>
              <a:gd name="connsiteX0" fmla="*/ 0 w 12217139"/>
              <a:gd name="connsiteY0" fmla="*/ 0 h 899120"/>
              <a:gd name="connsiteX1" fmla="*/ 1074657 w 12217139"/>
              <a:gd name="connsiteY1" fmla="*/ 490193 h 899120"/>
              <a:gd name="connsiteX2" fmla="*/ 1819374 w 12217139"/>
              <a:gd name="connsiteY2" fmla="*/ 565608 h 899120"/>
              <a:gd name="connsiteX3" fmla="*/ 2460396 w 12217139"/>
              <a:gd name="connsiteY3" fmla="*/ 537328 h 899120"/>
              <a:gd name="connsiteX4" fmla="*/ 3223967 w 12217139"/>
              <a:gd name="connsiteY4" fmla="*/ 678730 h 899120"/>
              <a:gd name="connsiteX5" fmla="*/ 4440025 w 12217139"/>
              <a:gd name="connsiteY5" fmla="*/ 527901 h 899120"/>
              <a:gd name="connsiteX6" fmla="*/ 5788058 w 12217139"/>
              <a:gd name="connsiteY6" fmla="*/ 622169 h 899120"/>
              <a:gd name="connsiteX7" fmla="*/ 6890994 w 12217139"/>
              <a:gd name="connsiteY7" fmla="*/ 377072 h 899120"/>
              <a:gd name="connsiteX8" fmla="*/ 8361576 w 12217139"/>
              <a:gd name="connsiteY8" fmla="*/ 659876 h 899120"/>
              <a:gd name="connsiteX9" fmla="*/ 9728462 w 12217139"/>
              <a:gd name="connsiteY9" fmla="*/ 471340 h 899120"/>
              <a:gd name="connsiteX10" fmla="*/ 11368726 w 12217139"/>
              <a:gd name="connsiteY10" fmla="*/ 886120 h 899120"/>
              <a:gd name="connsiteX11" fmla="*/ 12217139 w 12217139"/>
              <a:gd name="connsiteY11" fmla="*/ 754144 h 899120"/>
              <a:gd name="connsiteX0" fmla="*/ 0 w 12217139"/>
              <a:gd name="connsiteY0" fmla="*/ 0 h 899120"/>
              <a:gd name="connsiteX1" fmla="*/ 1084084 w 12217139"/>
              <a:gd name="connsiteY1" fmla="*/ 377072 h 899120"/>
              <a:gd name="connsiteX2" fmla="*/ 1819374 w 12217139"/>
              <a:gd name="connsiteY2" fmla="*/ 565608 h 899120"/>
              <a:gd name="connsiteX3" fmla="*/ 2460396 w 12217139"/>
              <a:gd name="connsiteY3" fmla="*/ 537328 h 899120"/>
              <a:gd name="connsiteX4" fmla="*/ 3223967 w 12217139"/>
              <a:gd name="connsiteY4" fmla="*/ 678730 h 899120"/>
              <a:gd name="connsiteX5" fmla="*/ 4440025 w 12217139"/>
              <a:gd name="connsiteY5" fmla="*/ 527901 h 899120"/>
              <a:gd name="connsiteX6" fmla="*/ 5788058 w 12217139"/>
              <a:gd name="connsiteY6" fmla="*/ 622169 h 899120"/>
              <a:gd name="connsiteX7" fmla="*/ 6890994 w 12217139"/>
              <a:gd name="connsiteY7" fmla="*/ 377072 h 899120"/>
              <a:gd name="connsiteX8" fmla="*/ 8361576 w 12217139"/>
              <a:gd name="connsiteY8" fmla="*/ 659876 h 899120"/>
              <a:gd name="connsiteX9" fmla="*/ 9728462 w 12217139"/>
              <a:gd name="connsiteY9" fmla="*/ 471340 h 899120"/>
              <a:gd name="connsiteX10" fmla="*/ 11368726 w 12217139"/>
              <a:gd name="connsiteY10" fmla="*/ 886120 h 899120"/>
              <a:gd name="connsiteX11" fmla="*/ 12217139 w 12217139"/>
              <a:gd name="connsiteY11" fmla="*/ 754144 h 899120"/>
              <a:gd name="connsiteX0" fmla="*/ 0 w 12217139"/>
              <a:gd name="connsiteY0" fmla="*/ 0 h 899120"/>
              <a:gd name="connsiteX1" fmla="*/ 1084084 w 12217139"/>
              <a:gd name="connsiteY1" fmla="*/ 377072 h 899120"/>
              <a:gd name="connsiteX2" fmla="*/ 1819374 w 12217139"/>
              <a:gd name="connsiteY2" fmla="*/ 565608 h 899120"/>
              <a:gd name="connsiteX3" fmla="*/ 2460396 w 12217139"/>
              <a:gd name="connsiteY3" fmla="*/ 537328 h 899120"/>
              <a:gd name="connsiteX4" fmla="*/ 3223967 w 12217139"/>
              <a:gd name="connsiteY4" fmla="*/ 678730 h 899120"/>
              <a:gd name="connsiteX5" fmla="*/ 4440025 w 12217139"/>
              <a:gd name="connsiteY5" fmla="*/ 527901 h 899120"/>
              <a:gd name="connsiteX6" fmla="*/ 5788058 w 12217139"/>
              <a:gd name="connsiteY6" fmla="*/ 622169 h 899120"/>
              <a:gd name="connsiteX7" fmla="*/ 6890994 w 12217139"/>
              <a:gd name="connsiteY7" fmla="*/ 377072 h 899120"/>
              <a:gd name="connsiteX8" fmla="*/ 8361576 w 12217139"/>
              <a:gd name="connsiteY8" fmla="*/ 659876 h 899120"/>
              <a:gd name="connsiteX9" fmla="*/ 9728462 w 12217139"/>
              <a:gd name="connsiteY9" fmla="*/ 471340 h 899120"/>
              <a:gd name="connsiteX10" fmla="*/ 11368726 w 12217139"/>
              <a:gd name="connsiteY10" fmla="*/ 886120 h 899120"/>
              <a:gd name="connsiteX11" fmla="*/ 12217139 w 12217139"/>
              <a:gd name="connsiteY11" fmla="*/ 754144 h 899120"/>
              <a:gd name="connsiteX0" fmla="*/ 0 w 12217139"/>
              <a:gd name="connsiteY0" fmla="*/ 0 h 899120"/>
              <a:gd name="connsiteX1" fmla="*/ 1084084 w 12217139"/>
              <a:gd name="connsiteY1" fmla="*/ 377072 h 899120"/>
              <a:gd name="connsiteX2" fmla="*/ 1819374 w 12217139"/>
              <a:gd name="connsiteY2" fmla="*/ 565608 h 899120"/>
              <a:gd name="connsiteX3" fmla="*/ 2460396 w 12217139"/>
              <a:gd name="connsiteY3" fmla="*/ 537328 h 899120"/>
              <a:gd name="connsiteX4" fmla="*/ 3223967 w 12217139"/>
              <a:gd name="connsiteY4" fmla="*/ 678730 h 899120"/>
              <a:gd name="connsiteX5" fmla="*/ 4440025 w 12217139"/>
              <a:gd name="connsiteY5" fmla="*/ 527901 h 899120"/>
              <a:gd name="connsiteX6" fmla="*/ 5788058 w 12217139"/>
              <a:gd name="connsiteY6" fmla="*/ 622169 h 899120"/>
              <a:gd name="connsiteX7" fmla="*/ 6890994 w 12217139"/>
              <a:gd name="connsiteY7" fmla="*/ 377072 h 899120"/>
              <a:gd name="connsiteX8" fmla="*/ 8361576 w 12217139"/>
              <a:gd name="connsiteY8" fmla="*/ 659876 h 899120"/>
              <a:gd name="connsiteX9" fmla="*/ 9728462 w 12217139"/>
              <a:gd name="connsiteY9" fmla="*/ 471340 h 899120"/>
              <a:gd name="connsiteX10" fmla="*/ 11368726 w 12217139"/>
              <a:gd name="connsiteY10" fmla="*/ 886120 h 899120"/>
              <a:gd name="connsiteX11" fmla="*/ 12217139 w 12217139"/>
              <a:gd name="connsiteY11" fmla="*/ 754144 h 899120"/>
              <a:gd name="connsiteX0" fmla="*/ 0 w 12122871"/>
              <a:gd name="connsiteY0" fmla="*/ 0 h 635169"/>
              <a:gd name="connsiteX1" fmla="*/ 989816 w 12122871"/>
              <a:gd name="connsiteY1" fmla="*/ 113121 h 635169"/>
              <a:gd name="connsiteX2" fmla="*/ 1725106 w 12122871"/>
              <a:gd name="connsiteY2" fmla="*/ 301657 h 635169"/>
              <a:gd name="connsiteX3" fmla="*/ 2366128 w 12122871"/>
              <a:gd name="connsiteY3" fmla="*/ 273377 h 635169"/>
              <a:gd name="connsiteX4" fmla="*/ 3129699 w 12122871"/>
              <a:gd name="connsiteY4" fmla="*/ 414779 h 635169"/>
              <a:gd name="connsiteX5" fmla="*/ 4345757 w 12122871"/>
              <a:gd name="connsiteY5" fmla="*/ 263950 h 635169"/>
              <a:gd name="connsiteX6" fmla="*/ 5693790 w 12122871"/>
              <a:gd name="connsiteY6" fmla="*/ 358218 h 635169"/>
              <a:gd name="connsiteX7" fmla="*/ 6796726 w 12122871"/>
              <a:gd name="connsiteY7" fmla="*/ 113121 h 635169"/>
              <a:gd name="connsiteX8" fmla="*/ 8267308 w 12122871"/>
              <a:gd name="connsiteY8" fmla="*/ 395925 h 635169"/>
              <a:gd name="connsiteX9" fmla="*/ 9634194 w 12122871"/>
              <a:gd name="connsiteY9" fmla="*/ 207389 h 635169"/>
              <a:gd name="connsiteX10" fmla="*/ 11274458 w 12122871"/>
              <a:gd name="connsiteY10" fmla="*/ 622169 h 635169"/>
              <a:gd name="connsiteX11" fmla="*/ 12122871 w 12122871"/>
              <a:gd name="connsiteY11" fmla="*/ 490193 h 635169"/>
              <a:gd name="connsiteX0" fmla="*/ 0 w 12122871"/>
              <a:gd name="connsiteY0" fmla="*/ 69945 h 705114"/>
              <a:gd name="connsiteX1" fmla="*/ 999243 w 12122871"/>
              <a:gd name="connsiteY1" fmla="*/ 13383 h 705114"/>
              <a:gd name="connsiteX2" fmla="*/ 1725106 w 12122871"/>
              <a:gd name="connsiteY2" fmla="*/ 371602 h 705114"/>
              <a:gd name="connsiteX3" fmla="*/ 2366128 w 12122871"/>
              <a:gd name="connsiteY3" fmla="*/ 343322 h 705114"/>
              <a:gd name="connsiteX4" fmla="*/ 3129699 w 12122871"/>
              <a:gd name="connsiteY4" fmla="*/ 484724 h 705114"/>
              <a:gd name="connsiteX5" fmla="*/ 4345757 w 12122871"/>
              <a:gd name="connsiteY5" fmla="*/ 333895 h 705114"/>
              <a:gd name="connsiteX6" fmla="*/ 5693790 w 12122871"/>
              <a:gd name="connsiteY6" fmla="*/ 428163 h 705114"/>
              <a:gd name="connsiteX7" fmla="*/ 6796726 w 12122871"/>
              <a:gd name="connsiteY7" fmla="*/ 183066 h 705114"/>
              <a:gd name="connsiteX8" fmla="*/ 8267308 w 12122871"/>
              <a:gd name="connsiteY8" fmla="*/ 465870 h 705114"/>
              <a:gd name="connsiteX9" fmla="*/ 9634194 w 12122871"/>
              <a:gd name="connsiteY9" fmla="*/ 277334 h 705114"/>
              <a:gd name="connsiteX10" fmla="*/ 11274458 w 12122871"/>
              <a:gd name="connsiteY10" fmla="*/ 692114 h 705114"/>
              <a:gd name="connsiteX11" fmla="*/ 12122871 w 12122871"/>
              <a:gd name="connsiteY11" fmla="*/ 560138 h 705114"/>
              <a:gd name="connsiteX0" fmla="*/ 0 w 12217139"/>
              <a:gd name="connsiteY0" fmla="*/ 14732 h 725315"/>
              <a:gd name="connsiteX1" fmla="*/ 1093511 w 12217139"/>
              <a:gd name="connsiteY1" fmla="*/ 33584 h 725315"/>
              <a:gd name="connsiteX2" fmla="*/ 1819374 w 12217139"/>
              <a:gd name="connsiteY2" fmla="*/ 391803 h 725315"/>
              <a:gd name="connsiteX3" fmla="*/ 2460396 w 12217139"/>
              <a:gd name="connsiteY3" fmla="*/ 363523 h 725315"/>
              <a:gd name="connsiteX4" fmla="*/ 3223967 w 12217139"/>
              <a:gd name="connsiteY4" fmla="*/ 504925 h 725315"/>
              <a:gd name="connsiteX5" fmla="*/ 4440025 w 12217139"/>
              <a:gd name="connsiteY5" fmla="*/ 354096 h 725315"/>
              <a:gd name="connsiteX6" fmla="*/ 5788058 w 12217139"/>
              <a:gd name="connsiteY6" fmla="*/ 448364 h 725315"/>
              <a:gd name="connsiteX7" fmla="*/ 6890994 w 12217139"/>
              <a:gd name="connsiteY7" fmla="*/ 203267 h 725315"/>
              <a:gd name="connsiteX8" fmla="*/ 8361576 w 12217139"/>
              <a:gd name="connsiteY8" fmla="*/ 486071 h 725315"/>
              <a:gd name="connsiteX9" fmla="*/ 9728462 w 12217139"/>
              <a:gd name="connsiteY9" fmla="*/ 297535 h 725315"/>
              <a:gd name="connsiteX10" fmla="*/ 11368726 w 12217139"/>
              <a:gd name="connsiteY10" fmla="*/ 712315 h 725315"/>
              <a:gd name="connsiteX11" fmla="*/ 12217139 w 12217139"/>
              <a:gd name="connsiteY11" fmla="*/ 580339 h 725315"/>
              <a:gd name="connsiteX0" fmla="*/ 0 w 12217139"/>
              <a:gd name="connsiteY0" fmla="*/ 109053 h 819636"/>
              <a:gd name="connsiteX1" fmla="*/ 914402 w 12217139"/>
              <a:gd name="connsiteY1" fmla="*/ 14783 h 819636"/>
              <a:gd name="connsiteX2" fmla="*/ 1819374 w 12217139"/>
              <a:gd name="connsiteY2" fmla="*/ 486124 h 819636"/>
              <a:gd name="connsiteX3" fmla="*/ 2460396 w 12217139"/>
              <a:gd name="connsiteY3" fmla="*/ 457844 h 819636"/>
              <a:gd name="connsiteX4" fmla="*/ 3223967 w 12217139"/>
              <a:gd name="connsiteY4" fmla="*/ 599246 h 819636"/>
              <a:gd name="connsiteX5" fmla="*/ 4440025 w 12217139"/>
              <a:gd name="connsiteY5" fmla="*/ 448417 h 819636"/>
              <a:gd name="connsiteX6" fmla="*/ 5788058 w 12217139"/>
              <a:gd name="connsiteY6" fmla="*/ 542685 h 819636"/>
              <a:gd name="connsiteX7" fmla="*/ 6890994 w 12217139"/>
              <a:gd name="connsiteY7" fmla="*/ 297588 h 819636"/>
              <a:gd name="connsiteX8" fmla="*/ 8361576 w 12217139"/>
              <a:gd name="connsiteY8" fmla="*/ 580392 h 819636"/>
              <a:gd name="connsiteX9" fmla="*/ 9728462 w 12217139"/>
              <a:gd name="connsiteY9" fmla="*/ 391856 h 819636"/>
              <a:gd name="connsiteX10" fmla="*/ 11368726 w 12217139"/>
              <a:gd name="connsiteY10" fmla="*/ 806636 h 819636"/>
              <a:gd name="connsiteX11" fmla="*/ 12217139 w 12217139"/>
              <a:gd name="connsiteY11" fmla="*/ 674660 h 819636"/>
              <a:gd name="connsiteX0" fmla="*/ 0 w 12217139"/>
              <a:gd name="connsiteY0" fmla="*/ 285010 h 807057"/>
              <a:gd name="connsiteX1" fmla="*/ 914402 w 12217139"/>
              <a:gd name="connsiteY1" fmla="*/ 2204 h 807057"/>
              <a:gd name="connsiteX2" fmla="*/ 1819374 w 12217139"/>
              <a:gd name="connsiteY2" fmla="*/ 473545 h 807057"/>
              <a:gd name="connsiteX3" fmla="*/ 2460396 w 12217139"/>
              <a:gd name="connsiteY3" fmla="*/ 445265 h 807057"/>
              <a:gd name="connsiteX4" fmla="*/ 3223967 w 12217139"/>
              <a:gd name="connsiteY4" fmla="*/ 586667 h 807057"/>
              <a:gd name="connsiteX5" fmla="*/ 4440025 w 12217139"/>
              <a:gd name="connsiteY5" fmla="*/ 435838 h 807057"/>
              <a:gd name="connsiteX6" fmla="*/ 5788058 w 12217139"/>
              <a:gd name="connsiteY6" fmla="*/ 530106 h 807057"/>
              <a:gd name="connsiteX7" fmla="*/ 6890994 w 12217139"/>
              <a:gd name="connsiteY7" fmla="*/ 285009 h 807057"/>
              <a:gd name="connsiteX8" fmla="*/ 8361576 w 12217139"/>
              <a:gd name="connsiteY8" fmla="*/ 567813 h 807057"/>
              <a:gd name="connsiteX9" fmla="*/ 9728462 w 12217139"/>
              <a:gd name="connsiteY9" fmla="*/ 379277 h 807057"/>
              <a:gd name="connsiteX10" fmla="*/ 11368726 w 12217139"/>
              <a:gd name="connsiteY10" fmla="*/ 794057 h 807057"/>
              <a:gd name="connsiteX11" fmla="*/ 12217139 w 12217139"/>
              <a:gd name="connsiteY11" fmla="*/ 662081 h 807057"/>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23967 w 12217139"/>
              <a:gd name="connsiteY4" fmla="*/ 587880 h 808270"/>
              <a:gd name="connsiteX5" fmla="*/ 4440025 w 12217139"/>
              <a:gd name="connsiteY5" fmla="*/ 437051 h 808270"/>
              <a:gd name="connsiteX6" fmla="*/ 5788058 w 12217139"/>
              <a:gd name="connsiteY6" fmla="*/ 531319 h 808270"/>
              <a:gd name="connsiteX7" fmla="*/ 6890994 w 12217139"/>
              <a:gd name="connsiteY7" fmla="*/ 28622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33394 w 12217139"/>
              <a:gd name="connsiteY4" fmla="*/ 653868 h 808270"/>
              <a:gd name="connsiteX5" fmla="*/ 4440025 w 12217139"/>
              <a:gd name="connsiteY5" fmla="*/ 437051 h 808270"/>
              <a:gd name="connsiteX6" fmla="*/ 5788058 w 12217139"/>
              <a:gd name="connsiteY6" fmla="*/ 531319 h 808270"/>
              <a:gd name="connsiteX7" fmla="*/ 6890994 w 12217139"/>
              <a:gd name="connsiteY7" fmla="*/ 28622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33394 w 12217139"/>
              <a:gd name="connsiteY4" fmla="*/ 653868 h 808270"/>
              <a:gd name="connsiteX5" fmla="*/ 4440025 w 12217139"/>
              <a:gd name="connsiteY5" fmla="*/ 437051 h 808270"/>
              <a:gd name="connsiteX6" fmla="*/ 5788058 w 12217139"/>
              <a:gd name="connsiteY6" fmla="*/ 531319 h 808270"/>
              <a:gd name="connsiteX7" fmla="*/ 6890994 w 12217139"/>
              <a:gd name="connsiteY7" fmla="*/ 28622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33394 w 12217139"/>
              <a:gd name="connsiteY4" fmla="*/ 653868 h 808270"/>
              <a:gd name="connsiteX5" fmla="*/ 4440025 w 12217139"/>
              <a:gd name="connsiteY5" fmla="*/ 437051 h 808270"/>
              <a:gd name="connsiteX6" fmla="*/ 5788058 w 12217139"/>
              <a:gd name="connsiteY6" fmla="*/ 531319 h 808270"/>
              <a:gd name="connsiteX7" fmla="*/ 6975836 w 12217139"/>
              <a:gd name="connsiteY7" fmla="*/ 22966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33394 w 12217139"/>
              <a:gd name="connsiteY4" fmla="*/ 653868 h 808270"/>
              <a:gd name="connsiteX5" fmla="*/ 4440025 w 12217139"/>
              <a:gd name="connsiteY5" fmla="*/ 437051 h 808270"/>
              <a:gd name="connsiteX6" fmla="*/ 5788058 w 12217139"/>
              <a:gd name="connsiteY6" fmla="*/ 531319 h 808270"/>
              <a:gd name="connsiteX7" fmla="*/ 6975836 w 12217139"/>
              <a:gd name="connsiteY7" fmla="*/ 22966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125855 h 647902"/>
              <a:gd name="connsiteX1" fmla="*/ 914402 w 12217139"/>
              <a:gd name="connsiteY1" fmla="*/ 12731 h 647902"/>
              <a:gd name="connsiteX2" fmla="*/ 1819374 w 12217139"/>
              <a:gd name="connsiteY2" fmla="*/ 314390 h 647902"/>
              <a:gd name="connsiteX3" fmla="*/ 2460396 w 12217139"/>
              <a:gd name="connsiteY3" fmla="*/ 286110 h 647902"/>
              <a:gd name="connsiteX4" fmla="*/ 3233394 w 12217139"/>
              <a:gd name="connsiteY4" fmla="*/ 493500 h 647902"/>
              <a:gd name="connsiteX5" fmla="*/ 4440025 w 12217139"/>
              <a:gd name="connsiteY5" fmla="*/ 276683 h 647902"/>
              <a:gd name="connsiteX6" fmla="*/ 5788058 w 12217139"/>
              <a:gd name="connsiteY6" fmla="*/ 370951 h 647902"/>
              <a:gd name="connsiteX7" fmla="*/ 6975836 w 12217139"/>
              <a:gd name="connsiteY7" fmla="*/ 69294 h 647902"/>
              <a:gd name="connsiteX8" fmla="*/ 8361576 w 12217139"/>
              <a:gd name="connsiteY8" fmla="*/ 408658 h 647902"/>
              <a:gd name="connsiteX9" fmla="*/ 9728462 w 12217139"/>
              <a:gd name="connsiteY9" fmla="*/ 220122 h 647902"/>
              <a:gd name="connsiteX10" fmla="*/ 11368726 w 12217139"/>
              <a:gd name="connsiteY10" fmla="*/ 634902 h 647902"/>
              <a:gd name="connsiteX11" fmla="*/ 12217139 w 12217139"/>
              <a:gd name="connsiteY11" fmla="*/ 502926 h 647902"/>
              <a:gd name="connsiteX0" fmla="*/ 0 w 12179432"/>
              <a:gd name="connsiteY0" fmla="*/ 236351 h 635849"/>
              <a:gd name="connsiteX1" fmla="*/ 876695 w 12179432"/>
              <a:gd name="connsiteY1" fmla="*/ 678 h 635849"/>
              <a:gd name="connsiteX2" fmla="*/ 1781667 w 12179432"/>
              <a:gd name="connsiteY2" fmla="*/ 302337 h 635849"/>
              <a:gd name="connsiteX3" fmla="*/ 2422689 w 12179432"/>
              <a:gd name="connsiteY3" fmla="*/ 274057 h 635849"/>
              <a:gd name="connsiteX4" fmla="*/ 3195687 w 12179432"/>
              <a:gd name="connsiteY4" fmla="*/ 481447 h 635849"/>
              <a:gd name="connsiteX5" fmla="*/ 4402318 w 12179432"/>
              <a:gd name="connsiteY5" fmla="*/ 264630 h 635849"/>
              <a:gd name="connsiteX6" fmla="*/ 5750351 w 12179432"/>
              <a:gd name="connsiteY6" fmla="*/ 358898 h 635849"/>
              <a:gd name="connsiteX7" fmla="*/ 6938129 w 12179432"/>
              <a:gd name="connsiteY7" fmla="*/ 57241 h 635849"/>
              <a:gd name="connsiteX8" fmla="*/ 8323869 w 12179432"/>
              <a:gd name="connsiteY8" fmla="*/ 396605 h 635849"/>
              <a:gd name="connsiteX9" fmla="*/ 9690755 w 12179432"/>
              <a:gd name="connsiteY9" fmla="*/ 208069 h 635849"/>
              <a:gd name="connsiteX10" fmla="*/ 11331019 w 12179432"/>
              <a:gd name="connsiteY10" fmla="*/ 622849 h 635849"/>
              <a:gd name="connsiteX11" fmla="*/ 12179432 w 12179432"/>
              <a:gd name="connsiteY11" fmla="*/ 490873 h 635849"/>
              <a:gd name="connsiteX0" fmla="*/ 0 w 12179432"/>
              <a:gd name="connsiteY0" fmla="*/ 260408 h 659906"/>
              <a:gd name="connsiteX1" fmla="*/ 876695 w 12179432"/>
              <a:gd name="connsiteY1" fmla="*/ 24735 h 659906"/>
              <a:gd name="connsiteX2" fmla="*/ 1781667 w 12179432"/>
              <a:gd name="connsiteY2" fmla="*/ 326394 h 659906"/>
              <a:gd name="connsiteX3" fmla="*/ 2422689 w 12179432"/>
              <a:gd name="connsiteY3" fmla="*/ 298114 h 659906"/>
              <a:gd name="connsiteX4" fmla="*/ 3195687 w 12179432"/>
              <a:gd name="connsiteY4" fmla="*/ 505504 h 659906"/>
              <a:gd name="connsiteX5" fmla="*/ 4402318 w 12179432"/>
              <a:gd name="connsiteY5" fmla="*/ 288687 h 659906"/>
              <a:gd name="connsiteX6" fmla="*/ 5750351 w 12179432"/>
              <a:gd name="connsiteY6" fmla="*/ 382955 h 659906"/>
              <a:gd name="connsiteX7" fmla="*/ 6938129 w 12179432"/>
              <a:gd name="connsiteY7" fmla="*/ 81298 h 659906"/>
              <a:gd name="connsiteX8" fmla="*/ 8323869 w 12179432"/>
              <a:gd name="connsiteY8" fmla="*/ 420662 h 659906"/>
              <a:gd name="connsiteX9" fmla="*/ 9690755 w 12179432"/>
              <a:gd name="connsiteY9" fmla="*/ 232126 h 659906"/>
              <a:gd name="connsiteX10" fmla="*/ 11331019 w 12179432"/>
              <a:gd name="connsiteY10" fmla="*/ 646906 h 659906"/>
              <a:gd name="connsiteX11" fmla="*/ 12179432 w 12179432"/>
              <a:gd name="connsiteY11" fmla="*/ 514930 h 659906"/>
              <a:gd name="connsiteX0" fmla="*/ 0 w 12179432"/>
              <a:gd name="connsiteY0" fmla="*/ 236204 h 635702"/>
              <a:gd name="connsiteX1" fmla="*/ 876695 w 12179432"/>
              <a:gd name="connsiteY1" fmla="*/ 531 h 635702"/>
              <a:gd name="connsiteX2" fmla="*/ 1781667 w 12179432"/>
              <a:gd name="connsiteY2" fmla="*/ 302190 h 635702"/>
              <a:gd name="connsiteX3" fmla="*/ 2422689 w 12179432"/>
              <a:gd name="connsiteY3" fmla="*/ 273910 h 635702"/>
              <a:gd name="connsiteX4" fmla="*/ 3195687 w 12179432"/>
              <a:gd name="connsiteY4" fmla="*/ 481300 h 635702"/>
              <a:gd name="connsiteX5" fmla="*/ 4402318 w 12179432"/>
              <a:gd name="connsiteY5" fmla="*/ 264483 h 635702"/>
              <a:gd name="connsiteX6" fmla="*/ 5750351 w 12179432"/>
              <a:gd name="connsiteY6" fmla="*/ 358751 h 635702"/>
              <a:gd name="connsiteX7" fmla="*/ 6938129 w 12179432"/>
              <a:gd name="connsiteY7" fmla="*/ 57094 h 635702"/>
              <a:gd name="connsiteX8" fmla="*/ 8323869 w 12179432"/>
              <a:gd name="connsiteY8" fmla="*/ 396458 h 635702"/>
              <a:gd name="connsiteX9" fmla="*/ 9690755 w 12179432"/>
              <a:gd name="connsiteY9" fmla="*/ 207922 h 635702"/>
              <a:gd name="connsiteX10" fmla="*/ 11331019 w 12179432"/>
              <a:gd name="connsiteY10" fmla="*/ 622702 h 635702"/>
              <a:gd name="connsiteX11" fmla="*/ 12179432 w 12179432"/>
              <a:gd name="connsiteY11" fmla="*/ 490726 h 635702"/>
              <a:gd name="connsiteX0" fmla="*/ 0 w 12217140"/>
              <a:gd name="connsiteY0" fmla="*/ 236204 h 635702"/>
              <a:gd name="connsiteX1" fmla="*/ 914403 w 12217140"/>
              <a:gd name="connsiteY1" fmla="*/ 531 h 635702"/>
              <a:gd name="connsiteX2" fmla="*/ 1819375 w 12217140"/>
              <a:gd name="connsiteY2" fmla="*/ 302190 h 635702"/>
              <a:gd name="connsiteX3" fmla="*/ 2460397 w 12217140"/>
              <a:gd name="connsiteY3" fmla="*/ 273910 h 635702"/>
              <a:gd name="connsiteX4" fmla="*/ 3233395 w 12217140"/>
              <a:gd name="connsiteY4" fmla="*/ 481300 h 635702"/>
              <a:gd name="connsiteX5" fmla="*/ 4440026 w 12217140"/>
              <a:gd name="connsiteY5" fmla="*/ 264483 h 635702"/>
              <a:gd name="connsiteX6" fmla="*/ 5788059 w 12217140"/>
              <a:gd name="connsiteY6" fmla="*/ 358751 h 635702"/>
              <a:gd name="connsiteX7" fmla="*/ 6975837 w 12217140"/>
              <a:gd name="connsiteY7" fmla="*/ 57094 h 635702"/>
              <a:gd name="connsiteX8" fmla="*/ 8361577 w 12217140"/>
              <a:gd name="connsiteY8" fmla="*/ 396458 h 635702"/>
              <a:gd name="connsiteX9" fmla="*/ 9728463 w 12217140"/>
              <a:gd name="connsiteY9" fmla="*/ 207922 h 635702"/>
              <a:gd name="connsiteX10" fmla="*/ 11368727 w 12217140"/>
              <a:gd name="connsiteY10" fmla="*/ 622702 h 635702"/>
              <a:gd name="connsiteX11" fmla="*/ 12217140 w 12217140"/>
              <a:gd name="connsiteY11" fmla="*/ 490726 h 635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17140" h="635702">
                <a:moveTo>
                  <a:pt x="0" y="236204"/>
                </a:moveTo>
                <a:cubicBezTo>
                  <a:pt x="462698" y="152147"/>
                  <a:pt x="611174" y="-10467"/>
                  <a:pt x="914403" y="531"/>
                </a:cubicBezTo>
                <a:cubicBezTo>
                  <a:pt x="1217632" y="11529"/>
                  <a:pt x="1561709" y="256627"/>
                  <a:pt x="1819375" y="302190"/>
                </a:cubicBezTo>
                <a:cubicBezTo>
                  <a:pt x="2077041" y="347753"/>
                  <a:pt x="2224727" y="244058"/>
                  <a:pt x="2460397" y="273910"/>
                </a:cubicBezTo>
                <a:cubicBezTo>
                  <a:pt x="2696067" y="303762"/>
                  <a:pt x="2799763" y="492298"/>
                  <a:pt x="3233395" y="481300"/>
                </a:cubicBezTo>
                <a:cubicBezTo>
                  <a:pt x="3667027" y="470302"/>
                  <a:pt x="4014249" y="284908"/>
                  <a:pt x="4440026" y="264483"/>
                </a:cubicBezTo>
                <a:cubicBezTo>
                  <a:pt x="4865803" y="244058"/>
                  <a:pt x="5365424" y="393316"/>
                  <a:pt x="5788059" y="358751"/>
                </a:cubicBezTo>
                <a:cubicBezTo>
                  <a:pt x="6210694" y="324186"/>
                  <a:pt x="6405515" y="50810"/>
                  <a:pt x="6975837" y="57094"/>
                </a:cubicBezTo>
                <a:cubicBezTo>
                  <a:pt x="7546159" y="63378"/>
                  <a:pt x="7902806" y="371320"/>
                  <a:pt x="8361577" y="396458"/>
                </a:cubicBezTo>
                <a:cubicBezTo>
                  <a:pt x="8820348" y="421596"/>
                  <a:pt x="9227271" y="170215"/>
                  <a:pt x="9728463" y="207922"/>
                </a:cubicBezTo>
                <a:cubicBezTo>
                  <a:pt x="10229655" y="245629"/>
                  <a:pt x="10953948" y="575568"/>
                  <a:pt x="11368727" y="622702"/>
                </a:cubicBezTo>
                <a:cubicBezTo>
                  <a:pt x="11783507" y="669836"/>
                  <a:pt x="12000323" y="580281"/>
                  <a:pt x="12217140" y="490726"/>
                </a:cubicBezTo>
              </a:path>
            </a:pathLst>
          </a:custGeom>
          <a:noFill/>
          <a:ln w="76200">
            <a:solidFill>
              <a:srgbClr val="EA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Ellipse 14">
            <a:extLst>
              <a:ext uri="{FF2B5EF4-FFF2-40B4-BE49-F238E27FC236}">
                <a16:creationId xmlns:a16="http://schemas.microsoft.com/office/drawing/2014/main" id="{A55D6E18-DC6F-4996-AA93-86A8E2496BAC}"/>
              </a:ext>
            </a:extLst>
          </p:cNvPr>
          <p:cNvSpPr>
            <a:spLocks/>
          </p:cNvSpPr>
          <p:nvPr>
            <p:custDataLst>
              <p:tags r:id="rId4"/>
            </p:custDataLst>
          </p:nvPr>
        </p:nvSpPr>
        <p:spPr>
          <a:xfrm>
            <a:off x="972462" y="3214028"/>
            <a:ext cx="1260000" cy="1260000"/>
          </a:xfrm>
          <a:prstGeom prst="ellipse">
            <a:avLst/>
          </a:prstGeom>
          <a:solidFill>
            <a:srgbClr val="FFFFFF"/>
          </a:solidFill>
          <a:ln w="3810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r>
              <a:rPr lang="en-GB" sz="1200" b="1" dirty="0">
                <a:solidFill>
                  <a:srgbClr val="001965"/>
                </a:solidFill>
                <a:latin typeface="+mj-lt"/>
                <a:ea typeface="Verdana" panose="020B0604030504040204" pitchFamily="34" charset="0"/>
              </a:rPr>
              <a:t>Upload application</a:t>
            </a:r>
          </a:p>
        </p:txBody>
      </p:sp>
      <p:sp>
        <p:nvSpPr>
          <p:cNvPr id="11" name="Tekstfelt 20">
            <a:extLst>
              <a:ext uri="{FF2B5EF4-FFF2-40B4-BE49-F238E27FC236}">
                <a16:creationId xmlns:a16="http://schemas.microsoft.com/office/drawing/2014/main" id="{60340238-6BBE-4705-894E-E5ABCD172098}"/>
              </a:ext>
            </a:extLst>
          </p:cNvPr>
          <p:cNvSpPr txBox="1">
            <a:spLocks/>
          </p:cNvSpPr>
          <p:nvPr/>
        </p:nvSpPr>
        <p:spPr>
          <a:xfrm>
            <a:off x="1291393" y="2098626"/>
            <a:ext cx="1511766" cy="369332"/>
          </a:xfrm>
          <a:prstGeom prst="rect">
            <a:avLst/>
          </a:prstGeom>
          <a:noFill/>
        </p:spPr>
        <p:txBody>
          <a:bodyPr wrap="square" lIns="0" tIns="0" rIns="0" bIns="0" rtlCol="0">
            <a:spAutoFit/>
          </a:bodyPr>
          <a:lstStyle/>
          <a:p>
            <a:pPr lvl="0"/>
            <a:r>
              <a:rPr lang="en-GB" sz="1200" b="1" dirty="0">
                <a:solidFill>
                  <a:srgbClr val="001965"/>
                </a:solidFill>
                <a:latin typeface="+mj-lt"/>
                <a:ea typeface="Verdana" panose="020B0604030504040204" pitchFamily="34" charset="0"/>
              </a:rPr>
              <a:t>17 November 2020 – 6 January 2021</a:t>
            </a:r>
            <a:endParaRPr lang="en-GB" sz="1200" dirty="0">
              <a:solidFill>
                <a:srgbClr val="001965"/>
              </a:solidFill>
              <a:latin typeface="+mj-lt"/>
              <a:ea typeface="Verdana" panose="020B0604030504040204" pitchFamily="34" charset="0"/>
            </a:endParaRPr>
          </a:p>
        </p:txBody>
      </p:sp>
      <p:sp>
        <p:nvSpPr>
          <p:cNvPr id="42" name="Ellipse 14">
            <a:extLst>
              <a:ext uri="{FF2B5EF4-FFF2-40B4-BE49-F238E27FC236}">
                <a16:creationId xmlns:a16="http://schemas.microsoft.com/office/drawing/2014/main" id="{DE9B5A0F-ED03-40BC-A51E-0AA859C0A058}"/>
              </a:ext>
            </a:extLst>
          </p:cNvPr>
          <p:cNvSpPr>
            <a:spLocks/>
          </p:cNvSpPr>
          <p:nvPr>
            <p:custDataLst>
              <p:tags r:id="rId5"/>
            </p:custDataLst>
          </p:nvPr>
        </p:nvSpPr>
        <p:spPr>
          <a:xfrm>
            <a:off x="3446690" y="3559038"/>
            <a:ext cx="1260000" cy="1260000"/>
          </a:xfrm>
          <a:prstGeom prst="ellipse">
            <a:avLst/>
          </a:prstGeom>
          <a:solidFill>
            <a:srgbClr val="FFFFFF"/>
          </a:solidFill>
          <a:ln w="3810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r>
              <a:rPr lang="en-GB" sz="1200" b="1" dirty="0">
                <a:solidFill>
                  <a:srgbClr val="001965"/>
                </a:solidFill>
                <a:latin typeface="+mj-lt"/>
                <a:ea typeface="Verdana" panose="020B0604030504040204" pitchFamily="34" charset="0"/>
              </a:rPr>
              <a:t>1</a:t>
            </a:r>
            <a:r>
              <a:rPr lang="en-GB" sz="1200" b="1" baseline="30000" dirty="0">
                <a:solidFill>
                  <a:srgbClr val="001965"/>
                </a:solidFill>
                <a:latin typeface="+mj-lt"/>
                <a:ea typeface="Verdana" panose="020B0604030504040204" pitchFamily="34" charset="0"/>
              </a:rPr>
              <a:t>st</a:t>
            </a:r>
            <a:r>
              <a:rPr lang="en-GB" sz="1200" b="1" dirty="0">
                <a:solidFill>
                  <a:srgbClr val="001965"/>
                </a:solidFill>
                <a:latin typeface="+mj-lt"/>
                <a:ea typeface="Verdana" panose="020B0604030504040204" pitchFamily="34" charset="0"/>
              </a:rPr>
              <a:t> interview</a:t>
            </a:r>
          </a:p>
        </p:txBody>
      </p:sp>
      <p:sp>
        <p:nvSpPr>
          <p:cNvPr id="43" name="Ellipse 14">
            <a:extLst>
              <a:ext uri="{FF2B5EF4-FFF2-40B4-BE49-F238E27FC236}">
                <a16:creationId xmlns:a16="http://schemas.microsoft.com/office/drawing/2014/main" id="{079BD1C2-2B0D-4452-A4B4-2853CDD217C8}"/>
              </a:ext>
            </a:extLst>
          </p:cNvPr>
          <p:cNvSpPr>
            <a:spLocks/>
          </p:cNvSpPr>
          <p:nvPr>
            <p:custDataLst>
              <p:tags r:id="rId6"/>
            </p:custDataLst>
          </p:nvPr>
        </p:nvSpPr>
        <p:spPr>
          <a:xfrm>
            <a:off x="5623403" y="3293044"/>
            <a:ext cx="1260000" cy="1260000"/>
          </a:xfrm>
          <a:prstGeom prst="ellipse">
            <a:avLst/>
          </a:prstGeom>
          <a:solidFill>
            <a:srgbClr val="FFFFFF"/>
          </a:solidFill>
          <a:ln w="3810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r>
              <a:rPr lang="en-GB" sz="1200" b="1" dirty="0">
                <a:solidFill>
                  <a:srgbClr val="001965"/>
                </a:solidFill>
                <a:latin typeface="+mj-lt"/>
                <a:ea typeface="Verdana" panose="020B0604030504040204" pitchFamily="34" charset="0"/>
              </a:rPr>
              <a:t>2</a:t>
            </a:r>
            <a:r>
              <a:rPr lang="en-GB" sz="1200" b="1" baseline="30000" dirty="0">
                <a:solidFill>
                  <a:srgbClr val="001965"/>
                </a:solidFill>
                <a:latin typeface="+mj-lt"/>
                <a:ea typeface="Verdana" panose="020B0604030504040204" pitchFamily="34" charset="0"/>
              </a:rPr>
              <a:t>nd</a:t>
            </a:r>
            <a:r>
              <a:rPr lang="en-GB" sz="1200" b="1" dirty="0">
                <a:solidFill>
                  <a:srgbClr val="001965"/>
                </a:solidFill>
                <a:latin typeface="+mj-lt"/>
                <a:ea typeface="Verdana" panose="020B0604030504040204" pitchFamily="34" charset="0"/>
              </a:rPr>
              <a:t> interview</a:t>
            </a:r>
          </a:p>
        </p:txBody>
      </p:sp>
      <p:sp>
        <p:nvSpPr>
          <p:cNvPr id="44" name="Ellipse 14">
            <a:extLst>
              <a:ext uri="{FF2B5EF4-FFF2-40B4-BE49-F238E27FC236}">
                <a16:creationId xmlns:a16="http://schemas.microsoft.com/office/drawing/2014/main" id="{3392D38F-F730-4919-BE15-D06E742A6266}"/>
              </a:ext>
            </a:extLst>
          </p:cNvPr>
          <p:cNvSpPr>
            <a:spLocks/>
          </p:cNvSpPr>
          <p:nvPr>
            <p:custDataLst>
              <p:tags r:id="rId7"/>
            </p:custDataLst>
          </p:nvPr>
        </p:nvSpPr>
        <p:spPr>
          <a:xfrm>
            <a:off x="7937188" y="3379038"/>
            <a:ext cx="1440000" cy="1440000"/>
          </a:xfrm>
          <a:prstGeom prst="ellipse">
            <a:avLst/>
          </a:prstGeom>
          <a:solidFill>
            <a:srgbClr val="FFFFFF"/>
          </a:solidFill>
          <a:ln w="38100">
            <a:solidFill>
              <a:srgbClr val="2A918B"/>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r>
              <a:rPr lang="en-GB" sz="1200" b="1" dirty="0">
                <a:solidFill>
                  <a:srgbClr val="001965"/>
                </a:solidFill>
                <a:latin typeface="+mj-lt"/>
                <a:ea typeface="Verdana" panose="020B0604030504040204" pitchFamily="34" charset="0"/>
              </a:rPr>
              <a:t>Graduate Recruitment Centre</a:t>
            </a:r>
          </a:p>
        </p:txBody>
      </p:sp>
      <p:sp>
        <p:nvSpPr>
          <p:cNvPr id="45" name="Ellipse 14">
            <a:extLst>
              <a:ext uri="{FF2B5EF4-FFF2-40B4-BE49-F238E27FC236}">
                <a16:creationId xmlns:a16="http://schemas.microsoft.com/office/drawing/2014/main" id="{440912BC-BF2E-464E-BD23-0375F79FF52C}"/>
              </a:ext>
            </a:extLst>
          </p:cNvPr>
          <p:cNvSpPr>
            <a:spLocks/>
          </p:cNvSpPr>
          <p:nvPr>
            <p:custDataLst>
              <p:tags r:id="rId8"/>
            </p:custDataLst>
          </p:nvPr>
        </p:nvSpPr>
        <p:spPr>
          <a:xfrm>
            <a:off x="10426215" y="3919038"/>
            <a:ext cx="900000" cy="900000"/>
          </a:xfrm>
          <a:prstGeom prst="ellipse">
            <a:avLst/>
          </a:prstGeom>
          <a:solidFill>
            <a:srgbClr val="FFFFFF"/>
          </a:solidFill>
          <a:ln w="38100">
            <a:solidFill>
              <a:srgbClr val="EAAB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r>
              <a:rPr lang="en-GB" sz="1200" b="1" dirty="0">
                <a:solidFill>
                  <a:srgbClr val="001965"/>
                </a:solidFill>
                <a:latin typeface="+mj-lt"/>
                <a:ea typeface="Verdana" panose="020B0604030504040204" pitchFamily="34" charset="0"/>
              </a:rPr>
              <a:t>Start date</a:t>
            </a:r>
          </a:p>
        </p:txBody>
      </p:sp>
      <p:cxnSp>
        <p:nvCxnSpPr>
          <p:cNvPr id="14" name="Straight Connector 13">
            <a:extLst>
              <a:ext uri="{FF2B5EF4-FFF2-40B4-BE49-F238E27FC236}">
                <a16:creationId xmlns:a16="http://schemas.microsoft.com/office/drawing/2014/main" id="{871BF608-B1CB-4E93-8820-1AD8E294A49F}"/>
              </a:ext>
            </a:extLst>
          </p:cNvPr>
          <p:cNvCxnSpPr>
            <a:cxnSpLocks/>
          </p:cNvCxnSpPr>
          <p:nvPr/>
        </p:nvCxnSpPr>
        <p:spPr>
          <a:xfrm flipV="1">
            <a:off x="1156985" y="2098626"/>
            <a:ext cx="0" cy="1299925"/>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CE9D97B-263D-4251-AED8-C500F4484802}"/>
              </a:ext>
            </a:extLst>
          </p:cNvPr>
          <p:cNvCxnSpPr>
            <a:cxnSpLocks/>
          </p:cNvCxnSpPr>
          <p:nvPr/>
        </p:nvCxnSpPr>
        <p:spPr>
          <a:xfrm flipV="1">
            <a:off x="4522167" y="4650523"/>
            <a:ext cx="0" cy="129540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7A693C2-DAEB-4FA0-BFF6-7C79BD58ACB5}"/>
              </a:ext>
            </a:extLst>
          </p:cNvPr>
          <p:cNvCxnSpPr>
            <a:cxnSpLocks/>
            <a:stCxn id="43" idx="1"/>
          </p:cNvCxnSpPr>
          <p:nvPr/>
        </p:nvCxnSpPr>
        <p:spPr>
          <a:xfrm flipV="1">
            <a:off x="5807926" y="2297610"/>
            <a:ext cx="0" cy="1179957"/>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AB3791A-E23D-44DE-8932-4F924E7713A7}"/>
              </a:ext>
            </a:extLst>
          </p:cNvPr>
          <p:cNvCxnSpPr>
            <a:cxnSpLocks/>
            <a:endCxn id="44" idx="5"/>
          </p:cNvCxnSpPr>
          <p:nvPr/>
        </p:nvCxnSpPr>
        <p:spPr>
          <a:xfrm flipV="1">
            <a:off x="9166305" y="4608154"/>
            <a:ext cx="0" cy="129540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52BCFA2-51E2-4395-B947-C20AD87E7C07}"/>
              </a:ext>
            </a:extLst>
          </p:cNvPr>
          <p:cNvCxnSpPr>
            <a:cxnSpLocks/>
          </p:cNvCxnSpPr>
          <p:nvPr/>
        </p:nvCxnSpPr>
        <p:spPr>
          <a:xfrm flipV="1">
            <a:off x="10558017" y="2669292"/>
            <a:ext cx="9445" cy="129540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4" name="Tekstfelt 20">
            <a:extLst>
              <a:ext uri="{FF2B5EF4-FFF2-40B4-BE49-F238E27FC236}">
                <a16:creationId xmlns:a16="http://schemas.microsoft.com/office/drawing/2014/main" id="{2714838E-FC89-4D63-A160-D32172A4AE4B}"/>
              </a:ext>
            </a:extLst>
          </p:cNvPr>
          <p:cNvSpPr txBox="1">
            <a:spLocks/>
          </p:cNvSpPr>
          <p:nvPr/>
        </p:nvSpPr>
        <p:spPr>
          <a:xfrm>
            <a:off x="10699264" y="2669292"/>
            <a:ext cx="1054025" cy="369332"/>
          </a:xfrm>
          <a:prstGeom prst="rect">
            <a:avLst/>
          </a:prstGeom>
          <a:noFill/>
        </p:spPr>
        <p:txBody>
          <a:bodyPr wrap="square" lIns="0" tIns="0" rIns="0" bIns="0" rtlCol="0">
            <a:spAutoFit/>
          </a:bodyPr>
          <a:lstStyle/>
          <a:p>
            <a:pPr lvl="0"/>
            <a:r>
              <a:rPr lang="en-GB" sz="1200" b="1" dirty="0">
                <a:solidFill>
                  <a:srgbClr val="001965"/>
                </a:solidFill>
                <a:latin typeface="+mj-lt"/>
                <a:ea typeface="Verdana" panose="020B0604030504040204" pitchFamily="34" charset="0"/>
              </a:rPr>
              <a:t>1 September 2021</a:t>
            </a:r>
            <a:endParaRPr lang="en-GB" sz="1200" dirty="0">
              <a:solidFill>
                <a:srgbClr val="001965"/>
              </a:solidFill>
              <a:latin typeface="+mj-lt"/>
              <a:ea typeface="Verdana" panose="020B0604030504040204" pitchFamily="34" charset="0"/>
            </a:endParaRPr>
          </a:p>
        </p:txBody>
      </p:sp>
      <p:sp>
        <p:nvSpPr>
          <p:cNvPr id="67" name="Tekstfelt 20">
            <a:extLst>
              <a:ext uri="{FF2B5EF4-FFF2-40B4-BE49-F238E27FC236}">
                <a16:creationId xmlns:a16="http://schemas.microsoft.com/office/drawing/2014/main" id="{190F441D-9BC1-473C-AADE-3861EEB751F7}"/>
              </a:ext>
            </a:extLst>
          </p:cNvPr>
          <p:cNvSpPr txBox="1">
            <a:spLocks/>
          </p:cNvSpPr>
          <p:nvPr/>
        </p:nvSpPr>
        <p:spPr>
          <a:xfrm>
            <a:off x="2873454" y="5576591"/>
            <a:ext cx="1511766" cy="369332"/>
          </a:xfrm>
          <a:prstGeom prst="rect">
            <a:avLst/>
          </a:prstGeom>
          <a:noFill/>
        </p:spPr>
        <p:txBody>
          <a:bodyPr wrap="square" lIns="0" tIns="0" rIns="0" bIns="0" rtlCol="0">
            <a:spAutoFit/>
          </a:bodyPr>
          <a:lstStyle/>
          <a:p>
            <a:pPr lvl="0" algn="r"/>
            <a:r>
              <a:rPr lang="en-GB" sz="1200" b="1" dirty="0">
                <a:solidFill>
                  <a:srgbClr val="001965"/>
                </a:solidFill>
                <a:latin typeface="+mj-lt"/>
                <a:ea typeface="Verdana" panose="020B0604030504040204" pitchFamily="34" charset="0"/>
              </a:rPr>
              <a:t>January – February 2021</a:t>
            </a:r>
            <a:endParaRPr lang="en-GB" sz="1200" dirty="0">
              <a:solidFill>
                <a:srgbClr val="001965"/>
              </a:solidFill>
              <a:latin typeface="+mj-lt"/>
              <a:ea typeface="Verdana" panose="020B0604030504040204" pitchFamily="34" charset="0"/>
            </a:endParaRPr>
          </a:p>
        </p:txBody>
      </p:sp>
      <p:sp>
        <p:nvSpPr>
          <p:cNvPr id="68" name="Tekstfelt 20">
            <a:extLst>
              <a:ext uri="{FF2B5EF4-FFF2-40B4-BE49-F238E27FC236}">
                <a16:creationId xmlns:a16="http://schemas.microsoft.com/office/drawing/2014/main" id="{1CCE8B69-1455-43AB-A599-4DCBAB8BCA7D}"/>
              </a:ext>
            </a:extLst>
          </p:cNvPr>
          <p:cNvSpPr txBox="1">
            <a:spLocks/>
          </p:cNvSpPr>
          <p:nvPr/>
        </p:nvSpPr>
        <p:spPr>
          <a:xfrm>
            <a:off x="5946845" y="2297610"/>
            <a:ext cx="1511766" cy="184666"/>
          </a:xfrm>
          <a:prstGeom prst="rect">
            <a:avLst/>
          </a:prstGeom>
          <a:noFill/>
        </p:spPr>
        <p:txBody>
          <a:bodyPr wrap="square" lIns="0" tIns="0" rIns="0" bIns="0" rtlCol="0">
            <a:spAutoFit/>
          </a:bodyPr>
          <a:lstStyle/>
          <a:p>
            <a:pPr lvl="0"/>
            <a:r>
              <a:rPr lang="en-GB" sz="1200" b="1" dirty="0">
                <a:solidFill>
                  <a:srgbClr val="001965"/>
                </a:solidFill>
                <a:latin typeface="+mj-lt"/>
                <a:ea typeface="Verdana" panose="020B0604030504040204" pitchFamily="34" charset="0"/>
              </a:rPr>
              <a:t>February 2021</a:t>
            </a:r>
            <a:endParaRPr lang="en-GB" sz="1200" dirty="0">
              <a:solidFill>
                <a:srgbClr val="001965"/>
              </a:solidFill>
              <a:latin typeface="+mj-lt"/>
              <a:ea typeface="Verdana" panose="020B0604030504040204" pitchFamily="34" charset="0"/>
            </a:endParaRPr>
          </a:p>
        </p:txBody>
      </p:sp>
      <p:sp>
        <p:nvSpPr>
          <p:cNvPr id="69" name="Tekstfelt 20">
            <a:extLst>
              <a:ext uri="{FF2B5EF4-FFF2-40B4-BE49-F238E27FC236}">
                <a16:creationId xmlns:a16="http://schemas.microsoft.com/office/drawing/2014/main" id="{1C619458-3876-4BB3-9A5E-17CD478807D2}"/>
              </a:ext>
            </a:extLst>
          </p:cNvPr>
          <p:cNvSpPr txBox="1">
            <a:spLocks/>
          </p:cNvSpPr>
          <p:nvPr/>
        </p:nvSpPr>
        <p:spPr>
          <a:xfrm>
            <a:off x="7504944" y="5761257"/>
            <a:ext cx="1511766" cy="184666"/>
          </a:xfrm>
          <a:prstGeom prst="rect">
            <a:avLst/>
          </a:prstGeom>
          <a:noFill/>
        </p:spPr>
        <p:txBody>
          <a:bodyPr wrap="square" lIns="0" tIns="0" rIns="0" bIns="0" rtlCol="0">
            <a:spAutoFit/>
          </a:bodyPr>
          <a:lstStyle/>
          <a:p>
            <a:pPr lvl="0" algn="r"/>
            <a:r>
              <a:rPr lang="en-GB" sz="1200" b="1" dirty="0">
                <a:solidFill>
                  <a:srgbClr val="001965"/>
                </a:solidFill>
                <a:latin typeface="+mj-lt"/>
                <a:ea typeface="Verdana" panose="020B0604030504040204" pitchFamily="34" charset="0"/>
              </a:rPr>
              <a:t>2-3 March 2021</a:t>
            </a:r>
            <a:endParaRPr lang="en-GB" sz="1200" dirty="0">
              <a:solidFill>
                <a:srgbClr val="001965"/>
              </a:solidFill>
              <a:latin typeface="+mj-lt"/>
              <a:ea typeface="Verdana" panose="020B0604030504040204" pitchFamily="34" charset="0"/>
            </a:endParaRPr>
          </a:p>
        </p:txBody>
      </p:sp>
      <p:pic>
        <p:nvPicPr>
          <p:cNvPr id="76" name="Graphic 75">
            <a:extLst>
              <a:ext uri="{FF2B5EF4-FFF2-40B4-BE49-F238E27FC236}">
                <a16:creationId xmlns:a16="http://schemas.microsoft.com/office/drawing/2014/main" id="{C72D191C-E854-4955-B6AC-43EFCFD1498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699416" y="4853159"/>
            <a:ext cx="689834" cy="689834"/>
          </a:xfrm>
          <a:prstGeom prst="rect">
            <a:avLst/>
          </a:prstGeom>
        </p:spPr>
      </p:pic>
      <p:pic>
        <p:nvPicPr>
          <p:cNvPr id="78" name="Graphic 77">
            <a:extLst>
              <a:ext uri="{FF2B5EF4-FFF2-40B4-BE49-F238E27FC236}">
                <a16:creationId xmlns:a16="http://schemas.microsoft.com/office/drawing/2014/main" id="{F7E4BADA-D101-4CDF-9AB6-C72492986DC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372147" y="2482276"/>
            <a:ext cx="689834" cy="689834"/>
          </a:xfrm>
          <a:prstGeom prst="rect">
            <a:avLst/>
          </a:prstGeom>
        </p:spPr>
      </p:pic>
      <p:grpSp>
        <p:nvGrpSpPr>
          <p:cNvPr id="80" name="Graphic 76">
            <a:extLst>
              <a:ext uri="{FF2B5EF4-FFF2-40B4-BE49-F238E27FC236}">
                <a16:creationId xmlns:a16="http://schemas.microsoft.com/office/drawing/2014/main" id="{D84C5E89-CAC0-4B3E-AE6E-5DB9A8EA8BBD}"/>
              </a:ext>
            </a:extLst>
          </p:cNvPr>
          <p:cNvGrpSpPr/>
          <p:nvPr/>
        </p:nvGrpSpPr>
        <p:grpSpPr>
          <a:xfrm>
            <a:off x="8206634" y="5006145"/>
            <a:ext cx="810076" cy="532256"/>
            <a:chOff x="6196205" y="5336990"/>
            <a:chExt cx="822009" cy="576089"/>
          </a:xfrm>
          <a:solidFill>
            <a:srgbClr val="2A918B"/>
          </a:solidFill>
        </p:grpSpPr>
        <p:grpSp>
          <p:nvGrpSpPr>
            <p:cNvPr id="86" name="Graphic 76">
              <a:extLst>
                <a:ext uri="{FF2B5EF4-FFF2-40B4-BE49-F238E27FC236}">
                  <a16:creationId xmlns:a16="http://schemas.microsoft.com/office/drawing/2014/main" id="{D84C5E89-CAC0-4B3E-AE6E-5DB9A8EA8BBD}"/>
                </a:ext>
              </a:extLst>
            </p:cNvPr>
            <p:cNvGrpSpPr/>
            <p:nvPr/>
          </p:nvGrpSpPr>
          <p:grpSpPr>
            <a:xfrm>
              <a:off x="6196205" y="5589229"/>
              <a:ext cx="209550" cy="323850"/>
              <a:chOff x="6196205" y="5589229"/>
              <a:chExt cx="209550" cy="323850"/>
            </a:xfrm>
            <a:grpFill/>
          </p:grpSpPr>
          <p:sp>
            <p:nvSpPr>
              <p:cNvPr id="87" name="Freeform: Shape 86">
                <a:extLst>
                  <a:ext uri="{FF2B5EF4-FFF2-40B4-BE49-F238E27FC236}">
                    <a16:creationId xmlns:a16="http://schemas.microsoft.com/office/drawing/2014/main" id="{1C08F208-EBEB-482D-B88E-0D2345B19158}"/>
                  </a:ext>
                </a:extLst>
              </p:cNvPr>
              <p:cNvSpPr/>
              <p:nvPr/>
            </p:nvSpPr>
            <p:spPr>
              <a:xfrm>
                <a:off x="6196205" y="5748773"/>
                <a:ext cx="209550" cy="161925"/>
              </a:xfrm>
              <a:custGeom>
                <a:avLst/>
                <a:gdLst>
                  <a:gd name="connsiteX0" fmla="*/ 191453 w 209550"/>
                  <a:gd name="connsiteY0" fmla="*/ 167926 h 161925"/>
                  <a:gd name="connsiteX1" fmla="*/ 172403 w 209550"/>
                  <a:gd name="connsiteY1" fmla="*/ 148876 h 161925"/>
                  <a:gd name="connsiteX2" fmla="*/ 172403 w 209550"/>
                  <a:gd name="connsiteY2" fmla="*/ 54197 h 161925"/>
                  <a:gd name="connsiteX3" fmla="*/ 132969 w 209550"/>
                  <a:gd name="connsiteY3" fmla="*/ 38100 h 161925"/>
                  <a:gd name="connsiteX4" fmla="*/ 77533 w 209550"/>
                  <a:gd name="connsiteY4" fmla="*/ 38100 h 161925"/>
                  <a:gd name="connsiteX5" fmla="*/ 38100 w 209550"/>
                  <a:gd name="connsiteY5" fmla="*/ 54197 h 161925"/>
                  <a:gd name="connsiteX6" fmla="*/ 38100 w 209550"/>
                  <a:gd name="connsiteY6" fmla="*/ 148876 h 161925"/>
                  <a:gd name="connsiteX7" fmla="*/ 19050 w 209550"/>
                  <a:gd name="connsiteY7" fmla="*/ 167926 h 161925"/>
                  <a:gd name="connsiteX8" fmla="*/ 0 w 209550"/>
                  <a:gd name="connsiteY8" fmla="*/ 148876 h 161925"/>
                  <a:gd name="connsiteX9" fmla="*/ 0 w 209550"/>
                  <a:gd name="connsiteY9" fmla="*/ 54197 h 161925"/>
                  <a:gd name="connsiteX10" fmla="*/ 77533 w 209550"/>
                  <a:gd name="connsiteY10" fmla="*/ 0 h 161925"/>
                  <a:gd name="connsiteX11" fmla="*/ 132969 w 209550"/>
                  <a:gd name="connsiteY11" fmla="*/ 0 h 161925"/>
                  <a:gd name="connsiteX12" fmla="*/ 210502 w 209550"/>
                  <a:gd name="connsiteY12" fmla="*/ 54197 h 161925"/>
                  <a:gd name="connsiteX13" fmla="*/ 210502 w 209550"/>
                  <a:gd name="connsiteY13" fmla="*/ 148876 h 161925"/>
                  <a:gd name="connsiteX14" fmla="*/ 191453 w 209550"/>
                  <a:gd name="connsiteY14" fmla="*/ 167926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550" h="161925">
                    <a:moveTo>
                      <a:pt x="191453" y="167926"/>
                    </a:moveTo>
                    <a:cubicBezTo>
                      <a:pt x="180975" y="167926"/>
                      <a:pt x="172403" y="159353"/>
                      <a:pt x="172403" y="148876"/>
                    </a:cubicBezTo>
                    <a:lnTo>
                      <a:pt x="172403" y="54197"/>
                    </a:lnTo>
                    <a:cubicBezTo>
                      <a:pt x="172403" y="50197"/>
                      <a:pt x="158401" y="38100"/>
                      <a:pt x="132969" y="38100"/>
                    </a:cubicBezTo>
                    <a:lnTo>
                      <a:pt x="77533" y="38100"/>
                    </a:lnTo>
                    <a:cubicBezTo>
                      <a:pt x="52102" y="38100"/>
                      <a:pt x="38100" y="50197"/>
                      <a:pt x="38100" y="54197"/>
                    </a:cubicBezTo>
                    <a:lnTo>
                      <a:pt x="38100" y="148876"/>
                    </a:lnTo>
                    <a:cubicBezTo>
                      <a:pt x="38100" y="159353"/>
                      <a:pt x="29527" y="167926"/>
                      <a:pt x="19050" y="167926"/>
                    </a:cubicBezTo>
                    <a:cubicBezTo>
                      <a:pt x="8572" y="167926"/>
                      <a:pt x="0" y="159353"/>
                      <a:pt x="0" y="148876"/>
                    </a:cubicBezTo>
                    <a:lnTo>
                      <a:pt x="0" y="54197"/>
                    </a:lnTo>
                    <a:cubicBezTo>
                      <a:pt x="0" y="23813"/>
                      <a:pt x="34004" y="0"/>
                      <a:pt x="77533" y="0"/>
                    </a:cubicBezTo>
                    <a:lnTo>
                      <a:pt x="132969" y="0"/>
                    </a:lnTo>
                    <a:cubicBezTo>
                      <a:pt x="176403" y="0"/>
                      <a:pt x="210502" y="23813"/>
                      <a:pt x="210502" y="54197"/>
                    </a:cubicBezTo>
                    <a:lnTo>
                      <a:pt x="210502" y="148876"/>
                    </a:lnTo>
                    <a:cubicBezTo>
                      <a:pt x="210502" y="159353"/>
                      <a:pt x="202025" y="167926"/>
                      <a:pt x="191453" y="167926"/>
                    </a:cubicBezTo>
                    <a:close/>
                  </a:path>
                </a:pathLst>
              </a:custGeom>
              <a:grpFill/>
              <a:ln w="9525" cap="flat">
                <a:noFill/>
                <a:prstDash val="solid"/>
                <a:miter/>
              </a:ln>
            </p:spPr>
            <p:txBody>
              <a:bodyPr rtlCol="0" anchor="ctr"/>
              <a:lstStyle/>
              <a:p>
                <a:endParaRPr lang="en-GB"/>
              </a:p>
            </p:txBody>
          </p:sp>
          <p:sp>
            <p:nvSpPr>
              <p:cNvPr id="88" name="Freeform: Shape 87">
                <a:extLst>
                  <a:ext uri="{FF2B5EF4-FFF2-40B4-BE49-F238E27FC236}">
                    <a16:creationId xmlns:a16="http://schemas.microsoft.com/office/drawing/2014/main" id="{E9146E70-E37C-4A9B-B86F-C5AC9FE0205B}"/>
                  </a:ext>
                </a:extLst>
              </p:cNvPr>
              <p:cNvSpPr/>
              <p:nvPr/>
            </p:nvSpPr>
            <p:spPr>
              <a:xfrm>
                <a:off x="6234114" y="5589229"/>
                <a:ext cx="133350" cy="133350"/>
              </a:xfrm>
              <a:custGeom>
                <a:avLst/>
                <a:gdLst>
                  <a:gd name="connsiteX0" fmla="*/ 68770 w 133350"/>
                  <a:gd name="connsiteY0" fmla="*/ 137446 h 133350"/>
                  <a:gd name="connsiteX1" fmla="*/ 0 w 133350"/>
                  <a:gd name="connsiteY1" fmla="*/ 68675 h 133350"/>
                  <a:gd name="connsiteX2" fmla="*/ 68770 w 133350"/>
                  <a:gd name="connsiteY2" fmla="*/ 0 h 133350"/>
                  <a:gd name="connsiteX3" fmla="*/ 137541 w 133350"/>
                  <a:gd name="connsiteY3" fmla="*/ 68771 h 133350"/>
                  <a:gd name="connsiteX4" fmla="*/ 68770 w 133350"/>
                  <a:gd name="connsiteY4" fmla="*/ 137446 h 133350"/>
                  <a:gd name="connsiteX5" fmla="*/ 68770 w 133350"/>
                  <a:gd name="connsiteY5" fmla="*/ 38100 h 133350"/>
                  <a:gd name="connsiteX6" fmla="*/ 38100 w 133350"/>
                  <a:gd name="connsiteY6" fmla="*/ 68771 h 133350"/>
                  <a:gd name="connsiteX7" fmla="*/ 68770 w 133350"/>
                  <a:gd name="connsiteY7" fmla="*/ 99441 h 133350"/>
                  <a:gd name="connsiteX8" fmla="*/ 99441 w 133350"/>
                  <a:gd name="connsiteY8" fmla="*/ 68771 h 133350"/>
                  <a:gd name="connsiteX9" fmla="*/ 68770 w 133350"/>
                  <a:gd name="connsiteY9" fmla="*/ 381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3350">
                    <a:moveTo>
                      <a:pt x="68770" y="137446"/>
                    </a:moveTo>
                    <a:cubicBezTo>
                      <a:pt x="30861" y="137446"/>
                      <a:pt x="0" y="106585"/>
                      <a:pt x="0" y="68675"/>
                    </a:cubicBezTo>
                    <a:cubicBezTo>
                      <a:pt x="0" y="30766"/>
                      <a:pt x="30861" y="0"/>
                      <a:pt x="68770" y="0"/>
                    </a:cubicBezTo>
                    <a:cubicBezTo>
                      <a:pt x="106680" y="0"/>
                      <a:pt x="137541" y="30861"/>
                      <a:pt x="137541" y="68771"/>
                    </a:cubicBezTo>
                    <a:cubicBezTo>
                      <a:pt x="137541" y="106680"/>
                      <a:pt x="106680" y="137446"/>
                      <a:pt x="68770" y="137446"/>
                    </a:cubicBezTo>
                    <a:close/>
                    <a:moveTo>
                      <a:pt x="68770" y="38100"/>
                    </a:moveTo>
                    <a:cubicBezTo>
                      <a:pt x="51911" y="38100"/>
                      <a:pt x="38100" y="51816"/>
                      <a:pt x="38100" y="68771"/>
                    </a:cubicBezTo>
                    <a:cubicBezTo>
                      <a:pt x="38100" y="85725"/>
                      <a:pt x="51816" y="99441"/>
                      <a:pt x="68770" y="99441"/>
                    </a:cubicBezTo>
                    <a:cubicBezTo>
                      <a:pt x="85725" y="99441"/>
                      <a:pt x="99441" y="85725"/>
                      <a:pt x="99441" y="68771"/>
                    </a:cubicBezTo>
                    <a:cubicBezTo>
                      <a:pt x="99441" y="51816"/>
                      <a:pt x="85630" y="38100"/>
                      <a:pt x="68770" y="38100"/>
                    </a:cubicBezTo>
                    <a:close/>
                  </a:path>
                </a:pathLst>
              </a:custGeom>
              <a:grpFill/>
              <a:ln w="9525" cap="flat">
                <a:noFill/>
                <a:prstDash val="solid"/>
                <a:miter/>
              </a:ln>
            </p:spPr>
            <p:txBody>
              <a:bodyPr rtlCol="0" anchor="ctr"/>
              <a:lstStyle/>
              <a:p>
                <a:endParaRPr lang="en-GB"/>
              </a:p>
            </p:txBody>
          </p:sp>
        </p:grpSp>
        <p:grpSp>
          <p:nvGrpSpPr>
            <p:cNvPr id="89" name="Graphic 76">
              <a:extLst>
                <a:ext uri="{FF2B5EF4-FFF2-40B4-BE49-F238E27FC236}">
                  <a16:creationId xmlns:a16="http://schemas.microsoft.com/office/drawing/2014/main" id="{D84C5E89-CAC0-4B3E-AE6E-5DB9A8EA8BBD}"/>
                </a:ext>
              </a:extLst>
            </p:cNvPr>
            <p:cNvGrpSpPr/>
            <p:nvPr/>
          </p:nvGrpSpPr>
          <p:grpSpPr>
            <a:xfrm>
              <a:off x="6448712" y="5589229"/>
              <a:ext cx="209550" cy="321469"/>
              <a:chOff x="6448712" y="5589229"/>
              <a:chExt cx="209550" cy="321469"/>
            </a:xfrm>
            <a:grpFill/>
          </p:grpSpPr>
          <p:sp>
            <p:nvSpPr>
              <p:cNvPr id="90" name="Freeform: Shape 89">
                <a:extLst>
                  <a:ext uri="{FF2B5EF4-FFF2-40B4-BE49-F238E27FC236}">
                    <a16:creationId xmlns:a16="http://schemas.microsoft.com/office/drawing/2014/main" id="{4D8B6FE2-7CD0-4D5F-8C5E-20EF1C2726F5}"/>
                  </a:ext>
                </a:extLst>
              </p:cNvPr>
              <p:cNvSpPr/>
              <p:nvPr/>
            </p:nvSpPr>
            <p:spPr>
              <a:xfrm>
                <a:off x="6448712" y="5748773"/>
                <a:ext cx="209550" cy="161925"/>
              </a:xfrm>
              <a:custGeom>
                <a:avLst/>
                <a:gdLst>
                  <a:gd name="connsiteX0" fmla="*/ 191453 w 209550"/>
                  <a:gd name="connsiteY0" fmla="*/ 167926 h 161925"/>
                  <a:gd name="connsiteX1" fmla="*/ 172403 w 209550"/>
                  <a:gd name="connsiteY1" fmla="*/ 148876 h 161925"/>
                  <a:gd name="connsiteX2" fmla="*/ 172403 w 209550"/>
                  <a:gd name="connsiteY2" fmla="*/ 54197 h 161925"/>
                  <a:gd name="connsiteX3" fmla="*/ 132969 w 209550"/>
                  <a:gd name="connsiteY3" fmla="*/ 38100 h 161925"/>
                  <a:gd name="connsiteX4" fmla="*/ 77534 w 209550"/>
                  <a:gd name="connsiteY4" fmla="*/ 38100 h 161925"/>
                  <a:gd name="connsiteX5" fmla="*/ 38100 w 209550"/>
                  <a:gd name="connsiteY5" fmla="*/ 54197 h 161925"/>
                  <a:gd name="connsiteX6" fmla="*/ 38100 w 209550"/>
                  <a:gd name="connsiteY6" fmla="*/ 148876 h 161925"/>
                  <a:gd name="connsiteX7" fmla="*/ 19050 w 209550"/>
                  <a:gd name="connsiteY7" fmla="*/ 167926 h 161925"/>
                  <a:gd name="connsiteX8" fmla="*/ 0 w 209550"/>
                  <a:gd name="connsiteY8" fmla="*/ 148876 h 161925"/>
                  <a:gd name="connsiteX9" fmla="*/ 0 w 209550"/>
                  <a:gd name="connsiteY9" fmla="*/ 54197 h 161925"/>
                  <a:gd name="connsiteX10" fmla="*/ 77534 w 209550"/>
                  <a:gd name="connsiteY10" fmla="*/ 0 h 161925"/>
                  <a:gd name="connsiteX11" fmla="*/ 132969 w 209550"/>
                  <a:gd name="connsiteY11" fmla="*/ 0 h 161925"/>
                  <a:gd name="connsiteX12" fmla="*/ 210503 w 209550"/>
                  <a:gd name="connsiteY12" fmla="*/ 54197 h 161925"/>
                  <a:gd name="connsiteX13" fmla="*/ 210503 w 209550"/>
                  <a:gd name="connsiteY13" fmla="*/ 148876 h 161925"/>
                  <a:gd name="connsiteX14" fmla="*/ 191453 w 209550"/>
                  <a:gd name="connsiteY14" fmla="*/ 167926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9550" h="161925">
                    <a:moveTo>
                      <a:pt x="191453" y="167926"/>
                    </a:moveTo>
                    <a:cubicBezTo>
                      <a:pt x="180975" y="167926"/>
                      <a:pt x="172403" y="159353"/>
                      <a:pt x="172403" y="148876"/>
                    </a:cubicBezTo>
                    <a:lnTo>
                      <a:pt x="172403" y="54197"/>
                    </a:lnTo>
                    <a:cubicBezTo>
                      <a:pt x="172403" y="50197"/>
                      <a:pt x="158401" y="38100"/>
                      <a:pt x="132969" y="38100"/>
                    </a:cubicBezTo>
                    <a:lnTo>
                      <a:pt x="77534" y="38100"/>
                    </a:lnTo>
                    <a:cubicBezTo>
                      <a:pt x="52102" y="38100"/>
                      <a:pt x="38100" y="50197"/>
                      <a:pt x="38100" y="54197"/>
                    </a:cubicBezTo>
                    <a:lnTo>
                      <a:pt x="38100" y="148876"/>
                    </a:lnTo>
                    <a:cubicBezTo>
                      <a:pt x="38100" y="159353"/>
                      <a:pt x="29528" y="167926"/>
                      <a:pt x="19050" y="167926"/>
                    </a:cubicBezTo>
                    <a:cubicBezTo>
                      <a:pt x="8573" y="167926"/>
                      <a:pt x="0" y="159353"/>
                      <a:pt x="0" y="148876"/>
                    </a:cubicBezTo>
                    <a:lnTo>
                      <a:pt x="0" y="54197"/>
                    </a:lnTo>
                    <a:cubicBezTo>
                      <a:pt x="0" y="23813"/>
                      <a:pt x="34004" y="0"/>
                      <a:pt x="77534" y="0"/>
                    </a:cubicBezTo>
                    <a:lnTo>
                      <a:pt x="132969" y="0"/>
                    </a:lnTo>
                    <a:cubicBezTo>
                      <a:pt x="176403" y="0"/>
                      <a:pt x="210503" y="23813"/>
                      <a:pt x="210503" y="54197"/>
                    </a:cubicBezTo>
                    <a:lnTo>
                      <a:pt x="210503" y="148876"/>
                    </a:lnTo>
                    <a:cubicBezTo>
                      <a:pt x="210503" y="159353"/>
                      <a:pt x="201930" y="167926"/>
                      <a:pt x="191453" y="167926"/>
                    </a:cubicBezTo>
                    <a:close/>
                  </a:path>
                </a:pathLst>
              </a:custGeom>
              <a:grpFill/>
              <a:ln w="9525" cap="flat">
                <a:noFill/>
                <a:prstDash val="solid"/>
                <a:miter/>
              </a:ln>
            </p:spPr>
            <p:txBody>
              <a:bodyPr rtlCol="0" anchor="ctr"/>
              <a:lstStyle/>
              <a:p>
                <a:endParaRPr lang="en-GB"/>
              </a:p>
            </p:txBody>
          </p:sp>
          <p:sp>
            <p:nvSpPr>
              <p:cNvPr id="91" name="Freeform: Shape 90">
                <a:extLst>
                  <a:ext uri="{FF2B5EF4-FFF2-40B4-BE49-F238E27FC236}">
                    <a16:creationId xmlns:a16="http://schemas.microsoft.com/office/drawing/2014/main" id="{5694318B-91C3-439E-8D8F-62E616A72BA7}"/>
                  </a:ext>
                </a:extLst>
              </p:cNvPr>
              <p:cNvSpPr/>
              <p:nvPr/>
            </p:nvSpPr>
            <p:spPr>
              <a:xfrm>
                <a:off x="6486526" y="5589229"/>
                <a:ext cx="133350" cy="133350"/>
              </a:xfrm>
              <a:custGeom>
                <a:avLst/>
                <a:gdLst>
                  <a:gd name="connsiteX0" fmla="*/ 68771 w 133350"/>
                  <a:gd name="connsiteY0" fmla="*/ 137446 h 133350"/>
                  <a:gd name="connsiteX1" fmla="*/ 0 w 133350"/>
                  <a:gd name="connsiteY1" fmla="*/ 68675 h 133350"/>
                  <a:gd name="connsiteX2" fmla="*/ 68771 w 133350"/>
                  <a:gd name="connsiteY2" fmla="*/ 0 h 133350"/>
                  <a:gd name="connsiteX3" fmla="*/ 137541 w 133350"/>
                  <a:gd name="connsiteY3" fmla="*/ 68771 h 133350"/>
                  <a:gd name="connsiteX4" fmla="*/ 68771 w 133350"/>
                  <a:gd name="connsiteY4" fmla="*/ 137446 h 133350"/>
                  <a:gd name="connsiteX5" fmla="*/ 68771 w 133350"/>
                  <a:gd name="connsiteY5" fmla="*/ 38100 h 133350"/>
                  <a:gd name="connsiteX6" fmla="*/ 38100 w 133350"/>
                  <a:gd name="connsiteY6" fmla="*/ 68771 h 133350"/>
                  <a:gd name="connsiteX7" fmla="*/ 68771 w 133350"/>
                  <a:gd name="connsiteY7" fmla="*/ 99441 h 133350"/>
                  <a:gd name="connsiteX8" fmla="*/ 99441 w 133350"/>
                  <a:gd name="connsiteY8" fmla="*/ 68771 h 133350"/>
                  <a:gd name="connsiteX9" fmla="*/ 68771 w 133350"/>
                  <a:gd name="connsiteY9" fmla="*/ 381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3350">
                    <a:moveTo>
                      <a:pt x="68771" y="137446"/>
                    </a:moveTo>
                    <a:cubicBezTo>
                      <a:pt x="30861" y="137446"/>
                      <a:pt x="0" y="106585"/>
                      <a:pt x="0" y="68675"/>
                    </a:cubicBezTo>
                    <a:cubicBezTo>
                      <a:pt x="0" y="30766"/>
                      <a:pt x="30861" y="0"/>
                      <a:pt x="68771" y="0"/>
                    </a:cubicBezTo>
                    <a:cubicBezTo>
                      <a:pt x="106680" y="0"/>
                      <a:pt x="137541" y="30861"/>
                      <a:pt x="137541" y="68771"/>
                    </a:cubicBezTo>
                    <a:cubicBezTo>
                      <a:pt x="137541" y="106680"/>
                      <a:pt x="106680" y="137446"/>
                      <a:pt x="68771" y="137446"/>
                    </a:cubicBezTo>
                    <a:close/>
                    <a:moveTo>
                      <a:pt x="68771" y="38100"/>
                    </a:moveTo>
                    <a:cubicBezTo>
                      <a:pt x="51911" y="38100"/>
                      <a:pt x="38100" y="51816"/>
                      <a:pt x="38100" y="68771"/>
                    </a:cubicBezTo>
                    <a:cubicBezTo>
                      <a:pt x="38100" y="85725"/>
                      <a:pt x="51816" y="99441"/>
                      <a:pt x="68771" y="99441"/>
                    </a:cubicBezTo>
                    <a:cubicBezTo>
                      <a:pt x="85725" y="99441"/>
                      <a:pt x="99441" y="85725"/>
                      <a:pt x="99441" y="68771"/>
                    </a:cubicBezTo>
                    <a:cubicBezTo>
                      <a:pt x="99441" y="51816"/>
                      <a:pt x="85725" y="38100"/>
                      <a:pt x="68771" y="38100"/>
                    </a:cubicBezTo>
                    <a:close/>
                  </a:path>
                </a:pathLst>
              </a:custGeom>
              <a:grpFill/>
              <a:ln w="9525" cap="flat">
                <a:noFill/>
                <a:prstDash val="solid"/>
                <a:miter/>
              </a:ln>
            </p:spPr>
            <p:txBody>
              <a:bodyPr rtlCol="0" anchor="ctr"/>
              <a:lstStyle/>
              <a:p>
                <a:endParaRPr lang="en-GB"/>
              </a:p>
            </p:txBody>
          </p:sp>
        </p:grpSp>
        <p:grpSp>
          <p:nvGrpSpPr>
            <p:cNvPr id="92" name="Graphic 76">
              <a:extLst>
                <a:ext uri="{FF2B5EF4-FFF2-40B4-BE49-F238E27FC236}">
                  <a16:creationId xmlns:a16="http://schemas.microsoft.com/office/drawing/2014/main" id="{D84C5E89-CAC0-4B3E-AE6E-5DB9A8EA8BBD}"/>
                </a:ext>
              </a:extLst>
            </p:cNvPr>
            <p:cNvGrpSpPr/>
            <p:nvPr/>
          </p:nvGrpSpPr>
          <p:grpSpPr>
            <a:xfrm>
              <a:off x="6637214" y="5336990"/>
              <a:ext cx="381000" cy="381000"/>
              <a:chOff x="6637214" y="5336990"/>
              <a:chExt cx="381000" cy="381000"/>
            </a:xfrm>
            <a:grpFill/>
          </p:grpSpPr>
          <p:sp>
            <p:nvSpPr>
              <p:cNvPr id="95" name="Freeform: Shape 94">
                <a:extLst>
                  <a:ext uri="{FF2B5EF4-FFF2-40B4-BE49-F238E27FC236}">
                    <a16:creationId xmlns:a16="http://schemas.microsoft.com/office/drawing/2014/main" id="{4B5B9DA0-CEDD-49BF-AC55-0F9F151D2B3E}"/>
                  </a:ext>
                </a:extLst>
              </p:cNvPr>
              <p:cNvSpPr/>
              <p:nvPr/>
            </p:nvSpPr>
            <p:spPr>
              <a:xfrm>
                <a:off x="6637214" y="5336990"/>
                <a:ext cx="381000" cy="381000"/>
              </a:xfrm>
              <a:custGeom>
                <a:avLst/>
                <a:gdLst>
                  <a:gd name="connsiteX0" fmla="*/ 192974 w 381000"/>
                  <a:gd name="connsiteY0" fmla="*/ 386541 h 381000"/>
                  <a:gd name="connsiteX1" fmla="*/ 30097 w 381000"/>
                  <a:gd name="connsiteY1" fmla="*/ 386541 h 381000"/>
                  <a:gd name="connsiteX2" fmla="*/ 7141 w 381000"/>
                  <a:gd name="connsiteY2" fmla="*/ 370825 h 381000"/>
                  <a:gd name="connsiteX3" fmla="*/ 13428 w 381000"/>
                  <a:gd name="connsiteY3" fmla="*/ 343679 h 381000"/>
                  <a:gd name="connsiteX4" fmla="*/ 43908 w 381000"/>
                  <a:gd name="connsiteY4" fmla="*/ 315675 h 381000"/>
                  <a:gd name="connsiteX5" fmla="*/ 379 w 381000"/>
                  <a:gd name="connsiteY5" fmla="*/ 180992 h 381000"/>
                  <a:gd name="connsiteX6" fmla="*/ 179353 w 381000"/>
                  <a:gd name="connsiteY6" fmla="*/ 493 h 381000"/>
                  <a:gd name="connsiteX7" fmla="*/ 324705 w 381000"/>
                  <a:gd name="connsiteY7" fmla="*/ 51928 h 381000"/>
                  <a:gd name="connsiteX8" fmla="*/ 385951 w 381000"/>
                  <a:gd name="connsiteY8" fmla="*/ 193088 h 381000"/>
                  <a:gd name="connsiteX9" fmla="*/ 202785 w 381000"/>
                  <a:gd name="connsiteY9" fmla="*/ 385874 h 381000"/>
                  <a:gd name="connsiteX10" fmla="*/ 202594 w 381000"/>
                  <a:gd name="connsiteY10" fmla="*/ 386160 h 381000"/>
                  <a:gd name="connsiteX11" fmla="*/ 192974 w 381000"/>
                  <a:gd name="connsiteY11" fmla="*/ 386541 h 381000"/>
                  <a:gd name="connsiteX12" fmla="*/ 64577 w 381000"/>
                  <a:gd name="connsiteY12" fmla="*/ 348441 h 381000"/>
                  <a:gd name="connsiteX13" fmla="*/ 193260 w 381000"/>
                  <a:gd name="connsiteY13" fmla="*/ 348060 h 381000"/>
                  <a:gd name="connsiteX14" fmla="*/ 347851 w 381000"/>
                  <a:gd name="connsiteY14" fmla="*/ 193088 h 381000"/>
                  <a:gd name="connsiteX15" fmla="*/ 298606 w 381000"/>
                  <a:gd name="connsiteY15" fmla="*/ 79836 h 381000"/>
                  <a:gd name="connsiteX16" fmla="*/ 181925 w 381000"/>
                  <a:gd name="connsiteY16" fmla="*/ 38593 h 381000"/>
                  <a:gd name="connsiteX17" fmla="*/ 38288 w 381000"/>
                  <a:gd name="connsiteY17" fmla="*/ 183373 h 381000"/>
                  <a:gd name="connsiteX18" fmla="*/ 80484 w 381000"/>
                  <a:gd name="connsiteY18" fmla="*/ 299673 h 381000"/>
                  <a:gd name="connsiteX19" fmla="*/ 87247 w 381000"/>
                  <a:gd name="connsiteY19" fmla="*/ 317580 h 381000"/>
                  <a:gd name="connsiteX20" fmla="*/ 79341 w 381000"/>
                  <a:gd name="connsiteY20" fmla="*/ 334820 h 381000"/>
                  <a:gd name="connsiteX21" fmla="*/ 64577 w 381000"/>
                  <a:gd name="connsiteY21" fmla="*/ 348441 h 381000"/>
                  <a:gd name="connsiteX22" fmla="*/ 52861 w 381000"/>
                  <a:gd name="connsiteY22" fmla="*/ 325867 h 381000"/>
                  <a:gd name="connsiteX23" fmla="*/ 52861 w 381000"/>
                  <a:gd name="connsiteY23" fmla="*/ 325867 h 381000"/>
                  <a:gd name="connsiteX24" fmla="*/ 52861 w 381000"/>
                  <a:gd name="connsiteY24" fmla="*/ 325867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1000" h="381000">
                    <a:moveTo>
                      <a:pt x="192974" y="386541"/>
                    </a:moveTo>
                    <a:lnTo>
                      <a:pt x="30097" y="386541"/>
                    </a:lnTo>
                    <a:cubicBezTo>
                      <a:pt x="19810" y="386541"/>
                      <a:pt x="10856" y="380350"/>
                      <a:pt x="7141" y="370825"/>
                    </a:cubicBezTo>
                    <a:cubicBezTo>
                      <a:pt x="3427" y="361300"/>
                      <a:pt x="5903" y="350632"/>
                      <a:pt x="13428" y="343679"/>
                    </a:cubicBezTo>
                    <a:lnTo>
                      <a:pt x="43908" y="315675"/>
                    </a:lnTo>
                    <a:cubicBezTo>
                      <a:pt x="12761" y="277956"/>
                      <a:pt x="-2669" y="230617"/>
                      <a:pt x="379" y="180992"/>
                    </a:cubicBezTo>
                    <a:cubicBezTo>
                      <a:pt x="6284" y="84694"/>
                      <a:pt x="83246" y="7160"/>
                      <a:pt x="179353" y="493"/>
                    </a:cubicBezTo>
                    <a:cubicBezTo>
                      <a:pt x="233646" y="-3317"/>
                      <a:pt x="285176" y="15066"/>
                      <a:pt x="324705" y="51928"/>
                    </a:cubicBezTo>
                    <a:cubicBezTo>
                      <a:pt x="363662" y="88409"/>
                      <a:pt x="385951" y="139844"/>
                      <a:pt x="385951" y="193088"/>
                    </a:cubicBezTo>
                    <a:cubicBezTo>
                      <a:pt x="385951" y="296149"/>
                      <a:pt x="304607" y="380731"/>
                      <a:pt x="202785" y="385874"/>
                    </a:cubicBezTo>
                    <a:lnTo>
                      <a:pt x="202594" y="386160"/>
                    </a:lnTo>
                    <a:lnTo>
                      <a:pt x="192974" y="386541"/>
                    </a:lnTo>
                    <a:close/>
                    <a:moveTo>
                      <a:pt x="64577" y="348441"/>
                    </a:moveTo>
                    <a:lnTo>
                      <a:pt x="193260" y="348060"/>
                    </a:lnTo>
                    <a:cubicBezTo>
                      <a:pt x="278509" y="347870"/>
                      <a:pt x="347851" y="278337"/>
                      <a:pt x="347851" y="193088"/>
                    </a:cubicBezTo>
                    <a:cubicBezTo>
                      <a:pt x="347851" y="149654"/>
                      <a:pt x="330420" y="109459"/>
                      <a:pt x="298606" y="79836"/>
                    </a:cubicBezTo>
                    <a:cubicBezTo>
                      <a:pt x="266888" y="50213"/>
                      <a:pt x="225359" y="35545"/>
                      <a:pt x="181925" y="38593"/>
                    </a:cubicBezTo>
                    <a:cubicBezTo>
                      <a:pt x="104773" y="43927"/>
                      <a:pt x="43051" y="106125"/>
                      <a:pt x="38288" y="183373"/>
                    </a:cubicBezTo>
                    <a:cubicBezTo>
                      <a:pt x="35621" y="226902"/>
                      <a:pt x="50575" y="268145"/>
                      <a:pt x="80484" y="299673"/>
                    </a:cubicBezTo>
                    <a:cubicBezTo>
                      <a:pt x="85056" y="304436"/>
                      <a:pt x="87532" y="311008"/>
                      <a:pt x="87247" y="317580"/>
                    </a:cubicBezTo>
                    <a:cubicBezTo>
                      <a:pt x="87056" y="324248"/>
                      <a:pt x="84199" y="330344"/>
                      <a:pt x="79341" y="334820"/>
                    </a:cubicBezTo>
                    <a:lnTo>
                      <a:pt x="64577" y="348441"/>
                    </a:lnTo>
                    <a:close/>
                    <a:moveTo>
                      <a:pt x="52861" y="325867"/>
                    </a:moveTo>
                    <a:cubicBezTo>
                      <a:pt x="52861" y="325867"/>
                      <a:pt x="52861" y="325867"/>
                      <a:pt x="52861" y="325867"/>
                    </a:cubicBezTo>
                    <a:cubicBezTo>
                      <a:pt x="52861" y="325867"/>
                      <a:pt x="52861" y="325867"/>
                      <a:pt x="52861" y="325867"/>
                    </a:cubicBezTo>
                    <a:close/>
                  </a:path>
                </a:pathLst>
              </a:custGeom>
              <a:grpFill/>
              <a:ln w="9525" cap="flat">
                <a:noFill/>
                <a:prstDash val="solid"/>
                <a:miter/>
              </a:ln>
            </p:spPr>
            <p:txBody>
              <a:bodyPr rtlCol="0" anchor="ctr"/>
              <a:lstStyle/>
              <a:p>
                <a:endParaRPr lang="en-GB"/>
              </a:p>
            </p:txBody>
          </p:sp>
          <p:sp>
            <p:nvSpPr>
              <p:cNvPr id="96" name="Freeform: Shape 95">
                <a:extLst>
                  <a:ext uri="{FF2B5EF4-FFF2-40B4-BE49-F238E27FC236}">
                    <a16:creationId xmlns:a16="http://schemas.microsoft.com/office/drawing/2014/main" id="{46FEBB38-8C34-4F2B-8D1E-0CAF94FB3E30}"/>
                  </a:ext>
                </a:extLst>
              </p:cNvPr>
              <p:cNvSpPr/>
              <p:nvPr/>
            </p:nvSpPr>
            <p:spPr>
              <a:xfrm>
                <a:off x="6752084" y="5447973"/>
                <a:ext cx="152400" cy="38100"/>
              </a:xfrm>
              <a:custGeom>
                <a:avLst/>
                <a:gdLst>
                  <a:gd name="connsiteX0" fmla="*/ 137160 w 152400"/>
                  <a:gd name="connsiteY0" fmla="*/ 38100 h 38100"/>
                  <a:gd name="connsiteX1" fmla="*/ 19050 w 152400"/>
                  <a:gd name="connsiteY1" fmla="*/ 38100 h 38100"/>
                  <a:gd name="connsiteX2" fmla="*/ 0 w 152400"/>
                  <a:gd name="connsiteY2" fmla="*/ 19050 h 38100"/>
                  <a:gd name="connsiteX3" fmla="*/ 19050 w 152400"/>
                  <a:gd name="connsiteY3" fmla="*/ 0 h 38100"/>
                  <a:gd name="connsiteX4" fmla="*/ 137255 w 152400"/>
                  <a:gd name="connsiteY4" fmla="*/ 0 h 38100"/>
                  <a:gd name="connsiteX5" fmla="*/ 156305 w 152400"/>
                  <a:gd name="connsiteY5" fmla="*/ 19050 h 38100"/>
                  <a:gd name="connsiteX6" fmla="*/ 137160 w 152400"/>
                  <a:gd name="connsiteY6"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38100">
                    <a:moveTo>
                      <a:pt x="137160" y="38100"/>
                    </a:moveTo>
                    <a:lnTo>
                      <a:pt x="19050" y="38100"/>
                    </a:lnTo>
                    <a:cubicBezTo>
                      <a:pt x="8573" y="38100"/>
                      <a:pt x="0" y="29528"/>
                      <a:pt x="0" y="19050"/>
                    </a:cubicBezTo>
                    <a:cubicBezTo>
                      <a:pt x="0" y="8572"/>
                      <a:pt x="8573" y="0"/>
                      <a:pt x="19050" y="0"/>
                    </a:cubicBezTo>
                    <a:lnTo>
                      <a:pt x="137255" y="0"/>
                    </a:lnTo>
                    <a:cubicBezTo>
                      <a:pt x="147733" y="0"/>
                      <a:pt x="156305" y="8572"/>
                      <a:pt x="156305" y="19050"/>
                    </a:cubicBezTo>
                    <a:cubicBezTo>
                      <a:pt x="156305" y="29528"/>
                      <a:pt x="147733" y="38100"/>
                      <a:pt x="137160" y="38100"/>
                    </a:cubicBezTo>
                    <a:close/>
                  </a:path>
                </a:pathLst>
              </a:custGeom>
              <a:grpFill/>
              <a:ln w="9525" cap="flat">
                <a:noFill/>
                <a:prstDash val="solid"/>
                <a:miter/>
              </a:ln>
            </p:spPr>
            <p:txBody>
              <a:bodyPr rtlCol="0" anchor="ctr"/>
              <a:lstStyle/>
              <a:p>
                <a:endParaRPr lang="en-GB"/>
              </a:p>
            </p:txBody>
          </p:sp>
          <p:sp>
            <p:nvSpPr>
              <p:cNvPr id="97" name="Freeform: Shape 96">
                <a:extLst>
                  <a:ext uri="{FF2B5EF4-FFF2-40B4-BE49-F238E27FC236}">
                    <a16:creationId xmlns:a16="http://schemas.microsoft.com/office/drawing/2014/main" id="{7269E458-9418-4209-9E0F-04626155EEE7}"/>
                  </a:ext>
                </a:extLst>
              </p:cNvPr>
              <p:cNvSpPr/>
              <p:nvPr/>
            </p:nvSpPr>
            <p:spPr>
              <a:xfrm>
                <a:off x="6752084" y="5510934"/>
                <a:ext cx="152400" cy="38100"/>
              </a:xfrm>
              <a:custGeom>
                <a:avLst/>
                <a:gdLst>
                  <a:gd name="connsiteX0" fmla="*/ 137160 w 152400"/>
                  <a:gd name="connsiteY0" fmla="*/ 38100 h 38100"/>
                  <a:gd name="connsiteX1" fmla="*/ 19050 w 152400"/>
                  <a:gd name="connsiteY1" fmla="*/ 38100 h 38100"/>
                  <a:gd name="connsiteX2" fmla="*/ 0 w 152400"/>
                  <a:gd name="connsiteY2" fmla="*/ 19050 h 38100"/>
                  <a:gd name="connsiteX3" fmla="*/ 19050 w 152400"/>
                  <a:gd name="connsiteY3" fmla="*/ 0 h 38100"/>
                  <a:gd name="connsiteX4" fmla="*/ 137255 w 152400"/>
                  <a:gd name="connsiteY4" fmla="*/ 0 h 38100"/>
                  <a:gd name="connsiteX5" fmla="*/ 156305 w 152400"/>
                  <a:gd name="connsiteY5" fmla="*/ 19050 h 38100"/>
                  <a:gd name="connsiteX6" fmla="*/ 137160 w 152400"/>
                  <a:gd name="connsiteY6"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38100">
                    <a:moveTo>
                      <a:pt x="137160" y="38100"/>
                    </a:moveTo>
                    <a:lnTo>
                      <a:pt x="19050" y="38100"/>
                    </a:lnTo>
                    <a:cubicBezTo>
                      <a:pt x="8573" y="38100"/>
                      <a:pt x="0" y="29527"/>
                      <a:pt x="0" y="19050"/>
                    </a:cubicBezTo>
                    <a:cubicBezTo>
                      <a:pt x="0" y="8572"/>
                      <a:pt x="8573" y="0"/>
                      <a:pt x="19050" y="0"/>
                    </a:cubicBezTo>
                    <a:lnTo>
                      <a:pt x="137255" y="0"/>
                    </a:lnTo>
                    <a:cubicBezTo>
                      <a:pt x="147733" y="0"/>
                      <a:pt x="156305" y="8572"/>
                      <a:pt x="156305" y="19050"/>
                    </a:cubicBezTo>
                    <a:cubicBezTo>
                      <a:pt x="156305" y="29527"/>
                      <a:pt x="147733" y="38100"/>
                      <a:pt x="137160" y="38100"/>
                    </a:cubicBezTo>
                    <a:close/>
                  </a:path>
                </a:pathLst>
              </a:custGeom>
              <a:grpFill/>
              <a:ln w="9525" cap="flat">
                <a:noFill/>
                <a:prstDash val="solid"/>
                <a:miter/>
              </a:ln>
            </p:spPr>
            <p:txBody>
              <a:bodyPr rtlCol="0" anchor="ctr"/>
              <a:lstStyle/>
              <a:p>
                <a:endParaRPr lang="en-GB"/>
              </a:p>
            </p:txBody>
          </p:sp>
          <p:sp>
            <p:nvSpPr>
              <p:cNvPr id="98" name="Freeform: Shape 97">
                <a:extLst>
                  <a:ext uri="{FF2B5EF4-FFF2-40B4-BE49-F238E27FC236}">
                    <a16:creationId xmlns:a16="http://schemas.microsoft.com/office/drawing/2014/main" id="{B5C52C80-0248-46A8-AACA-0C88318D20F8}"/>
                  </a:ext>
                </a:extLst>
              </p:cNvPr>
              <p:cNvSpPr/>
              <p:nvPr/>
            </p:nvSpPr>
            <p:spPr>
              <a:xfrm>
                <a:off x="6752084" y="5573989"/>
                <a:ext cx="152400" cy="38100"/>
              </a:xfrm>
              <a:custGeom>
                <a:avLst/>
                <a:gdLst>
                  <a:gd name="connsiteX0" fmla="*/ 137160 w 152400"/>
                  <a:gd name="connsiteY0" fmla="*/ 38100 h 38100"/>
                  <a:gd name="connsiteX1" fmla="*/ 19050 w 152400"/>
                  <a:gd name="connsiteY1" fmla="*/ 38100 h 38100"/>
                  <a:gd name="connsiteX2" fmla="*/ 0 w 152400"/>
                  <a:gd name="connsiteY2" fmla="*/ 19050 h 38100"/>
                  <a:gd name="connsiteX3" fmla="*/ 19050 w 152400"/>
                  <a:gd name="connsiteY3" fmla="*/ 0 h 38100"/>
                  <a:gd name="connsiteX4" fmla="*/ 137255 w 152400"/>
                  <a:gd name="connsiteY4" fmla="*/ 0 h 38100"/>
                  <a:gd name="connsiteX5" fmla="*/ 156305 w 152400"/>
                  <a:gd name="connsiteY5" fmla="*/ 19050 h 38100"/>
                  <a:gd name="connsiteX6" fmla="*/ 137160 w 152400"/>
                  <a:gd name="connsiteY6" fmla="*/ 3810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38100">
                    <a:moveTo>
                      <a:pt x="137160" y="38100"/>
                    </a:moveTo>
                    <a:lnTo>
                      <a:pt x="19050" y="38100"/>
                    </a:lnTo>
                    <a:cubicBezTo>
                      <a:pt x="8573" y="38100"/>
                      <a:pt x="0" y="29527"/>
                      <a:pt x="0" y="19050"/>
                    </a:cubicBezTo>
                    <a:cubicBezTo>
                      <a:pt x="0" y="8572"/>
                      <a:pt x="8573" y="0"/>
                      <a:pt x="19050" y="0"/>
                    </a:cubicBezTo>
                    <a:lnTo>
                      <a:pt x="137255" y="0"/>
                    </a:lnTo>
                    <a:cubicBezTo>
                      <a:pt x="147733" y="0"/>
                      <a:pt x="156305" y="8572"/>
                      <a:pt x="156305" y="19050"/>
                    </a:cubicBezTo>
                    <a:cubicBezTo>
                      <a:pt x="156305" y="29527"/>
                      <a:pt x="147733" y="38100"/>
                      <a:pt x="137160" y="38100"/>
                    </a:cubicBezTo>
                    <a:close/>
                  </a:path>
                </a:pathLst>
              </a:custGeom>
              <a:grpFill/>
              <a:ln w="9525" cap="flat">
                <a:noFill/>
                <a:prstDash val="solid"/>
                <a:miter/>
              </a:ln>
            </p:spPr>
            <p:txBody>
              <a:bodyPr rtlCol="0" anchor="ctr"/>
              <a:lstStyle/>
              <a:p>
                <a:endParaRPr lang="en-GB"/>
              </a:p>
            </p:txBody>
          </p:sp>
        </p:grpSp>
      </p:grpSp>
      <p:pic>
        <p:nvPicPr>
          <p:cNvPr id="99" name="Graphic 98">
            <a:extLst>
              <a:ext uri="{FF2B5EF4-FFF2-40B4-BE49-F238E27FC236}">
                <a16:creationId xmlns:a16="http://schemas.microsoft.com/office/drawing/2014/main" id="{18785118-AB0C-48D7-9EF1-13AEED5DA9D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699264" y="3127497"/>
            <a:ext cx="617506" cy="617506"/>
          </a:xfrm>
          <a:prstGeom prst="rect">
            <a:avLst/>
          </a:prstGeom>
        </p:spPr>
      </p:pic>
      <p:sp>
        <p:nvSpPr>
          <p:cNvPr id="2" name="Footer Placeholder 1">
            <a:extLst>
              <a:ext uri="{FF2B5EF4-FFF2-40B4-BE49-F238E27FC236}">
                <a16:creationId xmlns:a16="http://schemas.microsoft.com/office/drawing/2014/main" id="{B4EF3235-4301-469D-91A9-867CBFE61085}"/>
              </a:ext>
            </a:extLst>
          </p:cNvPr>
          <p:cNvSpPr>
            <a:spLocks noGrp="1"/>
          </p:cNvSpPr>
          <p:nvPr>
            <p:ph type="ftr" sz="quarter" idx="11"/>
          </p:nvPr>
        </p:nvSpPr>
        <p:spPr/>
        <p:txBody>
          <a:bodyPr/>
          <a:lstStyle/>
          <a:p>
            <a:r>
              <a:rPr lang="en-GB"/>
              <a:t>Graduate Programme Introduction</a:t>
            </a:r>
            <a:endParaRPr lang="en-GB" dirty="0"/>
          </a:p>
        </p:txBody>
      </p:sp>
      <p:sp>
        <p:nvSpPr>
          <p:cNvPr id="3" name="Slide Number Placeholder 2">
            <a:extLst>
              <a:ext uri="{FF2B5EF4-FFF2-40B4-BE49-F238E27FC236}">
                <a16:creationId xmlns:a16="http://schemas.microsoft.com/office/drawing/2014/main" id="{101F8B8E-05DF-492D-901A-7858102D75CD}"/>
              </a:ext>
            </a:extLst>
          </p:cNvPr>
          <p:cNvSpPr>
            <a:spLocks noGrp="1"/>
          </p:cNvSpPr>
          <p:nvPr>
            <p:ph type="sldNum" sz="quarter" idx="12"/>
          </p:nvPr>
        </p:nvSpPr>
        <p:spPr/>
        <p:txBody>
          <a:bodyPr/>
          <a:lstStyle/>
          <a:p>
            <a:fld id="{23AA811B-2EBD-4900-905E-5BE206449611}" type="slidenum">
              <a:rPr lang="en-GB" smtClean="0"/>
              <a:t>30</a:t>
            </a:fld>
            <a:endParaRPr lang="en-GB" dirty="0"/>
          </a:p>
        </p:txBody>
      </p:sp>
      <p:pic>
        <p:nvPicPr>
          <p:cNvPr id="5" name="Graphic 4" descr="Magnifying glass">
            <a:extLst>
              <a:ext uri="{FF2B5EF4-FFF2-40B4-BE49-F238E27FC236}">
                <a16:creationId xmlns:a16="http://schemas.microsoft.com/office/drawing/2014/main" id="{E7BE4385-6D00-4DCF-80B1-CD1EFA5E293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946845" y="2618019"/>
            <a:ext cx="523765" cy="523765"/>
          </a:xfrm>
          <a:prstGeom prst="rect">
            <a:avLst/>
          </a:prstGeom>
        </p:spPr>
      </p:pic>
    </p:spTree>
    <p:extLst>
      <p:ext uri="{BB962C8B-B14F-4D97-AF65-F5344CB8AC3E}">
        <p14:creationId xmlns:p14="http://schemas.microsoft.com/office/powerpoint/2010/main" val="13067522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F907BA3-A349-4B26-ACBD-3D5A47D407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01" name="think-cell Slide" r:id="rId5" imgW="421" imgH="423" progId="TCLayout.ActiveDocument.1">
                  <p:embed/>
                </p:oleObj>
              </mc:Choice>
              <mc:Fallback>
                <p:oleObj name="think-cell Slide" r:id="rId5" imgW="421" imgH="423" progId="TCLayout.ActiveDocument.1">
                  <p:embed/>
                  <p:pic>
                    <p:nvPicPr>
                      <p:cNvPr id="13" name="Object 12" hidden="1">
                        <a:extLst>
                          <a:ext uri="{FF2B5EF4-FFF2-40B4-BE49-F238E27FC236}">
                            <a16:creationId xmlns:a16="http://schemas.microsoft.com/office/drawing/2014/main" id="{FF907BA3-A349-4B26-ACBD-3D5A47D407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31B6455A-FD8A-40CD-96EE-7EE5B096D96F}"/>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4400" noProof="0" dirty="0" err="1">
              <a:latin typeface="Apis For Office" panose="020B0504010101010104" pitchFamily="34" charset="0"/>
              <a:ea typeface="+mj-ea"/>
              <a:cs typeface="+mj-cs"/>
              <a:sym typeface="Apis For Office" panose="020B0504010101010104" pitchFamily="34" charset="0"/>
            </a:endParaRPr>
          </a:p>
        </p:txBody>
      </p:sp>
      <p:sp>
        <p:nvSpPr>
          <p:cNvPr id="19" name="Title 18">
            <a:extLst>
              <a:ext uri="{FF2B5EF4-FFF2-40B4-BE49-F238E27FC236}">
                <a16:creationId xmlns:a16="http://schemas.microsoft.com/office/drawing/2014/main" id="{60A4004A-120B-49A2-80E3-9B3EFC559CC4}"/>
              </a:ext>
            </a:extLst>
          </p:cNvPr>
          <p:cNvSpPr>
            <a:spLocks noGrp="1"/>
          </p:cNvSpPr>
          <p:nvPr>
            <p:ph type="ctrTitle"/>
          </p:nvPr>
        </p:nvSpPr>
        <p:spPr/>
        <p:txBody>
          <a:bodyPr/>
          <a:lstStyle/>
          <a:p>
            <a:r>
              <a:rPr lang="en-GB" dirty="0"/>
              <a:t>What are we looking for?</a:t>
            </a:r>
          </a:p>
        </p:txBody>
      </p:sp>
      <p:sp>
        <p:nvSpPr>
          <p:cNvPr id="8" name="TextBox 70">
            <a:extLst>
              <a:ext uri="{FF2B5EF4-FFF2-40B4-BE49-F238E27FC236}">
                <a16:creationId xmlns:a16="http://schemas.microsoft.com/office/drawing/2014/main" id="{F2BC54B6-DA00-4DC0-9E29-78F5E2A1DAC6}"/>
              </a:ext>
            </a:extLst>
          </p:cNvPr>
          <p:cNvSpPr txBox="1">
            <a:spLocks noChangeArrowheads="1"/>
          </p:cNvSpPr>
          <p:nvPr/>
        </p:nvSpPr>
        <p:spPr bwMode="auto">
          <a:xfrm>
            <a:off x="2443163" y="460049"/>
            <a:ext cx="236855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lvl="0" algn="r" fontAlgn="base">
              <a:spcBef>
                <a:spcPct val="0"/>
              </a:spcBef>
              <a:spcAft>
                <a:spcPct val="0"/>
              </a:spcAft>
            </a:pPr>
            <a:r>
              <a:rPr lang="en-GB" altLang="da-DK" sz="700" dirty="0">
                <a:solidFill>
                  <a:srgbClr val="FFFFFF"/>
                </a:solidFill>
                <a:latin typeface="+mj-lt"/>
              </a:rPr>
              <a:t>NADIA VINCENTS NIELSEN and ARUN RAMANATHAN</a:t>
            </a:r>
          </a:p>
          <a:p>
            <a:pPr lvl="0" algn="r" fontAlgn="base">
              <a:spcBef>
                <a:spcPct val="0"/>
              </a:spcBef>
              <a:spcAft>
                <a:spcPct val="0"/>
              </a:spcAft>
            </a:pPr>
            <a:r>
              <a:rPr lang="en-GB" altLang="da-DK" sz="700" dirty="0">
                <a:solidFill>
                  <a:srgbClr val="FFFFFF"/>
                </a:solidFill>
                <a:latin typeface="+mj-lt"/>
              </a:rPr>
              <a:t>Global Finance Graduates</a:t>
            </a:r>
          </a:p>
          <a:p>
            <a:pPr lvl="0" algn="r" fontAlgn="base">
              <a:spcBef>
                <a:spcPct val="0"/>
              </a:spcBef>
              <a:spcAft>
                <a:spcPct val="0"/>
              </a:spcAft>
            </a:pPr>
            <a:r>
              <a:rPr lang="en-GB" altLang="da-DK" sz="700" dirty="0">
                <a:solidFill>
                  <a:srgbClr val="FFFFFF"/>
                </a:solidFill>
                <a:latin typeface="+mj-lt"/>
              </a:rPr>
              <a:t>Denmark</a:t>
            </a:r>
          </a:p>
        </p:txBody>
      </p:sp>
      <p:pic>
        <p:nvPicPr>
          <p:cNvPr id="12" name="Picture Placeholder 4">
            <a:extLst>
              <a:ext uri="{FF2B5EF4-FFF2-40B4-BE49-F238E27FC236}">
                <a16:creationId xmlns:a16="http://schemas.microsoft.com/office/drawing/2014/main" id="{257A9B1F-331C-48DB-8032-740174F1BF5B}"/>
              </a:ext>
            </a:extLst>
          </p:cNvPr>
          <p:cNvPicPr>
            <a:picLocks noGrp="1" noChangeAspect="1"/>
          </p:cNvPicPr>
          <p:nvPr>
            <p:ph type="pic" sz="quarter" idx="18"/>
          </p:nvPr>
        </p:nvPicPr>
        <p:blipFill rotWithShape="1">
          <a:blip r:embed="rId7" cstate="print">
            <a:extLst>
              <a:ext uri="{28A0092B-C50C-407E-A947-70E740481C1C}">
                <a14:useLocalDpi xmlns:a14="http://schemas.microsoft.com/office/drawing/2010/main" val="0"/>
              </a:ext>
            </a:extLst>
          </a:blip>
          <a:srcRect l="12383" r="39425"/>
          <a:stretch/>
        </p:blipFill>
        <p:spPr>
          <a:xfrm>
            <a:off x="323850" y="323850"/>
            <a:ext cx="4487863" cy="6210300"/>
          </a:xfrm>
          <a:prstGeom prst="rect">
            <a:avLst/>
          </a:prstGeom>
        </p:spPr>
      </p:pic>
      <p:sp>
        <p:nvSpPr>
          <p:cNvPr id="14" name="TextBox 70">
            <a:extLst>
              <a:ext uri="{FF2B5EF4-FFF2-40B4-BE49-F238E27FC236}">
                <a16:creationId xmlns:a16="http://schemas.microsoft.com/office/drawing/2014/main" id="{F67C3CD7-984A-4435-A3A8-CD33A43B1725}"/>
              </a:ext>
            </a:extLst>
          </p:cNvPr>
          <p:cNvSpPr txBox="1">
            <a:spLocks noChangeArrowheads="1"/>
          </p:cNvSpPr>
          <p:nvPr/>
        </p:nvSpPr>
        <p:spPr bwMode="auto">
          <a:xfrm>
            <a:off x="1528997" y="460049"/>
            <a:ext cx="328271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lvl="0" algn="r" fontAlgn="base">
              <a:spcBef>
                <a:spcPct val="0"/>
              </a:spcBef>
              <a:spcAft>
                <a:spcPct val="0"/>
              </a:spcAft>
            </a:pPr>
            <a:r>
              <a:rPr lang="en-GB" altLang="da-DK" sz="700" dirty="0">
                <a:solidFill>
                  <a:srgbClr val="FFFFFF"/>
                </a:solidFill>
                <a:latin typeface="+mj-lt"/>
              </a:rPr>
              <a:t>PHILIP VAN BERKOM and ALLISON MCPHERSON</a:t>
            </a:r>
          </a:p>
          <a:p>
            <a:pPr lvl="0" algn="r" fontAlgn="base">
              <a:spcBef>
                <a:spcPct val="0"/>
              </a:spcBef>
              <a:spcAft>
                <a:spcPct val="0"/>
              </a:spcAft>
            </a:pPr>
            <a:r>
              <a:rPr lang="en-GB" altLang="da-DK" sz="700" dirty="0">
                <a:solidFill>
                  <a:srgbClr val="FFFFFF"/>
                </a:solidFill>
                <a:latin typeface="+mj-lt"/>
              </a:rPr>
              <a:t>Global Procurement and Global Marketing Graduates</a:t>
            </a:r>
          </a:p>
          <a:p>
            <a:pPr lvl="0" algn="r" fontAlgn="base">
              <a:spcBef>
                <a:spcPct val="0"/>
              </a:spcBef>
              <a:spcAft>
                <a:spcPct val="0"/>
              </a:spcAft>
            </a:pPr>
            <a:r>
              <a:rPr lang="en-GB" altLang="da-DK" sz="700" dirty="0">
                <a:solidFill>
                  <a:srgbClr val="FFFFFF"/>
                </a:solidFill>
                <a:latin typeface="+mj-lt"/>
              </a:rPr>
              <a:t>Denmark</a:t>
            </a:r>
          </a:p>
        </p:txBody>
      </p:sp>
    </p:spTree>
    <p:extLst>
      <p:ext uri="{BB962C8B-B14F-4D97-AF65-F5344CB8AC3E}">
        <p14:creationId xmlns:p14="http://schemas.microsoft.com/office/powerpoint/2010/main" val="8237833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72FD61-2746-4320-B443-240CAEA753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5"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E572FD61-2746-4320-B443-240CAEA753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1" name="Table 11">
            <a:extLst>
              <a:ext uri="{FF2B5EF4-FFF2-40B4-BE49-F238E27FC236}">
                <a16:creationId xmlns:a16="http://schemas.microsoft.com/office/drawing/2014/main" id="{C2A6FD3B-3D86-40BE-8E38-C0DE6DACE040}"/>
              </a:ext>
            </a:extLst>
          </p:cNvPr>
          <p:cNvGraphicFramePr>
            <a:graphicFrameLocks noGrp="1"/>
          </p:cNvGraphicFramePr>
          <p:nvPr>
            <p:ph idx="1"/>
          </p:nvPr>
        </p:nvGraphicFramePr>
        <p:xfrm>
          <a:off x="1290393" y="1280289"/>
          <a:ext cx="10735290" cy="446086"/>
        </p:xfrm>
        <a:graphic>
          <a:graphicData uri="http://schemas.openxmlformats.org/drawingml/2006/table">
            <a:tbl>
              <a:tblPr>
                <a:tableStyleId>{93296810-A885-4BE3-A3E7-6D5BEEA58F35}</a:tableStyleId>
              </a:tblPr>
              <a:tblGrid>
                <a:gridCol w="715686">
                  <a:extLst>
                    <a:ext uri="{9D8B030D-6E8A-4147-A177-3AD203B41FA5}">
                      <a16:colId xmlns:a16="http://schemas.microsoft.com/office/drawing/2014/main" val="4225047620"/>
                    </a:ext>
                  </a:extLst>
                </a:gridCol>
                <a:gridCol w="715686">
                  <a:extLst>
                    <a:ext uri="{9D8B030D-6E8A-4147-A177-3AD203B41FA5}">
                      <a16:colId xmlns:a16="http://schemas.microsoft.com/office/drawing/2014/main" val="1167463850"/>
                    </a:ext>
                  </a:extLst>
                </a:gridCol>
                <a:gridCol w="715686">
                  <a:extLst>
                    <a:ext uri="{9D8B030D-6E8A-4147-A177-3AD203B41FA5}">
                      <a16:colId xmlns:a16="http://schemas.microsoft.com/office/drawing/2014/main" val="555311057"/>
                    </a:ext>
                  </a:extLst>
                </a:gridCol>
                <a:gridCol w="715686">
                  <a:extLst>
                    <a:ext uri="{9D8B030D-6E8A-4147-A177-3AD203B41FA5}">
                      <a16:colId xmlns:a16="http://schemas.microsoft.com/office/drawing/2014/main" val="4048113857"/>
                    </a:ext>
                  </a:extLst>
                </a:gridCol>
                <a:gridCol w="715686">
                  <a:extLst>
                    <a:ext uri="{9D8B030D-6E8A-4147-A177-3AD203B41FA5}">
                      <a16:colId xmlns:a16="http://schemas.microsoft.com/office/drawing/2014/main" val="108445325"/>
                    </a:ext>
                  </a:extLst>
                </a:gridCol>
                <a:gridCol w="715686">
                  <a:extLst>
                    <a:ext uri="{9D8B030D-6E8A-4147-A177-3AD203B41FA5}">
                      <a16:colId xmlns:a16="http://schemas.microsoft.com/office/drawing/2014/main" val="932505079"/>
                    </a:ext>
                  </a:extLst>
                </a:gridCol>
                <a:gridCol w="715686">
                  <a:extLst>
                    <a:ext uri="{9D8B030D-6E8A-4147-A177-3AD203B41FA5}">
                      <a16:colId xmlns:a16="http://schemas.microsoft.com/office/drawing/2014/main" val="3275244636"/>
                    </a:ext>
                  </a:extLst>
                </a:gridCol>
                <a:gridCol w="715686">
                  <a:extLst>
                    <a:ext uri="{9D8B030D-6E8A-4147-A177-3AD203B41FA5}">
                      <a16:colId xmlns:a16="http://schemas.microsoft.com/office/drawing/2014/main" val="4121854569"/>
                    </a:ext>
                  </a:extLst>
                </a:gridCol>
                <a:gridCol w="715686">
                  <a:extLst>
                    <a:ext uri="{9D8B030D-6E8A-4147-A177-3AD203B41FA5}">
                      <a16:colId xmlns:a16="http://schemas.microsoft.com/office/drawing/2014/main" val="1353833110"/>
                    </a:ext>
                  </a:extLst>
                </a:gridCol>
                <a:gridCol w="715686">
                  <a:extLst>
                    <a:ext uri="{9D8B030D-6E8A-4147-A177-3AD203B41FA5}">
                      <a16:colId xmlns:a16="http://schemas.microsoft.com/office/drawing/2014/main" val="3826582167"/>
                    </a:ext>
                  </a:extLst>
                </a:gridCol>
                <a:gridCol w="715686">
                  <a:extLst>
                    <a:ext uri="{9D8B030D-6E8A-4147-A177-3AD203B41FA5}">
                      <a16:colId xmlns:a16="http://schemas.microsoft.com/office/drawing/2014/main" val="3794026708"/>
                    </a:ext>
                  </a:extLst>
                </a:gridCol>
                <a:gridCol w="715686">
                  <a:extLst>
                    <a:ext uri="{9D8B030D-6E8A-4147-A177-3AD203B41FA5}">
                      <a16:colId xmlns:a16="http://schemas.microsoft.com/office/drawing/2014/main" val="2872599505"/>
                    </a:ext>
                  </a:extLst>
                </a:gridCol>
                <a:gridCol w="715686">
                  <a:extLst>
                    <a:ext uri="{9D8B030D-6E8A-4147-A177-3AD203B41FA5}">
                      <a16:colId xmlns:a16="http://schemas.microsoft.com/office/drawing/2014/main" val="1499189004"/>
                    </a:ext>
                  </a:extLst>
                </a:gridCol>
                <a:gridCol w="715686">
                  <a:extLst>
                    <a:ext uri="{9D8B030D-6E8A-4147-A177-3AD203B41FA5}">
                      <a16:colId xmlns:a16="http://schemas.microsoft.com/office/drawing/2014/main" val="440823763"/>
                    </a:ext>
                  </a:extLst>
                </a:gridCol>
                <a:gridCol w="715686">
                  <a:extLst>
                    <a:ext uri="{9D8B030D-6E8A-4147-A177-3AD203B41FA5}">
                      <a16:colId xmlns:a16="http://schemas.microsoft.com/office/drawing/2014/main" val="1844092213"/>
                    </a:ext>
                  </a:extLst>
                </a:gridCol>
              </a:tblGrid>
              <a:tr h="446086">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541471330"/>
                  </a:ext>
                </a:extLst>
              </a:tr>
            </a:tbl>
          </a:graphicData>
        </a:graphic>
      </p:graphicFrame>
      <p:sp>
        <p:nvSpPr>
          <p:cNvPr id="38" name="Rectangle 37">
            <a:extLst>
              <a:ext uri="{FF2B5EF4-FFF2-40B4-BE49-F238E27FC236}">
                <a16:creationId xmlns:a16="http://schemas.microsoft.com/office/drawing/2014/main" id="{C47990D6-3666-4D44-8BC0-E988491C7B15}"/>
              </a:ext>
            </a:extLst>
          </p:cNvPr>
          <p:cNvSpPr/>
          <p:nvPr/>
        </p:nvSpPr>
        <p:spPr>
          <a:xfrm>
            <a:off x="1264000" y="19771"/>
            <a:ext cx="5018660" cy="1204323"/>
          </a:xfrm>
          <a:prstGeom prst="rect">
            <a:avLst/>
          </a:prstGeom>
          <a:solidFill>
            <a:srgbClr val="AAD3D1"/>
          </a:solidFill>
          <a:ln>
            <a:solidFill>
              <a:srgbClr val="AAD3D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39" name="Rectangle 38">
            <a:extLst>
              <a:ext uri="{FF2B5EF4-FFF2-40B4-BE49-F238E27FC236}">
                <a16:creationId xmlns:a16="http://schemas.microsoft.com/office/drawing/2014/main" id="{5D66027C-E123-46AC-A4D6-847D49D2CA84}"/>
              </a:ext>
            </a:extLst>
          </p:cNvPr>
          <p:cNvSpPr/>
          <p:nvPr/>
        </p:nvSpPr>
        <p:spPr>
          <a:xfrm>
            <a:off x="6282660" y="19771"/>
            <a:ext cx="2163020" cy="1204323"/>
          </a:xfrm>
          <a:prstGeom prst="rect">
            <a:avLst/>
          </a:prstGeom>
          <a:solidFill>
            <a:srgbClr val="F8DCE5"/>
          </a:solidFill>
          <a:ln>
            <a:solidFill>
              <a:srgbClr val="F8DCE5"/>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40" name="Rectangle 39">
            <a:extLst>
              <a:ext uri="{FF2B5EF4-FFF2-40B4-BE49-F238E27FC236}">
                <a16:creationId xmlns:a16="http://schemas.microsoft.com/office/drawing/2014/main" id="{2B78D525-03BE-483C-A3CD-EEBB6138419C}"/>
              </a:ext>
            </a:extLst>
          </p:cNvPr>
          <p:cNvSpPr/>
          <p:nvPr/>
        </p:nvSpPr>
        <p:spPr>
          <a:xfrm>
            <a:off x="8445680" y="19772"/>
            <a:ext cx="3553609" cy="1198404"/>
          </a:xfrm>
          <a:prstGeom prst="rect">
            <a:avLst/>
          </a:prstGeom>
          <a:solidFill>
            <a:srgbClr val="CCDEF6"/>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001965"/>
              </a:solidFill>
              <a:effectLst/>
              <a:uLnTx/>
              <a:uFillTx/>
              <a:latin typeface="Apis For Office"/>
              <a:ea typeface="+mn-ea"/>
              <a:cs typeface="+mn-cs"/>
            </a:endParaRPr>
          </a:p>
        </p:txBody>
      </p:sp>
      <p:sp>
        <p:nvSpPr>
          <p:cNvPr id="41" name="TextBox 40">
            <a:extLst>
              <a:ext uri="{FF2B5EF4-FFF2-40B4-BE49-F238E27FC236}">
                <a16:creationId xmlns:a16="http://schemas.microsoft.com/office/drawing/2014/main" id="{E63B8A2B-96A4-42D6-B47B-12717EA80EA0}"/>
              </a:ext>
            </a:extLst>
          </p:cNvPr>
          <p:cNvSpPr txBox="1"/>
          <p:nvPr/>
        </p:nvSpPr>
        <p:spPr>
          <a:xfrm>
            <a:off x="2376928" y="50213"/>
            <a:ext cx="2883486" cy="223074"/>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1965"/>
                </a:solidFill>
                <a:effectLst/>
                <a:uLnTx/>
                <a:uFillTx/>
                <a:latin typeface="Apis For Office"/>
                <a:ea typeface="+mn-ea"/>
                <a:cs typeface="+mn-cs"/>
              </a:rPr>
              <a:t>Research &amp; Development</a:t>
            </a:r>
          </a:p>
        </p:txBody>
      </p:sp>
      <p:sp>
        <p:nvSpPr>
          <p:cNvPr id="42" name="TextBox 41">
            <a:extLst>
              <a:ext uri="{FF2B5EF4-FFF2-40B4-BE49-F238E27FC236}">
                <a16:creationId xmlns:a16="http://schemas.microsoft.com/office/drawing/2014/main" id="{54728443-FCEB-4DB2-8431-5A64981D575F}"/>
              </a:ext>
            </a:extLst>
          </p:cNvPr>
          <p:cNvSpPr txBox="1"/>
          <p:nvPr/>
        </p:nvSpPr>
        <p:spPr>
          <a:xfrm>
            <a:off x="6421815" y="50213"/>
            <a:ext cx="1962147" cy="223074"/>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1965"/>
                </a:solidFill>
                <a:effectLst/>
                <a:uLnTx/>
                <a:uFillTx/>
                <a:latin typeface="Apis For Office"/>
                <a:ea typeface="+mn-ea"/>
                <a:cs typeface="+mn-cs"/>
              </a:rPr>
              <a:t>Finance &amp; Procurement</a:t>
            </a:r>
          </a:p>
        </p:txBody>
      </p:sp>
      <p:sp>
        <p:nvSpPr>
          <p:cNvPr id="43" name="TextBox 42">
            <a:extLst>
              <a:ext uri="{FF2B5EF4-FFF2-40B4-BE49-F238E27FC236}">
                <a16:creationId xmlns:a16="http://schemas.microsoft.com/office/drawing/2014/main" id="{D59FE61E-79CF-4E5E-A4D7-B1D2E8A75C0F}"/>
              </a:ext>
            </a:extLst>
          </p:cNvPr>
          <p:cNvSpPr txBox="1"/>
          <p:nvPr/>
        </p:nvSpPr>
        <p:spPr>
          <a:xfrm>
            <a:off x="8506916" y="58164"/>
            <a:ext cx="3385210" cy="231666"/>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1965"/>
                </a:solidFill>
                <a:effectLst/>
                <a:uLnTx/>
                <a:uFillTx/>
                <a:latin typeface="Apis For Office"/>
                <a:ea typeface="+mn-ea"/>
                <a:cs typeface="+mn-cs"/>
              </a:rPr>
              <a:t>Business, Marketing, HR &amp; Market Access</a:t>
            </a:r>
          </a:p>
        </p:txBody>
      </p:sp>
      <p:grpSp>
        <p:nvGrpSpPr>
          <p:cNvPr id="67" name="Group 66">
            <a:extLst>
              <a:ext uri="{FF2B5EF4-FFF2-40B4-BE49-F238E27FC236}">
                <a16:creationId xmlns:a16="http://schemas.microsoft.com/office/drawing/2014/main" id="{22091772-4ACB-414F-97B5-E21326F5F7B2}"/>
              </a:ext>
            </a:extLst>
          </p:cNvPr>
          <p:cNvGrpSpPr/>
          <p:nvPr/>
        </p:nvGrpSpPr>
        <p:grpSpPr>
          <a:xfrm>
            <a:off x="1297276" y="1262024"/>
            <a:ext cx="10715660" cy="1516"/>
            <a:chOff x="1327686" y="2204443"/>
            <a:chExt cx="10715660" cy="1516"/>
          </a:xfrm>
        </p:grpSpPr>
        <p:cxnSp>
          <p:nvCxnSpPr>
            <p:cNvPr id="19" name="Straight Connector 18">
              <a:extLst>
                <a:ext uri="{FF2B5EF4-FFF2-40B4-BE49-F238E27FC236}">
                  <a16:creationId xmlns:a16="http://schemas.microsoft.com/office/drawing/2014/main" id="{D8A9703F-90EC-4F5D-BACE-6C89CECD0A71}"/>
                </a:ext>
              </a:extLst>
            </p:cNvPr>
            <p:cNvCxnSpPr>
              <a:cxnSpLocks/>
            </p:cNvCxnSpPr>
            <p:nvPr/>
          </p:nvCxnSpPr>
          <p:spPr>
            <a:xfrm flipH="1" flipV="1">
              <a:off x="1327686" y="2205269"/>
              <a:ext cx="675992" cy="69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id="{E8D4C39C-758F-4DB5-B590-9FA6249A3B84}"/>
                </a:ext>
              </a:extLst>
            </p:cNvPr>
            <p:cNvCxnSpPr>
              <a:cxnSpLocks/>
            </p:cNvCxnSpPr>
            <p:nvPr/>
          </p:nvCxnSpPr>
          <p:spPr>
            <a:xfrm flipH="1">
              <a:off x="2055903" y="2205202"/>
              <a:ext cx="66000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53" name="Straight Connector 52">
              <a:extLst>
                <a:ext uri="{FF2B5EF4-FFF2-40B4-BE49-F238E27FC236}">
                  <a16:creationId xmlns:a16="http://schemas.microsoft.com/office/drawing/2014/main" id="{63AA9662-BAD6-4912-9521-A189F4A6B05D}"/>
                </a:ext>
              </a:extLst>
            </p:cNvPr>
            <p:cNvCxnSpPr>
              <a:cxnSpLocks/>
            </p:cNvCxnSpPr>
            <p:nvPr/>
          </p:nvCxnSpPr>
          <p:spPr>
            <a:xfrm flipH="1">
              <a:off x="2776571" y="2205202"/>
              <a:ext cx="66000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54" name="Straight Connector 53">
              <a:extLst>
                <a:ext uri="{FF2B5EF4-FFF2-40B4-BE49-F238E27FC236}">
                  <a16:creationId xmlns:a16="http://schemas.microsoft.com/office/drawing/2014/main" id="{131BA89B-9614-4CD4-9B7F-2ECB878D8B6D}"/>
                </a:ext>
              </a:extLst>
            </p:cNvPr>
            <p:cNvCxnSpPr>
              <a:cxnSpLocks/>
            </p:cNvCxnSpPr>
            <p:nvPr/>
          </p:nvCxnSpPr>
          <p:spPr>
            <a:xfrm flipH="1">
              <a:off x="3488608" y="2205202"/>
              <a:ext cx="66000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55" name="Straight Connector 54">
              <a:extLst>
                <a:ext uri="{FF2B5EF4-FFF2-40B4-BE49-F238E27FC236}">
                  <a16:creationId xmlns:a16="http://schemas.microsoft.com/office/drawing/2014/main" id="{B2E89A8C-275F-46B9-8E73-D705AEF85795}"/>
                </a:ext>
              </a:extLst>
            </p:cNvPr>
            <p:cNvCxnSpPr>
              <a:cxnSpLocks/>
            </p:cNvCxnSpPr>
            <p:nvPr/>
          </p:nvCxnSpPr>
          <p:spPr>
            <a:xfrm flipH="1">
              <a:off x="4204727" y="2205202"/>
              <a:ext cx="66000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id="{3303650F-28F1-4A62-8ACC-363AA8A0FD25}"/>
                </a:ext>
              </a:extLst>
            </p:cNvPr>
            <p:cNvCxnSpPr>
              <a:cxnSpLocks/>
            </p:cNvCxnSpPr>
            <p:nvPr/>
          </p:nvCxnSpPr>
          <p:spPr>
            <a:xfrm flipH="1">
              <a:off x="4920649" y="2205202"/>
              <a:ext cx="66000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57" name="Straight Connector 56">
              <a:extLst>
                <a:ext uri="{FF2B5EF4-FFF2-40B4-BE49-F238E27FC236}">
                  <a16:creationId xmlns:a16="http://schemas.microsoft.com/office/drawing/2014/main" id="{07A75C6B-B3EB-48B8-A431-FAB21CF28469}"/>
                </a:ext>
              </a:extLst>
            </p:cNvPr>
            <p:cNvCxnSpPr>
              <a:cxnSpLocks/>
            </p:cNvCxnSpPr>
            <p:nvPr/>
          </p:nvCxnSpPr>
          <p:spPr>
            <a:xfrm flipH="1">
              <a:off x="5636768" y="2205202"/>
              <a:ext cx="66000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58" name="Straight Connector 57">
              <a:extLst>
                <a:ext uri="{FF2B5EF4-FFF2-40B4-BE49-F238E27FC236}">
                  <a16:creationId xmlns:a16="http://schemas.microsoft.com/office/drawing/2014/main" id="{441D2DE0-CE25-48A6-BB47-39E5CFEC5875}"/>
                </a:ext>
              </a:extLst>
            </p:cNvPr>
            <p:cNvCxnSpPr>
              <a:cxnSpLocks/>
            </p:cNvCxnSpPr>
            <p:nvPr/>
          </p:nvCxnSpPr>
          <p:spPr>
            <a:xfrm flipH="1">
              <a:off x="6348805" y="2205202"/>
              <a:ext cx="66000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59" name="Straight Connector 58">
              <a:extLst>
                <a:ext uri="{FF2B5EF4-FFF2-40B4-BE49-F238E27FC236}">
                  <a16:creationId xmlns:a16="http://schemas.microsoft.com/office/drawing/2014/main" id="{671D0965-9470-4A46-AB9C-A73A3EE386A9}"/>
                </a:ext>
              </a:extLst>
            </p:cNvPr>
            <p:cNvCxnSpPr>
              <a:cxnSpLocks/>
            </p:cNvCxnSpPr>
            <p:nvPr/>
          </p:nvCxnSpPr>
          <p:spPr>
            <a:xfrm flipH="1">
              <a:off x="7069473" y="2205202"/>
              <a:ext cx="66000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60" name="Straight Connector 59">
              <a:extLst>
                <a:ext uri="{FF2B5EF4-FFF2-40B4-BE49-F238E27FC236}">
                  <a16:creationId xmlns:a16="http://schemas.microsoft.com/office/drawing/2014/main" id="{CBACAB05-9F23-4FBA-908D-FA3C635E9D60}"/>
                </a:ext>
              </a:extLst>
            </p:cNvPr>
            <p:cNvCxnSpPr>
              <a:cxnSpLocks/>
            </p:cNvCxnSpPr>
            <p:nvPr/>
          </p:nvCxnSpPr>
          <p:spPr>
            <a:xfrm flipH="1">
              <a:off x="7783621" y="2204443"/>
              <a:ext cx="66000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61" name="Straight Connector 60">
              <a:extLst>
                <a:ext uri="{FF2B5EF4-FFF2-40B4-BE49-F238E27FC236}">
                  <a16:creationId xmlns:a16="http://schemas.microsoft.com/office/drawing/2014/main" id="{08C171BC-5775-4FF1-BF37-434344451CE9}"/>
                </a:ext>
              </a:extLst>
            </p:cNvPr>
            <p:cNvCxnSpPr>
              <a:cxnSpLocks/>
            </p:cNvCxnSpPr>
            <p:nvPr/>
          </p:nvCxnSpPr>
          <p:spPr>
            <a:xfrm flipH="1">
              <a:off x="8499740" y="2204443"/>
              <a:ext cx="66000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62" name="Straight Connector 61">
              <a:extLst>
                <a:ext uri="{FF2B5EF4-FFF2-40B4-BE49-F238E27FC236}">
                  <a16:creationId xmlns:a16="http://schemas.microsoft.com/office/drawing/2014/main" id="{04F2A337-EA41-4552-9C89-3A4573FBFCB2}"/>
                </a:ext>
              </a:extLst>
            </p:cNvPr>
            <p:cNvCxnSpPr>
              <a:cxnSpLocks/>
            </p:cNvCxnSpPr>
            <p:nvPr/>
          </p:nvCxnSpPr>
          <p:spPr>
            <a:xfrm flipH="1">
              <a:off x="9211777" y="2204443"/>
              <a:ext cx="66000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63" name="Straight Connector 62">
              <a:extLst>
                <a:ext uri="{FF2B5EF4-FFF2-40B4-BE49-F238E27FC236}">
                  <a16:creationId xmlns:a16="http://schemas.microsoft.com/office/drawing/2014/main" id="{E5D68351-A1A9-4F46-89C7-A7CB459C34FE}"/>
                </a:ext>
              </a:extLst>
            </p:cNvPr>
            <p:cNvCxnSpPr>
              <a:cxnSpLocks/>
            </p:cNvCxnSpPr>
            <p:nvPr/>
          </p:nvCxnSpPr>
          <p:spPr>
            <a:xfrm flipH="1">
              <a:off x="9932445" y="2204443"/>
              <a:ext cx="66000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64" name="Straight Connector 63">
              <a:extLst>
                <a:ext uri="{FF2B5EF4-FFF2-40B4-BE49-F238E27FC236}">
                  <a16:creationId xmlns:a16="http://schemas.microsoft.com/office/drawing/2014/main" id="{0BC3FAC8-69F0-42A9-B03C-312E713D1F3F}"/>
                </a:ext>
              </a:extLst>
            </p:cNvPr>
            <p:cNvCxnSpPr>
              <a:cxnSpLocks/>
            </p:cNvCxnSpPr>
            <p:nvPr/>
          </p:nvCxnSpPr>
          <p:spPr>
            <a:xfrm flipH="1">
              <a:off x="10644480" y="2204772"/>
              <a:ext cx="660001"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65" name="Straight Connector 64">
              <a:extLst>
                <a:ext uri="{FF2B5EF4-FFF2-40B4-BE49-F238E27FC236}">
                  <a16:creationId xmlns:a16="http://schemas.microsoft.com/office/drawing/2014/main" id="{019D67CC-3ACC-473D-9AC5-BF939481EFBB}"/>
                </a:ext>
              </a:extLst>
            </p:cNvPr>
            <p:cNvCxnSpPr>
              <a:cxnSpLocks/>
            </p:cNvCxnSpPr>
            <p:nvPr/>
          </p:nvCxnSpPr>
          <p:spPr>
            <a:xfrm flipH="1" flipV="1">
              <a:off x="11364035" y="2204443"/>
              <a:ext cx="679311" cy="329"/>
            </a:xfrm>
            <a:prstGeom prst="line">
              <a:avLst/>
            </a:prstGeom>
            <a:ln/>
          </p:spPr>
          <p:style>
            <a:lnRef idx="3">
              <a:schemeClr val="accent1"/>
            </a:lnRef>
            <a:fillRef idx="0">
              <a:schemeClr val="accent1"/>
            </a:fillRef>
            <a:effectRef idx="2">
              <a:schemeClr val="accent1"/>
            </a:effectRef>
            <a:fontRef idx="minor">
              <a:schemeClr val="tx1"/>
            </a:fontRef>
          </p:style>
        </p:cxnSp>
      </p:grpSp>
      <p:grpSp>
        <p:nvGrpSpPr>
          <p:cNvPr id="70" name="Group 69">
            <a:extLst>
              <a:ext uri="{FF2B5EF4-FFF2-40B4-BE49-F238E27FC236}">
                <a16:creationId xmlns:a16="http://schemas.microsoft.com/office/drawing/2014/main" id="{25F57166-BF1E-4F66-B586-3F6023CFA0E4}"/>
              </a:ext>
            </a:extLst>
          </p:cNvPr>
          <p:cNvGrpSpPr/>
          <p:nvPr/>
        </p:nvGrpSpPr>
        <p:grpSpPr>
          <a:xfrm>
            <a:off x="1311503" y="305732"/>
            <a:ext cx="637633" cy="918365"/>
            <a:chOff x="1341913" y="826730"/>
            <a:chExt cx="637633" cy="918365"/>
          </a:xfrm>
        </p:grpSpPr>
        <p:sp>
          <p:nvSpPr>
            <p:cNvPr id="44" name="Rectangle: Single Corner Rounded 43">
              <a:extLst>
                <a:ext uri="{FF2B5EF4-FFF2-40B4-BE49-F238E27FC236}">
                  <a16:creationId xmlns:a16="http://schemas.microsoft.com/office/drawing/2014/main" id="{A9372319-B1A4-43C1-A514-CDB6C75A3A76}"/>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69" name="TextBox 68">
              <a:extLst>
                <a:ext uri="{FF2B5EF4-FFF2-40B4-BE49-F238E27FC236}">
                  <a16:creationId xmlns:a16="http://schemas.microsoft.com/office/drawing/2014/main" id="{7035310F-EFC0-4F6D-83B9-56F7ACC3F5DE}"/>
                </a:ext>
              </a:extLst>
            </p:cNvPr>
            <p:cNvSpPr txBox="1"/>
            <p:nvPr/>
          </p:nvSpPr>
          <p:spPr>
            <a:xfrm>
              <a:off x="1351057" y="1084140"/>
              <a:ext cx="628489" cy="378630"/>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Medical, Regulatory, &amp; Safety</a:t>
              </a: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grpSp>
      <p:grpSp>
        <p:nvGrpSpPr>
          <p:cNvPr id="71" name="Group 70">
            <a:extLst>
              <a:ext uri="{FF2B5EF4-FFF2-40B4-BE49-F238E27FC236}">
                <a16:creationId xmlns:a16="http://schemas.microsoft.com/office/drawing/2014/main" id="{85DBDC42-DA9D-405C-ADEF-ADE48B25F9D5}"/>
              </a:ext>
            </a:extLst>
          </p:cNvPr>
          <p:cNvGrpSpPr/>
          <p:nvPr/>
        </p:nvGrpSpPr>
        <p:grpSpPr>
          <a:xfrm>
            <a:off x="2042184" y="308955"/>
            <a:ext cx="637632" cy="918365"/>
            <a:chOff x="1341913" y="826730"/>
            <a:chExt cx="637632" cy="918365"/>
          </a:xfrm>
        </p:grpSpPr>
        <p:sp>
          <p:nvSpPr>
            <p:cNvPr id="72" name="Rectangle: Single Corner Rounded 71">
              <a:extLst>
                <a:ext uri="{FF2B5EF4-FFF2-40B4-BE49-F238E27FC236}">
                  <a16:creationId xmlns:a16="http://schemas.microsoft.com/office/drawing/2014/main" id="{E4B29BC6-B5CA-4212-9152-2192D00C5848}"/>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73" name="TextBox 72">
              <a:extLst>
                <a:ext uri="{FF2B5EF4-FFF2-40B4-BE49-F238E27FC236}">
                  <a16:creationId xmlns:a16="http://schemas.microsoft.com/office/drawing/2014/main" id="{E8E960EE-2FAA-4041-916E-11420C7BA6A7}"/>
                </a:ext>
              </a:extLst>
            </p:cNvPr>
            <p:cNvSpPr txBox="1"/>
            <p:nvPr/>
          </p:nvSpPr>
          <p:spPr>
            <a:xfrm>
              <a:off x="1351056" y="891125"/>
              <a:ext cx="628489" cy="76642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Global Development</a:t>
              </a: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Data Management Systems &amp; Standards*</a:t>
              </a:r>
              <a:endParaRPr kumimoji="0" lang="en-GB" sz="700" b="0" i="0" u="none" strike="noStrike" kern="1200" cap="none" spc="0" normalizeH="0" baseline="0" noProof="0" dirty="0">
                <a:ln>
                  <a:noFill/>
                </a:ln>
                <a:solidFill>
                  <a:srgbClr val="001965"/>
                </a:solidFill>
                <a:effectLst/>
                <a:uLnTx/>
                <a:uFillTx/>
                <a:latin typeface="Apis For Office"/>
                <a:ea typeface="Apis For Office"/>
                <a:cs typeface="Apis For Office"/>
              </a:endParaRPr>
            </a:p>
          </p:txBody>
        </p:sp>
      </p:grpSp>
      <p:grpSp>
        <p:nvGrpSpPr>
          <p:cNvPr id="74" name="Group 73">
            <a:extLst>
              <a:ext uri="{FF2B5EF4-FFF2-40B4-BE49-F238E27FC236}">
                <a16:creationId xmlns:a16="http://schemas.microsoft.com/office/drawing/2014/main" id="{BFF507C0-00CD-4A90-8BAD-B365226CB375}"/>
              </a:ext>
            </a:extLst>
          </p:cNvPr>
          <p:cNvGrpSpPr/>
          <p:nvPr/>
        </p:nvGrpSpPr>
        <p:grpSpPr>
          <a:xfrm>
            <a:off x="2750787" y="307585"/>
            <a:ext cx="639121" cy="918365"/>
            <a:chOff x="1341913" y="826730"/>
            <a:chExt cx="639121" cy="918365"/>
          </a:xfrm>
        </p:grpSpPr>
        <p:sp>
          <p:nvSpPr>
            <p:cNvPr id="75" name="Rectangle: Single Corner Rounded 74">
              <a:extLst>
                <a:ext uri="{FF2B5EF4-FFF2-40B4-BE49-F238E27FC236}">
                  <a16:creationId xmlns:a16="http://schemas.microsoft.com/office/drawing/2014/main" id="{EE52FA35-A44D-42B4-AA5A-DFDB722019C6}"/>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76" name="TextBox 75">
              <a:extLst>
                <a:ext uri="{FF2B5EF4-FFF2-40B4-BE49-F238E27FC236}">
                  <a16:creationId xmlns:a16="http://schemas.microsoft.com/office/drawing/2014/main" id="{563CE28E-BB02-4343-860F-CF0AA8B3C461}"/>
                </a:ext>
              </a:extLst>
            </p:cNvPr>
            <p:cNvSpPr txBox="1"/>
            <p:nvPr/>
          </p:nvSpPr>
          <p:spPr>
            <a:xfrm>
              <a:off x="1352545" y="883351"/>
              <a:ext cx="628489" cy="507896"/>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Global Development    </a:t>
              </a:r>
              <a:endParaRPr kumimoji="0" lang="en-GB" sz="1800" b="0" i="0" u="none" strike="noStrike" kern="1200" cap="none" spc="0" normalizeH="0" baseline="0" noProof="0" dirty="0">
                <a:ln>
                  <a:noFill/>
                </a:ln>
                <a:solidFill>
                  <a:srgbClr val="001965"/>
                </a:solidFill>
                <a:effectLst/>
                <a:uLnTx/>
                <a:uFillTx/>
                <a:latin typeface="Apis For Office"/>
                <a:ea typeface="Apis For Office"/>
                <a:cs typeface="Apis For Office"/>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Epidemiology*</a:t>
              </a:r>
              <a:endParaRPr kumimoji="0" lang="en-GB" sz="700" b="0" i="0" u="none" strike="noStrike" kern="1200" cap="none" spc="0" normalizeH="0" baseline="0" noProof="0" dirty="0">
                <a:ln>
                  <a:noFill/>
                </a:ln>
                <a:solidFill>
                  <a:srgbClr val="001965"/>
                </a:solidFill>
                <a:effectLst/>
                <a:uLnTx/>
                <a:uFillTx/>
                <a:latin typeface="Apis For Office"/>
                <a:ea typeface="Apis For Office"/>
                <a:cs typeface="Apis For Office"/>
              </a:endParaRPr>
            </a:p>
          </p:txBody>
        </p:sp>
      </p:grpSp>
      <p:grpSp>
        <p:nvGrpSpPr>
          <p:cNvPr id="77" name="Group 76">
            <a:extLst>
              <a:ext uri="{FF2B5EF4-FFF2-40B4-BE49-F238E27FC236}">
                <a16:creationId xmlns:a16="http://schemas.microsoft.com/office/drawing/2014/main" id="{75562278-7364-4C87-9794-D07991F3CAE7}"/>
              </a:ext>
            </a:extLst>
          </p:cNvPr>
          <p:cNvGrpSpPr/>
          <p:nvPr/>
        </p:nvGrpSpPr>
        <p:grpSpPr>
          <a:xfrm>
            <a:off x="3481947" y="305729"/>
            <a:ext cx="649755" cy="918365"/>
            <a:chOff x="1341913" y="826730"/>
            <a:chExt cx="649755" cy="918365"/>
          </a:xfrm>
        </p:grpSpPr>
        <p:sp>
          <p:nvSpPr>
            <p:cNvPr id="78" name="Rectangle: Single Corner Rounded 77">
              <a:extLst>
                <a:ext uri="{FF2B5EF4-FFF2-40B4-BE49-F238E27FC236}">
                  <a16:creationId xmlns:a16="http://schemas.microsoft.com/office/drawing/2014/main" id="{F59DCA98-6648-4EF1-B924-82AF6CDE4B2A}"/>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79" name="TextBox 78">
              <a:extLst>
                <a:ext uri="{FF2B5EF4-FFF2-40B4-BE49-F238E27FC236}">
                  <a16:creationId xmlns:a16="http://schemas.microsoft.com/office/drawing/2014/main" id="{7EC36F40-50FD-4229-B4ED-654665A99746}"/>
                </a:ext>
              </a:extLst>
            </p:cNvPr>
            <p:cNvSpPr txBox="1"/>
            <p:nvPr/>
          </p:nvSpPr>
          <p:spPr>
            <a:xfrm>
              <a:off x="1363179" y="885207"/>
              <a:ext cx="628489" cy="507896"/>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Global Development   </a:t>
              </a: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1965"/>
                </a:solidFill>
                <a:effectLst/>
                <a:uLnTx/>
                <a:uFillTx/>
                <a:latin typeface="Apis For Office"/>
                <a:ea typeface="Apis For Office"/>
                <a:cs typeface="Apis For Office"/>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Data Science*</a:t>
              </a:r>
              <a:endParaRPr kumimoji="0" lang="en-GB" sz="700" b="0" i="0" u="none" strike="noStrike" kern="1200" cap="none" spc="0" normalizeH="0" baseline="0" noProof="0" dirty="0">
                <a:ln>
                  <a:noFill/>
                </a:ln>
                <a:solidFill>
                  <a:srgbClr val="001965"/>
                </a:solidFill>
                <a:effectLst/>
                <a:uLnTx/>
                <a:uFillTx/>
                <a:latin typeface="Apis For Office"/>
                <a:ea typeface="Apis For Office"/>
                <a:cs typeface="Apis For Office"/>
              </a:endParaRPr>
            </a:p>
          </p:txBody>
        </p:sp>
      </p:grpSp>
      <p:grpSp>
        <p:nvGrpSpPr>
          <p:cNvPr id="80" name="Group 79">
            <a:extLst>
              <a:ext uri="{FF2B5EF4-FFF2-40B4-BE49-F238E27FC236}">
                <a16:creationId xmlns:a16="http://schemas.microsoft.com/office/drawing/2014/main" id="{95DE7B81-E422-4C57-9767-E45649AB7897}"/>
              </a:ext>
            </a:extLst>
          </p:cNvPr>
          <p:cNvGrpSpPr/>
          <p:nvPr/>
        </p:nvGrpSpPr>
        <p:grpSpPr>
          <a:xfrm>
            <a:off x="4190071" y="305729"/>
            <a:ext cx="628490" cy="918365"/>
            <a:chOff x="1341912" y="826730"/>
            <a:chExt cx="628490" cy="918365"/>
          </a:xfrm>
        </p:grpSpPr>
        <p:sp>
          <p:nvSpPr>
            <p:cNvPr id="81" name="Rectangle: Single Corner Rounded 80">
              <a:extLst>
                <a:ext uri="{FF2B5EF4-FFF2-40B4-BE49-F238E27FC236}">
                  <a16:creationId xmlns:a16="http://schemas.microsoft.com/office/drawing/2014/main" id="{78B8DEC2-B2C4-4202-BC8A-BB5516FA0EE8}"/>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82" name="TextBox 81">
              <a:extLst>
                <a:ext uri="{FF2B5EF4-FFF2-40B4-BE49-F238E27FC236}">
                  <a16:creationId xmlns:a16="http://schemas.microsoft.com/office/drawing/2014/main" id="{FE2DFA03-2312-40AE-ADAB-1C33417CC280}"/>
                </a:ext>
              </a:extLst>
            </p:cNvPr>
            <p:cNvSpPr txBox="1"/>
            <p:nvPr/>
          </p:nvSpPr>
          <p:spPr>
            <a:xfrm>
              <a:off x="1341912" y="882982"/>
              <a:ext cx="628489" cy="637162"/>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Global Development</a:t>
              </a: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1965"/>
                </a:solidFill>
                <a:effectLst/>
                <a:uLnTx/>
                <a:uFillTx/>
                <a:latin typeface="Apis For Office"/>
                <a:ea typeface="Apis For Office"/>
                <a:cs typeface="Apis For Office"/>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Trial Management*</a:t>
              </a:r>
              <a:endParaRPr kumimoji="0" lang="en-GB" sz="700" b="0" i="0" u="none" strike="noStrike" kern="1200" cap="none" spc="0" normalizeH="0" baseline="0" noProof="0" dirty="0">
                <a:ln>
                  <a:noFill/>
                </a:ln>
                <a:solidFill>
                  <a:srgbClr val="001965"/>
                </a:solidFill>
                <a:effectLst/>
                <a:uLnTx/>
                <a:uFillTx/>
                <a:latin typeface="Apis For Office"/>
                <a:ea typeface="Apis For Office"/>
                <a:cs typeface="Apis For Office"/>
              </a:endParaRPr>
            </a:p>
          </p:txBody>
        </p:sp>
      </p:grpSp>
      <p:grpSp>
        <p:nvGrpSpPr>
          <p:cNvPr id="83" name="Group 82">
            <a:extLst>
              <a:ext uri="{FF2B5EF4-FFF2-40B4-BE49-F238E27FC236}">
                <a16:creationId xmlns:a16="http://schemas.microsoft.com/office/drawing/2014/main" id="{37056607-1A3A-42DF-AA80-679D40E127C6}"/>
              </a:ext>
            </a:extLst>
          </p:cNvPr>
          <p:cNvGrpSpPr/>
          <p:nvPr/>
        </p:nvGrpSpPr>
        <p:grpSpPr>
          <a:xfrm>
            <a:off x="4898877" y="305728"/>
            <a:ext cx="638968" cy="918365"/>
            <a:chOff x="1341913" y="826730"/>
            <a:chExt cx="638968" cy="918365"/>
          </a:xfrm>
        </p:grpSpPr>
        <p:sp>
          <p:nvSpPr>
            <p:cNvPr id="84" name="Rectangle: Single Corner Rounded 83">
              <a:extLst>
                <a:ext uri="{FF2B5EF4-FFF2-40B4-BE49-F238E27FC236}">
                  <a16:creationId xmlns:a16="http://schemas.microsoft.com/office/drawing/2014/main" id="{FF4F32F8-E87C-4303-92B7-58E3C00E2EA5}"/>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85" name="TextBox 84">
              <a:extLst>
                <a:ext uri="{FF2B5EF4-FFF2-40B4-BE49-F238E27FC236}">
                  <a16:creationId xmlns:a16="http://schemas.microsoft.com/office/drawing/2014/main" id="{D0334C87-97B4-4A84-8A0E-55209D4092BC}"/>
                </a:ext>
              </a:extLst>
            </p:cNvPr>
            <p:cNvSpPr txBox="1"/>
            <p:nvPr/>
          </p:nvSpPr>
          <p:spPr>
            <a:xfrm>
              <a:off x="1352392" y="894313"/>
              <a:ext cx="628489" cy="637162"/>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Global Development </a:t>
              </a: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1965"/>
                </a:solidFill>
                <a:effectLst/>
                <a:uLnTx/>
                <a:uFillTx/>
                <a:latin typeface="Apis For Office"/>
                <a:ea typeface="Apis For Office"/>
                <a:cs typeface="Apis For Office"/>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Trial Data Management*</a:t>
              </a:r>
              <a:endParaRPr kumimoji="0" lang="en-GB" sz="700" b="0" i="0" u="none" strike="noStrike" kern="1200" cap="none" spc="0" normalizeH="0" baseline="0" noProof="0" dirty="0">
                <a:ln>
                  <a:noFill/>
                </a:ln>
                <a:solidFill>
                  <a:srgbClr val="001965"/>
                </a:solidFill>
                <a:effectLst/>
                <a:uLnTx/>
                <a:uFillTx/>
                <a:latin typeface="Apis For Office"/>
                <a:ea typeface="Apis For Office"/>
                <a:cs typeface="Apis For Office"/>
              </a:endParaRPr>
            </a:p>
          </p:txBody>
        </p:sp>
      </p:grpSp>
      <p:grpSp>
        <p:nvGrpSpPr>
          <p:cNvPr id="86" name="Group 85">
            <a:extLst>
              <a:ext uri="{FF2B5EF4-FFF2-40B4-BE49-F238E27FC236}">
                <a16:creationId xmlns:a16="http://schemas.microsoft.com/office/drawing/2014/main" id="{93A52EAE-11B9-4DD8-9376-B8F01FB2A122}"/>
              </a:ext>
            </a:extLst>
          </p:cNvPr>
          <p:cNvGrpSpPr/>
          <p:nvPr/>
        </p:nvGrpSpPr>
        <p:grpSpPr>
          <a:xfrm>
            <a:off x="5614153" y="305728"/>
            <a:ext cx="636449" cy="918365"/>
            <a:chOff x="1341913" y="826730"/>
            <a:chExt cx="636449" cy="918365"/>
          </a:xfrm>
        </p:grpSpPr>
        <p:sp>
          <p:nvSpPr>
            <p:cNvPr id="87" name="Rectangle: Single Corner Rounded 86">
              <a:extLst>
                <a:ext uri="{FF2B5EF4-FFF2-40B4-BE49-F238E27FC236}">
                  <a16:creationId xmlns:a16="http://schemas.microsoft.com/office/drawing/2014/main" id="{9BEF5A70-E6B8-464A-9372-9FD6EE4B1612}"/>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88" name="TextBox 87">
              <a:extLst>
                <a:ext uri="{FF2B5EF4-FFF2-40B4-BE49-F238E27FC236}">
                  <a16:creationId xmlns:a16="http://schemas.microsoft.com/office/drawing/2014/main" id="{FE42BB26-150D-4909-A3BE-BF9777F03349}"/>
                </a:ext>
              </a:extLst>
            </p:cNvPr>
            <p:cNvSpPr txBox="1"/>
            <p:nvPr/>
          </p:nvSpPr>
          <p:spPr>
            <a:xfrm>
              <a:off x="1349873" y="886516"/>
              <a:ext cx="628489" cy="637162"/>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Global Development </a:t>
              </a: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001965"/>
                </a:solidFill>
                <a:effectLst/>
                <a:uLnTx/>
                <a:uFillTx/>
                <a:latin typeface="Apis For Office"/>
                <a:ea typeface="Apis For Office"/>
                <a:cs typeface="Apis For Office"/>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Medical Writing*</a:t>
              </a:r>
              <a:endParaRPr kumimoji="0" lang="en-GB" sz="700" b="0" i="0" u="none" strike="noStrike" kern="1200" cap="none" spc="0" normalizeH="0" baseline="0" noProof="0" dirty="0">
                <a:ln>
                  <a:noFill/>
                </a:ln>
                <a:solidFill>
                  <a:srgbClr val="001965"/>
                </a:solidFill>
                <a:effectLst/>
                <a:uLnTx/>
                <a:uFillTx/>
                <a:latin typeface="Apis For Office"/>
                <a:ea typeface="Apis For Office"/>
                <a:cs typeface="Apis For Office"/>
              </a:endParaRPr>
            </a:p>
          </p:txBody>
        </p:sp>
      </p:grpSp>
      <p:grpSp>
        <p:nvGrpSpPr>
          <p:cNvPr id="89" name="Group 88">
            <a:extLst>
              <a:ext uri="{FF2B5EF4-FFF2-40B4-BE49-F238E27FC236}">
                <a16:creationId xmlns:a16="http://schemas.microsoft.com/office/drawing/2014/main" id="{830BDECA-40F6-44AD-96EA-06950C892E08}"/>
              </a:ext>
            </a:extLst>
          </p:cNvPr>
          <p:cNvGrpSpPr/>
          <p:nvPr/>
        </p:nvGrpSpPr>
        <p:grpSpPr>
          <a:xfrm>
            <a:off x="6331190" y="309879"/>
            <a:ext cx="649754" cy="918365"/>
            <a:chOff x="1341913" y="826730"/>
            <a:chExt cx="649754" cy="918365"/>
          </a:xfrm>
        </p:grpSpPr>
        <p:sp>
          <p:nvSpPr>
            <p:cNvPr id="90" name="Rectangle: Single Corner Rounded 89">
              <a:extLst>
                <a:ext uri="{FF2B5EF4-FFF2-40B4-BE49-F238E27FC236}">
                  <a16:creationId xmlns:a16="http://schemas.microsoft.com/office/drawing/2014/main" id="{2D3E11CE-352D-43C1-9A1A-D7D5F82F4F67}"/>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91" name="TextBox 90">
              <a:extLst>
                <a:ext uri="{FF2B5EF4-FFF2-40B4-BE49-F238E27FC236}">
                  <a16:creationId xmlns:a16="http://schemas.microsoft.com/office/drawing/2014/main" id="{D520F2A1-1B33-49EF-B002-A5E35054CEBE}"/>
                </a:ext>
              </a:extLst>
            </p:cNvPr>
            <p:cNvSpPr txBox="1"/>
            <p:nvPr/>
          </p:nvSpPr>
          <p:spPr>
            <a:xfrm>
              <a:off x="1363178" y="1151845"/>
              <a:ext cx="628489" cy="2493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Global Finance </a:t>
              </a:r>
              <a:endParaRPr kumimoji="0" lang="en-GB" sz="700" b="0" i="0" u="none" strike="noStrike" kern="1200" cap="none" spc="0" normalizeH="0" baseline="0" noProof="0" dirty="0">
                <a:ln>
                  <a:noFill/>
                </a:ln>
                <a:solidFill>
                  <a:srgbClr val="001965"/>
                </a:solidFill>
                <a:effectLst/>
                <a:uLnTx/>
                <a:uFillTx/>
                <a:latin typeface="Apis For Office"/>
                <a:ea typeface="Apis For Office"/>
                <a:cs typeface="Apis For Office"/>
              </a:endParaRPr>
            </a:p>
          </p:txBody>
        </p:sp>
      </p:grpSp>
      <p:grpSp>
        <p:nvGrpSpPr>
          <p:cNvPr id="92" name="Group 91">
            <a:extLst>
              <a:ext uri="{FF2B5EF4-FFF2-40B4-BE49-F238E27FC236}">
                <a16:creationId xmlns:a16="http://schemas.microsoft.com/office/drawing/2014/main" id="{7CBCE4C5-621D-452A-A251-1023EDE82A19}"/>
              </a:ext>
            </a:extLst>
          </p:cNvPr>
          <p:cNvGrpSpPr/>
          <p:nvPr/>
        </p:nvGrpSpPr>
        <p:grpSpPr>
          <a:xfrm>
            <a:off x="7046552" y="305728"/>
            <a:ext cx="635488" cy="918365"/>
            <a:chOff x="1341913" y="826730"/>
            <a:chExt cx="635488" cy="918365"/>
          </a:xfrm>
        </p:grpSpPr>
        <p:sp>
          <p:nvSpPr>
            <p:cNvPr id="93" name="Rectangle: Single Corner Rounded 92">
              <a:extLst>
                <a:ext uri="{FF2B5EF4-FFF2-40B4-BE49-F238E27FC236}">
                  <a16:creationId xmlns:a16="http://schemas.microsoft.com/office/drawing/2014/main" id="{5893C797-D1C0-4972-B567-9E3E44278B92}"/>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94" name="TextBox 93">
              <a:extLst>
                <a:ext uri="{FF2B5EF4-FFF2-40B4-BE49-F238E27FC236}">
                  <a16:creationId xmlns:a16="http://schemas.microsoft.com/office/drawing/2014/main" id="{2266BAFE-F642-4B2C-AEEF-DDD992C02FE7}"/>
                </a:ext>
              </a:extLst>
            </p:cNvPr>
            <p:cNvSpPr txBox="1"/>
            <p:nvPr/>
          </p:nvSpPr>
          <p:spPr>
            <a:xfrm>
              <a:off x="1348912" y="1148409"/>
              <a:ext cx="628489" cy="2493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Global Procurement</a:t>
              </a: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grpSp>
      <p:grpSp>
        <p:nvGrpSpPr>
          <p:cNvPr id="95" name="Group 94">
            <a:extLst>
              <a:ext uri="{FF2B5EF4-FFF2-40B4-BE49-F238E27FC236}">
                <a16:creationId xmlns:a16="http://schemas.microsoft.com/office/drawing/2014/main" id="{037E719C-1B98-4B35-9D68-8A3C4EFCDAA5}"/>
              </a:ext>
            </a:extLst>
          </p:cNvPr>
          <p:cNvGrpSpPr/>
          <p:nvPr/>
        </p:nvGrpSpPr>
        <p:grpSpPr>
          <a:xfrm>
            <a:off x="7771173" y="306486"/>
            <a:ext cx="628688" cy="918365"/>
            <a:chOff x="1341913" y="826730"/>
            <a:chExt cx="628688" cy="918365"/>
          </a:xfrm>
        </p:grpSpPr>
        <p:sp>
          <p:nvSpPr>
            <p:cNvPr id="96" name="Rectangle: Single Corner Rounded 95">
              <a:extLst>
                <a:ext uri="{FF2B5EF4-FFF2-40B4-BE49-F238E27FC236}">
                  <a16:creationId xmlns:a16="http://schemas.microsoft.com/office/drawing/2014/main" id="{E2153C0D-B159-4886-90B9-548D9857100B}"/>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97" name="TextBox 96">
              <a:extLst>
                <a:ext uri="{FF2B5EF4-FFF2-40B4-BE49-F238E27FC236}">
                  <a16:creationId xmlns:a16="http://schemas.microsoft.com/office/drawing/2014/main" id="{C7591FBC-9BB5-4CF6-8DD0-C0EA53F6796F}"/>
                </a:ext>
              </a:extLst>
            </p:cNvPr>
            <p:cNvSpPr txBox="1"/>
            <p:nvPr/>
          </p:nvSpPr>
          <p:spPr>
            <a:xfrm>
              <a:off x="1342112" y="1092567"/>
              <a:ext cx="628489" cy="378630"/>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International Operations Finance *</a:t>
              </a: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grpSp>
      <p:grpSp>
        <p:nvGrpSpPr>
          <p:cNvPr id="98" name="Group 97">
            <a:extLst>
              <a:ext uri="{FF2B5EF4-FFF2-40B4-BE49-F238E27FC236}">
                <a16:creationId xmlns:a16="http://schemas.microsoft.com/office/drawing/2014/main" id="{1D2CE403-482C-44DE-A897-65E731260ACA}"/>
              </a:ext>
            </a:extLst>
          </p:cNvPr>
          <p:cNvGrpSpPr/>
          <p:nvPr/>
        </p:nvGrpSpPr>
        <p:grpSpPr>
          <a:xfrm>
            <a:off x="8487249" y="298881"/>
            <a:ext cx="631394" cy="918365"/>
            <a:chOff x="1341913" y="826730"/>
            <a:chExt cx="631394" cy="918365"/>
          </a:xfrm>
        </p:grpSpPr>
        <p:sp>
          <p:nvSpPr>
            <p:cNvPr id="99" name="Rectangle: Single Corner Rounded 98">
              <a:extLst>
                <a:ext uri="{FF2B5EF4-FFF2-40B4-BE49-F238E27FC236}">
                  <a16:creationId xmlns:a16="http://schemas.microsoft.com/office/drawing/2014/main" id="{1A0C6651-120C-4CBF-A100-01367E2C2BD1}"/>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00" name="TextBox 99">
              <a:extLst>
                <a:ext uri="{FF2B5EF4-FFF2-40B4-BE49-F238E27FC236}">
                  <a16:creationId xmlns:a16="http://schemas.microsoft.com/office/drawing/2014/main" id="{9F42367A-624B-4E2B-82FC-19ECA9C51FBA}"/>
                </a:ext>
              </a:extLst>
            </p:cNvPr>
            <p:cNvSpPr txBox="1"/>
            <p:nvPr/>
          </p:nvSpPr>
          <p:spPr>
            <a:xfrm>
              <a:off x="1344818" y="1109352"/>
              <a:ext cx="628489" cy="378630"/>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International Operations Business </a:t>
              </a:r>
              <a:endParaRPr kumimoji="0" lang="en-GB" sz="1800" b="0" i="0" u="none" strike="noStrike" kern="1200" cap="none" spc="0" normalizeH="0" baseline="0" noProof="0" dirty="0">
                <a:ln>
                  <a:noFill/>
                </a:ln>
                <a:solidFill>
                  <a:srgbClr val="001965"/>
                </a:solidFill>
                <a:effectLst/>
                <a:uLnTx/>
                <a:uFillTx/>
                <a:latin typeface="Apis For Office"/>
                <a:ea typeface="+mn-ea"/>
                <a:cs typeface="+mn-cs"/>
              </a:endParaRPr>
            </a:p>
          </p:txBody>
        </p:sp>
      </p:grpSp>
      <p:grpSp>
        <p:nvGrpSpPr>
          <p:cNvPr id="101" name="Group 100">
            <a:extLst>
              <a:ext uri="{FF2B5EF4-FFF2-40B4-BE49-F238E27FC236}">
                <a16:creationId xmlns:a16="http://schemas.microsoft.com/office/drawing/2014/main" id="{14C14E25-5F89-4A78-B723-26395AAC2559}"/>
              </a:ext>
            </a:extLst>
          </p:cNvPr>
          <p:cNvGrpSpPr/>
          <p:nvPr/>
        </p:nvGrpSpPr>
        <p:grpSpPr>
          <a:xfrm>
            <a:off x="9197858" y="307453"/>
            <a:ext cx="633388" cy="918365"/>
            <a:chOff x="1337014" y="826730"/>
            <a:chExt cx="633388" cy="918365"/>
          </a:xfrm>
        </p:grpSpPr>
        <p:sp>
          <p:nvSpPr>
            <p:cNvPr id="102" name="Rectangle: Single Corner Rounded 101">
              <a:extLst>
                <a:ext uri="{FF2B5EF4-FFF2-40B4-BE49-F238E27FC236}">
                  <a16:creationId xmlns:a16="http://schemas.microsoft.com/office/drawing/2014/main" id="{A115B7A2-6DC4-4BBB-BE53-450B2E793260}"/>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03" name="TextBox 102">
              <a:extLst>
                <a:ext uri="{FF2B5EF4-FFF2-40B4-BE49-F238E27FC236}">
                  <a16:creationId xmlns:a16="http://schemas.microsoft.com/office/drawing/2014/main" id="{338EA179-83FA-4EA3-B3E8-0E0190C5904A}"/>
                </a:ext>
              </a:extLst>
            </p:cNvPr>
            <p:cNvSpPr txBox="1"/>
            <p:nvPr/>
          </p:nvSpPr>
          <p:spPr>
            <a:xfrm>
              <a:off x="1337014" y="1096809"/>
              <a:ext cx="628489" cy="378630"/>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International Operations P&amp;O </a:t>
              </a:r>
              <a:endParaRPr kumimoji="0" lang="en-GB" sz="1800" b="0" i="0" u="none" strike="noStrike" kern="1200" cap="none" spc="0" normalizeH="0" baseline="0" noProof="0" dirty="0">
                <a:ln>
                  <a:noFill/>
                </a:ln>
                <a:solidFill>
                  <a:srgbClr val="001965"/>
                </a:solidFill>
                <a:effectLst/>
                <a:uLnTx/>
                <a:uFillTx/>
                <a:latin typeface="Apis For Office"/>
                <a:ea typeface="+mn-ea"/>
                <a:cs typeface="+mn-cs"/>
              </a:endParaRPr>
            </a:p>
          </p:txBody>
        </p:sp>
      </p:grpSp>
      <p:grpSp>
        <p:nvGrpSpPr>
          <p:cNvPr id="104" name="Group 103">
            <a:extLst>
              <a:ext uri="{FF2B5EF4-FFF2-40B4-BE49-F238E27FC236}">
                <a16:creationId xmlns:a16="http://schemas.microsoft.com/office/drawing/2014/main" id="{175FA955-1904-41B8-8765-CE07ECE2036E}"/>
              </a:ext>
            </a:extLst>
          </p:cNvPr>
          <p:cNvGrpSpPr/>
          <p:nvPr/>
        </p:nvGrpSpPr>
        <p:grpSpPr>
          <a:xfrm>
            <a:off x="9910778" y="301532"/>
            <a:ext cx="644179" cy="918365"/>
            <a:chOff x="1341913" y="826730"/>
            <a:chExt cx="644179" cy="918365"/>
          </a:xfrm>
        </p:grpSpPr>
        <p:sp>
          <p:nvSpPr>
            <p:cNvPr id="105" name="Rectangle: Single Corner Rounded 104">
              <a:extLst>
                <a:ext uri="{FF2B5EF4-FFF2-40B4-BE49-F238E27FC236}">
                  <a16:creationId xmlns:a16="http://schemas.microsoft.com/office/drawing/2014/main" id="{97E87588-299D-4F4D-8CC2-16F32E11EDA9}"/>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06" name="TextBox 105">
              <a:extLst>
                <a:ext uri="{FF2B5EF4-FFF2-40B4-BE49-F238E27FC236}">
                  <a16:creationId xmlns:a16="http://schemas.microsoft.com/office/drawing/2014/main" id="{52D55527-D713-4FAB-9F44-079B5DAB3CFD}"/>
                </a:ext>
              </a:extLst>
            </p:cNvPr>
            <p:cNvSpPr txBox="1"/>
            <p:nvPr/>
          </p:nvSpPr>
          <p:spPr>
            <a:xfrm>
              <a:off x="1357603" y="1129470"/>
              <a:ext cx="628489" cy="2493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Global Business</a:t>
              </a: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grpSp>
      <p:grpSp>
        <p:nvGrpSpPr>
          <p:cNvPr id="107" name="Group 106">
            <a:extLst>
              <a:ext uri="{FF2B5EF4-FFF2-40B4-BE49-F238E27FC236}">
                <a16:creationId xmlns:a16="http://schemas.microsoft.com/office/drawing/2014/main" id="{DC11A07B-6F84-4561-AB7A-9A595838772C}"/>
              </a:ext>
            </a:extLst>
          </p:cNvPr>
          <p:cNvGrpSpPr/>
          <p:nvPr/>
        </p:nvGrpSpPr>
        <p:grpSpPr>
          <a:xfrm>
            <a:off x="10618188" y="309306"/>
            <a:ext cx="649755" cy="918365"/>
            <a:chOff x="1341913" y="826730"/>
            <a:chExt cx="649755" cy="918365"/>
          </a:xfrm>
        </p:grpSpPr>
        <p:sp>
          <p:nvSpPr>
            <p:cNvPr id="108" name="Rectangle: Single Corner Rounded 107">
              <a:extLst>
                <a:ext uri="{FF2B5EF4-FFF2-40B4-BE49-F238E27FC236}">
                  <a16:creationId xmlns:a16="http://schemas.microsoft.com/office/drawing/2014/main" id="{9951AF25-20E3-49D5-A23D-94DCF32173F1}"/>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09" name="TextBox 108">
              <a:extLst>
                <a:ext uri="{FF2B5EF4-FFF2-40B4-BE49-F238E27FC236}">
                  <a16:creationId xmlns:a16="http://schemas.microsoft.com/office/drawing/2014/main" id="{4D9E7B72-04BE-4877-A705-26151FA786E9}"/>
                </a:ext>
              </a:extLst>
            </p:cNvPr>
            <p:cNvSpPr txBox="1"/>
            <p:nvPr/>
          </p:nvSpPr>
          <p:spPr>
            <a:xfrm>
              <a:off x="1363179" y="1122496"/>
              <a:ext cx="628489" cy="2493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Global Marketing</a:t>
              </a: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grpSp>
      <p:grpSp>
        <p:nvGrpSpPr>
          <p:cNvPr id="110" name="Group 109">
            <a:extLst>
              <a:ext uri="{FF2B5EF4-FFF2-40B4-BE49-F238E27FC236}">
                <a16:creationId xmlns:a16="http://schemas.microsoft.com/office/drawing/2014/main" id="{4D1E22D9-CE6A-42DA-834F-B46D2BEBED86}"/>
              </a:ext>
            </a:extLst>
          </p:cNvPr>
          <p:cNvGrpSpPr/>
          <p:nvPr/>
        </p:nvGrpSpPr>
        <p:grpSpPr>
          <a:xfrm>
            <a:off x="11349348" y="307450"/>
            <a:ext cx="668059" cy="918365"/>
            <a:chOff x="1341913" y="826730"/>
            <a:chExt cx="668059" cy="918365"/>
          </a:xfrm>
        </p:grpSpPr>
        <p:sp>
          <p:nvSpPr>
            <p:cNvPr id="111" name="Rectangle: Single Corner Rounded 110">
              <a:extLst>
                <a:ext uri="{FF2B5EF4-FFF2-40B4-BE49-F238E27FC236}">
                  <a16:creationId xmlns:a16="http://schemas.microsoft.com/office/drawing/2014/main" id="{FBB2337D-D6C3-4559-BF33-A7268CB2BC27}"/>
                </a:ext>
              </a:extLst>
            </p:cNvPr>
            <p:cNvSpPr/>
            <p:nvPr/>
          </p:nvSpPr>
          <p:spPr>
            <a:xfrm>
              <a:off x="1341913" y="826730"/>
              <a:ext cx="628489" cy="918365"/>
            </a:xfrm>
            <a:prstGeom prst="round1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12" name="TextBox 111">
              <a:extLst>
                <a:ext uri="{FF2B5EF4-FFF2-40B4-BE49-F238E27FC236}">
                  <a16:creationId xmlns:a16="http://schemas.microsoft.com/office/drawing/2014/main" id="{6CDD915A-F29B-4B27-9243-FD7772C2C297}"/>
                </a:ext>
              </a:extLst>
            </p:cNvPr>
            <p:cNvSpPr txBox="1"/>
            <p:nvPr/>
          </p:nvSpPr>
          <p:spPr>
            <a:xfrm>
              <a:off x="1381483" y="1129209"/>
              <a:ext cx="628489" cy="2493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Market </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Access </a:t>
              </a:r>
              <a:endParaRPr kumimoji="0" lang="en-GB" sz="700" b="0" i="0" u="none" strike="noStrike" kern="1200" cap="none" spc="0" normalizeH="0" baseline="0" noProof="0" dirty="0">
                <a:ln>
                  <a:noFill/>
                </a:ln>
                <a:solidFill>
                  <a:srgbClr val="001965"/>
                </a:solidFill>
                <a:effectLst/>
                <a:uLnTx/>
                <a:uFillTx/>
                <a:latin typeface="Apis For Office"/>
                <a:ea typeface="Apis For Office"/>
                <a:cs typeface="Apis For Office"/>
              </a:endParaRPr>
            </a:p>
          </p:txBody>
        </p:sp>
      </p:grpSp>
      <p:graphicFrame>
        <p:nvGraphicFramePr>
          <p:cNvPr id="113" name="Table 11">
            <a:extLst>
              <a:ext uri="{FF2B5EF4-FFF2-40B4-BE49-F238E27FC236}">
                <a16:creationId xmlns:a16="http://schemas.microsoft.com/office/drawing/2014/main" id="{D1708253-BD9D-4AA8-BA0D-D0E3EE730A28}"/>
              </a:ext>
            </a:extLst>
          </p:cNvPr>
          <p:cNvGraphicFramePr>
            <a:graphicFrameLocks/>
          </p:cNvGraphicFramePr>
          <p:nvPr/>
        </p:nvGraphicFramePr>
        <p:xfrm>
          <a:off x="1291870" y="1716307"/>
          <a:ext cx="10735290" cy="446086"/>
        </p:xfrm>
        <a:graphic>
          <a:graphicData uri="http://schemas.openxmlformats.org/drawingml/2006/table">
            <a:tbl>
              <a:tblPr>
                <a:tableStyleId>{93296810-A885-4BE3-A3E7-6D5BEEA58F35}</a:tableStyleId>
              </a:tblPr>
              <a:tblGrid>
                <a:gridCol w="715686">
                  <a:extLst>
                    <a:ext uri="{9D8B030D-6E8A-4147-A177-3AD203B41FA5}">
                      <a16:colId xmlns:a16="http://schemas.microsoft.com/office/drawing/2014/main" val="4225047620"/>
                    </a:ext>
                  </a:extLst>
                </a:gridCol>
                <a:gridCol w="715686">
                  <a:extLst>
                    <a:ext uri="{9D8B030D-6E8A-4147-A177-3AD203B41FA5}">
                      <a16:colId xmlns:a16="http://schemas.microsoft.com/office/drawing/2014/main" val="1167463850"/>
                    </a:ext>
                  </a:extLst>
                </a:gridCol>
                <a:gridCol w="715686">
                  <a:extLst>
                    <a:ext uri="{9D8B030D-6E8A-4147-A177-3AD203B41FA5}">
                      <a16:colId xmlns:a16="http://schemas.microsoft.com/office/drawing/2014/main" val="555311057"/>
                    </a:ext>
                  </a:extLst>
                </a:gridCol>
                <a:gridCol w="715686">
                  <a:extLst>
                    <a:ext uri="{9D8B030D-6E8A-4147-A177-3AD203B41FA5}">
                      <a16:colId xmlns:a16="http://schemas.microsoft.com/office/drawing/2014/main" val="4048113857"/>
                    </a:ext>
                  </a:extLst>
                </a:gridCol>
                <a:gridCol w="715686">
                  <a:extLst>
                    <a:ext uri="{9D8B030D-6E8A-4147-A177-3AD203B41FA5}">
                      <a16:colId xmlns:a16="http://schemas.microsoft.com/office/drawing/2014/main" val="108445325"/>
                    </a:ext>
                  </a:extLst>
                </a:gridCol>
                <a:gridCol w="715686">
                  <a:extLst>
                    <a:ext uri="{9D8B030D-6E8A-4147-A177-3AD203B41FA5}">
                      <a16:colId xmlns:a16="http://schemas.microsoft.com/office/drawing/2014/main" val="932505079"/>
                    </a:ext>
                  </a:extLst>
                </a:gridCol>
                <a:gridCol w="715686">
                  <a:extLst>
                    <a:ext uri="{9D8B030D-6E8A-4147-A177-3AD203B41FA5}">
                      <a16:colId xmlns:a16="http://schemas.microsoft.com/office/drawing/2014/main" val="3275244636"/>
                    </a:ext>
                  </a:extLst>
                </a:gridCol>
                <a:gridCol w="715686">
                  <a:extLst>
                    <a:ext uri="{9D8B030D-6E8A-4147-A177-3AD203B41FA5}">
                      <a16:colId xmlns:a16="http://schemas.microsoft.com/office/drawing/2014/main" val="4121854569"/>
                    </a:ext>
                  </a:extLst>
                </a:gridCol>
                <a:gridCol w="715686">
                  <a:extLst>
                    <a:ext uri="{9D8B030D-6E8A-4147-A177-3AD203B41FA5}">
                      <a16:colId xmlns:a16="http://schemas.microsoft.com/office/drawing/2014/main" val="1353833110"/>
                    </a:ext>
                  </a:extLst>
                </a:gridCol>
                <a:gridCol w="715686">
                  <a:extLst>
                    <a:ext uri="{9D8B030D-6E8A-4147-A177-3AD203B41FA5}">
                      <a16:colId xmlns:a16="http://schemas.microsoft.com/office/drawing/2014/main" val="3826582167"/>
                    </a:ext>
                  </a:extLst>
                </a:gridCol>
                <a:gridCol w="715686">
                  <a:extLst>
                    <a:ext uri="{9D8B030D-6E8A-4147-A177-3AD203B41FA5}">
                      <a16:colId xmlns:a16="http://schemas.microsoft.com/office/drawing/2014/main" val="3794026708"/>
                    </a:ext>
                  </a:extLst>
                </a:gridCol>
                <a:gridCol w="715686">
                  <a:extLst>
                    <a:ext uri="{9D8B030D-6E8A-4147-A177-3AD203B41FA5}">
                      <a16:colId xmlns:a16="http://schemas.microsoft.com/office/drawing/2014/main" val="2872599505"/>
                    </a:ext>
                  </a:extLst>
                </a:gridCol>
                <a:gridCol w="715686">
                  <a:extLst>
                    <a:ext uri="{9D8B030D-6E8A-4147-A177-3AD203B41FA5}">
                      <a16:colId xmlns:a16="http://schemas.microsoft.com/office/drawing/2014/main" val="1499189004"/>
                    </a:ext>
                  </a:extLst>
                </a:gridCol>
                <a:gridCol w="715686">
                  <a:extLst>
                    <a:ext uri="{9D8B030D-6E8A-4147-A177-3AD203B41FA5}">
                      <a16:colId xmlns:a16="http://schemas.microsoft.com/office/drawing/2014/main" val="440823763"/>
                    </a:ext>
                  </a:extLst>
                </a:gridCol>
                <a:gridCol w="715686">
                  <a:extLst>
                    <a:ext uri="{9D8B030D-6E8A-4147-A177-3AD203B41FA5}">
                      <a16:colId xmlns:a16="http://schemas.microsoft.com/office/drawing/2014/main" val="1844092213"/>
                    </a:ext>
                  </a:extLst>
                </a:gridCol>
              </a:tblGrid>
              <a:tr h="446086">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541471330"/>
                  </a:ext>
                </a:extLst>
              </a:tr>
            </a:tbl>
          </a:graphicData>
        </a:graphic>
      </p:graphicFrame>
      <p:graphicFrame>
        <p:nvGraphicFramePr>
          <p:cNvPr id="115" name="Table 11">
            <a:extLst>
              <a:ext uri="{FF2B5EF4-FFF2-40B4-BE49-F238E27FC236}">
                <a16:creationId xmlns:a16="http://schemas.microsoft.com/office/drawing/2014/main" id="{E36D8C56-D440-4DAF-A109-BA9ADA85EFF9}"/>
              </a:ext>
            </a:extLst>
          </p:cNvPr>
          <p:cNvGraphicFramePr>
            <a:graphicFrameLocks/>
          </p:cNvGraphicFramePr>
          <p:nvPr/>
        </p:nvGraphicFramePr>
        <p:xfrm>
          <a:off x="1291870" y="2160305"/>
          <a:ext cx="10735290" cy="446086"/>
        </p:xfrm>
        <a:graphic>
          <a:graphicData uri="http://schemas.openxmlformats.org/drawingml/2006/table">
            <a:tbl>
              <a:tblPr>
                <a:tableStyleId>{93296810-A885-4BE3-A3E7-6D5BEEA58F35}</a:tableStyleId>
              </a:tblPr>
              <a:tblGrid>
                <a:gridCol w="715686">
                  <a:extLst>
                    <a:ext uri="{9D8B030D-6E8A-4147-A177-3AD203B41FA5}">
                      <a16:colId xmlns:a16="http://schemas.microsoft.com/office/drawing/2014/main" val="4225047620"/>
                    </a:ext>
                  </a:extLst>
                </a:gridCol>
                <a:gridCol w="715686">
                  <a:extLst>
                    <a:ext uri="{9D8B030D-6E8A-4147-A177-3AD203B41FA5}">
                      <a16:colId xmlns:a16="http://schemas.microsoft.com/office/drawing/2014/main" val="1167463850"/>
                    </a:ext>
                  </a:extLst>
                </a:gridCol>
                <a:gridCol w="715686">
                  <a:extLst>
                    <a:ext uri="{9D8B030D-6E8A-4147-A177-3AD203B41FA5}">
                      <a16:colId xmlns:a16="http://schemas.microsoft.com/office/drawing/2014/main" val="555311057"/>
                    </a:ext>
                  </a:extLst>
                </a:gridCol>
                <a:gridCol w="715686">
                  <a:extLst>
                    <a:ext uri="{9D8B030D-6E8A-4147-A177-3AD203B41FA5}">
                      <a16:colId xmlns:a16="http://schemas.microsoft.com/office/drawing/2014/main" val="4048113857"/>
                    </a:ext>
                  </a:extLst>
                </a:gridCol>
                <a:gridCol w="715686">
                  <a:extLst>
                    <a:ext uri="{9D8B030D-6E8A-4147-A177-3AD203B41FA5}">
                      <a16:colId xmlns:a16="http://schemas.microsoft.com/office/drawing/2014/main" val="108445325"/>
                    </a:ext>
                  </a:extLst>
                </a:gridCol>
                <a:gridCol w="715686">
                  <a:extLst>
                    <a:ext uri="{9D8B030D-6E8A-4147-A177-3AD203B41FA5}">
                      <a16:colId xmlns:a16="http://schemas.microsoft.com/office/drawing/2014/main" val="932505079"/>
                    </a:ext>
                  </a:extLst>
                </a:gridCol>
                <a:gridCol w="715686">
                  <a:extLst>
                    <a:ext uri="{9D8B030D-6E8A-4147-A177-3AD203B41FA5}">
                      <a16:colId xmlns:a16="http://schemas.microsoft.com/office/drawing/2014/main" val="3275244636"/>
                    </a:ext>
                  </a:extLst>
                </a:gridCol>
                <a:gridCol w="715686">
                  <a:extLst>
                    <a:ext uri="{9D8B030D-6E8A-4147-A177-3AD203B41FA5}">
                      <a16:colId xmlns:a16="http://schemas.microsoft.com/office/drawing/2014/main" val="4121854569"/>
                    </a:ext>
                  </a:extLst>
                </a:gridCol>
                <a:gridCol w="715686">
                  <a:extLst>
                    <a:ext uri="{9D8B030D-6E8A-4147-A177-3AD203B41FA5}">
                      <a16:colId xmlns:a16="http://schemas.microsoft.com/office/drawing/2014/main" val="1353833110"/>
                    </a:ext>
                  </a:extLst>
                </a:gridCol>
                <a:gridCol w="715686">
                  <a:extLst>
                    <a:ext uri="{9D8B030D-6E8A-4147-A177-3AD203B41FA5}">
                      <a16:colId xmlns:a16="http://schemas.microsoft.com/office/drawing/2014/main" val="3826582167"/>
                    </a:ext>
                  </a:extLst>
                </a:gridCol>
                <a:gridCol w="715686">
                  <a:extLst>
                    <a:ext uri="{9D8B030D-6E8A-4147-A177-3AD203B41FA5}">
                      <a16:colId xmlns:a16="http://schemas.microsoft.com/office/drawing/2014/main" val="3794026708"/>
                    </a:ext>
                  </a:extLst>
                </a:gridCol>
                <a:gridCol w="715686">
                  <a:extLst>
                    <a:ext uri="{9D8B030D-6E8A-4147-A177-3AD203B41FA5}">
                      <a16:colId xmlns:a16="http://schemas.microsoft.com/office/drawing/2014/main" val="2872599505"/>
                    </a:ext>
                  </a:extLst>
                </a:gridCol>
                <a:gridCol w="715686">
                  <a:extLst>
                    <a:ext uri="{9D8B030D-6E8A-4147-A177-3AD203B41FA5}">
                      <a16:colId xmlns:a16="http://schemas.microsoft.com/office/drawing/2014/main" val="1499189004"/>
                    </a:ext>
                  </a:extLst>
                </a:gridCol>
                <a:gridCol w="715686">
                  <a:extLst>
                    <a:ext uri="{9D8B030D-6E8A-4147-A177-3AD203B41FA5}">
                      <a16:colId xmlns:a16="http://schemas.microsoft.com/office/drawing/2014/main" val="440823763"/>
                    </a:ext>
                  </a:extLst>
                </a:gridCol>
                <a:gridCol w="715686">
                  <a:extLst>
                    <a:ext uri="{9D8B030D-6E8A-4147-A177-3AD203B41FA5}">
                      <a16:colId xmlns:a16="http://schemas.microsoft.com/office/drawing/2014/main" val="1844092213"/>
                    </a:ext>
                  </a:extLst>
                </a:gridCol>
              </a:tblGrid>
              <a:tr h="446086">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541471330"/>
                  </a:ext>
                </a:extLst>
              </a:tr>
            </a:tbl>
          </a:graphicData>
        </a:graphic>
      </p:graphicFrame>
      <p:graphicFrame>
        <p:nvGraphicFramePr>
          <p:cNvPr id="117" name="Table 11">
            <a:extLst>
              <a:ext uri="{FF2B5EF4-FFF2-40B4-BE49-F238E27FC236}">
                <a16:creationId xmlns:a16="http://schemas.microsoft.com/office/drawing/2014/main" id="{8468CF2D-488E-41BB-99C3-651E5EDE8764}"/>
              </a:ext>
            </a:extLst>
          </p:cNvPr>
          <p:cNvGraphicFramePr>
            <a:graphicFrameLocks/>
          </p:cNvGraphicFramePr>
          <p:nvPr/>
        </p:nvGraphicFramePr>
        <p:xfrm>
          <a:off x="1290393" y="2613071"/>
          <a:ext cx="10735290" cy="446086"/>
        </p:xfrm>
        <a:graphic>
          <a:graphicData uri="http://schemas.openxmlformats.org/drawingml/2006/table">
            <a:tbl>
              <a:tblPr>
                <a:tableStyleId>{93296810-A885-4BE3-A3E7-6D5BEEA58F35}</a:tableStyleId>
              </a:tblPr>
              <a:tblGrid>
                <a:gridCol w="715686">
                  <a:extLst>
                    <a:ext uri="{9D8B030D-6E8A-4147-A177-3AD203B41FA5}">
                      <a16:colId xmlns:a16="http://schemas.microsoft.com/office/drawing/2014/main" val="4225047620"/>
                    </a:ext>
                  </a:extLst>
                </a:gridCol>
                <a:gridCol w="715686">
                  <a:extLst>
                    <a:ext uri="{9D8B030D-6E8A-4147-A177-3AD203B41FA5}">
                      <a16:colId xmlns:a16="http://schemas.microsoft.com/office/drawing/2014/main" val="1167463850"/>
                    </a:ext>
                  </a:extLst>
                </a:gridCol>
                <a:gridCol w="715686">
                  <a:extLst>
                    <a:ext uri="{9D8B030D-6E8A-4147-A177-3AD203B41FA5}">
                      <a16:colId xmlns:a16="http://schemas.microsoft.com/office/drawing/2014/main" val="555311057"/>
                    </a:ext>
                  </a:extLst>
                </a:gridCol>
                <a:gridCol w="715686">
                  <a:extLst>
                    <a:ext uri="{9D8B030D-6E8A-4147-A177-3AD203B41FA5}">
                      <a16:colId xmlns:a16="http://schemas.microsoft.com/office/drawing/2014/main" val="4048113857"/>
                    </a:ext>
                  </a:extLst>
                </a:gridCol>
                <a:gridCol w="715686">
                  <a:extLst>
                    <a:ext uri="{9D8B030D-6E8A-4147-A177-3AD203B41FA5}">
                      <a16:colId xmlns:a16="http://schemas.microsoft.com/office/drawing/2014/main" val="108445325"/>
                    </a:ext>
                  </a:extLst>
                </a:gridCol>
                <a:gridCol w="715686">
                  <a:extLst>
                    <a:ext uri="{9D8B030D-6E8A-4147-A177-3AD203B41FA5}">
                      <a16:colId xmlns:a16="http://schemas.microsoft.com/office/drawing/2014/main" val="932505079"/>
                    </a:ext>
                  </a:extLst>
                </a:gridCol>
                <a:gridCol w="715686">
                  <a:extLst>
                    <a:ext uri="{9D8B030D-6E8A-4147-A177-3AD203B41FA5}">
                      <a16:colId xmlns:a16="http://schemas.microsoft.com/office/drawing/2014/main" val="3275244636"/>
                    </a:ext>
                  </a:extLst>
                </a:gridCol>
                <a:gridCol w="715686">
                  <a:extLst>
                    <a:ext uri="{9D8B030D-6E8A-4147-A177-3AD203B41FA5}">
                      <a16:colId xmlns:a16="http://schemas.microsoft.com/office/drawing/2014/main" val="4121854569"/>
                    </a:ext>
                  </a:extLst>
                </a:gridCol>
                <a:gridCol w="715686">
                  <a:extLst>
                    <a:ext uri="{9D8B030D-6E8A-4147-A177-3AD203B41FA5}">
                      <a16:colId xmlns:a16="http://schemas.microsoft.com/office/drawing/2014/main" val="1353833110"/>
                    </a:ext>
                  </a:extLst>
                </a:gridCol>
                <a:gridCol w="715686">
                  <a:extLst>
                    <a:ext uri="{9D8B030D-6E8A-4147-A177-3AD203B41FA5}">
                      <a16:colId xmlns:a16="http://schemas.microsoft.com/office/drawing/2014/main" val="3826582167"/>
                    </a:ext>
                  </a:extLst>
                </a:gridCol>
                <a:gridCol w="715686">
                  <a:extLst>
                    <a:ext uri="{9D8B030D-6E8A-4147-A177-3AD203B41FA5}">
                      <a16:colId xmlns:a16="http://schemas.microsoft.com/office/drawing/2014/main" val="3794026708"/>
                    </a:ext>
                  </a:extLst>
                </a:gridCol>
                <a:gridCol w="715686">
                  <a:extLst>
                    <a:ext uri="{9D8B030D-6E8A-4147-A177-3AD203B41FA5}">
                      <a16:colId xmlns:a16="http://schemas.microsoft.com/office/drawing/2014/main" val="2872599505"/>
                    </a:ext>
                  </a:extLst>
                </a:gridCol>
                <a:gridCol w="715686">
                  <a:extLst>
                    <a:ext uri="{9D8B030D-6E8A-4147-A177-3AD203B41FA5}">
                      <a16:colId xmlns:a16="http://schemas.microsoft.com/office/drawing/2014/main" val="1499189004"/>
                    </a:ext>
                  </a:extLst>
                </a:gridCol>
                <a:gridCol w="715686">
                  <a:extLst>
                    <a:ext uri="{9D8B030D-6E8A-4147-A177-3AD203B41FA5}">
                      <a16:colId xmlns:a16="http://schemas.microsoft.com/office/drawing/2014/main" val="440823763"/>
                    </a:ext>
                  </a:extLst>
                </a:gridCol>
                <a:gridCol w="715686">
                  <a:extLst>
                    <a:ext uri="{9D8B030D-6E8A-4147-A177-3AD203B41FA5}">
                      <a16:colId xmlns:a16="http://schemas.microsoft.com/office/drawing/2014/main" val="1844092213"/>
                    </a:ext>
                  </a:extLst>
                </a:gridCol>
              </a:tblGrid>
              <a:tr h="446086">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541471330"/>
                  </a:ext>
                </a:extLst>
              </a:tr>
            </a:tbl>
          </a:graphicData>
        </a:graphic>
      </p:graphicFrame>
      <p:graphicFrame>
        <p:nvGraphicFramePr>
          <p:cNvPr id="119" name="Table 11">
            <a:extLst>
              <a:ext uri="{FF2B5EF4-FFF2-40B4-BE49-F238E27FC236}">
                <a16:creationId xmlns:a16="http://schemas.microsoft.com/office/drawing/2014/main" id="{4D5AF162-770B-41F5-B03D-09A40A99644B}"/>
              </a:ext>
            </a:extLst>
          </p:cNvPr>
          <p:cNvGraphicFramePr>
            <a:graphicFrameLocks/>
          </p:cNvGraphicFramePr>
          <p:nvPr/>
        </p:nvGraphicFramePr>
        <p:xfrm>
          <a:off x="1293347" y="3057068"/>
          <a:ext cx="10735290" cy="446086"/>
        </p:xfrm>
        <a:graphic>
          <a:graphicData uri="http://schemas.openxmlformats.org/drawingml/2006/table">
            <a:tbl>
              <a:tblPr>
                <a:tableStyleId>{93296810-A885-4BE3-A3E7-6D5BEEA58F35}</a:tableStyleId>
              </a:tblPr>
              <a:tblGrid>
                <a:gridCol w="715686">
                  <a:extLst>
                    <a:ext uri="{9D8B030D-6E8A-4147-A177-3AD203B41FA5}">
                      <a16:colId xmlns:a16="http://schemas.microsoft.com/office/drawing/2014/main" val="4225047620"/>
                    </a:ext>
                  </a:extLst>
                </a:gridCol>
                <a:gridCol w="715686">
                  <a:extLst>
                    <a:ext uri="{9D8B030D-6E8A-4147-A177-3AD203B41FA5}">
                      <a16:colId xmlns:a16="http://schemas.microsoft.com/office/drawing/2014/main" val="1167463850"/>
                    </a:ext>
                  </a:extLst>
                </a:gridCol>
                <a:gridCol w="715686">
                  <a:extLst>
                    <a:ext uri="{9D8B030D-6E8A-4147-A177-3AD203B41FA5}">
                      <a16:colId xmlns:a16="http://schemas.microsoft.com/office/drawing/2014/main" val="555311057"/>
                    </a:ext>
                  </a:extLst>
                </a:gridCol>
                <a:gridCol w="715686">
                  <a:extLst>
                    <a:ext uri="{9D8B030D-6E8A-4147-A177-3AD203B41FA5}">
                      <a16:colId xmlns:a16="http://schemas.microsoft.com/office/drawing/2014/main" val="4048113857"/>
                    </a:ext>
                  </a:extLst>
                </a:gridCol>
                <a:gridCol w="715686">
                  <a:extLst>
                    <a:ext uri="{9D8B030D-6E8A-4147-A177-3AD203B41FA5}">
                      <a16:colId xmlns:a16="http://schemas.microsoft.com/office/drawing/2014/main" val="108445325"/>
                    </a:ext>
                  </a:extLst>
                </a:gridCol>
                <a:gridCol w="715686">
                  <a:extLst>
                    <a:ext uri="{9D8B030D-6E8A-4147-A177-3AD203B41FA5}">
                      <a16:colId xmlns:a16="http://schemas.microsoft.com/office/drawing/2014/main" val="932505079"/>
                    </a:ext>
                  </a:extLst>
                </a:gridCol>
                <a:gridCol w="715686">
                  <a:extLst>
                    <a:ext uri="{9D8B030D-6E8A-4147-A177-3AD203B41FA5}">
                      <a16:colId xmlns:a16="http://schemas.microsoft.com/office/drawing/2014/main" val="3275244636"/>
                    </a:ext>
                  </a:extLst>
                </a:gridCol>
                <a:gridCol w="715686">
                  <a:extLst>
                    <a:ext uri="{9D8B030D-6E8A-4147-A177-3AD203B41FA5}">
                      <a16:colId xmlns:a16="http://schemas.microsoft.com/office/drawing/2014/main" val="4121854569"/>
                    </a:ext>
                  </a:extLst>
                </a:gridCol>
                <a:gridCol w="715686">
                  <a:extLst>
                    <a:ext uri="{9D8B030D-6E8A-4147-A177-3AD203B41FA5}">
                      <a16:colId xmlns:a16="http://schemas.microsoft.com/office/drawing/2014/main" val="1353833110"/>
                    </a:ext>
                  </a:extLst>
                </a:gridCol>
                <a:gridCol w="715686">
                  <a:extLst>
                    <a:ext uri="{9D8B030D-6E8A-4147-A177-3AD203B41FA5}">
                      <a16:colId xmlns:a16="http://schemas.microsoft.com/office/drawing/2014/main" val="3826582167"/>
                    </a:ext>
                  </a:extLst>
                </a:gridCol>
                <a:gridCol w="715686">
                  <a:extLst>
                    <a:ext uri="{9D8B030D-6E8A-4147-A177-3AD203B41FA5}">
                      <a16:colId xmlns:a16="http://schemas.microsoft.com/office/drawing/2014/main" val="3794026708"/>
                    </a:ext>
                  </a:extLst>
                </a:gridCol>
                <a:gridCol w="715686">
                  <a:extLst>
                    <a:ext uri="{9D8B030D-6E8A-4147-A177-3AD203B41FA5}">
                      <a16:colId xmlns:a16="http://schemas.microsoft.com/office/drawing/2014/main" val="2872599505"/>
                    </a:ext>
                  </a:extLst>
                </a:gridCol>
                <a:gridCol w="715686">
                  <a:extLst>
                    <a:ext uri="{9D8B030D-6E8A-4147-A177-3AD203B41FA5}">
                      <a16:colId xmlns:a16="http://schemas.microsoft.com/office/drawing/2014/main" val="1499189004"/>
                    </a:ext>
                  </a:extLst>
                </a:gridCol>
                <a:gridCol w="715686">
                  <a:extLst>
                    <a:ext uri="{9D8B030D-6E8A-4147-A177-3AD203B41FA5}">
                      <a16:colId xmlns:a16="http://schemas.microsoft.com/office/drawing/2014/main" val="440823763"/>
                    </a:ext>
                  </a:extLst>
                </a:gridCol>
                <a:gridCol w="715686">
                  <a:extLst>
                    <a:ext uri="{9D8B030D-6E8A-4147-A177-3AD203B41FA5}">
                      <a16:colId xmlns:a16="http://schemas.microsoft.com/office/drawing/2014/main" val="1844092213"/>
                    </a:ext>
                  </a:extLst>
                </a:gridCol>
              </a:tblGrid>
              <a:tr h="446086">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541471330"/>
                  </a:ext>
                </a:extLst>
              </a:tr>
            </a:tbl>
          </a:graphicData>
        </a:graphic>
      </p:graphicFrame>
      <p:graphicFrame>
        <p:nvGraphicFramePr>
          <p:cNvPr id="121" name="Table 11">
            <a:extLst>
              <a:ext uri="{FF2B5EF4-FFF2-40B4-BE49-F238E27FC236}">
                <a16:creationId xmlns:a16="http://schemas.microsoft.com/office/drawing/2014/main" id="{B04A89D2-1AFA-49C6-9ECC-44D085F5274E}"/>
              </a:ext>
            </a:extLst>
          </p:cNvPr>
          <p:cNvGraphicFramePr>
            <a:graphicFrameLocks/>
          </p:cNvGraphicFramePr>
          <p:nvPr/>
        </p:nvGraphicFramePr>
        <p:xfrm>
          <a:off x="1293347" y="3501066"/>
          <a:ext cx="10735290" cy="446086"/>
        </p:xfrm>
        <a:graphic>
          <a:graphicData uri="http://schemas.openxmlformats.org/drawingml/2006/table">
            <a:tbl>
              <a:tblPr>
                <a:tableStyleId>{93296810-A885-4BE3-A3E7-6D5BEEA58F35}</a:tableStyleId>
              </a:tblPr>
              <a:tblGrid>
                <a:gridCol w="715686">
                  <a:extLst>
                    <a:ext uri="{9D8B030D-6E8A-4147-A177-3AD203B41FA5}">
                      <a16:colId xmlns:a16="http://schemas.microsoft.com/office/drawing/2014/main" val="4225047620"/>
                    </a:ext>
                  </a:extLst>
                </a:gridCol>
                <a:gridCol w="715686">
                  <a:extLst>
                    <a:ext uri="{9D8B030D-6E8A-4147-A177-3AD203B41FA5}">
                      <a16:colId xmlns:a16="http://schemas.microsoft.com/office/drawing/2014/main" val="1167463850"/>
                    </a:ext>
                  </a:extLst>
                </a:gridCol>
                <a:gridCol w="715686">
                  <a:extLst>
                    <a:ext uri="{9D8B030D-6E8A-4147-A177-3AD203B41FA5}">
                      <a16:colId xmlns:a16="http://schemas.microsoft.com/office/drawing/2014/main" val="555311057"/>
                    </a:ext>
                  </a:extLst>
                </a:gridCol>
                <a:gridCol w="715686">
                  <a:extLst>
                    <a:ext uri="{9D8B030D-6E8A-4147-A177-3AD203B41FA5}">
                      <a16:colId xmlns:a16="http://schemas.microsoft.com/office/drawing/2014/main" val="4048113857"/>
                    </a:ext>
                  </a:extLst>
                </a:gridCol>
                <a:gridCol w="715686">
                  <a:extLst>
                    <a:ext uri="{9D8B030D-6E8A-4147-A177-3AD203B41FA5}">
                      <a16:colId xmlns:a16="http://schemas.microsoft.com/office/drawing/2014/main" val="108445325"/>
                    </a:ext>
                  </a:extLst>
                </a:gridCol>
                <a:gridCol w="715686">
                  <a:extLst>
                    <a:ext uri="{9D8B030D-6E8A-4147-A177-3AD203B41FA5}">
                      <a16:colId xmlns:a16="http://schemas.microsoft.com/office/drawing/2014/main" val="932505079"/>
                    </a:ext>
                  </a:extLst>
                </a:gridCol>
                <a:gridCol w="715686">
                  <a:extLst>
                    <a:ext uri="{9D8B030D-6E8A-4147-A177-3AD203B41FA5}">
                      <a16:colId xmlns:a16="http://schemas.microsoft.com/office/drawing/2014/main" val="3275244636"/>
                    </a:ext>
                  </a:extLst>
                </a:gridCol>
                <a:gridCol w="715686">
                  <a:extLst>
                    <a:ext uri="{9D8B030D-6E8A-4147-A177-3AD203B41FA5}">
                      <a16:colId xmlns:a16="http://schemas.microsoft.com/office/drawing/2014/main" val="4121854569"/>
                    </a:ext>
                  </a:extLst>
                </a:gridCol>
                <a:gridCol w="715686">
                  <a:extLst>
                    <a:ext uri="{9D8B030D-6E8A-4147-A177-3AD203B41FA5}">
                      <a16:colId xmlns:a16="http://schemas.microsoft.com/office/drawing/2014/main" val="1353833110"/>
                    </a:ext>
                  </a:extLst>
                </a:gridCol>
                <a:gridCol w="715686">
                  <a:extLst>
                    <a:ext uri="{9D8B030D-6E8A-4147-A177-3AD203B41FA5}">
                      <a16:colId xmlns:a16="http://schemas.microsoft.com/office/drawing/2014/main" val="3826582167"/>
                    </a:ext>
                  </a:extLst>
                </a:gridCol>
                <a:gridCol w="715686">
                  <a:extLst>
                    <a:ext uri="{9D8B030D-6E8A-4147-A177-3AD203B41FA5}">
                      <a16:colId xmlns:a16="http://schemas.microsoft.com/office/drawing/2014/main" val="3794026708"/>
                    </a:ext>
                  </a:extLst>
                </a:gridCol>
                <a:gridCol w="715686">
                  <a:extLst>
                    <a:ext uri="{9D8B030D-6E8A-4147-A177-3AD203B41FA5}">
                      <a16:colId xmlns:a16="http://schemas.microsoft.com/office/drawing/2014/main" val="2872599505"/>
                    </a:ext>
                  </a:extLst>
                </a:gridCol>
                <a:gridCol w="715686">
                  <a:extLst>
                    <a:ext uri="{9D8B030D-6E8A-4147-A177-3AD203B41FA5}">
                      <a16:colId xmlns:a16="http://schemas.microsoft.com/office/drawing/2014/main" val="1499189004"/>
                    </a:ext>
                  </a:extLst>
                </a:gridCol>
                <a:gridCol w="715686">
                  <a:extLst>
                    <a:ext uri="{9D8B030D-6E8A-4147-A177-3AD203B41FA5}">
                      <a16:colId xmlns:a16="http://schemas.microsoft.com/office/drawing/2014/main" val="440823763"/>
                    </a:ext>
                  </a:extLst>
                </a:gridCol>
                <a:gridCol w="715686">
                  <a:extLst>
                    <a:ext uri="{9D8B030D-6E8A-4147-A177-3AD203B41FA5}">
                      <a16:colId xmlns:a16="http://schemas.microsoft.com/office/drawing/2014/main" val="1844092213"/>
                    </a:ext>
                  </a:extLst>
                </a:gridCol>
              </a:tblGrid>
              <a:tr h="446086">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541471330"/>
                  </a:ext>
                </a:extLst>
              </a:tr>
            </a:tbl>
          </a:graphicData>
        </a:graphic>
      </p:graphicFrame>
      <p:graphicFrame>
        <p:nvGraphicFramePr>
          <p:cNvPr id="123" name="Table 11">
            <a:extLst>
              <a:ext uri="{FF2B5EF4-FFF2-40B4-BE49-F238E27FC236}">
                <a16:creationId xmlns:a16="http://schemas.microsoft.com/office/drawing/2014/main" id="{500BD77A-4EE9-4E63-97C5-A1587B6B089A}"/>
              </a:ext>
            </a:extLst>
          </p:cNvPr>
          <p:cNvGraphicFramePr>
            <a:graphicFrameLocks/>
          </p:cNvGraphicFramePr>
          <p:nvPr/>
        </p:nvGraphicFramePr>
        <p:xfrm>
          <a:off x="1291870" y="3953832"/>
          <a:ext cx="10735290" cy="446086"/>
        </p:xfrm>
        <a:graphic>
          <a:graphicData uri="http://schemas.openxmlformats.org/drawingml/2006/table">
            <a:tbl>
              <a:tblPr>
                <a:tableStyleId>{93296810-A885-4BE3-A3E7-6D5BEEA58F35}</a:tableStyleId>
              </a:tblPr>
              <a:tblGrid>
                <a:gridCol w="715686">
                  <a:extLst>
                    <a:ext uri="{9D8B030D-6E8A-4147-A177-3AD203B41FA5}">
                      <a16:colId xmlns:a16="http://schemas.microsoft.com/office/drawing/2014/main" val="4225047620"/>
                    </a:ext>
                  </a:extLst>
                </a:gridCol>
                <a:gridCol w="715686">
                  <a:extLst>
                    <a:ext uri="{9D8B030D-6E8A-4147-A177-3AD203B41FA5}">
                      <a16:colId xmlns:a16="http://schemas.microsoft.com/office/drawing/2014/main" val="1167463850"/>
                    </a:ext>
                  </a:extLst>
                </a:gridCol>
                <a:gridCol w="715686">
                  <a:extLst>
                    <a:ext uri="{9D8B030D-6E8A-4147-A177-3AD203B41FA5}">
                      <a16:colId xmlns:a16="http://schemas.microsoft.com/office/drawing/2014/main" val="555311057"/>
                    </a:ext>
                  </a:extLst>
                </a:gridCol>
                <a:gridCol w="715686">
                  <a:extLst>
                    <a:ext uri="{9D8B030D-6E8A-4147-A177-3AD203B41FA5}">
                      <a16:colId xmlns:a16="http://schemas.microsoft.com/office/drawing/2014/main" val="4048113857"/>
                    </a:ext>
                  </a:extLst>
                </a:gridCol>
                <a:gridCol w="715686">
                  <a:extLst>
                    <a:ext uri="{9D8B030D-6E8A-4147-A177-3AD203B41FA5}">
                      <a16:colId xmlns:a16="http://schemas.microsoft.com/office/drawing/2014/main" val="108445325"/>
                    </a:ext>
                  </a:extLst>
                </a:gridCol>
                <a:gridCol w="715686">
                  <a:extLst>
                    <a:ext uri="{9D8B030D-6E8A-4147-A177-3AD203B41FA5}">
                      <a16:colId xmlns:a16="http://schemas.microsoft.com/office/drawing/2014/main" val="932505079"/>
                    </a:ext>
                  </a:extLst>
                </a:gridCol>
                <a:gridCol w="715686">
                  <a:extLst>
                    <a:ext uri="{9D8B030D-6E8A-4147-A177-3AD203B41FA5}">
                      <a16:colId xmlns:a16="http://schemas.microsoft.com/office/drawing/2014/main" val="3275244636"/>
                    </a:ext>
                  </a:extLst>
                </a:gridCol>
                <a:gridCol w="715686">
                  <a:extLst>
                    <a:ext uri="{9D8B030D-6E8A-4147-A177-3AD203B41FA5}">
                      <a16:colId xmlns:a16="http://schemas.microsoft.com/office/drawing/2014/main" val="4121854569"/>
                    </a:ext>
                  </a:extLst>
                </a:gridCol>
                <a:gridCol w="715686">
                  <a:extLst>
                    <a:ext uri="{9D8B030D-6E8A-4147-A177-3AD203B41FA5}">
                      <a16:colId xmlns:a16="http://schemas.microsoft.com/office/drawing/2014/main" val="1353833110"/>
                    </a:ext>
                  </a:extLst>
                </a:gridCol>
                <a:gridCol w="715686">
                  <a:extLst>
                    <a:ext uri="{9D8B030D-6E8A-4147-A177-3AD203B41FA5}">
                      <a16:colId xmlns:a16="http://schemas.microsoft.com/office/drawing/2014/main" val="3826582167"/>
                    </a:ext>
                  </a:extLst>
                </a:gridCol>
                <a:gridCol w="715686">
                  <a:extLst>
                    <a:ext uri="{9D8B030D-6E8A-4147-A177-3AD203B41FA5}">
                      <a16:colId xmlns:a16="http://schemas.microsoft.com/office/drawing/2014/main" val="3794026708"/>
                    </a:ext>
                  </a:extLst>
                </a:gridCol>
                <a:gridCol w="715686">
                  <a:extLst>
                    <a:ext uri="{9D8B030D-6E8A-4147-A177-3AD203B41FA5}">
                      <a16:colId xmlns:a16="http://schemas.microsoft.com/office/drawing/2014/main" val="2872599505"/>
                    </a:ext>
                  </a:extLst>
                </a:gridCol>
                <a:gridCol w="715686">
                  <a:extLst>
                    <a:ext uri="{9D8B030D-6E8A-4147-A177-3AD203B41FA5}">
                      <a16:colId xmlns:a16="http://schemas.microsoft.com/office/drawing/2014/main" val="1499189004"/>
                    </a:ext>
                  </a:extLst>
                </a:gridCol>
                <a:gridCol w="715686">
                  <a:extLst>
                    <a:ext uri="{9D8B030D-6E8A-4147-A177-3AD203B41FA5}">
                      <a16:colId xmlns:a16="http://schemas.microsoft.com/office/drawing/2014/main" val="440823763"/>
                    </a:ext>
                  </a:extLst>
                </a:gridCol>
                <a:gridCol w="715686">
                  <a:extLst>
                    <a:ext uri="{9D8B030D-6E8A-4147-A177-3AD203B41FA5}">
                      <a16:colId xmlns:a16="http://schemas.microsoft.com/office/drawing/2014/main" val="1844092213"/>
                    </a:ext>
                  </a:extLst>
                </a:gridCol>
              </a:tblGrid>
              <a:tr h="446086">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541471330"/>
                  </a:ext>
                </a:extLst>
              </a:tr>
            </a:tbl>
          </a:graphicData>
        </a:graphic>
      </p:graphicFrame>
      <p:graphicFrame>
        <p:nvGraphicFramePr>
          <p:cNvPr id="125" name="Table 11">
            <a:extLst>
              <a:ext uri="{FF2B5EF4-FFF2-40B4-BE49-F238E27FC236}">
                <a16:creationId xmlns:a16="http://schemas.microsoft.com/office/drawing/2014/main" id="{8B48EBAB-FABF-4C7C-BCE1-3612B045A32D}"/>
              </a:ext>
            </a:extLst>
          </p:cNvPr>
          <p:cNvGraphicFramePr>
            <a:graphicFrameLocks/>
          </p:cNvGraphicFramePr>
          <p:nvPr/>
        </p:nvGraphicFramePr>
        <p:xfrm>
          <a:off x="1293347" y="4397828"/>
          <a:ext cx="10735290" cy="446086"/>
        </p:xfrm>
        <a:graphic>
          <a:graphicData uri="http://schemas.openxmlformats.org/drawingml/2006/table">
            <a:tbl>
              <a:tblPr>
                <a:tableStyleId>{93296810-A885-4BE3-A3E7-6D5BEEA58F35}</a:tableStyleId>
              </a:tblPr>
              <a:tblGrid>
                <a:gridCol w="715686">
                  <a:extLst>
                    <a:ext uri="{9D8B030D-6E8A-4147-A177-3AD203B41FA5}">
                      <a16:colId xmlns:a16="http://schemas.microsoft.com/office/drawing/2014/main" val="4225047620"/>
                    </a:ext>
                  </a:extLst>
                </a:gridCol>
                <a:gridCol w="715686">
                  <a:extLst>
                    <a:ext uri="{9D8B030D-6E8A-4147-A177-3AD203B41FA5}">
                      <a16:colId xmlns:a16="http://schemas.microsoft.com/office/drawing/2014/main" val="1167463850"/>
                    </a:ext>
                  </a:extLst>
                </a:gridCol>
                <a:gridCol w="715686">
                  <a:extLst>
                    <a:ext uri="{9D8B030D-6E8A-4147-A177-3AD203B41FA5}">
                      <a16:colId xmlns:a16="http://schemas.microsoft.com/office/drawing/2014/main" val="555311057"/>
                    </a:ext>
                  </a:extLst>
                </a:gridCol>
                <a:gridCol w="715686">
                  <a:extLst>
                    <a:ext uri="{9D8B030D-6E8A-4147-A177-3AD203B41FA5}">
                      <a16:colId xmlns:a16="http://schemas.microsoft.com/office/drawing/2014/main" val="4048113857"/>
                    </a:ext>
                  </a:extLst>
                </a:gridCol>
                <a:gridCol w="715686">
                  <a:extLst>
                    <a:ext uri="{9D8B030D-6E8A-4147-A177-3AD203B41FA5}">
                      <a16:colId xmlns:a16="http://schemas.microsoft.com/office/drawing/2014/main" val="108445325"/>
                    </a:ext>
                  </a:extLst>
                </a:gridCol>
                <a:gridCol w="715686">
                  <a:extLst>
                    <a:ext uri="{9D8B030D-6E8A-4147-A177-3AD203B41FA5}">
                      <a16:colId xmlns:a16="http://schemas.microsoft.com/office/drawing/2014/main" val="932505079"/>
                    </a:ext>
                  </a:extLst>
                </a:gridCol>
                <a:gridCol w="715686">
                  <a:extLst>
                    <a:ext uri="{9D8B030D-6E8A-4147-A177-3AD203B41FA5}">
                      <a16:colId xmlns:a16="http://schemas.microsoft.com/office/drawing/2014/main" val="3275244636"/>
                    </a:ext>
                  </a:extLst>
                </a:gridCol>
                <a:gridCol w="715686">
                  <a:extLst>
                    <a:ext uri="{9D8B030D-6E8A-4147-A177-3AD203B41FA5}">
                      <a16:colId xmlns:a16="http://schemas.microsoft.com/office/drawing/2014/main" val="4121854569"/>
                    </a:ext>
                  </a:extLst>
                </a:gridCol>
                <a:gridCol w="715686">
                  <a:extLst>
                    <a:ext uri="{9D8B030D-6E8A-4147-A177-3AD203B41FA5}">
                      <a16:colId xmlns:a16="http://schemas.microsoft.com/office/drawing/2014/main" val="1353833110"/>
                    </a:ext>
                  </a:extLst>
                </a:gridCol>
                <a:gridCol w="715686">
                  <a:extLst>
                    <a:ext uri="{9D8B030D-6E8A-4147-A177-3AD203B41FA5}">
                      <a16:colId xmlns:a16="http://schemas.microsoft.com/office/drawing/2014/main" val="3826582167"/>
                    </a:ext>
                  </a:extLst>
                </a:gridCol>
                <a:gridCol w="715686">
                  <a:extLst>
                    <a:ext uri="{9D8B030D-6E8A-4147-A177-3AD203B41FA5}">
                      <a16:colId xmlns:a16="http://schemas.microsoft.com/office/drawing/2014/main" val="3794026708"/>
                    </a:ext>
                  </a:extLst>
                </a:gridCol>
                <a:gridCol w="715686">
                  <a:extLst>
                    <a:ext uri="{9D8B030D-6E8A-4147-A177-3AD203B41FA5}">
                      <a16:colId xmlns:a16="http://schemas.microsoft.com/office/drawing/2014/main" val="2872599505"/>
                    </a:ext>
                  </a:extLst>
                </a:gridCol>
                <a:gridCol w="715686">
                  <a:extLst>
                    <a:ext uri="{9D8B030D-6E8A-4147-A177-3AD203B41FA5}">
                      <a16:colId xmlns:a16="http://schemas.microsoft.com/office/drawing/2014/main" val="1499189004"/>
                    </a:ext>
                  </a:extLst>
                </a:gridCol>
                <a:gridCol w="715686">
                  <a:extLst>
                    <a:ext uri="{9D8B030D-6E8A-4147-A177-3AD203B41FA5}">
                      <a16:colId xmlns:a16="http://schemas.microsoft.com/office/drawing/2014/main" val="440823763"/>
                    </a:ext>
                  </a:extLst>
                </a:gridCol>
                <a:gridCol w="715686">
                  <a:extLst>
                    <a:ext uri="{9D8B030D-6E8A-4147-A177-3AD203B41FA5}">
                      <a16:colId xmlns:a16="http://schemas.microsoft.com/office/drawing/2014/main" val="1844092213"/>
                    </a:ext>
                  </a:extLst>
                </a:gridCol>
              </a:tblGrid>
              <a:tr h="446086">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541471330"/>
                  </a:ext>
                </a:extLst>
              </a:tr>
            </a:tbl>
          </a:graphicData>
        </a:graphic>
      </p:graphicFrame>
      <p:graphicFrame>
        <p:nvGraphicFramePr>
          <p:cNvPr id="127" name="Table 11">
            <a:extLst>
              <a:ext uri="{FF2B5EF4-FFF2-40B4-BE49-F238E27FC236}">
                <a16:creationId xmlns:a16="http://schemas.microsoft.com/office/drawing/2014/main" id="{BEA72C24-97A6-454C-B70B-18C5037EF1D4}"/>
              </a:ext>
            </a:extLst>
          </p:cNvPr>
          <p:cNvGraphicFramePr>
            <a:graphicFrameLocks/>
          </p:cNvGraphicFramePr>
          <p:nvPr/>
        </p:nvGraphicFramePr>
        <p:xfrm>
          <a:off x="1293347" y="4841826"/>
          <a:ext cx="10735290" cy="446086"/>
        </p:xfrm>
        <a:graphic>
          <a:graphicData uri="http://schemas.openxmlformats.org/drawingml/2006/table">
            <a:tbl>
              <a:tblPr>
                <a:tableStyleId>{93296810-A885-4BE3-A3E7-6D5BEEA58F35}</a:tableStyleId>
              </a:tblPr>
              <a:tblGrid>
                <a:gridCol w="715686">
                  <a:extLst>
                    <a:ext uri="{9D8B030D-6E8A-4147-A177-3AD203B41FA5}">
                      <a16:colId xmlns:a16="http://schemas.microsoft.com/office/drawing/2014/main" val="4225047620"/>
                    </a:ext>
                  </a:extLst>
                </a:gridCol>
                <a:gridCol w="715686">
                  <a:extLst>
                    <a:ext uri="{9D8B030D-6E8A-4147-A177-3AD203B41FA5}">
                      <a16:colId xmlns:a16="http://schemas.microsoft.com/office/drawing/2014/main" val="1167463850"/>
                    </a:ext>
                  </a:extLst>
                </a:gridCol>
                <a:gridCol w="715686">
                  <a:extLst>
                    <a:ext uri="{9D8B030D-6E8A-4147-A177-3AD203B41FA5}">
                      <a16:colId xmlns:a16="http://schemas.microsoft.com/office/drawing/2014/main" val="555311057"/>
                    </a:ext>
                  </a:extLst>
                </a:gridCol>
                <a:gridCol w="715686">
                  <a:extLst>
                    <a:ext uri="{9D8B030D-6E8A-4147-A177-3AD203B41FA5}">
                      <a16:colId xmlns:a16="http://schemas.microsoft.com/office/drawing/2014/main" val="4048113857"/>
                    </a:ext>
                  </a:extLst>
                </a:gridCol>
                <a:gridCol w="715686">
                  <a:extLst>
                    <a:ext uri="{9D8B030D-6E8A-4147-A177-3AD203B41FA5}">
                      <a16:colId xmlns:a16="http://schemas.microsoft.com/office/drawing/2014/main" val="108445325"/>
                    </a:ext>
                  </a:extLst>
                </a:gridCol>
                <a:gridCol w="715686">
                  <a:extLst>
                    <a:ext uri="{9D8B030D-6E8A-4147-A177-3AD203B41FA5}">
                      <a16:colId xmlns:a16="http://schemas.microsoft.com/office/drawing/2014/main" val="932505079"/>
                    </a:ext>
                  </a:extLst>
                </a:gridCol>
                <a:gridCol w="715686">
                  <a:extLst>
                    <a:ext uri="{9D8B030D-6E8A-4147-A177-3AD203B41FA5}">
                      <a16:colId xmlns:a16="http://schemas.microsoft.com/office/drawing/2014/main" val="3275244636"/>
                    </a:ext>
                  </a:extLst>
                </a:gridCol>
                <a:gridCol w="715686">
                  <a:extLst>
                    <a:ext uri="{9D8B030D-6E8A-4147-A177-3AD203B41FA5}">
                      <a16:colId xmlns:a16="http://schemas.microsoft.com/office/drawing/2014/main" val="4121854569"/>
                    </a:ext>
                  </a:extLst>
                </a:gridCol>
                <a:gridCol w="715686">
                  <a:extLst>
                    <a:ext uri="{9D8B030D-6E8A-4147-A177-3AD203B41FA5}">
                      <a16:colId xmlns:a16="http://schemas.microsoft.com/office/drawing/2014/main" val="1353833110"/>
                    </a:ext>
                  </a:extLst>
                </a:gridCol>
                <a:gridCol w="715686">
                  <a:extLst>
                    <a:ext uri="{9D8B030D-6E8A-4147-A177-3AD203B41FA5}">
                      <a16:colId xmlns:a16="http://schemas.microsoft.com/office/drawing/2014/main" val="3826582167"/>
                    </a:ext>
                  </a:extLst>
                </a:gridCol>
                <a:gridCol w="715686">
                  <a:extLst>
                    <a:ext uri="{9D8B030D-6E8A-4147-A177-3AD203B41FA5}">
                      <a16:colId xmlns:a16="http://schemas.microsoft.com/office/drawing/2014/main" val="3794026708"/>
                    </a:ext>
                  </a:extLst>
                </a:gridCol>
                <a:gridCol w="715686">
                  <a:extLst>
                    <a:ext uri="{9D8B030D-6E8A-4147-A177-3AD203B41FA5}">
                      <a16:colId xmlns:a16="http://schemas.microsoft.com/office/drawing/2014/main" val="2872599505"/>
                    </a:ext>
                  </a:extLst>
                </a:gridCol>
                <a:gridCol w="715686">
                  <a:extLst>
                    <a:ext uri="{9D8B030D-6E8A-4147-A177-3AD203B41FA5}">
                      <a16:colId xmlns:a16="http://schemas.microsoft.com/office/drawing/2014/main" val="1499189004"/>
                    </a:ext>
                  </a:extLst>
                </a:gridCol>
                <a:gridCol w="715686">
                  <a:extLst>
                    <a:ext uri="{9D8B030D-6E8A-4147-A177-3AD203B41FA5}">
                      <a16:colId xmlns:a16="http://schemas.microsoft.com/office/drawing/2014/main" val="440823763"/>
                    </a:ext>
                  </a:extLst>
                </a:gridCol>
                <a:gridCol w="715686">
                  <a:extLst>
                    <a:ext uri="{9D8B030D-6E8A-4147-A177-3AD203B41FA5}">
                      <a16:colId xmlns:a16="http://schemas.microsoft.com/office/drawing/2014/main" val="1844092213"/>
                    </a:ext>
                  </a:extLst>
                </a:gridCol>
              </a:tblGrid>
              <a:tr h="446086">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541471330"/>
                  </a:ext>
                </a:extLst>
              </a:tr>
            </a:tbl>
          </a:graphicData>
        </a:graphic>
      </p:graphicFrame>
      <p:graphicFrame>
        <p:nvGraphicFramePr>
          <p:cNvPr id="129" name="Table 11">
            <a:extLst>
              <a:ext uri="{FF2B5EF4-FFF2-40B4-BE49-F238E27FC236}">
                <a16:creationId xmlns:a16="http://schemas.microsoft.com/office/drawing/2014/main" id="{44F0E8A6-50E2-4869-B5CD-E74529CE3611}"/>
              </a:ext>
            </a:extLst>
          </p:cNvPr>
          <p:cNvGraphicFramePr>
            <a:graphicFrameLocks/>
          </p:cNvGraphicFramePr>
          <p:nvPr/>
        </p:nvGraphicFramePr>
        <p:xfrm>
          <a:off x="1291870" y="5294592"/>
          <a:ext cx="10735290" cy="446086"/>
        </p:xfrm>
        <a:graphic>
          <a:graphicData uri="http://schemas.openxmlformats.org/drawingml/2006/table">
            <a:tbl>
              <a:tblPr>
                <a:tableStyleId>{93296810-A885-4BE3-A3E7-6D5BEEA58F35}</a:tableStyleId>
              </a:tblPr>
              <a:tblGrid>
                <a:gridCol w="715686">
                  <a:extLst>
                    <a:ext uri="{9D8B030D-6E8A-4147-A177-3AD203B41FA5}">
                      <a16:colId xmlns:a16="http://schemas.microsoft.com/office/drawing/2014/main" val="4225047620"/>
                    </a:ext>
                  </a:extLst>
                </a:gridCol>
                <a:gridCol w="715686">
                  <a:extLst>
                    <a:ext uri="{9D8B030D-6E8A-4147-A177-3AD203B41FA5}">
                      <a16:colId xmlns:a16="http://schemas.microsoft.com/office/drawing/2014/main" val="1167463850"/>
                    </a:ext>
                  </a:extLst>
                </a:gridCol>
                <a:gridCol w="715686">
                  <a:extLst>
                    <a:ext uri="{9D8B030D-6E8A-4147-A177-3AD203B41FA5}">
                      <a16:colId xmlns:a16="http://schemas.microsoft.com/office/drawing/2014/main" val="555311057"/>
                    </a:ext>
                  </a:extLst>
                </a:gridCol>
                <a:gridCol w="715686">
                  <a:extLst>
                    <a:ext uri="{9D8B030D-6E8A-4147-A177-3AD203B41FA5}">
                      <a16:colId xmlns:a16="http://schemas.microsoft.com/office/drawing/2014/main" val="4048113857"/>
                    </a:ext>
                  </a:extLst>
                </a:gridCol>
                <a:gridCol w="715686">
                  <a:extLst>
                    <a:ext uri="{9D8B030D-6E8A-4147-A177-3AD203B41FA5}">
                      <a16:colId xmlns:a16="http://schemas.microsoft.com/office/drawing/2014/main" val="108445325"/>
                    </a:ext>
                  </a:extLst>
                </a:gridCol>
                <a:gridCol w="715686">
                  <a:extLst>
                    <a:ext uri="{9D8B030D-6E8A-4147-A177-3AD203B41FA5}">
                      <a16:colId xmlns:a16="http://schemas.microsoft.com/office/drawing/2014/main" val="932505079"/>
                    </a:ext>
                  </a:extLst>
                </a:gridCol>
                <a:gridCol w="715686">
                  <a:extLst>
                    <a:ext uri="{9D8B030D-6E8A-4147-A177-3AD203B41FA5}">
                      <a16:colId xmlns:a16="http://schemas.microsoft.com/office/drawing/2014/main" val="3275244636"/>
                    </a:ext>
                  </a:extLst>
                </a:gridCol>
                <a:gridCol w="715686">
                  <a:extLst>
                    <a:ext uri="{9D8B030D-6E8A-4147-A177-3AD203B41FA5}">
                      <a16:colId xmlns:a16="http://schemas.microsoft.com/office/drawing/2014/main" val="4121854569"/>
                    </a:ext>
                  </a:extLst>
                </a:gridCol>
                <a:gridCol w="715686">
                  <a:extLst>
                    <a:ext uri="{9D8B030D-6E8A-4147-A177-3AD203B41FA5}">
                      <a16:colId xmlns:a16="http://schemas.microsoft.com/office/drawing/2014/main" val="1353833110"/>
                    </a:ext>
                  </a:extLst>
                </a:gridCol>
                <a:gridCol w="715686">
                  <a:extLst>
                    <a:ext uri="{9D8B030D-6E8A-4147-A177-3AD203B41FA5}">
                      <a16:colId xmlns:a16="http://schemas.microsoft.com/office/drawing/2014/main" val="3826582167"/>
                    </a:ext>
                  </a:extLst>
                </a:gridCol>
                <a:gridCol w="715686">
                  <a:extLst>
                    <a:ext uri="{9D8B030D-6E8A-4147-A177-3AD203B41FA5}">
                      <a16:colId xmlns:a16="http://schemas.microsoft.com/office/drawing/2014/main" val="3794026708"/>
                    </a:ext>
                  </a:extLst>
                </a:gridCol>
                <a:gridCol w="715686">
                  <a:extLst>
                    <a:ext uri="{9D8B030D-6E8A-4147-A177-3AD203B41FA5}">
                      <a16:colId xmlns:a16="http://schemas.microsoft.com/office/drawing/2014/main" val="2872599505"/>
                    </a:ext>
                  </a:extLst>
                </a:gridCol>
                <a:gridCol w="715686">
                  <a:extLst>
                    <a:ext uri="{9D8B030D-6E8A-4147-A177-3AD203B41FA5}">
                      <a16:colId xmlns:a16="http://schemas.microsoft.com/office/drawing/2014/main" val="1499189004"/>
                    </a:ext>
                  </a:extLst>
                </a:gridCol>
                <a:gridCol w="715686">
                  <a:extLst>
                    <a:ext uri="{9D8B030D-6E8A-4147-A177-3AD203B41FA5}">
                      <a16:colId xmlns:a16="http://schemas.microsoft.com/office/drawing/2014/main" val="440823763"/>
                    </a:ext>
                  </a:extLst>
                </a:gridCol>
                <a:gridCol w="715686">
                  <a:extLst>
                    <a:ext uri="{9D8B030D-6E8A-4147-A177-3AD203B41FA5}">
                      <a16:colId xmlns:a16="http://schemas.microsoft.com/office/drawing/2014/main" val="1844092213"/>
                    </a:ext>
                  </a:extLst>
                </a:gridCol>
              </a:tblGrid>
              <a:tr h="446086">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541471330"/>
                  </a:ext>
                </a:extLst>
              </a:tr>
            </a:tbl>
          </a:graphicData>
        </a:graphic>
      </p:graphicFrame>
      <p:graphicFrame>
        <p:nvGraphicFramePr>
          <p:cNvPr id="131" name="Table 11">
            <a:extLst>
              <a:ext uri="{FF2B5EF4-FFF2-40B4-BE49-F238E27FC236}">
                <a16:creationId xmlns:a16="http://schemas.microsoft.com/office/drawing/2014/main" id="{40B6BE2D-6168-48B1-9E61-CCF429A6E167}"/>
              </a:ext>
            </a:extLst>
          </p:cNvPr>
          <p:cNvGraphicFramePr>
            <a:graphicFrameLocks/>
          </p:cNvGraphicFramePr>
          <p:nvPr/>
        </p:nvGraphicFramePr>
        <p:xfrm>
          <a:off x="1293347" y="5738588"/>
          <a:ext cx="10735290" cy="446086"/>
        </p:xfrm>
        <a:graphic>
          <a:graphicData uri="http://schemas.openxmlformats.org/drawingml/2006/table">
            <a:tbl>
              <a:tblPr>
                <a:tableStyleId>{93296810-A885-4BE3-A3E7-6D5BEEA58F35}</a:tableStyleId>
              </a:tblPr>
              <a:tblGrid>
                <a:gridCol w="715686">
                  <a:extLst>
                    <a:ext uri="{9D8B030D-6E8A-4147-A177-3AD203B41FA5}">
                      <a16:colId xmlns:a16="http://schemas.microsoft.com/office/drawing/2014/main" val="4225047620"/>
                    </a:ext>
                  </a:extLst>
                </a:gridCol>
                <a:gridCol w="715686">
                  <a:extLst>
                    <a:ext uri="{9D8B030D-6E8A-4147-A177-3AD203B41FA5}">
                      <a16:colId xmlns:a16="http://schemas.microsoft.com/office/drawing/2014/main" val="1167463850"/>
                    </a:ext>
                  </a:extLst>
                </a:gridCol>
                <a:gridCol w="715686">
                  <a:extLst>
                    <a:ext uri="{9D8B030D-6E8A-4147-A177-3AD203B41FA5}">
                      <a16:colId xmlns:a16="http://schemas.microsoft.com/office/drawing/2014/main" val="555311057"/>
                    </a:ext>
                  </a:extLst>
                </a:gridCol>
                <a:gridCol w="715686">
                  <a:extLst>
                    <a:ext uri="{9D8B030D-6E8A-4147-A177-3AD203B41FA5}">
                      <a16:colId xmlns:a16="http://schemas.microsoft.com/office/drawing/2014/main" val="4048113857"/>
                    </a:ext>
                  </a:extLst>
                </a:gridCol>
                <a:gridCol w="715686">
                  <a:extLst>
                    <a:ext uri="{9D8B030D-6E8A-4147-A177-3AD203B41FA5}">
                      <a16:colId xmlns:a16="http://schemas.microsoft.com/office/drawing/2014/main" val="108445325"/>
                    </a:ext>
                  </a:extLst>
                </a:gridCol>
                <a:gridCol w="715686">
                  <a:extLst>
                    <a:ext uri="{9D8B030D-6E8A-4147-A177-3AD203B41FA5}">
                      <a16:colId xmlns:a16="http://schemas.microsoft.com/office/drawing/2014/main" val="932505079"/>
                    </a:ext>
                  </a:extLst>
                </a:gridCol>
                <a:gridCol w="715686">
                  <a:extLst>
                    <a:ext uri="{9D8B030D-6E8A-4147-A177-3AD203B41FA5}">
                      <a16:colId xmlns:a16="http://schemas.microsoft.com/office/drawing/2014/main" val="3275244636"/>
                    </a:ext>
                  </a:extLst>
                </a:gridCol>
                <a:gridCol w="715686">
                  <a:extLst>
                    <a:ext uri="{9D8B030D-6E8A-4147-A177-3AD203B41FA5}">
                      <a16:colId xmlns:a16="http://schemas.microsoft.com/office/drawing/2014/main" val="4121854569"/>
                    </a:ext>
                  </a:extLst>
                </a:gridCol>
                <a:gridCol w="715686">
                  <a:extLst>
                    <a:ext uri="{9D8B030D-6E8A-4147-A177-3AD203B41FA5}">
                      <a16:colId xmlns:a16="http://schemas.microsoft.com/office/drawing/2014/main" val="1353833110"/>
                    </a:ext>
                  </a:extLst>
                </a:gridCol>
                <a:gridCol w="715686">
                  <a:extLst>
                    <a:ext uri="{9D8B030D-6E8A-4147-A177-3AD203B41FA5}">
                      <a16:colId xmlns:a16="http://schemas.microsoft.com/office/drawing/2014/main" val="3826582167"/>
                    </a:ext>
                  </a:extLst>
                </a:gridCol>
                <a:gridCol w="715686">
                  <a:extLst>
                    <a:ext uri="{9D8B030D-6E8A-4147-A177-3AD203B41FA5}">
                      <a16:colId xmlns:a16="http://schemas.microsoft.com/office/drawing/2014/main" val="3794026708"/>
                    </a:ext>
                  </a:extLst>
                </a:gridCol>
                <a:gridCol w="715686">
                  <a:extLst>
                    <a:ext uri="{9D8B030D-6E8A-4147-A177-3AD203B41FA5}">
                      <a16:colId xmlns:a16="http://schemas.microsoft.com/office/drawing/2014/main" val="2872599505"/>
                    </a:ext>
                  </a:extLst>
                </a:gridCol>
                <a:gridCol w="715686">
                  <a:extLst>
                    <a:ext uri="{9D8B030D-6E8A-4147-A177-3AD203B41FA5}">
                      <a16:colId xmlns:a16="http://schemas.microsoft.com/office/drawing/2014/main" val="1499189004"/>
                    </a:ext>
                  </a:extLst>
                </a:gridCol>
                <a:gridCol w="715686">
                  <a:extLst>
                    <a:ext uri="{9D8B030D-6E8A-4147-A177-3AD203B41FA5}">
                      <a16:colId xmlns:a16="http://schemas.microsoft.com/office/drawing/2014/main" val="440823763"/>
                    </a:ext>
                  </a:extLst>
                </a:gridCol>
                <a:gridCol w="715686">
                  <a:extLst>
                    <a:ext uri="{9D8B030D-6E8A-4147-A177-3AD203B41FA5}">
                      <a16:colId xmlns:a16="http://schemas.microsoft.com/office/drawing/2014/main" val="1844092213"/>
                    </a:ext>
                  </a:extLst>
                </a:gridCol>
              </a:tblGrid>
              <a:tr h="446086">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541471330"/>
                  </a:ext>
                </a:extLst>
              </a:tr>
            </a:tbl>
          </a:graphicData>
        </a:graphic>
      </p:graphicFrame>
      <p:graphicFrame>
        <p:nvGraphicFramePr>
          <p:cNvPr id="133" name="Table 11">
            <a:extLst>
              <a:ext uri="{FF2B5EF4-FFF2-40B4-BE49-F238E27FC236}">
                <a16:creationId xmlns:a16="http://schemas.microsoft.com/office/drawing/2014/main" id="{39261E9E-F855-474D-BB24-07005DB4E549}"/>
              </a:ext>
            </a:extLst>
          </p:cNvPr>
          <p:cNvGraphicFramePr>
            <a:graphicFrameLocks/>
          </p:cNvGraphicFramePr>
          <p:nvPr/>
        </p:nvGraphicFramePr>
        <p:xfrm>
          <a:off x="1291870" y="6191354"/>
          <a:ext cx="10735290" cy="446086"/>
        </p:xfrm>
        <a:graphic>
          <a:graphicData uri="http://schemas.openxmlformats.org/drawingml/2006/table">
            <a:tbl>
              <a:tblPr>
                <a:tableStyleId>{93296810-A885-4BE3-A3E7-6D5BEEA58F35}</a:tableStyleId>
              </a:tblPr>
              <a:tblGrid>
                <a:gridCol w="715686">
                  <a:extLst>
                    <a:ext uri="{9D8B030D-6E8A-4147-A177-3AD203B41FA5}">
                      <a16:colId xmlns:a16="http://schemas.microsoft.com/office/drawing/2014/main" val="4225047620"/>
                    </a:ext>
                  </a:extLst>
                </a:gridCol>
                <a:gridCol w="715686">
                  <a:extLst>
                    <a:ext uri="{9D8B030D-6E8A-4147-A177-3AD203B41FA5}">
                      <a16:colId xmlns:a16="http://schemas.microsoft.com/office/drawing/2014/main" val="1167463850"/>
                    </a:ext>
                  </a:extLst>
                </a:gridCol>
                <a:gridCol w="715686">
                  <a:extLst>
                    <a:ext uri="{9D8B030D-6E8A-4147-A177-3AD203B41FA5}">
                      <a16:colId xmlns:a16="http://schemas.microsoft.com/office/drawing/2014/main" val="555311057"/>
                    </a:ext>
                  </a:extLst>
                </a:gridCol>
                <a:gridCol w="715686">
                  <a:extLst>
                    <a:ext uri="{9D8B030D-6E8A-4147-A177-3AD203B41FA5}">
                      <a16:colId xmlns:a16="http://schemas.microsoft.com/office/drawing/2014/main" val="4048113857"/>
                    </a:ext>
                  </a:extLst>
                </a:gridCol>
                <a:gridCol w="715686">
                  <a:extLst>
                    <a:ext uri="{9D8B030D-6E8A-4147-A177-3AD203B41FA5}">
                      <a16:colId xmlns:a16="http://schemas.microsoft.com/office/drawing/2014/main" val="108445325"/>
                    </a:ext>
                  </a:extLst>
                </a:gridCol>
                <a:gridCol w="715686">
                  <a:extLst>
                    <a:ext uri="{9D8B030D-6E8A-4147-A177-3AD203B41FA5}">
                      <a16:colId xmlns:a16="http://schemas.microsoft.com/office/drawing/2014/main" val="932505079"/>
                    </a:ext>
                  </a:extLst>
                </a:gridCol>
                <a:gridCol w="715686">
                  <a:extLst>
                    <a:ext uri="{9D8B030D-6E8A-4147-A177-3AD203B41FA5}">
                      <a16:colId xmlns:a16="http://schemas.microsoft.com/office/drawing/2014/main" val="3275244636"/>
                    </a:ext>
                  </a:extLst>
                </a:gridCol>
                <a:gridCol w="715686">
                  <a:extLst>
                    <a:ext uri="{9D8B030D-6E8A-4147-A177-3AD203B41FA5}">
                      <a16:colId xmlns:a16="http://schemas.microsoft.com/office/drawing/2014/main" val="4121854569"/>
                    </a:ext>
                  </a:extLst>
                </a:gridCol>
                <a:gridCol w="715686">
                  <a:extLst>
                    <a:ext uri="{9D8B030D-6E8A-4147-A177-3AD203B41FA5}">
                      <a16:colId xmlns:a16="http://schemas.microsoft.com/office/drawing/2014/main" val="1353833110"/>
                    </a:ext>
                  </a:extLst>
                </a:gridCol>
                <a:gridCol w="715686">
                  <a:extLst>
                    <a:ext uri="{9D8B030D-6E8A-4147-A177-3AD203B41FA5}">
                      <a16:colId xmlns:a16="http://schemas.microsoft.com/office/drawing/2014/main" val="3826582167"/>
                    </a:ext>
                  </a:extLst>
                </a:gridCol>
                <a:gridCol w="715686">
                  <a:extLst>
                    <a:ext uri="{9D8B030D-6E8A-4147-A177-3AD203B41FA5}">
                      <a16:colId xmlns:a16="http://schemas.microsoft.com/office/drawing/2014/main" val="3794026708"/>
                    </a:ext>
                  </a:extLst>
                </a:gridCol>
                <a:gridCol w="715686">
                  <a:extLst>
                    <a:ext uri="{9D8B030D-6E8A-4147-A177-3AD203B41FA5}">
                      <a16:colId xmlns:a16="http://schemas.microsoft.com/office/drawing/2014/main" val="2872599505"/>
                    </a:ext>
                  </a:extLst>
                </a:gridCol>
                <a:gridCol w="715686">
                  <a:extLst>
                    <a:ext uri="{9D8B030D-6E8A-4147-A177-3AD203B41FA5}">
                      <a16:colId xmlns:a16="http://schemas.microsoft.com/office/drawing/2014/main" val="1499189004"/>
                    </a:ext>
                  </a:extLst>
                </a:gridCol>
                <a:gridCol w="715686">
                  <a:extLst>
                    <a:ext uri="{9D8B030D-6E8A-4147-A177-3AD203B41FA5}">
                      <a16:colId xmlns:a16="http://schemas.microsoft.com/office/drawing/2014/main" val="440823763"/>
                    </a:ext>
                  </a:extLst>
                </a:gridCol>
                <a:gridCol w="715686">
                  <a:extLst>
                    <a:ext uri="{9D8B030D-6E8A-4147-A177-3AD203B41FA5}">
                      <a16:colId xmlns:a16="http://schemas.microsoft.com/office/drawing/2014/main" val="1844092213"/>
                    </a:ext>
                  </a:extLst>
                </a:gridCol>
              </a:tblGrid>
              <a:tr h="446086">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541471330"/>
                  </a:ext>
                </a:extLst>
              </a:tr>
            </a:tbl>
          </a:graphicData>
        </a:graphic>
      </p:graphicFrame>
      <p:sp>
        <p:nvSpPr>
          <p:cNvPr id="13" name="TextBox 12">
            <a:extLst>
              <a:ext uri="{FF2B5EF4-FFF2-40B4-BE49-F238E27FC236}">
                <a16:creationId xmlns:a16="http://schemas.microsoft.com/office/drawing/2014/main" id="{789A9B01-1F9F-4233-A98C-495AB37FF65C}"/>
              </a:ext>
            </a:extLst>
          </p:cNvPr>
          <p:cNvSpPr txBox="1">
            <a:spLocks/>
          </p:cNvSpPr>
          <p:nvPr/>
        </p:nvSpPr>
        <p:spPr>
          <a:xfrm>
            <a:off x="-3980" y="1280289"/>
            <a:ext cx="1471612" cy="446087"/>
          </a:xfrm>
          <a:prstGeom prst="homePlate">
            <a:avLst>
              <a:gd name="adj" fmla="val 32019"/>
            </a:avLst>
          </a:prstGeom>
          <a:solidFill>
            <a:srgbClr val="001965"/>
          </a:solidFill>
          <a:ln w="19050">
            <a:solidFill>
              <a:srgbClr val="FFFFFF"/>
            </a:solidFill>
          </a:ln>
        </p:spPr>
        <p:txBody>
          <a:bodyPr wrap="square" lIns="108000" tIns="0" rIns="0" bIns="0" rtlCol="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pis For Office"/>
                <a:ea typeface="+mn-ea"/>
                <a:cs typeface="+mn-cs"/>
              </a:rPr>
              <a:t>Supply Chain Management</a:t>
            </a:r>
          </a:p>
        </p:txBody>
      </p:sp>
      <p:sp>
        <p:nvSpPr>
          <p:cNvPr id="114" name="TextBox 113">
            <a:extLst>
              <a:ext uri="{FF2B5EF4-FFF2-40B4-BE49-F238E27FC236}">
                <a16:creationId xmlns:a16="http://schemas.microsoft.com/office/drawing/2014/main" id="{47593AF5-2885-4D6E-9464-3369B6534DE8}"/>
              </a:ext>
            </a:extLst>
          </p:cNvPr>
          <p:cNvSpPr txBox="1">
            <a:spLocks/>
          </p:cNvSpPr>
          <p:nvPr/>
        </p:nvSpPr>
        <p:spPr>
          <a:xfrm>
            <a:off x="-3980" y="1726749"/>
            <a:ext cx="1471612" cy="446087"/>
          </a:xfrm>
          <a:prstGeom prst="homePlate">
            <a:avLst>
              <a:gd name="adj" fmla="val 32019"/>
            </a:avLst>
          </a:prstGeom>
          <a:solidFill>
            <a:srgbClr val="001965"/>
          </a:solidFill>
          <a:ln w="19050">
            <a:solidFill>
              <a:srgbClr val="FFFFFF"/>
            </a:solidFill>
          </a:ln>
        </p:spPr>
        <p:txBody>
          <a:bodyPr wrap="square" lIns="108000" tIns="0" rIns="0" bIns="0" rtlCol="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pis For Office"/>
                <a:ea typeface="+mn-ea"/>
                <a:cs typeface="+mn-cs"/>
              </a:rPr>
              <a:t>International Business Admin/Management</a:t>
            </a:r>
            <a:endParaRPr kumimoji="0" lang="en-GB" sz="800" b="0" i="0" u="none" strike="noStrike" kern="1200" cap="none" spc="0" normalizeH="0" baseline="0" noProof="0" dirty="0">
              <a:ln>
                <a:noFill/>
              </a:ln>
              <a:solidFill>
                <a:srgbClr val="FFFFFF"/>
              </a:solidFill>
              <a:effectLst/>
              <a:uLnTx/>
              <a:uFillTx/>
              <a:latin typeface="Apis For Office"/>
              <a:ea typeface="Apis For Office"/>
              <a:cs typeface="Apis For Office"/>
            </a:endParaRPr>
          </a:p>
        </p:txBody>
      </p:sp>
      <p:sp>
        <p:nvSpPr>
          <p:cNvPr id="116" name="TextBox 115">
            <a:extLst>
              <a:ext uri="{FF2B5EF4-FFF2-40B4-BE49-F238E27FC236}">
                <a16:creationId xmlns:a16="http://schemas.microsoft.com/office/drawing/2014/main" id="{1838E555-36F5-4E3E-9D4A-67BC8D566154}"/>
              </a:ext>
            </a:extLst>
          </p:cNvPr>
          <p:cNvSpPr txBox="1">
            <a:spLocks/>
          </p:cNvSpPr>
          <p:nvPr/>
        </p:nvSpPr>
        <p:spPr>
          <a:xfrm>
            <a:off x="-3980" y="2173209"/>
            <a:ext cx="1471612" cy="446087"/>
          </a:xfrm>
          <a:prstGeom prst="homePlate">
            <a:avLst>
              <a:gd name="adj" fmla="val 32019"/>
            </a:avLst>
          </a:prstGeom>
          <a:solidFill>
            <a:srgbClr val="001965"/>
          </a:solidFill>
          <a:ln w="19050">
            <a:solidFill>
              <a:srgbClr val="FFFFFF"/>
            </a:solidFill>
          </a:ln>
        </p:spPr>
        <p:txBody>
          <a:bodyPr wrap="square" lIns="108000" tIns="0" rIns="0" bIns="0" rtlCol="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pis For Office"/>
                <a:ea typeface="+mn-ea"/>
                <a:cs typeface="+mn-cs"/>
              </a:rPr>
              <a:t>Marketing / Communication </a:t>
            </a:r>
            <a:endParaRPr kumimoji="0" lang="en-GB" sz="800" b="0" i="0" u="none" strike="noStrike" kern="1200" cap="none" spc="0" normalizeH="0" baseline="0" noProof="0" dirty="0">
              <a:ln>
                <a:noFill/>
              </a:ln>
              <a:solidFill>
                <a:srgbClr val="FFFFFF"/>
              </a:solidFill>
              <a:effectLst/>
              <a:uLnTx/>
              <a:uFillTx/>
              <a:latin typeface="Apis For Office"/>
              <a:ea typeface="Apis For Office"/>
              <a:cs typeface="Apis For Office"/>
            </a:endParaRPr>
          </a:p>
        </p:txBody>
      </p:sp>
      <p:sp>
        <p:nvSpPr>
          <p:cNvPr id="120" name="TextBox 119">
            <a:extLst>
              <a:ext uri="{FF2B5EF4-FFF2-40B4-BE49-F238E27FC236}">
                <a16:creationId xmlns:a16="http://schemas.microsoft.com/office/drawing/2014/main" id="{84FA5395-8A8A-4754-BF1A-BBC8114CBDFE}"/>
              </a:ext>
            </a:extLst>
          </p:cNvPr>
          <p:cNvSpPr txBox="1">
            <a:spLocks/>
          </p:cNvSpPr>
          <p:nvPr/>
        </p:nvSpPr>
        <p:spPr>
          <a:xfrm>
            <a:off x="-3980" y="3066129"/>
            <a:ext cx="1471612" cy="446087"/>
          </a:xfrm>
          <a:prstGeom prst="homePlate">
            <a:avLst>
              <a:gd name="adj" fmla="val 32019"/>
            </a:avLst>
          </a:prstGeom>
          <a:solidFill>
            <a:srgbClr val="001965"/>
          </a:solidFill>
          <a:ln w="19050">
            <a:solidFill>
              <a:srgbClr val="FFFFFF"/>
            </a:solidFill>
          </a:ln>
        </p:spPr>
        <p:txBody>
          <a:bodyPr wrap="square" lIns="108000" tIns="0" rIns="0" bIns="0" rtlCol="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pis For Office"/>
                <a:ea typeface="+mn-ea"/>
                <a:cs typeface="+mn-cs"/>
              </a:rPr>
              <a:t>Finance / Economics</a:t>
            </a:r>
            <a:endParaRPr kumimoji="0" lang="en-GB" sz="800" b="0" i="0" u="none" strike="noStrike" kern="1200" cap="none" spc="0" normalizeH="0" baseline="0" noProof="0" dirty="0">
              <a:ln>
                <a:noFill/>
              </a:ln>
              <a:solidFill>
                <a:srgbClr val="FFFFFF"/>
              </a:solidFill>
              <a:effectLst/>
              <a:uLnTx/>
              <a:uFillTx/>
              <a:latin typeface="Apis For Office"/>
              <a:ea typeface="Apis For Office"/>
              <a:cs typeface="Apis For Office"/>
            </a:endParaRPr>
          </a:p>
        </p:txBody>
      </p:sp>
      <p:sp>
        <p:nvSpPr>
          <p:cNvPr id="122" name="TextBox 121">
            <a:extLst>
              <a:ext uri="{FF2B5EF4-FFF2-40B4-BE49-F238E27FC236}">
                <a16:creationId xmlns:a16="http://schemas.microsoft.com/office/drawing/2014/main" id="{1EC0CCD3-6050-495D-8A90-CF1CD11880F0}"/>
              </a:ext>
            </a:extLst>
          </p:cNvPr>
          <p:cNvSpPr txBox="1">
            <a:spLocks/>
          </p:cNvSpPr>
          <p:nvPr/>
        </p:nvSpPr>
        <p:spPr>
          <a:xfrm>
            <a:off x="-3980" y="3512589"/>
            <a:ext cx="1471612" cy="446087"/>
          </a:xfrm>
          <a:prstGeom prst="homePlate">
            <a:avLst>
              <a:gd name="adj" fmla="val 32019"/>
            </a:avLst>
          </a:prstGeom>
          <a:solidFill>
            <a:srgbClr val="001965"/>
          </a:solidFill>
          <a:ln w="19050">
            <a:solidFill>
              <a:srgbClr val="FFFFFF"/>
            </a:solidFill>
          </a:ln>
        </p:spPr>
        <p:txBody>
          <a:bodyPr wrap="square" lIns="108000" tIns="0" rIns="0" bIns="0" rtlCol="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pis For Office"/>
                <a:ea typeface="+mn-ea"/>
                <a:cs typeface="+mn-cs"/>
              </a:rPr>
              <a:t>Innovation &amp; Entrepreneurship</a:t>
            </a:r>
            <a:endParaRPr kumimoji="0" lang="en-GB" sz="800" b="0" i="0" u="none" strike="noStrike" kern="1200" cap="none" spc="0" normalizeH="0" baseline="0" noProof="0" dirty="0">
              <a:ln>
                <a:noFill/>
              </a:ln>
              <a:solidFill>
                <a:srgbClr val="FFFFFF"/>
              </a:solidFill>
              <a:effectLst/>
              <a:uLnTx/>
              <a:uFillTx/>
              <a:latin typeface="Apis For Office"/>
              <a:ea typeface="Apis For Office"/>
              <a:cs typeface="Apis For Office"/>
            </a:endParaRPr>
          </a:p>
        </p:txBody>
      </p:sp>
      <p:sp>
        <p:nvSpPr>
          <p:cNvPr id="124" name="TextBox 123">
            <a:extLst>
              <a:ext uri="{FF2B5EF4-FFF2-40B4-BE49-F238E27FC236}">
                <a16:creationId xmlns:a16="http://schemas.microsoft.com/office/drawing/2014/main" id="{CB92DA14-DE47-4DB7-AF96-E56829FA60A3}"/>
              </a:ext>
            </a:extLst>
          </p:cNvPr>
          <p:cNvSpPr txBox="1">
            <a:spLocks/>
          </p:cNvSpPr>
          <p:nvPr/>
        </p:nvSpPr>
        <p:spPr>
          <a:xfrm>
            <a:off x="-3980" y="3959049"/>
            <a:ext cx="1471612" cy="446087"/>
          </a:xfrm>
          <a:prstGeom prst="homePlate">
            <a:avLst>
              <a:gd name="adj" fmla="val 32019"/>
            </a:avLst>
          </a:prstGeom>
          <a:solidFill>
            <a:srgbClr val="001965"/>
          </a:solidFill>
          <a:ln w="19050">
            <a:solidFill>
              <a:srgbClr val="FFFFFF"/>
            </a:solidFill>
          </a:ln>
        </p:spPr>
        <p:txBody>
          <a:bodyPr wrap="square" lIns="108000" tIns="0" rIns="0" bIns="0" rtlCol="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pis For Office"/>
                <a:ea typeface="+mn-ea"/>
                <a:cs typeface="+mn-cs"/>
              </a:rPr>
              <a:t>IT / Information Management</a:t>
            </a:r>
            <a:endParaRPr kumimoji="0" lang="en-GB" sz="800" b="0" i="0" u="none" strike="noStrike" kern="1200" cap="none" spc="0" normalizeH="0" baseline="0" noProof="0" dirty="0">
              <a:ln>
                <a:noFill/>
              </a:ln>
              <a:solidFill>
                <a:srgbClr val="FFFFFF"/>
              </a:solidFill>
              <a:effectLst/>
              <a:uLnTx/>
              <a:uFillTx/>
              <a:latin typeface="Apis For Office"/>
              <a:ea typeface="Apis For Office"/>
              <a:cs typeface="Apis For Office"/>
            </a:endParaRPr>
          </a:p>
        </p:txBody>
      </p:sp>
      <p:sp>
        <p:nvSpPr>
          <p:cNvPr id="126" name="TextBox 125">
            <a:extLst>
              <a:ext uri="{FF2B5EF4-FFF2-40B4-BE49-F238E27FC236}">
                <a16:creationId xmlns:a16="http://schemas.microsoft.com/office/drawing/2014/main" id="{49B2DCDB-18B9-46BA-8207-2C295703E78C}"/>
              </a:ext>
            </a:extLst>
          </p:cNvPr>
          <p:cNvSpPr txBox="1">
            <a:spLocks/>
          </p:cNvSpPr>
          <p:nvPr/>
        </p:nvSpPr>
        <p:spPr>
          <a:xfrm>
            <a:off x="-3980" y="4405509"/>
            <a:ext cx="1471612" cy="446087"/>
          </a:xfrm>
          <a:prstGeom prst="homePlate">
            <a:avLst>
              <a:gd name="adj" fmla="val 32019"/>
            </a:avLst>
          </a:prstGeom>
          <a:solidFill>
            <a:srgbClr val="001965"/>
          </a:solidFill>
          <a:ln w="19050">
            <a:solidFill>
              <a:srgbClr val="FFFFFF"/>
            </a:solidFill>
          </a:ln>
        </p:spPr>
        <p:txBody>
          <a:bodyPr wrap="square" lIns="108000" tIns="0" rIns="0" bIns="0" rtlCol="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pis For Office"/>
                <a:ea typeface="+mn-ea"/>
                <a:cs typeface="+mn-cs"/>
              </a:rPr>
              <a:t>Engineering</a:t>
            </a:r>
          </a:p>
        </p:txBody>
      </p:sp>
      <p:sp>
        <p:nvSpPr>
          <p:cNvPr id="128" name="TextBox 127">
            <a:extLst>
              <a:ext uri="{FF2B5EF4-FFF2-40B4-BE49-F238E27FC236}">
                <a16:creationId xmlns:a16="http://schemas.microsoft.com/office/drawing/2014/main" id="{D00A066F-B27F-44EC-9F95-1B9CCD30A1BA}"/>
              </a:ext>
            </a:extLst>
          </p:cNvPr>
          <p:cNvSpPr txBox="1">
            <a:spLocks/>
          </p:cNvSpPr>
          <p:nvPr/>
        </p:nvSpPr>
        <p:spPr>
          <a:xfrm>
            <a:off x="-3980" y="4851969"/>
            <a:ext cx="1471612" cy="446087"/>
          </a:xfrm>
          <a:prstGeom prst="homePlate">
            <a:avLst>
              <a:gd name="adj" fmla="val 32019"/>
            </a:avLst>
          </a:prstGeom>
          <a:solidFill>
            <a:srgbClr val="001965"/>
          </a:solidFill>
          <a:ln w="19050">
            <a:solidFill>
              <a:srgbClr val="FFFFFF"/>
            </a:solidFill>
          </a:ln>
        </p:spPr>
        <p:txBody>
          <a:bodyPr wrap="square" lIns="108000" tIns="0" rIns="0" bIns="0" rtlCol="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pis For Office"/>
                <a:ea typeface="+mn-ea"/>
                <a:cs typeface="+mn-cs"/>
              </a:rPr>
              <a:t>Natural Science / Pharmaceutical</a:t>
            </a:r>
          </a:p>
        </p:txBody>
      </p:sp>
      <p:sp>
        <p:nvSpPr>
          <p:cNvPr id="130" name="TextBox 129">
            <a:extLst>
              <a:ext uri="{FF2B5EF4-FFF2-40B4-BE49-F238E27FC236}">
                <a16:creationId xmlns:a16="http://schemas.microsoft.com/office/drawing/2014/main" id="{D8BBE9CF-62D0-4E45-ABD7-A4F9E516C92F}"/>
              </a:ext>
            </a:extLst>
          </p:cNvPr>
          <p:cNvSpPr txBox="1">
            <a:spLocks/>
          </p:cNvSpPr>
          <p:nvPr/>
        </p:nvSpPr>
        <p:spPr>
          <a:xfrm>
            <a:off x="-3980" y="5298429"/>
            <a:ext cx="1471612" cy="446087"/>
          </a:xfrm>
          <a:prstGeom prst="homePlate">
            <a:avLst>
              <a:gd name="adj" fmla="val 32019"/>
            </a:avLst>
          </a:prstGeom>
          <a:solidFill>
            <a:srgbClr val="001965"/>
          </a:solidFill>
          <a:ln w="19050">
            <a:solidFill>
              <a:srgbClr val="FFFFFF"/>
            </a:solidFill>
          </a:ln>
        </p:spPr>
        <p:txBody>
          <a:bodyPr wrap="square" lIns="108000" tIns="0" rIns="0" bIns="0" rtlCol="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pis For Office"/>
                <a:ea typeface="+mn-ea"/>
                <a:cs typeface="+mn-cs"/>
              </a:rPr>
              <a:t>Public Affairs / Law / Political Science</a:t>
            </a:r>
            <a:endParaRPr kumimoji="0" lang="en-GB" sz="800" b="0" i="0" u="none" strike="noStrike" kern="1200" cap="none" spc="0" normalizeH="0" baseline="0" noProof="0" dirty="0">
              <a:ln>
                <a:noFill/>
              </a:ln>
              <a:solidFill>
                <a:srgbClr val="FFFFFF"/>
              </a:solidFill>
              <a:effectLst/>
              <a:uLnTx/>
              <a:uFillTx/>
              <a:latin typeface="Apis For Office"/>
              <a:ea typeface="Apis For Office"/>
              <a:cs typeface="Apis For Office"/>
            </a:endParaRPr>
          </a:p>
        </p:txBody>
      </p:sp>
      <p:sp>
        <p:nvSpPr>
          <p:cNvPr id="132" name="TextBox 131">
            <a:extLst>
              <a:ext uri="{FF2B5EF4-FFF2-40B4-BE49-F238E27FC236}">
                <a16:creationId xmlns:a16="http://schemas.microsoft.com/office/drawing/2014/main" id="{E4E1A8CF-13AB-473B-B695-FBBD82D25F5D}"/>
              </a:ext>
            </a:extLst>
          </p:cNvPr>
          <p:cNvSpPr txBox="1">
            <a:spLocks/>
          </p:cNvSpPr>
          <p:nvPr/>
        </p:nvSpPr>
        <p:spPr>
          <a:xfrm>
            <a:off x="-3980" y="5744889"/>
            <a:ext cx="1471612" cy="446087"/>
          </a:xfrm>
          <a:prstGeom prst="homePlate">
            <a:avLst>
              <a:gd name="adj" fmla="val 32019"/>
            </a:avLst>
          </a:prstGeom>
          <a:solidFill>
            <a:srgbClr val="001965"/>
          </a:solidFill>
          <a:ln w="19050">
            <a:solidFill>
              <a:srgbClr val="FFFFFF"/>
            </a:solidFill>
          </a:ln>
        </p:spPr>
        <p:txBody>
          <a:bodyPr wrap="square" lIns="108000" tIns="0" rIns="0" bIns="0" rtlCol="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pis For Office"/>
                <a:ea typeface="+mn-ea"/>
                <a:cs typeface="+mn-cs"/>
              </a:rPr>
              <a:t>Sociology / Health Economics</a:t>
            </a:r>
            <a:endParaRPr kumimoji="0" lang="en-GB" sz="800" b="0" i="0" u="none" strike="noStrike" kern="1200" cap="none" spc="0" normalizeH="0" baseline="0" noProof="0" dirty="0">
              <a:ln>
                <a:noFill/>
              </a:ln>
              <a:solidFill>
                <a:srgbClr val="FFFFFF"/>
              </a:solidFill>
              <a:effectLst/>
              <a:uLnTx/>
              <a:uFillTx/>
              <a:latin typeface="Apis For Office"/>
              <a:ea typeface="Apis For Office"/>
              <a:cs typeface="Apis For Office"/>
            </a:endParaRPr>
          </a:p>
        </p:txBody>
      </p:sp>
      <p:sp>
        <p:nvSpPr>
          <p:cNvPr id="134" name="TextBox 133">
            <a:extLst>
              <a:ext uri="{FF2B5EF4-FFF2-40B4-BE49-F238E27FC236}">
                <a16:creationId xmlns:a16="http://schemas.microsoft.com/office/drawing/2014/main" id="{4A29418F-7653-41B3-BC20-0CDD2AFA83FD}"/>
              </a:ext>
            </a:extLst>
          </p:cNvPr>
          <p:cNvSpPr txBox="1">
            <a:spLocks/>
          </p:cNvSpPr>
          <p:nvPr/>
        </p:nvSpPr>
        <p:spPr>
          <a:xfrm>
            <a:off x="-3980" y="6191353"/>
            <a:ext cx="1471612" cy="446087"/>
          </a:xfrm>
          <a:prstGeom prst="homePlate">
            <a:avLst>
              <a:gd name="adj" fmla="val 32019"/>
            </a:avLst>
          </a:prstGeom>
          <a:solidFill>
            <a:srgbClr val="001965"/>
          </a:solidFill>
          <a:ln w="19050">
            <a:solidFill>
              <a:srgbClr val="FFFFFF"/>
            </a:solidFill>
          </a:ln>
        </p:spPr>
        <p:txBody>
          <a:bodyPr wrap="square" lIns="108000" tIns="0" rIns="0" bIns="0" rtlCol="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pis For Office"/>
                <a:ea typeface="+mn-ea"/>
                <a:cs typeface="+mn-cs"/>
              </a:rPr>
              <a:t>Human Resource Management/Psychology</a:t>
            </a:r>
          </a:p>
        </p:txBody>
      </p:sp>
      <p:sp>
        <p:nvSpPr>
          <p:cNvPr id="118" name="TextBox 117">
            <a:extLst>
              <a:ext uri="{FF2B5EF4-FFF2-40B4-BE49-F238E27FC236}">
                <a16:creationId xmlns:a16="http://schemas.microsoft.com/office/drawing/2014/main" id="{B6E3F3D6-1A4B-422E-865B-7BF3042F32B6}"/>
              </a:ext>
            </a:extLst>
          </p:cNvPr>
          <p:cNvSpPr txBox="1">
            <a:spLocks/>
          </p:cNvSpPr>
          <p:nvPr/>
        </p:nvSpPr>
        <p:spPr>
          <a:xfrm>
            <a:off x="-3980" y="2619669"/>
            <a:ext cx="1471612" cy="446087"/>
          </a:xfrm>
          <a:prstGeom prst="homePlate">
            <a:avLst>
              <a:gd name="adj" fmla="val 32019"/>
            </a:avLst>
          </a:prstGeom>
          <a:solidFill>
            <a:srgbClr val="001965"/>
          </a:solidFill>
          <a:ln w="19050">
            <a:solidFill>
              <a:srgbClr val="FFFFFF"/>
            </a:solidFill>
          </a:ln>
        </p:spPr>
        <p:txBody>
          <a:bodyPr wrap="square" lIns="108000" tIns="0" rIns="0" bIns="0" rtlCol="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pis For Office"/>
                <a:ea typeface="+mn-ea"/>
                <a:cs typeface="+mn-cs"/>
              </a:rPr>
              <a:t>Accounting</a:t>
            </a:r>
            <a:endParaRPr kumimoji="0" lang="en-GB" sz="800" b="0" i="0" u="none" strike="noStrike" kern="1200" cap="none" spc="0" normalizeH="0" baseline="0" noProof="0" dirty="0">
              <a:ln>
                <a:noFill/>
              </a:ln>
              <a:solidFill>
                <a:srgbClr val="FFFFFF"/>
              </a:solidFill>
              <a:effectLst/>
              <a:uLnTx/>
              <a:uFillTx/>
              <a:latin typeface="Apis For Office"/>
              <a:ea typeface="Apis For Office"/>
              <a:cs typeface="Apis For Office"/>
            </a:endParaRPr>
          </a:p>
        </p:txBody>
      </p:sp>
      <p:sp>
        <p:nvSpPr>
          <p:cNvPr id="135" name="Oval 134">
            <a:extLst>
              <a:ext uri="{FF2B5EF4-FFF2-40B4-BE49-F238E27FC236}">
                <a16:creationId xmlns:a16="http://schemas.microsoft.com/office/drawing/2014/main" id="{CDF0E11B-1758-40AD-B5AE-248941AD4174}"/>
              </a:ext>
            </a:extLst>
          </p:cNvPr>
          <p:cNvSpPr/>
          <p:nvPr/>
        </p:nvSpPr>
        <p:spPr>
          <a:xfrm>
            <a:off x="7254735" y="1371655"/>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36" name="Oval 135">
            <a:extLst>
              <a:ext uri="{FF2B5EF4-FFF2-40B4-BE49-F238E27FC236}">
                <a16:creationId xmlns:a16="http://schemas.microsoft.com/office/drawing/2014/main" id="{C861DC8B-AA5A-4F96-822D-FDA368CA127D}"/>
              </a:ext>
            </a:extLst>
          </p:cNvPr>
          <p:cNvSpPr/>
          <p:nvPr/>
        </p:nvSpPr>
        <p:spPr>
          <a:xfrm>
            <a:off x="6548067" y="1821356"/>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37" name="Oval 136">
            <a:extLst>
              <a:ext uri="{FF2B5EF4-FFF2-40B4-BE49-F238E27FC236}">
                <a16:creationId xmlns:a16="http://schemas.microsoft.com/office/drawing/2014/main" id="{71872335-2803-4664-84CA-9F748CDC2E7A}"/>
              </a:ext>
            </a:extLst>
          </p:cNvPr>
          <p:cNvSpPr/>
          <p:nvPr/>
        </p:nvSpPr>
        <p:spPr>
          <a:xfrm>
            <a:off x="7976618" y="1821356"/>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38" name="Oval 137">
            <a:extLst>
              <a:ext uri="{FF2B5EF4-FFF2-40B4-BE49-F238E27FC236}">
                <a16:creationId xmlns:a16="http://schemas.microsoft.com/office/drawing/2014/main" id="{1D6F2297-A408-499B-B038-D0168E4BED0B}"/>
              </a:ext>
            </a:extLst>
          </p:cNvPr>
          <p:cNvSpPr/>
          <p:nvPr/>
        </p:nvSpPr>
        <p:spPr>
          <a:xfrm>
            <a:off x="10125497" y="1821356"/>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39" name="Oval 138">
            <a:extLst>
              <a:ext uri="{FF2B5EF4-FFF2-40B4-BE49-F238E27FC236}">
                <a16:creationId xmlns:a16="http://schemas.microsoft.com/office/drawing/2014/main" id="{12C74566-D6AA-458A-8088-43D4AB2BA178}"/>
              </a:ext>
            </a:extLst>
          </p:cNvPr>
          <p:cNvSpPr/>
          <p:nvPr/>
        </p:nvSpPr>
        <p:spPr>
          <a:xfrm>
            <a:off x="10831657" y="1821356"/>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40" name="Oval 139">
            <a:extLst>
              <a:ext uri="{FF2B5EF4-FFF2-40B4-BE49-F238E27FC236}">
                <a16:creationId xmlns:a16="http://schemas.microsoft.com/office/drawing/2014/main" id="{3EA4A41C-713A-4DE1-A18B-46700AD37043}"/>
              </a:ext>
            </a:extLst>
          </p:cNvPr>
          <p:cNvSpPr/>
          <p:nvPr/>
        </p:nvSpPr>
        <p:spPr>
          <a:xfrm>
            <a:off x="11561844" y="1821356"/>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41" name="Oval 140">
            <a:extLst>
              <a:ext uri="{FF2B5EF4-FFF2-40B4-BE49-F238E27FC236}">
                <a16:creationId xmlns:a16="http://schemas.microsoft.com/office/drawing/2014/main" id="{37D9921A-D322-4715-A712-927A67C4A48C}"/>
              </a:ext>
            </a:extLst>
          </p:cNvPr>
          <p:cNvSpPr/>
          <p:nvPr/>
        </p:nvSpPr>
        <p:spPr>
          <a:xfrm>
            <a:off x="10831657" y="2274205"/>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42" name="Oval 141">
            <a:extLst>
              <a:ext uri="{FF2B5EF4-FFF2-40B4-BE49-F238E27FC236}">
                <a16:creationId xmlns:a16="http://schemas.microsoft.com/office/drawing/2014/main" id="{1B0D8DB0-2341-4170-96B2-C8AA8C5568D2}"/>
              </a:ext>
            </a:extLst>
          </p:cNvPr>
          <p:cNvSpPr/>
          <p:nvPr/>
        </p:nvSpPr>
        <p:spPr>
          <a:xfrm>
            <a:off x="6548067" y="2729080"/>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43" name="Oval 142">
            <a:extLst>
              <a:ext uri="{FF2B5EF4-FFF2-40B4-BE49-F238E27FC236}">
                <a16:creationId xmlns:a16="http://schemas.microsoft.com/office/drawing/2014/main" id="{785DEB06-02CE-4EED-9B51-1CF9EFE11455}"/>
              </a:ext>
            </a:extLst>
          </p:cNvPr>
          <p:cNvSpPr/>
          <p:nvPr/>
        </p:nvSpPr>
        <p:spPr>
          <a:xfrm>
            <a:off x="7976618" y="2729080"/>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44" name="Oval 143">
            <a:extLst>
              <a:ext uri="{FF2B5EF4-FFF2-40B4-BE49-F238E27FC236}">
                <a16:creationId xmlns:a16="http://schemas.microsoft.com/office/drawing/2014/main" id="{EDC5D934-B1BC-4AE7-B161-95416DFADBA1}"/>
              </a:ext>
            </a:extLst>
          </p:cNvPr>
          <p:cNvSpPr/>
          <p:nvPr/>
        </p:nvSpPr>
        <p:spPr>
          <a:xfrm>
            <a:off x="6548067" y="3173178"/>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45" name="Oval 144">
            <a:extLst>
              <a:ext uri="{FF2B5EF4-FFF2-40B4-BE49-F238E27FC236}">
                <a16:creationId xmlns:a16="http://schemas.microsoft.com/office/drawing/2014/main" id="{C496FEE4-7ACC-4333-8DC5-3C0921159B5C}"/>
              </a:ext>
            </a:extLst>
          </p:cNvPr>
          <p:cNvSpPr/>
          <p:nvPr/>
        </p:nvSpPr>
        <p:spPr>
          <a:xfrm>
            <a:off x="7254735" y="3173178"/>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46" name="Oval 145">
            <a:extLst>
              <a:ext uri="{FF2B5EF4-FFF2-40B4-BE49-F238E27FC236}">
                <a16:creationId xmlns:a16="http://schemas.microsoft.com/office/drawing/2014/main" id="{2795591F-41C5-422F-B7B5-8B973E931E13}"/>
              </a:ext>
            </a:extLst>
          </p:cNvPr>
          <p:cNvSpPr/>
          <p:nvPr/>
        </p:nvSpPr>
        <p:spPr>
          <a:xfrm>
            <a:off x="7976618" y="3173178"/>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47" name="Oval 146">
            <a:extLst>
              <a:ext uri="{FF2B5EF4-FFF2-40B4-BE49-F238E27FC236}">
                <a16:creationId xmlns:a16="http://schemas.microsoft.com/office/drawing/2014/main" id="{0E782A0D-4F26-411D-8481-DEB23F219EE9}"/>
              </a:ext>
            </a:extLst>
          </p:cNvPr>
          <p:cNvSpPr/>
          <p:nvPr/>
        </p:nvSpPr>
        <p:spPr>
          <a:xfrm>
            <a:off x="11561844" y="3173178"/>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48" name="Oval 147">
            <a:extLst>
              <a:ext uri="{FF2B5EF4-FFF2-40B4-BE49-F238E27FC236}">
                <a16:creationId xmlns:a16="http://schemas.microsoft.com/office/drawing/2014/main" id="{C9AB3562-9C32-4772-B004-E2918375FB2D}"/>
              </a:ext>
            </a:extLst>
          </p:cNvPr>
          <p:cNvSpPr/>
          <p:nvPr/>
        </p:nvSpPr>
        <p:spPr>
          <a:xfrm>
            <a:off x="8687219" y="3610498"/>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49" name="Oval 148">
            <a:extLst>
              <a:ext uri="{FF2B5EF4-FFF2-40B4-BE49-F238E27FC236}">
                <a16:creationId xmlns:a16="http://schemas.microsoft.com/office/drawing/2014/main" id="{1A4FA9F0-6CCA-48EB-8B14-DBD332B39B7F}"/>
              </a:ext>
            </a:extLst>
          </p:cNvPr>
          <p:cNvSpPr/>
          <p:nvPr/>
        </p:nvSpPr>
        <p:spPr>
          <a:xfrm>
            <a:off x="10125497" y="3610498"/>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50" name="Oval 149">
            <a:extLst>
              <a:ext uri="{FF2B5EF4-FFF2-40B4-BE49-F238E27FC236}">
                <a16:creationId xmlns:a16="http://schemas.microsoft.com/office/drawing/2014/main" id="{A605956C-E9D7-4BAB-83BE-78181A7012DD}"/>
              </a:ext>
            </a:extLst>
          </p:cNvPr>
          <p:cNvSpPr/>
          <p:nvPr/>
        </p:nvSpPr>
        <p:spPr>
          <a:xfrm>
            <a:off x="4395680" y="3610498"/>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51" name="Oval 150">
            <a:extLst>
              <a:ext uri="{FF2B5EF4-FFF2-40B4-BE49-F238E27FC236}">
                <a16:creationId xmlns:a16="http://schemas.microsoft.com/office/drawing/2014/main" id="{A2740258-396F-472D-90A4-36FA8A9E880A}"/>
              </a:ext>
            </a:extLst>
          </p:cNvPr>
          <p:cNvSpPr/>
          <p:nvPr/>
        </p:nvSpPr>
        <p:spPr>
          <a:xfrm>
            <a:off x="2247296" y="4067649"/>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52" name="Oval 151">
            <a:extLst>
              <a:ext uri="{FF2B5EF4-FFF2-40B4-BE49-F238E27FC236}">
                <a16:creationId xmlns:a16="http://schemas.microsoft.com/office/drawing/2014/main" id="{30223D4D-18F3-40E9-9920-F6338B080AF2}"/>
              </a:ext>
            </a:extLst>
          </p:cNvPr>
          <p:cNvSpPr/>
          <p:nvPr/>
        </p:nvSpPr>
        <p:spPr>
          <a:xfrm>
            <a:off x="3685601" y="4067649"/>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53" name="Oval 152">
            <a:extLst>
              <a:ext uri="{FF2B5EF4-FFF2-40B4-BE49-F238E27FC236}">
                <a16:creationId xmlns:a16="http://schemas.microsoft.com/office/drawing/2014/main" id="{AA1EEB86-1699-425A-8F7F-8A590DA82078}"/>
              </a:ext>
            </a:extLst>
          </p:cNvPr>
          <p:cNvSpPr/>
          <p:nvPr/>
        </p:nvSpPr>
        <p:spPr>
          <a:xfrm>
            <a:off x="5115471" y="4067649"/>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54" name="Oval 153">
            <a:extLst>
              <a:ext uri="{FF2B5EF4-FFF2-40B4-BE49-F238E27FC236}">
                <a16:creationId xmlns:a16="http://schemas.microsoft.com/office/drawing/2014/main" id="{08B49CA9-6499-4812-93F0-6B8C877703D6}"/>
              </a:ext>
            </a:extLst>
          </p:cNvPr>
          <p:cNvSpPr/>
          <p:nvPr/>
        </p:nvSpPr>
        <p:spPr>
          <a:xfrm>
            <a:off x="3685601" y="450946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55" name="Oval 154">
            <a:extLst>
              <a:ext uri="{FF2B5EF4-FFF2-40B4-BE49-F238E27FC236}">
                <a16:creationId xmlns:a16="http://schemas.microsoft.com/office/drawing/2014/main" id="{A2C6DB01-38AA-45DD-AE59-A490DC124803}"/>
              </a:ext>
            </a:extLst>
          </p:cNvPr>
          <p:cNvSpPr/>
          <p:nvPr/>
        </p:nvSpPr>
        <p:spPr>
          <a:xfrm>
            <a:off x="4395680" y="450946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56" name="Oval 155">
            <a:extLst>
              <a:ext uri="{FF2B5EF4-FFF2-40B4-BE49-F238E27FC236}">
                <a16:creationId xmlns:a16="http://schemas.microsoft.com/office/drawing/2014/main" id="{C6E08C0A-EFEA-4CCC-A860-53B5EC5A303D}"/>
              </a:ext>
            </a:extLst>
          </p:cNvPr>
          <p:cNvSpPr/>
          <p:nvPr/>
        </p:nvSpPr>
        <p:spPr>
          <a:xfrm>
            <a:off x="5825785" y="450946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57" name="Oval 156">
            <a:extLst>
              <a:ext uri="{FF2B5EF4-FFF2-40B4-BE49-F238E27FC236}">
                <a16:creationId xmlns:a16="http://schemas.microsoft.com/office/drawing/2014/main" id="{8C656AE4-9805-497A-B70B-6EDF1BF18C01}"/>
              </a:ext>
            </a:extLst>
          </p:cNvPr>
          <p:cNvSpPr/>
          <p:nvPr/>
        </p:nvSpPr>
        <p:spPr>
          <a:xfrm>
            <a:off x="7254735" y="450946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58" name="Oval 157">
            <a:extLst>
              <a:ext uri="{FF2B5EF4-FFF2-40B4-BE49-F238E27FC236}">
                <a16:creationId xmlns:a16="http://schemas.microsoft.com/office/drawing/2014/main" id="{BA89A932-AB13-4639-8D09-53C682954D69}"/>
              </a:ext>
            </a:extLst>
          </p:cNvPr>
          <p:cNvSpPr/>
          <p:nvPr/>
        </p:nvSpPr>
        <p:spPr>
          <a:xfrm>
            <a:off x="1528299" y="495073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59" name="Oval 158">
            <a:extLst>
              <a:ext uri="{FF2B5EF4-FFF2-40B4-BE49-F238E27FC236}">
                <a16:creationId xmlns:a16="http://schemas.microsoft.com/office/drawing/2014/main" id="{D4932DDD-D5B0-4302-8C57-976B0CC618BE}"/>
              </a:ext>
            </a:extLst>
          </p:cNvPr>
          <p:cNvSpPr/>
          <p:nvPr/>
        </p:nvSpPr>
        <p:spPr>
          <a:xfrm>
            <a:off x="1528299" y="585281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60" name="Oval 159">
            <a:extLst>
              <a:ext uri="{FF2B5EF4-FFF2-40B4-BE49-F238E27FC236}">
                <a16:creationId xmlns:a16="http://schemas.microsoft.com/office/drawing/2014/main" id="{5F8C68ED-762C-4F24-9C9F-17F711740DD9}"/>
              </a:ext>
            </a:extLst>
          </p:cNvPr>
          <p:cNvSpPr/>
          <p:nvPr/>
        </p:nvSpPr>
        <p:spPr>
          <a:xfrm>
            <a:off x="2247296" y="495073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61" name="Oval 160">
            <a:extLst>
              <a:ext uri="{FF2B5EF4-FFF2-40B4-BE49-F238E27FC236}">
                <a16:creationId xmlns:a16="http://schemas.microsoft.com/office/drawing/2014/main" id="{63A12266-3366-47FF-8385-5277DABDE090}"/>
              </a:ext>
            </a:extLst>
          </p:cNvPr>
          <p:cNvSpPr/>
          <p:nvPr/>
        </p:nvSpPr>
        <p:spPr>
          <a:xfrm>
            <a:off x="2969568" y="495073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62" name="Oval 161">
            <a:extLst>
              <a:ext uri="{FF2B5EF4-FFF2-40B4-BE49-F238E27FC236}">
                <a16:creationId xmlns:a16="http://schemas.microsoft.com/office/drawing/2014/main" id="{6E6ADFD4-5054-4F86-8698-B625825FEBF2}"/>
              </a:ext>
            </a:extLst>
          </p:cNvPr>
          <p:cNvSpPr/>
          <p:nvPr/>
        </p:nvSpPr>
        <p:spPr>
          <a:xfrm>
            <a:off x="3685601" y="495073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63" name="Oval 162">
            <a:extLst>
              <a:ext uri="{FF2B5EF4-FFF2-40B4-BE49-F238E27FC236}">
                <a16:creationId xmlns:a16="http://schemas.microsoft.com/office/drawing/2014/main" id="{400CA700-E124-47C3-85DA-A80B9CDEAEB6}"/>
              </a:ext>
            </a:extLst>
          </p:cNvPr>
          <p:cNvSpPr/>
          <p:nvPr/>
        </p:nvSpPr>
        <p:spPr>
          <a:xfrm>
            <a:off x="4395680" y="495073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64" name="Oval 163">
            <a:extLst>
              <a:ext uri="{FF2B5EF4-FFF2-40B4-BE49-F238E27FC236}">
                <a16:creationId xmlns:a16="http://schemas.microsoft.com/office/drawing/2014/main" id="{12300390-19BC-4709-BAB6-8CF7D5467BCD}"/>
              </a:ext>
            </a:extLst>
          </p:cNvPr>
          <p:cNvSpPr/>
          <p:nvPr/>
        </p:nvSpPr>
        <p:spPr>
          <a:xfrm>
            <a:off x="5115471" y="495073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65" name="Oval 164">
            <a:extLst>
              <a:ext uri="{FF2B5EF4-FFF2-40B4-BE49-F238E27FC236}">
                <a16:creationId xmlns:a16="http://schemas.microsoft.com/office/drawing/2014/main" id="{00C21343-2B84-4867-8442-AB2B09012DAF}"/>
              </a:ext>
            </a:extLst>
          </p:cNvPr>
          <p:cNvSpPr/>
          <p:nvPr/>
        </p:nvSpPr>
        <p:spPr>
          <a:xfrm>
            <a:off x="5825785" y="495073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66" name="Oval 165">
            <a:extLst>
              <a:ext uri="{FF2B5EF4-FFF2-40B4-BE49-F238E27FC236}">
                <a16:creationId xmlns:a16="http://schemas.microsoft.com/office/drawing/2014/main" id="{230FB976-2711-44D1-AA20-45777C02482E}"/>
              </a:ext>
            </a:extLst>
          </p:cNvPr>
          <p:cNvSpPr/>
          <p:nvPr/>
        </p:nvSpPr>
        <p:spPr>
          <a:xfrm>
            <a:off x="11561844" y="5398804"/>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67" name="Oval 166">
            <a:extLst>
              <a:ext uri="{FF2B5EF4-FFF2-40B4-BE49-F238E27FC236}">
                <a16:creationId xmlns:a16="http://schemas.microsoft.com/office/drawing/2014/main" id="{DF2135D8-6A52-4557-9D30-0794E93AEDAA}"/>
              </a:ext>
            </a:extLst>
          </p:cNvPr>
          <p:cNvSpPr/>
          <p:nvPr/>
        </p:nvSpPr>
        <p:spPr>
          <a:xfrm>
            <a:off x="10831657" y="5398804"/>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68" name="Oval 167">
            <a:extLst>
              <a:ext uri="{FF2B5EF4-FFF2-40B4-BE49-F238E27FC236}">
                <a16:creationId xmlns:a16="http://schemas.microsoft.com/office/drawing/2014/main" id="{E69923AC-CA50-4BAA-A2C2-F35DA3E7F71F}"/>
              </a:ext>
            </a:extLst>
          </p:cNvPr>
          <p:cNvSpPr/>
          <p:nvPr/>
        </p:nvSpPr>
        <p:spPr>
          <a:xfrm>
            <a:off x="10125497" y="5398804"/>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69" name="Oval 168">
            <a:extLst>
              <a:ext uri="{FF2B5EF4-FFF2-40B4-BE49-F238E27FC236}">
                <a16:creationId xmlns:a16="http://schemas.microsoft.com/office/drawing/2014/main" id="{4CAD84BC-0CF5-4CD7-B828-3B6AE2DB3935}"/>
              </a:ext>
            </a:extLst>
          </p:cNvPr>
          <p:cNvSpPr/>
          <p:nvPr/>
        </p:nvSpPr>
        <p:spPr>
          <a:xfrm>
            <a:off x="2969568" y="585281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70" name="Oval 169">
            <a:extLst>
              <a:ext uri="{FF2B5EF4-FFF2-40B4-BE49-F238E27FC236}">
                <a16:creationId xmlns:a16="http://schemas.microsoft.com/office/drawing/2014/main" id="{7389F26F-DB21-4CE2-8321-22E383D2C191}"/>
              </a:ext>
            </a:extLst>
          </p:cNvPr>
          <p:cNvSpPr/>
          <p:nvPr/>
        </p:nvSpPr>
        <p:spPr>
          <a:xfrm>
            <a:off x="3685601" y="585281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71" name="Oval 170">
            <a:extLst>
              <a:ext uri="{FF2B5EF4-FFF2-40B4-BE49-F238E27FC236}">
                <a16:creationId xmlns:a16="http://schemas.microsoft.com/office/drawing/2014/main" id="{DCD3ED10-8F34-42E6-A04A-596AC4521B1B}"/>
              </a:ext>
            </a:extLst>
          </p:cNvPr>
          <p:cNvSpPr/>
          <p:nvPr/>
        </p:nvSpPr>
        <p:spPr>
          <a:xfrm>
            <a:off x="10125497" y="585281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72" name="Oval 171">
            <a:extLst>
              <a:ext uri="{FF2B5EF4-FFF2-40B4-BE49-F238E27FC236}">
                <a16:creationId xmlns:a16="http://schemas.microsoft.com/office/drawing/2014/main" id="{22523E5E-5554-426F-BA2B-225B06B026FD}"/>
              </a:ext>
            </a:extLst>
          </p:cNvPr>
          <p:cNvSpPr/>
          <p:nvPr/>
        </p:nvSpPr>
        <p:spPr>
          <a:xfrm>
            <a:off x="11561844" y="5852817"/>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73" name="Oval 172">
            <a:extLst>
              <a:ext uri="{FF2B5EF4-FFF2-40B4-BE49-F238E27FC236}">
                <a16:creationId xmlns:a16="http://schemas.microsoft.com/office/drawing/2014/main" id="{9B1C9167-7328-4EBA-BECE-1E9BABA4A99C}"/>
              </a:ext>
            </a:extLst>
          </p:cNvPr>
          <p:cNvSpPr/>
          <p:nvPr/>
        </p:nvSpPr>
        <p:spPr>
          <a:xfrm>
            <a:off x="9404775" y="6309555"/>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74" name="Oval 173">
            <a:extLst>
              <a:ext uri="{FF2B5EF4-FFF2-40B4-BE49-F238E27FC236}">
                <a16:creationId xmlns:a16="http://schemas.microsoft.com/office/drawing/2014/main" id="{5FD0A7D1-EE3A-4021-9473-A77731E50711}"/>
              </a:ext>
            </a:extLst>
          </p:cNvPr>
          <p:cNvSpPr/>
          <p:nvPr/>
        </p:nvSpPr>
        <p:spPr>
          <a:xfrm>
            <a:off x="6548067" y="1371655"/>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2A918B"/>
              </a:solidFill>
              <a:effectLst/>
              <a:uLnTx/>
              <a:uFillTx/>
              <a:latin typeface="Apis For Office"/>
              <a:ea typeface="+mn-ea"/>
              <a:cs typeface="+mn-cs"/>
            </a:endParaRPr>
          </a:p>
        </p:txBody>
      </p:sp>
      <p:sp>
        <p:nvSpPr>
          <p:cNvPr id="175" name="Oval 174">
            <a:extLst>
              <a:ext uri="{FF2B5EF4-FFF2-40B4-BE49-F238E27FC236}">
                <a16:creationId xmlns:a16="http://schemas.microsoft.com/office/drawing/2014/main" id="{066E30BF-004F-478F-A303-42269E43A64F}"/>
              </a:ext>
            </a:extLst>
          </p:cNvPr>
          <p:cNvSpPr/>
          <p:nvPr/>
        </p:nvSpPr>
        <p:spPr>
          <a:xfrm>
            <a:off x="8687219" y="1821356"/>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76" name="Oval 175">
            <a:extLst>
              <a:ext uri="{FF2B5EF4-FFF2-40B4-BE49-F238E27FC236}">
                <a16:creationId xmlns:a16="http://schemas.microsoft.com/office/drawing/2014/main" id="{37F9FDA1-4970-4C81-9B6F-F67059A2D8C0}"/>
              </a:ext>
            </a:extLst>
          </p:cNvPr>
          <p:cNvSpPr/>
          <p:nvPr/>
        </p:nvSpPr>
        <p:spPr>
          <a:xfrm>
            <a:off x="7254735" y="1821356"/>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77" name="Oval 176">
            <a:extLst>
              <a:ext uri="{FF2B5EF4-FFF2-40B4-BE49-F238E27FC236}">
                <a16:creationId xmlns:a16="http://schemas.microsoft.com/office/drawing/2014/main" id="{14388B74-C0CE-432C-BB56-3AC74E72C8A3}"/>
              </a:ext>
            </a:extLst>
          </p:cNvPr>
          <p:cNvSpPr/>
          <p:nvPr/>
        </p:nvSpPr>
        <p:spPr>
          <a:xfrm>
            <a:off x="10125497" y="2269738"/>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78" name="Oval 177">
            <a:extLst>
              <a:ext uri="{FF2B5EF4-FFF2-40B4-BE49-F238E27FC236}">
                <a16:creationId xmlns:a16="http://schemas.microsoft.com/office/drawing/2014/main" id="{4B8C3696-3E7B-4EC4-AD37-41A870015078}"/>
              </a:ext>
            </a:extLst>
          </p:cNvPr>
          <p:cNvSpPr/>
          <p:nvPr/>
        </p:nvSpPr>
        <p:spPr>
          <a:xfrm>
            <a:off x="7254735" y="2729080"/>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79" name="Oval 178">
            <a:extLst>
              <a:ext uri="{FF2B5EF4-FFF2-40B4-BE49-F238E27FC236}">
                <a16:creationId xmlns:a16="http://schemas.microsoft.com/office/drawing/2014/main" id="{38AE51C9-E51A-4CF9-99C5-A548B823EA14}"/>
              </a:ext>
            </a:extLst>
          </p:cNvPr>
          <p:cNvSpPr/>
          <p:nvPr/>
        </p:nvSpPr>
        <p:spPr>
          <a:xfrm>
            <a:off x="8687219" y="3173178"/>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80" name="Oval 179">
            <a:extLst>
              <a:ext uri="{FF2B5EF4-FFF2-40B4-BE49-F238E27FC236}">
                <a16:creationId xmlns:a16="http://schemas.microsoft.com/office/drawing/2014/main" id="{F0ADF5B5-E9EE-4DCC-B53E-9BF5E48EE556}"/>
              </a:ext>
            </a:extLst>
          </p:cNvPr>
          <p:cNvSpPr/>
          <p:nvPr/>
        </p:nvSpPr>
        <p:spPr>
          <a:xfrm>
            <a:off x="10125497" y="3173178"/>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81" name="Oval 180">
            <a:extLst>
              <a:ext uri="{FF2B5EF4-FFF2-40B4-BE49-F238E27FC236}">
                <a16:creationId xmlns:a16="http://schemas.microsoft.com/office/drawing/2014/main" id="{23DB7659-F342-42A2-87E9-36DAD8524C59}"/>
              </a:ext>
            </a:extLst>
          </p:cNvPr>
          <p:cNvSpPr/>
          <p:nvPr/>
        </p:nvSpPr>
        <p:spPr>
          <a:xfrm>
            <a:off x="10831657" y="3173178"/>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82" name="Oval 181">
            <a:extLst>
              <a:ext uri="{FF2B5EF4-FFF2-40B4-BE49-F238E27FC236}">
                <a16:creationId xmlns:a16="http://schemas.microsoft.com/office/drawing/2014/main" id="{19EC14AC-A992-4F3F-839A-A069BD11E2E2}"/>
              </a:ext>
            </a:extLst>
          </p:cNvPr>
          <p:cNvSpPr/>
          <p:nvPr/>
        </p:nvSpPr>
        <p:spPr>
          <a:xfrm>
            <a:off x="10831657" y="3610498"/>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83" name="Oval 182">
            <a:extLst>
              <a:ext uri="{FF2B5EF4-FFF2-40B4-BE49-F238E27FC236}">
                <a16:creationId xmlns:a16="http://schemas.microsoft.com/office/drawing/2014/main" id="{8E6EC0AA-100B-4594-946D-F1FBF5024D3D}"/>
              </a:ext>
            </a:extLst>
          </p:cNvPr>
          <p:cNvSpPr/>
          <p:nvPr/>
        </p:nvSpPr>
        <p:spPr>
          <a:xfrm>
            <a:off x="3685601" y="3610498"/>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84" name="Oval 183">
            <a:extLst>
              <a:ext uri="{FF2B5EF4-FFF2-40B4-BE49-F238E27FC236}">
                <a16:creationId xmlns:a16="http://schemas.microsoft.com/office/drawing/2014/main" id="{020A18FB-9824-4F5A-910A-F75C98F21C68}"/>
              </a:ext>
            </a:extLst>
          </p:cNvPr>
          <p:cNvSpPr/>
          <p:nvPr/>
        </p:nvSpPr>
        <p:spPr>
          <a:xfrm>
            <a:off x="4395680" y="4067649"/>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85" name="Oval 184">
            <a:extLst>
              <a:ext uri="{FF2B5EF4-FFF2-40B4-BE49-F238E27FC236}">
                <a16:creationId xmlns:a16="http://schemas.microsoft.com/office/drawing/2014/main" id="{07E1EC2E-3FE4-498E-8A9F-E935BB719DF2}"/>
              </a:ext>
            </a:extLst>
          </p:cNvPr>
          <p:cNvSpPr/>
          <p:nvPr/>
        </p:nvSpPr>
        <p:spPr>
          <a:xfrm>
            <a:off x="5825785" y="4067649"/>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86" name="Oval 185">
            <a:extLst>
              <a:ext uri="{FF2B5EF4-FFF2-40B4-BE49-F238E27FC236}">
                <a16:creationId xmlns:a16="http://schemas.microsoft.com/office/drawing/2014/main" id="{D22D6CC7-7172-4162-8243-4A1B377B994D}"/>
              </a:ext>
            </a:extLst>
          </p:cNvPr>
          <p:cNvSpPr/>
          <p:nvPr/>
        </p:nvSpPr>
        <p:spPr>
          <a:xfrm>
            <a:off x="6548067" y="4067649"/>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87" name="Oval 186">
            <a:extLst>
              <a:ext uri="{FF2B5EF4-FFF2-40B4-BE49-F238E27FC236}">
                <a16:creationId xmlns:a16="http://schemas.microsoft.com/office/drawing/2014/main" id="{BA3A9392-68CD-4D0F-BE72-54E623011D58}"/>
              </a:ext>
            </a:extLst>
          </p:cNvPr>
          <p:cNvSpPr/>
          <p:nvPr/>
        </p:nvSpPr>
        <p:spPr>
          <a:xfrm>
            <a:off x="10125497" y="4067649"/>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88" name="Oval 187">
            <a:extLst>
              <a:ext uri="{FF2B5EF4-FFF2-40B4-BE49-F238E27FC236}">
                <a16:creationId xmlns:a16="http://schemas.microsoft.com/office/drawing/2014/main" id="{AEC1FBE0-581F-4C71-A636-67E16AE9577A}"/>
              </a:ext>
            </a:extLst>
          </p:cNvPr>
          <p:cNvSpPr/>
          <p:nvPr/>
        </p:nvSpPr>
        <p:spPr>
          <a:xfrm>
            <a:off x="2247296" y="4509467"/>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89" name="Oval 188">
            <a:extLst>
              <a:ext uri="{FF2B5EF4-FFF2-40B4-BE49-F238E27FC236}">
                <a16:creationId xmlns:a16="http://schemas.microsoft.com/office/drawing/2014/main" id="{97B2D743-CCBC-4494-A9A7-C0F80FE0CB10}"/>
              </a:ext>
            </a:extLst>
          </p:cNvPr>
          <p:cNvSpPr/>
          <p:nvPr/>
        </p:nvSpPr>
        <p:spPr>
          <a:xfrm>
            <a:off x="2969568" y="4509467"/>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90" name="Oval 189">
            <a:extLst>
              <a:ext uri="{FF2B5EF4-FFF2-40B4-BE49-F238E27FC236}">
                <a16:creationId xmlns:a16="http://schemas.microsoft.com/office/drawing/2014/main" id="{15F301CC-7761-4A63-B247-E0BEB059D488}"/>
              </a:ext>
            </a:extLst>
          </p:cNvPr>
          <p:cNvSpPr/>
          <p:nvPr/>
        </p:nvSpPr>
        <p:spPr>
          <a:xfrm>
            <a:off x="5115471" y="4509467"/>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91" name="Oval 190">
            <a:extLst>
              <a:ext uri="{FF2B5EF4-FFF2-40B4-BE49-F238E27FC236}">
                <a16:creationId xmlns:a16="http://schemas.microsoft.com/office/drawing/2014/main" id="{885E1BB6-CEE1-48BF-9CA8-05037D9B381B}"/>
              </a:ext>
            </a:extLst>
          </p:cNvPr>
          <p:cNvSpPr/>
          <p:nvPr/>
        </p:nvSpPr>
        <p:spPr>
          <a:xfrm>
            <a:off x="8687219" y="4509467"/>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92" name="Oval 191">
            <a:extLst>
              <a:ext uri="{FF2B5EF4-FFF2-40B4-BE49-F238E27FC236}">
                <a16:creationId xmlns:a16="http://schemas.microsoft.com/office/drawing/2014/main" id="{DBB09A70-DBEE-4CBA-B4DD-25E90AC27820}"/>
              </a:ext>
            </a:extLst>
          </p:cNvPr>
          <p:cNvSpPr/>
          <p:nvPr/>
        </p:nvSpPr>
        <p:spPr>
          <a:xfrm>
            <a:off x="8687219" y="4950737"/>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93" name="Oval 192">
            <a:extLst>
              <a:ext uri="{FF2B5EF4-FFF2-40B4-BE49-F238E27FC236}">
                <a16:creationId xmlns:a16="http://schemas.microsoft.com/office/drawing/2014/main" id="{62CD6A18-B534-4F6F-97B1-85540A05859D}"/>
              </a:ext>
            </a:extLst>
          </p:cNvPr>
          <p:cNvSpPr/>
          <p:nvPr/>
        </p:nvSpPr>
        <p:spPr>
          <a:xfrm>
            <a:off x="8687219" y="5852817"/>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94" name="Oval 193">
            <a:extLst>
              <a:ext uri="{FF2B5EF4-FFF2-40B4-BE49-F238E27FC236}">
                <a16:creationId xmlns:a16="http://schemas.microsoft.com/office/drawing/2014/main" id="{C20C2806-3927-4DA4-9454-0BF7C28F7786}"/>
              </a:ext>
            </a:extLst>
          </p:cNvPr>
          <p:cNvSpPr/>
          <p:nvPr/>
        </p:nvSpPr>
        <p:spPr>
          <a:xfrm>
            <a:off x="10125497" y="6309555"/>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95" name="TextBox 194">
            <a:extLst>
              <a:ext uri="{FF2B5EF4-FFF2-40B4-BE49-F238E27FC236}">
                <a16:creationId xmlns:a16="http://schemas.microsoft.com/office/drawing/2014/main" id="{6CA3E899-FFD0-44D5-9474-C2210068079E}"/>
              </a:ext>
            </a:extLst>
          </p:cNvPr>
          <p:cNvSpPr txBox="1"/>
          <p:nvPr/>
        </p:nvSpPr>
        <p:spPr>
          <a:xfrm>
            <a:off x="113896" y="79838"/>
            <a:ext cx="1042607" cy="54091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1965"/>
                </a:solidFill>
                <a:effectLst/>
                <a:uLnTx/>
                <a:uFillTx/>
                <a:latin typeface="Apis For Office"/>
                <a:ea typeface="+mn-ea"/>
                <a:cs typeface="+mn-cs"/>
              </a:rPr>
              <a:t>Graduate Programme Tracks</a:t>
            </a:r>
            <a:endParaRPr kumimoji="0" lang="en-GB" sz="1800" b="0" i="0" u="none" strike="noStrike" kern="1200" cap="none" spc="0" normalizeH="0" baseline="0" noProof="0" dirty="0">
              <a:ln>
                <a:noFill/>
              </a:ln>
              <a:solidFill>
                <a:srgbClr val="000000"/>
              </a:solidFill>
              <a:effectLst/>
              <a:uLnTx/>
              <a:uFillTx/>
              <a:latin typeface="Apis For Office"/>
              <a:ea typeface="+mn-ea"/>
              <a:cs typeface="+mn-cs"/>
            </a:endParaRPr>
          </a:p>
        </p:txBody>
      </p:sp>
      <p:sp>
        <p:nvSpPr>
          <p:cNvPr id="196" name="Oval 195">
            <a:extLst>
              <a:ext uri="{FF2B5EF4-FFF2-40B4-BE49-F238E27FC236}">
                <a16:creationId xmlns:a16="http://schemas.microsoft.com/office/drawing/2014/main" id="{A1B90AAA-988A-4E5E-BBC5-54F93B753157}"/>
              </a:ext>
            </a:extLst>
          </p:cNvPr>
          <p:cNvSpPr/>
          <p:nvPr/>
        </p:nvSpPr>
        <p:spPr>
          <a:xfrm>
            <a:off x="73903" y="990027"/>
            <a:ext cx="216000" cy="216000"/>
          </a:xfrm>
          <a:prstGeom prst="ellipse">
            <a:avLst/>
          </a:prstGeom>
          <a:solidFill>
            <a:srgbClr val="D8EAF8"/>
          </a:solidFill>
          <a:ln>
            <a:solidFill>
              <a:srgbClr val="CCDEF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97" name="Oval 196">
            <a:extLst>
              <a:ext uri="{FF2B5EF4-FFF2-40B4-BE49-F238E27FC236}">
                <a16:creationId xmlns:a16="http://schemas.microsoft.com/office/drawing/2014/main" id="{376F2AD4-AD33-43DE-98B9-553E0B65A341}"/>
              </a:ext>
            </a:extLst>
          </p:cNvPr>
          <p:cNvSpPr/>
          <p:nvPr/>
        </p:nvSpPr>
        <p:spPr>
          <a:xfrm>
            <a:off x="73903" y="714700"/>
            <a:ext cx="216000" cy="216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98" name="TextBox 197">
            <a:extLst>
              <a:ext uri="{FF2B5EF4-FFF2-40B4-BE49-F238E27FC236}">
                <a16:creationId xmlns:a16="http://schemas.microsoft.com/office/drawing/2014/main" id="{45D61F80-7553-44E1-9909-9A597293C5BA}"/>
              </a:ext>
            </a:extLst>
          </p:cNvPr>
          <p:cNvSpPr txBox="1"/>
          <p:nvPr/>
        </p:nvSpPr>
        <p:spPr>
          <a:xfrm>
            <a:off x="364861" y="733236"/>
            <a:ext cx="1042607" cy="15440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1965"/>
                </a:solidFill>
                <a:effectLst/>
                <a:uLnTx/>
                <a:uFillTx/>
                <a:latin typeface="Apis For Office"/>
                <a:ea typeface="+mn-ea"/>
                <a:cs typeface="+mn-cs"/>
              </a:rPr>
              <a:t>Very Relevant</a:t>
            </a:r>
            <a:endParaRPr kumimoji="0" lang="en-GB" sz="900" b="0" i="0" u="none" strike="noStrike" kern="1200" cap="none" spc="0" normalizeH="0" baseline="0" noProof="0" dirty="0">
              <a:ln>
                <a:noFill/>
              </a:ln>
              <a:solidFill>
                <a:srgbClr val="001965"/>
              </a:solidFill>
              <a:effectLst/>
              <a:uLnTx/>
              <a:uFillTx/>
              <a:latin typeface="Apis For Office"/>
              <a:ea typeface="Apis For Office"/>
              <a:cs typeface="Apis For Office"/>
            </a:endParaRPr>
          </a:p>
        </p:txBody>
      </p:sp>
      <p:sp>
        <p:nvSpPr>
          <p:cNvPr id="199" name="TextBox 198">
            <a:extLst>
              <a:ext uri="{FF2B5EF4-FFF2-40B4-BE49-F238E27FC236}">
                <a16:creationId xmlns:a16="http://schemas.microsoft.com/office/drawing/2014/main" id="{2ACFBC60-B1E3-4590-A17B-10CCDAA581B3}"/>
              </a:ext>
            </a:extLst>
          </p:cNvPr>
          <p:cNvSpPr txBox="1"/>
          <p:nvPr/>
        </p:nvSpPr>
        <p:spPr>
          <a:xfrm>
            <a:off x="364861" y="1030629"/>
            <a:ext cx="1042607" cy="15440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1965"/>
                </a:solidFill>
                <a:effectLst/>
                <a:uLnTx/>
                <a:uFillTx/>
                <a:latin typeface="Apis For Office"/>
                <a:ea typeface="+mn-ea"/>
                <a:cs typeface="+mn-cs"/>
              </a:rPr>
              <a:t>Relevant</a:t>
            </a:r>
          </a:p>
        </p:txBody>
      </p:sp>
      <p:grpSp>
        <p:nvGrpSpPr>
          <p:cNvPr id="218" name="Group 217">
            <a:extLst>
              <a:ext uri="{FF2B5EF4-FFF2-40B4-BE49-F238E27FC236}">
                <a16:creationId xmlns:a16="http://schemas.microsoft.com/office/drawing/2014/main" id="{2FB71624-00F8-4D93-9767-EC3D3B19C6BD}"/>
              </a:ext>
            </a:extLst>
          </p:cNvPr>
          <p:cNvGrpSpPr/>
          <p:nvPr/>
        </p:nvGrpSpPr>
        <p:grpSpPr>
          <a:xfrm>
            <a:off x="1326956" y="1283290"/>
            <a:ext cx="10778097" cy="5437350"/>
            <a:chOff x="1326956" y="1336455"/>
            <a:chExt cx="10778097" cy="5437350"/>
          </a:xfrm>
        </p:grpSpPr>
        <p:cxnSp>
          <p:nvCxnSpPr>
            <p:cNvPr id="210" name="Straight Connector 209">
              <a:extLst>
                <a:ext uri="{FF2B5EF4-FFF2-40B4-BE49-F238E27FC236}">
                  <a16:creationId xmlns:a16="http://schemas.microsoft.com/office/drawing/2014/main" id="{C327881E-9445-4F8A-BC0E-A6E845B2B25B}"/>
                </a:ext>
              </a:extLst>
            </p:cNvPr>
            <p:cNvCxnSpPr>
              <a:cxnSpLocks/>
            </p:cNvCxnSpPr>
            <p:nvPr/>
          </p:nvCxnSpPr>
          <p:spPr>
            <a:xfrm>
              <a:off x="1326956" y="6773805"/>
              <a:ext cx="10772240" cy="0"/>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212" name="Straight Connector 211">
              <a:extLst>
                <a:ext uri="{FF2B5EF4-FFF2-40B4-BE49-F238E27FC236}">
                  <a16:creationId xmlns:a16="http://schemas.microsoft.com/office/drawing/2014/main" id="{ABE29E19-AF3B-4D2E-8106-CDD22256726E}"/>
                </a:ext>
              </a:extLst>
            </p:cNvPr>
            <p:cNvCxnSpPr>
              <a:cxnSpLocks/>
            </p:cNvCxnSpPr>
            <p:nvPr/>
          </p:nvCxnSpPr>
          <p:spPr>
            <a:xfrm flipV="1">
              <a:off x="12105053" y="1336455"/>
              <a:ext cx="0" cy="5437350"/>
            </a:xfrm>
            <a:prstGeom prst="line">
              <a:avLst/>
            </a:prstGeom>
            <a:ln/>
          </p:spPr>
          <p:style>
            <a:lnRef idx="3">
              <a:schemeClr val="accent1"/>
            </a:lnRef>
            <a:fillRef idx="0">
              <a:schemeClr val="accent1"/>
            </a:fillRef>
            <a:effectRef idx="2">
              <a:schemeClr val="accent1"/>
            </a:effectRef>
            <a:fontRef idx="minor">
              <a:schemeClr val="tx1"/>
            </a:fontRef>
          </p:style>
        </p:cxnSp>
      </p:grpSp>
      <p:sp>
        <p:nvSpPr>
          <p:cNvPr id="217" name="TextBox 216">
            <a:extLst>
              <a:ext uri="{FF2B5EF4-FFF2-40B4-BE49-F238E27FC236}">
                <a16:creationId xmlns:a16="http://schemas.microsoft.com/office/drawing/2014/main" id="{A55332F0-8699-4E43-9615-4240E6276F81}"/>
              </a:ext>
            </a:extLst>
          </p:cNvPr>
          <p:cNvSpPr txBox="1"/>
          <p:nvPr/>
        </p:nvSpPr>
        <p:spPr>
          <a:xfrm>
            <a:off x="124151" y="6647965"/>
            <a:ext cx="1042607" cy="188770"/>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1965"/>
                </a:solidFill>
                <a:effectLst/>
                <a:uLnTx/>
                <a:uFillTx/>
                <a:latin typeface="Apis For Office"/>
                <a:ea typeface="+mn-ea"/>
                <a:cs typeface="+mn-cs"/>
              </a:rPr>
              <a:t>Field of Study</a:t>
            </a:r>
          </a:p>
        </p:txBody>
      </p:sp>
      <p:sp>
        <p:nvSpPr>
          <p:cNvPr id="219" name="TextBox 218">
            <a:extLst>
              <a:ext uri="{FF2B5EF4-FFF2-40B4-BE49-F238E27FC236}">
                <a16:creationId xmlns:a16="http://schemas.microsoft.com/office/drawing/2014/main" id="{5F5CD8E5-E382-48A5-B9B8-46B7A6CE172E}"/>
              </a:ext>
            </a:extLst>
          </p:cNvPr>
          <p:cNvSpPr txBox="1"/>
          <p:nvPr/>
        </p:nvSpPr>
        <p:spPr>
          <a:xfrm rot="16200000">
            <a:off x="11564371" y="582755"/>
            <a:ext cx="1042607" cy="188770"/>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1965"/>
                </a:solidFill>
                <a:effectLst/>
                <a:uLnTx/>
                <a:uFillTx/>
                <a:latin typeface="Apis For Office"/>
                <a:ea typeface="+mn-ea"/>
                <a:cs typeface="+mn-cs"/>
              </a:rPr>
              <a:t>Programme</a:t>
            </a:r>
          </a:p>
        </p:txBody>
      </p:sp>
      <p:sp>
        <p:nvSpPr>
          <p:cNvPr id="2" name="TextBox 1">
            <a:extLst>
              <a:ext uri="{FF2B5EF4-FFF2-40B4-BE49-F238E27FC236}">
                <a16:creationId xmlns:a16="http://schemas.microsoft.com/office/drawing/2014/main" id="{6CD5E925-F0D2-492E-A8A5-714EEC72BFE1}"/>
              </a:ext>
            </a:extLst>
          </p:cNvPr>
          <p:cNvSpPr txBox="1"/>
          <p:nvPr/>
        </p:nvSpPr>
        <p:spPr>
          <a:xfrm>
            <a:off x="9937783" y="6720718"/>
            <a:ext cx="2155897" cy="137282"/>
          </a:xfrm>
          <a:prstGeom prst="rect">
            <a:avLst/>
          </a:prstGeom>
          <a:noFill/>
        </p:spPr>
        <p:txBody>
          <a:bodyPr wrap="square" lIns="0" tIns="0" rIns="0" bIns="0" rtlCol="0">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1965"/>
                </a:solidFill>
                <a:effectLst/>
                <a:uLnTx/>
                <a:uFillTx/>
                <a:latin typeface="Apis For Office"/>
                <a:ea typeface="+mn-ea"/>
                <a:cs typeface="+mn-cs"/>
              </a:rPr>
              <a:t>*Global Development hiring again in 2022</a:t>
            </a:r>
          </a:p>
        </p:txBody>
      </p:sp>
    </p:spTree>
    <p:extLst>
      <p:ext uri="{BB962C8B-B14F-4D97-AF65-F5344CB8AC3E}">
        <p14:creationId xmlns:p14="http://schemas.microsoft.com/office/powerpoint/2010/main" val="7959852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BF3496F-B63D-4BD4-8C5C-0EF7B49E700B}"/>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9" name="think-cell Slide" r:id="rId7" imgW="421" imgH="423" progId="TCLayout.ActiveDocument.1">
                  <p:embed/>
                </p:oleObj>
              </mc:Choice>
              <mc:Fallback>
                <p:oleObj name="think-cell Slide" r:id="rId7" imgW="421" imgH="423" progId="TCLayout.ActiveDocument.1">
                  <p:embed/>
                  <p:pic>
                    <p:nvPicPr>
                      <p:cNvPr id="5" name="Object 4" hidden="1">
                        <a:extLst>
                          <a:ext uri="{FF2B5EF4-FFF2-40B4-BE49-F238E27FC236}">
                            <a16:creationId xmlns:a16="http://schemas.microsoft.com/office/drawing/2014/main" id="{FBF3496F-B63D-4BD4-8C5C-0EF7B49E700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E86761-3BEF-44D1-83F6-62B463BDD5EF}"/>
              </a:ext>
            </a:extLst>
          </p:cNvPr>
          <p:cNvSpPr/>
          <p:nvPr>
            <p:custDataLst>
              <p:tags r:id="rId4"/>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noProof="0" dirty="0" err="1">
              <a:latin typeface="Apis For Office" panose="020B0504010101010104" pitchFamily="34" charset="0"/>
              <a:ea typeface="+mj-ea"/>
              <a:cs typeface="+mj-cs"/>
              <a:sym typeface="Apis For Office" panose="020B0504010101010104" pitchFamily="34" charset="0"/>
            </a:endParaRPr>
          </a:p>
        </p:txBody>
      </p:sp>
      <p:sp>
        <p:nvSpPr>
          <p:cNvPr id="16" name="Rectangle 15">
            <a:extLst>
              <a:ext uri="{FF2B5EF4-FFF2-40B4-BE49-F238E27FC236}">
                <a16:creationId xmlns:a16="http://schemas.microsoft.com/office/drawing/2014/main" id="{CC37F0A0-CAFA-4DDC-8F5A-F99395CB2048}"/>
              </a:ext>
            </a:extLst>
          </p:cNvPr>
          <p:cNvSpPr/>
          <p:nvPr/>
        </p:nvSpPr>
        <p:spPr>
          <a:xfrm>
            <a:off x="0" y="1528550"/>
            <a:ext cx="12192000" cy="4658417"/>
          </a:xfrm>
          <a:prstGeom prst="rect">
            <a:avLst/>
          </a:prstGeom>
          <a:solidFill>
            <a:srgbClr val="F3F2F2"/>
          </a:solidFill>
          <a:ln>
            <a:solidFill>
              <a:srgbClr val="F3F2F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39" name="Picture 4" descr="Intertwined Arrow PowerPoint Template | SketchBubble">
            <a:extLst>
              <a:ext uri="{FF2B5EF4-FFF2-40B4-BE49-F238E27FC236}">
                <a16:creationId xmlns:a16="http://schemas.microsoft.com/office/drawing/2014/main" id="{146B9CFE-40D0-40A4-9F27-DD75A3AC90D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1013" t="35348" r="20698" b="36336"/>
          <a:stretch/>
        </p:blipFill>
        <p:spPr bwMode="auto">
          <a:xfrm>
            <a:off x="-76643" y="2761641"/>
            <a:ext cx="4549013" cy="200056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316ADB4-FD2F-47A2-84AD-4C3123028A3A}"/>
              </a:ext>
            </a:extLst>
          </p:cNvPr>
          <p:cNvSpPr>
            <a:spLocks noGrp="1"/>
          </p:cNvSpPr>
          <p:nvPr>
            <p:ph type="title"/>
          </p:nvPr>
        </p:nvSpPr>
        <p:spPr/>
        <p:txBody>
          <a:bodyPr/>
          <a:lstStyle/>
          <a:p>
            <a:r>
              <a:rPr lang="en-GB" dirty="0"/>
              <a:t>The graduate profiles</a:t>
            </a:r>
          </a:p>
        </p:txBody>
      </p:sp>
      <p:pic>
        <p:nvPicPr>
          <p:cNvPr id="33" name="Picture 4" descr="Intertwined Arrow PowerPoint Template | SketchBubble">
            <a:extLst>
              <a:ext uri="{FF2B5EF4-FFF2-40B4-BE49-F238E27FC236}">
                <a16:creationId xmlns:a16="http://schemas.microsoft.com/office/drawing/2014/main" id="{C57DB67F-005C-49CF-9EEF-0CBEA9C6C6B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5670" t="35348" r="20698" b="36336"/>
          <a:stretch/>
        </p:blipFill>
        <p:spPr bwMode="auto">
          <a:xfrm>
            <a:off x="3959749" y="2761641"/>
            <a:ext cx="5994375" cy="200056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F1769C1-E08B-420C-BB93-F1CA49742528}"/>
              </a:ext>
            </a:extLst>
          </p:cNvPr>
          <p:cNvSpPr txBox="1"/>
          <p:nvPr/>
        </p:nvSpPr>
        <p:spPr>
          <a:xfrm>
            <a:off x="10043452" y="2919420"/>
            <a:ext cx="2380343" cy="641329"/>
          </a:xfrm>
          <a:prstGeom prst="rect">
            <a:avLst/>
          </a:prstGeom>
          <a:noFill/>
        </p:spPr>
        <p:txBody>
          <a:bodyPr wrap="square" lIns="0" tIns="0" rIns="0" bIns="0" rtlCol="0">
            <a:spAutoFit/>
          </a:bodyPr>
          <a:lstStyle/>
          <a:p>
            <a:pPr algn="l">
              <a:lnSpc>
                <a:spcPct val="120000"/>
              </a:lnSpc>
            </a:pPr>
            <a:r>
              <a:rPr lang="en-GB" dirty="0">
                <a:solidFill>
                  <a:srgbClr val="3B97DE"/>
                </a:solidFill>
              </a:rPr>
              <a:t>Personal qualifications</a:t>
            </a:r>
          </a:p>
        </p:txBody>
      </p:sp>
      <p:sp>
        <p:nvSpPr>
          <p:cNvPr id="43" name="TextBox 42">
            <a:extLst>
              <a:ext uri="{FF2B5EF4-FFF2-40B4-BE49-F238E27FC236}">
                <a16:creationId xmlns:a16="http://schemas.microsoft.com/office/drawing/2014/main" id="{B0206D3D-5150-4E7D-9B18-F56C8C242B1A}"/>
              </a:ext>
            </a:extLst>
          </p:cNvPr>
          <p:cNvSpPr txBox="1"/>
          <p:nvPr/>
        </p:nvSpPr>
        <p:spPr>
          <a:xfrm>
            <a:off x="10043452" y="3932021"/>
            <a:ext cx="2380343" cy="641329"/>
          </a:xfrm>
          <a:prstGeom prst="rect">
            <a:avLst/>
          </a:prstGeom>
          <a:noFill/>
        </p:spPr>
        <p:txBody>
          <a:bodyPr wrap="square" lIns="0" tIns="0" rIns="0" bIns="0" rtlCol="0">
            <a:spAutoFit/>
          </a:bodyPr>
          <a:lstStyle/>
          <a:p>
            <a:pPr algn="l">
              <a:lnSpc>
                <a:spcPct val="120000"/>
              </a:lnSpc>
            </a:pPr>
            <a:r>
              <a:rPr lang="en-GB" dirty="0">
                <a:solidFill>
                  <a:schemeClr val="tx2"/>
                </a:solidFill>
              </a:rPr>
              <a:t>Professional qualifications</a:t>
            </a:r>
          </a:p>
        </p:txBody>
      </p:sp>
      <p:sp>
        <p:nvSpPr>
          <p:cNvPr id="15" name="TextBox 14">
            <a:extLst>
              <a:ext uri="{FF2B5EF4-FFF2-40B4-BE49-F238E27FC236}">
                <a16:creationId xmlns:a16="http://schemas.microsoft.com/office/drawing/2014/main" id="{E9C27496-0F8E-4B26-82AE-07C23B5F1578}"/>
              </a:ext>
            </a:extLst>
          </p:cNvPr>
          <p:cNvSpPr txBox="1"/>
          <p:nvPr/>
        </p:nvSpPr>
        <p:spPr>
          <a:xfrm>
            <a:off x="1736082" y="2288468"/>
            <a:ext cx="1865307" cy="391902"/>
          </a:xfrm>
          <a:prstGeom prst="rect">
            <a:avLst/>
          </a:prstGeom>
          <a:noFill/>
        </p:spPr>
        <p:txBody>
          <a:bodyPr wrap="square" lIns="0" tIns="0" rIns="0" bIns="0" rtlCol="0">
            <a:spAutoFit/>
          </a:bodyPr>
          <a:lstStyle/>
          <a:p>
            <a:pPr algn="ctr">
              <a:lnSpc>
                <a:spcPct val="120000"/>
              </a:lnSpc>
            </a:pPr>
            <a:r>
              <a:rPr lang="en-GB" sz="1100" b="1" dirty="0">
                <a:solidFill>
                  <a:schemeClr val="tx2"/>
                </a:solidFill>
              </a:rPr>
              <a:t>A relevant Master’s degree from 2020 or 2021</a:t>
            </a:r>
          </a:p>
        </p:txBody>
      </p:sp>
      <p:sp>
        <p:nvSpPr>
          <p:cNvPr id="65" name="TextBox 64">
            <a:extLst>
              <a:ext uri="{FF2B5EF4-FFF2-40B4-BE49-F238E27FC236}">
                <a16:creationId xmlns:a16="http://schemas.microsoft.com/office/drawing/2014/main" id="{A177BEB8-0F02-43CC-9982-F312FE4876C7}"/>
              </a:ext>
            </a:extLst>
          </p:cNvPr>
          <p:cNvSpPr txBox="1"/>
          <p:nvPr/>
        </p:nvSpPr>
        <p:spPr>
          <a:xfrm>
            <a:off x="3167514" y="4760141"/>
            <a:ext cx="1741715" cy="391902"/>
          </a:xfrm>
          <a:prstGeom prst="rect">
            <a:avLst/>
          </a:prstGeom>
          <a:noFill/>
        </p:spPr>
        <p:txBody>
          <a:bodyPr wrap="square" lIns="0" tIns="0" rIns="0" bIns="0" rtlCol="0">
            <a:spAutoFit/>
          </a:bodyPr>
          <a:lstStyle/>
          <a:p>
            <a:pPr algn="ctr">
              <a:lnSpc>
                <a:spcPct val="120000"/>
              </a:lnSpc>
            </a:pPr>
            <a:r>
              <a:rPr lang="en-GB" sz="1100" b="1" dirty="0">
                <a:solidFill>
                  <a:schemeClr val="tx2"/>
                </a:solidFill>
              </a:rPr>
              <a:t>Above average academic achievements</a:t>
            </a:r>
          </a:p>
        </p:txBody>
      </p:sp>
      <p:sp>
        <p:nvSpPr>
          <p:cNvPr id="66" name="TextBox 65">
            <a:extLst>
              <a:ext uri="{FF2B5EF4-FFF2-40B4-BE49-F238E27FC236}">
                <a16:creationId xmlns:a16="http://schemas.microsoft.com/office/drawing/2014/main" id="{2ED8ACD8-C44C-4EB0-A884-88BDA1D3578D}"/>
              </a:ext>
            </a:extLst>
          </p:cNvPr>
          <p:cNvSpPr txBox="1"/>
          <p:nvPr/>
        </p:nvSpPr>
        <p:spPr>
          <a:xfrm>
            <a:off x="4412448" y="2288468"/>
            <a:ext cx="1983398" cy="595035"/>
          </a:xfrm>
          <a:prstGeom prst="rect">
            <a:avLst/>
          </a:prstGeom>
          <a:noFill/>
        </p:spPr>
        <p:txBody>
          <a:bodyPr wrap="square" lIns="0" tIns="0" rIns="0" bIns="0" rtlCol="0">
            <a:spAutoFit/>
          </a:bodyPr>
          <a:lstStyle/>
          <a:p>
            <a:pPr algn="ctr">
              <a:lnSpc>
                <a:spcPct val="120000"/>
              </a:lnSpc>
            </a:pPr>
            <a:r>
              <a:rPr lang="en-GB" sz="1100" b="1" dirty="0">
                <a:solidFill>
                  <a:schemeClr val="tx2"/>
                </a:solidFill>
              </a:rPr>
              <a:t>International experience from studying or working abroad</a:t>
            </a:r>
          </a:p>
        </p:txBody>
      </p:sp>
      <p:sp>
        <p:nvSpPr>
          <p:cNvPr id="67" name="TextBox 66">
            <a:extLst>
              <a:ext uri="{FF2B5EF4-FFF2-40B4-BE49-F238E27FC236}">
                <a16:creationId xmlns:a16="http://schemas.microsoft.com/office/drawing/2014/main" id="{38FE1557-EFE7-445C-A93C-10418D3FFC2F}"/>
              </a:ext>
            </a:extLst>
          </p:cNvPr>
          <p:cNvSpPr txBox="1"/>
          <p:nvPr/>
        </p:nvSpPr>
        <p:spPr>
          <a:xfrm>
            <a:off x="5972079" y="4760141"/>
            <a:ext cx="1741715" cy="595035"/>
          </a:xfrm>
          <a:prstGeom prst="rect">
            <a:avLst/>
          </a:prstGeom>
          <a:noFill/>
        </p:spPr>
        <p:txBody>
          <a:bodyPr wrap="square" lIns="0" tIns="0" rIns="0" bIns="0" rtlCol="0">
            <a:spAutoFit/>
          </a:bodyPr>
          <a:lstStyle/>
          <a:p>
            <a:pPr algn="ctr">
              <a:lnSpc>
                <a:spcPct val="120000"/>
              </a:lnSpc>
            </a:pPr>
            <a:r>
              <a:rPr lang="en-GB" sz="1100" b="1" dirty="0">
                <a:solidFill>
                  <a:schemeClr val="tx2"/>
                </a:solidFill>
              </a:rPr>
              <a:t>Relevant experience from work or extracurricular activities</a:t>
            </a:r>
          </a:p>
        </p:txBody>
      </p:sp>
      <p:sp>
        <p:nvSpPr>
          <p:cNvPr id="68" name="TextBox 67">
            <a:extLst>
              <a:ext uri="{FF2B5EF4-FFF2-40B4-BE49-F238E27FC236}">
                <a16:creationId xmlns:a16="http://schemas.microsoft.com/office/drawing/2014/main" id="{C9B5186D-6853-41A3-B46A-81ABF139A545}"/>
              </a:ext>
            </a:extLst>
          </p:cNvPr>
          <p:cNvSpPr txBox="1"/>
          <p:nvPr/>
        </p:nvSpPr>
        <p:spPr>
          <a:xfrm>
            <a:off x="7278766" y="2288468"/>
            <a:ext cx="1633224" cy="391902"/>
          </a:xfrm>
          <a:prstGeom prst="rect">
            <a:avLst/>
          </a:prstGeom>
          <a:noFill/>
        </p:spPr>
        <p:txBody>
          <a:bodyPr wrap="square" lIns="0" tIns="0" rIns="0" bIns="0" rtlCol="0">
            <a:spAutoFit/>
          </a:bodyPr>
          <a:lstStyle/>
          <a:p>
            <a:pPr algn="ctr">
              <a:lnSpc>
                <a:spcPct val="120000"/>
              </a:lnSpc>
            </a:pPr>
            <a:r>
              <a:rPr lang="en-GB" sz="1100" b="1" dirty="0">
                <a:solidFill>
                  <a:schemeClr val="tx2"/>
                </a:solidFill>
              </a:rPr>
              <a:t>Excellent fluency in English </a:t>
            </a:r>
          </a:p>
        </p:txBody>
      </p:sp>
      <p:sp>
        <p:nvSpPr>
          <p:cNvPr id="69" name="TextBox 68">
            <a:extLst>
              <a:ext uri="{FF2B5EF4-FFF2-40B4-BE49-F238E27FC236}">
                <a16:creationId xmlns:a16="http://schemas.microsoft.com/office/drawing/2014/main" id="{D99DA6F8-4FE4-456B-9FAE-7302E63AD0A0}"/>
              </a:ext>
            </a:extLst>
          </p:cNvPr>
          <p:cNvSpPr txBox="1"/>
          <p:nvPr/>
        </p:nvSpPr>
        <p:spPr>
          <a:xfrm>
            <a:off x="1891082" y="5496396"/>
            <a:ext cx="1262784" cy="391902"/>
          </a:xfrm>
          <a:prstGeom prst="rect">
            <a:avLst/>
          </a:prstGeom>
          <a:noFill/>
        </p:spPr>
        <p:txBody>
          <a:bodyPr wrap="square" lIns="0" tIns="0" rIns="0" bIns="0" rtlCol="0">
            <a:spAutoFit/>
          </a:bodyPr>
          <a:lstStyle/>
          <a:p>
            <a:pPr algn="ctr">
              <a:lnSpc>
                <a:spcPct val="120000"/>
              </a:lnSpc>
            </a:pPr>
            <a:r>
              <a:rPr lang="en-GB" sz="1100" b="1" dirty="0">
                <a:solidFill>
                  <a:srgbClr val="3B97DE"/>
                </a:solidFill>
              </a:rPr>
              <a:t>Team-player mindset</a:t>
            </a:r>
          </a:p>
        </p:txBody>
      </p:sp>
      <p:sp>
        <p:nvSpPr>
          <p:cNvPr id="70" name="TextBox 69">
            <a:extLst>
              <a:ext uri="{FF2B5EF4-FFF2-40B4-BE49-F238E27FC236}">
                <a16:creationId xmlns:a16="http://schemas.microsoft.com/office/drawing/2014/main" id="{386F167A-364E-49C1-B837-7109ACE94AE0}"/>
              </a:ext>
            </a:extLst>
          </p:cNvPr>
          <p:cNvSpPr txBox="1"/>
          <p:nvPr/>
        </p:nvSpPr>
        <p:spPr>
          <a:xfrm>
            <a:off x="3181161" y="1626433"/>
            <a:ext cx="1741715" cy="391902"/>
          </a:xfrm>
          <a:prstGeom prst="rect">
            <a:avLst/>
          </a:prstGeom>
          <a:noFill/>
        </p:spPr>
        <p:txBody>
          <a:bodyPr wrap="square" lIns="0" tIns="0" rIns="0" bIns="0" rtlCol="0">
            <a:spAutoFit/>
          </a:bodyPr>
          <a:lstStyle/>
          <a:p>
            <a:pPr algn="ctr">
              <a:lnSpc>
                <a:spcPct val="120000"/>
              </a:lnSpc>
            </a:pPr>
            <a:r>
              <a:rPr lang="en-GB" sz="1100" b="1" dirty="0">
                <a:solidFill>
                  <a:srgbClr val="3B97DE"/>
                </a:solidFill>
              </a:rPr>
              <a:t>High drive and eagerness to learn</a:t>
            </a:r>
          </a:p>
        </p:txBody>
      </p:sp>
      <p:sp>
        <p:nvSpPr>
          <p:cNvPr id="71" name="TextBox 70">
            <a:extLst>
              <a:ext uri="{FF2B5EF4-FFF2-40B4-BE49-F238E27FC236}">
                <a16:creationId xmlns:a16="http://schemas.microsoft.com/office/drawing/2014/main" id="{D7868416-8F2B-4E96-9E93-29D435654381}"/>
              </a:ext>
            </a:extLst>
          </p:cNvPr>
          <p:cNvSpPr txBox="1"/>
          <p:nvPr/>
        </p:nvSpPr>
        <p:spPr>
          <a:xfrm>
            <a:off x="4567472" y="5496396"/>
            <a:ext cx="1613988" cy="391902"/>
          </a:xfrm>
          <a:prstGeom prst="rect">
            <a:avLst/>
          </a:prstGeom>
          <a:noFill/>
        </p:spPr>
        <p:txBody>
          <a:bodyPr wrap="square" lIns="0" tIns="0" rIns="0" bIns="0" rtlCol="0">
            <a:spAutoFit/>
          </a:bodyPr>
          <a:lstStyle/>
          <a:p>
            <a:pPr algn="ctr">
              <a:lnSpc>
                <a:spcPct val="120000"/>
              </a:lnSpc>
            </a:pPr>
            <a:r>
              <a:rPr lang="en-GB" sz="1100" b="1" dirty="0">
                <a:solidFill>
                  <a:srgbClr val="3B97DE"/>
                </a:solidFill>
              </a:rPr>
              <a:t>Excellent communication skills</a:t>
            </a:r>
          </a:p>
        </p:txBody>
      </p:sp>
      <p:sp>
        <p:nvSpPr>
          <p:cNvPr id="72" name="TextBox 71">
            <a:extLst>
              <a:ext uri="{FF2B5EF4-FFF2-40B4-BE49-F238E27FC236}">
                <a16:creationId xmlns:a16="http://schemas.microsoft.com/office/drawing/2014/main" id="{2E50BFFB-2462-4CBA-85C6-F06120DEC71D}"/>
              </a:ext>
            </a:extLst>
          </p:cNvPr>
          <p:cNvSpPr txBox="1"/>
          <p:nvPr/>
        </p:nvSpPr>
        <p:spPr>
          <a:xfrm>
            <a:off x="6175751" y="1626432"/>
            <a:ext cx="1034630" cy="391902"/>
          </a:xfrm>
          <a:prstGeom prst="rect">
            <a:avLst/>
          </a:prstGeom>
          <a:noFill/>
        </p:spPr>
        <p:txBody>
          <a:bodyPr wrap="square" lIns="0" tIns="0" rIns="0" bIns="0" rtlCol="0">
            <a:spAutoFit/>
          </a:bodyPr>
          <a:lstStyle/>
          <a:p>
            <a:pPr algn="ctr">
              <a:lnSpc>
                <a:spcPct val="120000"/>
              </a:lnSpc>
            </a:pPr>
            <a:r>
              <a:rPr lang="en-GB" sz="1100" b="1" dirty="0">
                <a:solidFill>
                  <a:srgbClr val="3B97DE"/>
                </a:solidFill>
              </a:rPr>
              <a:t>Be globally mobile</a:t>
            </a:r>
          </a:p>
        </p:txBody>
      </p:sp>
      <p:sp>
        <p:nvSpPr>
          <p:cNvPr id="73" name="TextBox 72">
            <a:extLst>
              <a:ext uri="{FF2B5EF4-FFF2-40B4-BE49-F238E27FC236}">
                <a16:creationId xmlns:a16="http://schemas.microsoft.com/office/drawing/2014/main" id="{C5BABF33-20BC-482D-9597-6B9A7DE59A15}"/>
              </a:ext>
            </a:extLst>
          </p:cNvPr>
          <p:cNvSpPr txBox="1"/>
          <p:nvPr/>
        </p:nvSpPr>
        <p:spPr>
          <a:xfrm>
            <a:off x="7347614" y="5496396"/>
            <a:ext cx="1741715" cy="595035"/>
          </a:xfrm>
          <a:prstGeom prst="rect">
            <a:avLst/>
          </a:prstGeom>
          <a:noFill/>
        </p:spPr>
        <p:txBody>
          <a:bodyPr wrap="square" lIns="0" tIns="0" rIns="0" bIns="0" rtlCol="0">
            <a:spAutoFit/>
          </a:bodyPr>
          <a:lstStyle/>
          <a:p>
            <a:pPr algn="ctr">
              <a:lnSpc>
                <a:spcPct val="120000"/>
              </a:lnSpc>
            </a:pPr>
            <a:r>
              <a:rPr lang="en-GB" sz="1100" b="1" dirty="0">
                <a:solidFill>
                  <a:srgbClr val="3B97DE"/>
                </a:solidFill>
              </a:rPr>
              <a:t>International outlook and the ability to adapt quickly to change</a:t>
            </a:r>
          </a:p>
        </p:txBody>
      </p:sp>
      <p:cxnSp>
        <p:nvCxnSpPr>
          <p:cNvPr id="20" name="Straight Connector 19">
            <a:extLst>
              <a:ext uri="{FF2B5EF4-FFF2-40B4-BE49-F238E27FC236}">
                <a16:creationId xmlns:a16="http://schemas.microsoft.com/office/drawing/2014/main" id="{81955D52-2AB0-4CD9-8A75-570A90D0D4B3}"/>
              </a:ext>
            </a:extLst>
          </p:cNvPr>
          <p:cNvCxnSpPr/>
          <p:nvPr/>
        </p:nvCxnSpPr>
        <p:spPr>
          <a:xfrm flipV="1">
            <a:off x="2565779" y="2775906"/>
            <a:ext cx="0" cy="203133"/>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F89EABF-D0CE-416D-A38F-C67CDB9F1CB4}"/>
              </a:ext>
            </a:extLst>
          </p:cNvPr>
          <p:cNvCxnSpPr/>
          <p:nvPr/>
        </p:nvCxnSpPr>
        <p:spPr>
          <a:xfrm flipV="1">
            <a:off x="8109057" y="2775906"/>
            <a:ext cx="0" cy="203133"/>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1031E14-FCCC-4F04-8D6C-CE33466928E5}"/>
              </a:ext>
            </a:extLst>
          </p:cNvPr>
          <p:cNvCxnSpPr/>
          <p:nvPr/>
        </p:nvCxnSpPr>
        <p:spPr>
          <a:xfrm flipV="1">
            <a:off x="3960133" y="4511454"/>
            <a:ext cx="0" cy="203133"/>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D407656-88F9-4D6B-8071-10BED42D30A4}"/>
              </a:ext>
            </a:extLst>
          </p:cNvPr>
          <p:cNvCxnSpPr/>
          <p:nvPr/>
        </p:nvCxnSpPr>
        <p:spPr>
          <a:xfrm flipV="1">
            <a:off x="6760203" y="4511454"/>
            <a:ext cx="0" cy="203133"/>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7989909-79EA-4869-AF15-51B0148893E4}"/>
              </a:ext>
            </a:extLst>
          </p:cNvPr>
          <p:cNvCxnSpPr/>
          <p:nvPr/>
        </p:nvCxnSpPr>
        <p:spPr>
          <a:xfrm flipV="1">
            <a:off x="5343109" y="2930586"/>
            <a:ext cx="0" cy="108000"/>
          </a:xfrm>
          <a:prstGeom prst="line">
            <a:avLst/>
          </a:prstGeom>
          <a:ln w="63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463F1E6-A463-4587-AD68-26D709EB6719}"/>
              </a:ext>
            </a:extLst>
          </p:cNvPr>
          <p:cNvCxnSpPr>
            <a:cxnSpLocks/>
          </p:cNvCxnSpPr>
          <p:nvPr/>
        </p:nvCxnSpPr>
        <p:spPr>
          <a:xfrm flipV="1">
            <a:off x="3960133" y="2066832"/>
            <a:ext cx="0" cy="914480"/>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27" name="Straight Connector 26">
            <a:extLst>
              <a:ext uri="{FF2B5EF4-FFF2-40B4-BE49-F238E27FC236}">
                <a16:creationId xmlns:a16="http://schemas.microsoft.com/office/drawing/2014/main" id="{97D9716D-4B8D-4419-861A-3B1C6597F718}"/>
              </a:ext>
            </a:extLst>
          </p:cNvPr>
          <p:cNvCxnSpPr>
            <a:cxnSpLocks/>
          </p:cNvCxnSpPr>
          <p:nvPr/>
        </p:nvCxnSpPr>
        <p:spPr>
          <a:xfrm flipV="1">
            <a:off x="6709966" y="2031983"/>
            <a:ext cx="0" cy="914480"/>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28" name="Straight Connector 27">
            <a:extLst>
              <a:ext uri="{FF2B5EF4-FFF2-40B4-BE49-F238E27FC236}">
                <a16:creationId xmlns:a16="http://schemas.microsoft.com/office/drawing/2014/main" id="{AB8E786B-BE09-44A7-91FE-04CE329EE085}"/>
              </a:ext>
            </a:extLst>
          </p:cNvPr>
          <p:cNvCxnSpPr>
            <a:cxnSpLocks/>
          </p:cNvCxnSpPr>
          <p:nvPr/>
        </p:nvCxnSpPr>
        <p:spPr>
          <a:xfrm flipV="1">
            <a:off x="2565779" y="4526148"/>
            <a:ext cx="0" cy="914480"/>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7CF77C08-25AC-449C-A780-FF041D5A2F43}"/>
              </a:ext>
            </a:extLst>
          </p:cNvPr>
          <p:cNvCxnSpPr>
            <a:cxnSpLocks/>
          </p:cNvCxnSpPr>
          <p:nvPr/>
        </p:nvCxnSpPr>
        <p:spPr>
          <a:xfrm flipV="1">
            <a:off x="5343109" y="4526148"/>
            <a:ext cx="0" cy="914480"/>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30" name="Straight Connector 29">
            <a:extLst>
              <a:ext uri="{FF2B5EF4-FFF2-40B4-BE49-F238E27FC236}">
                <a16:creationId xmlns:a16="http://schemas.microsoft.com/office/drawing/2014/main" id="{7DA040AD-A683-4A3E-97AB-1A958D51FABC}"/>
              </a:ext>
            </a:extLst>
          </p:cNvPr>
          <p:cNvCxnSpPr>
            <a:cxnSpLocks/>
          </p:cNvCxnSpPr>
          <p:nvPr/>
        </p:nvCxnSpPr>
        <p:spPr>
          <a:xfrm flipV="1">
            <a:off x="8109057" y="4526148"/>
            <a:ext cx="0" cy="91448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 name="Footer Placeholder 5">
            <a:extLst>
              <a:ext uri="{FF2B5EF4-FFF2-40B4-BE49-F238E27FC236}">
                <a16:creationId xmlns:a16="http://schemas.microsoft.com/office/drawing/2014/main" id="{51C0CF6A-E358-41FC-B939-CBBF566FC4BE}"/>
              </a:ext>
            </a:extLst>
          </p:cNvPr>
          <p:cNvSpPr>
            <a:spLocks noGrp="1"/>
          </p:cNvSpPr>
          <p:nvPr>
            <p:ph type="ftr" sz="quarter" idx="11"/>
          </p:nvPr>
        </p:nvSpPr>
        <p:spPr/>
        <p:txBody>
          <a:bodyPr/>
          <a:lstStyle/>
          <a:p>
            <a:r>
              <a:rPr lang="en-GB"/>
              <a:t>Graduate Programme Introduction</a:t>
            </a:r>
            <a:endParaRPr lang="en-GB" dirty="0"/>
          </a:p>
        </p:txBody>
      </p:sp>
      <p:sp>
        <p:nvSpPr>
          <p:cNvPr id="7" name="Slide Number Placeholder 6">
            <a:extLst>
              <a:ext uri="{FF2B5EF4-FFF2-40B4-BE49-F238E27FC236}">
                <a16:creationId xmlns:a16="http://schemas.microsoft.com/office/drawing/2014/main" id="{0B628F64-3239-4A31-8CCA-547D873729AC}"/>
              </a:ext>
            </a:extLst>
          </p:cNvPr>
          <p:cNvSpPr>
            <a:spLocks noGrp="1"/>
          </p:cNvSpPr>
          <p:nvPr>
            <p:ph type="sldNum" sz="quarter" idx="12"/>
          </p:nvPr>
        </p:nvSpPr>
        <p:spPr/>
        <p:txBody>
          <a:bodyPr/>
          <a:lstStyle/>
          <a:p>
            <a:fld id="{23AA811B-2EBD-4900-905E-5BE206449611}" type="slidenum">
              <a:rPr lang="en-GB" smtClean="0"/>
              <a:t>33</a:t>
            </a:fld>
            <a:endParaRPr lang="en-GB" dirty="0"/>
          </a:p>
        </p:txBody>
      </p:sp>
    </p:spTree>
    <p:custDataLst>
      <p:tags r:id="rId2"/>
    </p:custDataLst>
    <p:extLst>
      <p:ext uri="{BB962C8B-B14F-4D97-AF65-F5344CB8AC3E}">
        <p14:creationId xmlns:p14="http://schemas.microsoft.com/office/powerpoint/2010/main" val="9666843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86373" name="think-cell Slide" r:id="rId25" imgW="360" imgH="360" progId="TCLayout.ActiveDocument.1">
                  <p:embed/>
                </p:oleObj>
              </mc:Choice>
              <mc:Fallback>
                <p:oleObj name="think-cell Slide" r:id="rId25" imgW="360" imgH="360" progId="TCLayout.ActiveDocument.1">
                  <p:embed/>
                  <p:pic>
                    <p:nvPicPr>
                      <p:cNvPr id="16" name="Object 15" hidden="1"/>
                      <p:cNvPicPr/>
                      <p:nvPr/>
                    </p:nvPicPr>
                    <p:blipFill>
                      <a:blip r:embed="rId26"/>
                      <a:stretch>
                        <a:fillRect/>
                      </a:stretch>
                    </p:blipFill>
                    <p:spPr>
                      <a:xfrm>
                        <a:off x="2118" y="2118"/>
                        <a:ext cx="2116" cy="2116"/>
                      </a:xfrm>
                      <a:prstGeom prst="rect">
                        <a:avLst/>
                      </a:prstGeom>
                    </p:spPr>
                  </p:pic>
                </p:oleObj>
              </mc:Fallback>
            </mc:AlternateContent>
          </a:graphicData>
        </a:graphic>
      </p:graphicFrame>
      <p:sp>
        <p:nvSpPr>
          <p:cNvPr id="15" name="Rectangle 14" hidden="1"/>
          <p:cNvSpPr/>
          <p:nvPr>
            <p:custDataLst>
              <p:tags r:id="rId3"/>
            </p:custDataLst>
          </p:nvPr>
        </p:nvSpPr>
        <p:spPr bwMode="auto">
          <a:xfrm>
            <a:off x="0" y="0"/>
            <a:ext cx="211667" cy="211667"/>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endParaRPr kumimoji="0" lang="en-GB" sz="1333" b="0" i="0" u="none" strike="noStrike" kern="1200" cap="none" spc="0" normalizeH="0" baseline="0" noProof="0" dirty="0">
              <a:ln>
                <a:noFill/>
              </a:ln>
              <a:solidFill>
                <a:srgbClr val="FFFFFF"/>
              </a:solidFill>
              <a:effectLst/>
              <a:uLnTx/>
              <a:uFillTx/>
              <a:latin typeface="Verdana" panose="020B0604030504040204" pitchFamily="34" charset="0"/>
              <a:ea typeface="+mn-ea"/>
              <a:cs typeface="+mn-cs"/>
              <a:sym typeface="Verdana" panose="020B0604030504040204" pitchFamily="34" charset="0"/>
            </a:endParaRPr>
          </a:p>
        </p:txBody>
      </p:sp>
      <p:sp>
        <p:nvSpPr>
          <p:cNvPr id="57" name="Graphic 11">
            <a:extLst>
              <a:ext uri="{FF2B5EF4-FFF2-40B4-BE49-F238E27FC236}">
                <a16:creationId xmlns:a16="http://schemas.microsoft.com/office/drawing/2014/main" id="{ECDE44AB-F88F-410B-8071-C4A6B8E4D7DA}"/>
              </a:ext>
            </a:extLst>
          </p:cNvPr>
          <p:cNvSpPr>
            <a:spLocks/>
          </p:cNvSpPr>
          <p:nvPr/>
        </p:nvSpPr>
        <p:spPr>
          <a:xfrm flipH="1">
            <a:off x="-49246" y="4732938"/>
            <a:ext cx="12434817" cy="1746625"/>
          </a:xfrm>
          <a:custGeom>
            <a:avLst/>
            <a:gdLst>
              <a:gd name="connsiteX0" fmla="*/ 0 w 8842731"/>
              <a:gd name="connsiteY0" fmla="*/ 1111767 h 1441194"/>
              <a:gd name="connsiteX1" fmla="*/ 3781364 w 8842731"/>
              <a:gd name="connsiteY1" fmla="*/ 840640 h 1441194"/>
              <a:gd name="connsiteX2" fmla="*/ 4705577 w 8842731"/>
              <a:gd name="connsiteY2" fmla="*/ 835889 h 1441194"/>
              <a:gd name="connsiteX3" fmla="*/ 5954894 w 8842731"/>
              <a:gd name="connsiteY3" fmla="*/ 833008 h 1441194"/>
              <a:gd name="connsiteX4" fmla="*/ 6747244 w 8842731"/>
              <a:gd name="connsiteY4" fmla="*/ 869381 h 1441194"/>
              <a:gd name="connsiteX5" fmla="*/ 7218308 w 8842731"/>
              <a:gd name="connsiteY5" fmla="*/ 1375650 h 1441194"/>
              <a:gd name="connsiteX6" fmla="*/ 8103734 w 8842731"/>
              <a:gd name="connsiteY6" fmla="*/ 0 h 1441194"/>
              <a:gd name="connsiteX7" fmla="*/ 8842731 w 8842731"/>
              <a:gd name="connsiteY7" fmla="*/ 605264 h 1441194"/>
              <a:gd name="connsiteX0" fmla="*/ 0 w 8294212"/>
              <a:gd name="connsiteY0" fmla="*/ 1111767 h 1441194"/>
              <a:gd name="connsiteX1" fmla="*/ 3781364 w 8294212"/>
              <a:gd name="connsiteY1" fmla="*/ 840640 h 1441194"/>
              <a:gd name="connsiteX2" fmla="*/ 4705577 w 8294212"/>
              <a:gd name="connsiteY2" fmla="*/ 835889 h 1441194"/>
              <a:gd name="connsiteX3" fmla="*/ 5954894 w 8294212"/>
              <a:gd name="connsiteY3" fmla="*/ 833008 h 1441194"/>
              <a:gd name="connsiteX4" fmla="*/ 6747244 w 8294212"/>
              <a:gd name="connsiteY4" fmla="*/ 869381 h 1441194"/>
              <a:gd name="connsiteX5" fmla="*/ 7218308 w 8294212"/>
              <a:gd name="connsiteY5" fmla="*/ 1375650 h 1441194"/>
              <a:gd name="connsiteX6" fmla="*/ 8103734 w 8294212"/>
              <a:gd name="connsiteY6" fmla="*/ 0 h 1441194"/>
              <a:gd name="connsiteX7" fmla="*/ 8294212 w 8294212"/>
              <a:gd name="connsiteY7" fmla="*/ 428955 h 1441194"/>
              <a:gd name="connsiteX0" fmla="*/ 0 w 8294212"/>
              <a:gd name="connsiteY0" fmla="*/ 798328 h 1075808"/>
              <a:gd name="connsiteX1" fmla="*/ 3781364 w 8294212"/>
              <a:gd name="connsiteY1" fmla="*/ 527201 h 1075808"/>
              <a:gd name="connsiteX2" fmla="*/ 4705577 w 8294212"/>
              <a:gd name="connsiteY2" fmla="*/ 522450 h 1075808"/>
              <a:gd name="connsiteX3" fmla="*/ 5954894 w 8294212"/>
              <a:gd name="connsiteY3" fmla="*/ 519569 h 1075808"/>
              <a:gd name="connsiteX4" fmla="*/ 6747244 w 8294212"/>
              <a:gd name="connsiteY4" fmla="*/ 555942 h 1075808"/>
              <a:gd name="connsiteX5" fmla="*/ 7218308 w 8294212"/>
              <a:gd name="connsiteY5" fmla="*/ 1062211 h 1075808"/>
              <a:gd name="connsiteX6" fmla="*/ 7809884 w 8294212"/>
              <a:gd name="connsiteY6" fmla="*/ 0 h 1075808"/>
              <a:gd name="connsiteX7" fmla="*/ 8294212 w 8294212"/>
              <a:gd name="connsiteY7" fmla="*/ 115516 h 1075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94212" h="1075808">
                <a:moveTo>
                  <a:pt x="0" y="798328"/>
                </a:moveTo>
                <a:cubicBezTo>
                  <a:pt x="547627" y="-2823"/>
                  <a:pt x="2757765" y="1278349"/>
                  <a:pt x="3781364" y="527201"/>
                </a:cubicBezTo>
                <a:cubicBezTo>
                  <a:pt x="4341609" y="116033"/>
                  <a:pt x="4595055" y="387004"/>
                  <a:pt x="4705577" y="522450"/>
                </a:cubicBezTo>
                <a:cubicBezTo>
                  <a:pt x="4778870" y="612099"/>
                  <a:pt x="5205382" y="1047335"/>
                  <a:pt x="5954894" y="519569"/>
                </a:cubicBezTo>
                <a:cubicBezTo>
                  <a:pt x="6704406" y="-8198"/>
                  <a:pt x="6730810" y="502823"/>
                  <a:pt x="6747244" y="555942"/>
                </a:cubicBezTo>
                <a:cubicBezTo>
                  <a:pt x="6807296" y="750661"/>
                  <a:pt x="7041201" y="1154868"/>
                  <a:pt x="7218308" y="1062211"/>
                </a:cubicBezTo>
                <a:cubicBezTo>
                  <a:pt x="7395415" y="969554"/>
                  <a:pt x="7436880" y="0"/>
                  <a:pt x="7809884" y="0"/>
                </a:cubicBezTo>
                <a:cubicBezTo>
                  <a:pt x="8310623" y="0"/>
                  <a:pt x="7831482" y="560098"/>
                  <a:pt x="8294212" y="115516"/>
                </a:cubicBezTo>
              </a:path>
            </a:pathLst>
          </a:custGeom>
          <a:noFill/>
          <a:ln w="116831" cap="rnd">
            <a:solidFill>
              <a:srgbClr val="F3B03E"/>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mn-cs"/>
            </a:endParaRPr>
          </a:p>
        </p:txBody>
      </p:sp>
      <p:sp>
        <p:nvSpPr>
          <p:cNvPr id="2" name="Rounded Rectangle 1"/>
          <p:cNvSpPr/>
          <p:nvPr/>
        </p:nvSpPr>
        <p:spPr>
          <a:xfrm>
            <a:off x="1755775" y="2317750"/>
            <a:ext cx="3441700" cy="1577975"/>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18" name="Group 17"/>
          <p:cNvGrpSpPr/>
          <p:nvPr/>
        </p:nvGrpSpPr>
        <p:grpSpPr>
          <a:xfrm>
            <a:off x="5743575" y="2265695"/>
            <a:ext cx="5835707" cy="2130948"/>
            <a:chOff x="4222691" y="2470148"/>
            <a:chExt cx="3456048" cy="1257438"/>
          </a:xfrm>
        </p:grpSpPr>
        <p:grpSp>
          <p:nvGrpSpPr>
            <p:cNvPr id="8" name="Grupper 7"/>
            <p:cNvGrpSpPr>
              <a:grpSpLocks noChangeAspect="1"/>
            </p:cNvGrpSpPr>
            <p:nvPr/>
          </p:nvGrpSpPr>
          <p:grpSpPr>
            <a:xfrm>
              <a:off x="4222691" y="2470148"/>
              <a:ext cx="1809811" cy="1257438"/>
              <a:chOff x="6146849" y="3331086"/>
              <a:chExt cx="1418400" cy="985490"/>
            </a:xfrm>
          </p:grpSpPr>
          <p:grpSp>
            <p:nvGrpSpPr>
              <p:cNvPr id="9" name="Grupper 8"/>
              <p:cNvGrpSpPr/>
              <p:nvPr/>
            </p:nvGrpSpPr>
            <p:grpSpPr>
              <a:xfrm>
                <a:off x="6460049" y="3331086"/>
                <a:ext cx="792000" cy="792000"/>
                <a:chOff x="6460049" y="3331086"/>
                <a:chExt cx="792000" cy="792000"/>
              </a:xfrm>
            </p:grpSpPr>
            <p:sp>
              <p:nvSpPr>
                <p:cNvPr id="11" name="Ellipse 10"/>
                <p:cNvSpPr>
                  <a:spLocks noChangeAspect="1"/>
                </p:cNvSpPr>
                <p:nvPr/>
              </p:nvSpPr>
              <p:spPr>
                <a:xfrm>
                  <a:off x="6496050" y="3367088"/>
                  <a:ext cx="720000" cy="720000"/>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2" name="Cirkel 11"/>
                <p:cNvSpPr>
                  <a:spLocks noChangeAspect="1"/>
                </p:cNvSpPr>
                <p:nvPr/>
              </p:nvSpPr>
              <p:spPr>
                <a:xfrm rot="16200000">
                  <a:off x="6460049" y="3331086"/>
                  <a:ext cx="792000" cy="792000"/>
                </a:xfrm>
                <a:prstGeom prst="pie">
                  <a:avLst>
                    <a:gd name="adj1" fmla="val 0"/>
                    <a:gd name="adj2" fmla="val 16642619"/>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mn-cs"/>
                  </a:endParaRPr>
                </a:p>
              </p:txBody>
            </p:sp>
            <p:sp>
              <p:nvSpPr>
                <p:cNvPr id="13" name="Ellipse 12"/>
                <p:cNvSpPr>
                  <a:spLocks noChangeAspect="1"/>
                </p:cNvSpPr>
                <p:nvPr/>
              </p:nvSpPr>
              <p:spPr>
                <a:xfrm>
                  <a:off x="6586049" y="3457085"/>
                  <a:ext cx="540000" cy="540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ysClr val="windowText" lastClr="000000"/>
                    </a:solidFill>
                    <a:effectLst/>
                    <a:uLnTx/>
                    <a:uFillTx/>
                    <a:latin typeface="Verdana"/>
                    <a:ea typeface="+mn-ea"/>
                    <a:cs typeface="+mn-cs"/>
                  </a:endParaRPr>
                </a:p>
              </p:txBody>
            </p:sp>
            <p:sp>
              <p:nvSpPr>
                <p:cNvPr id="14" name="Tekstfelt 13"/>
                <p:cNvSpPr txBox="1"/>
                <p:nvPr/>
              </p:nvSpPr>
              <p:spPr>
                <a:xfrm>
                  <a:off x="6558449" y="3598714"/>
                  <a:ext cx="653393" cy="194496"/>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001965"/>
                      </a:solidFill>
                      <a:effectLst/>
                      <a:uLnTx/>
                      <a:uFillTx/>
                      <a:latin typeface="Verdana"/>
                      <a:ea typeface="+mn-ea"/>
                      <a:cs typeface="+mn-cs"/>
                    </a:rPr>
                    <a:t>77</a:t>
                  </a:r>
                  <a:r>
                    <a:rPr kumimoji="0" lang="en-GB" sz="1400" b="0" i="0" u="none" strike="noStrike" kern="1200" cap="none" spc="0" normalizeH="0" baseline="0" noProof="0" dirty="0">
                      <a:ln>
                        <a:noFill/>
                      </a:ln>
                      <a:solidFill>
                        <a:srgbClr val="001965"/>
                      </a:solidFill>
                      <a:effectLst/>
                      <a:uLnTx/>
                      <a:uFillTx/>
                      <a:latin typeface="Verdana"/>
                      <a:ea typeface="+mn-ea"/>
                      <a:cs typeface="+mn-cs"/>
                    </a:rPr>
                    <a:t>%</a:t>
                  </a:r>
                  <a:endParaRPr kumimoji="0" lang="en-GB" sz="1600" b="0" i="0" u="none" strike="noStrike" kern="1200" cap="none" spc="0" normalizeH="0" baseline="0" noProof="0" dirty="0">
                    <a:ln>
                      <a:noFill/>
                    </a:ln>
                    <a:solidFill>
                      <a:srgbClr val="001965"/>
                    </a:solidFill>
                    <a:effectLst/>
                    <a:uLnTx/>
                    <a:uFillTx/>
                    <a:latin typeface="Verdana"/>
                    <a:ea typeface="+mn-ea"/>
                    <a:cs typeface="+mn-cs"/>
                  </a:endParaRPr>
                </a:p>
              </p:txBody>
            </p:sp>
          </p:grpSp>
          <p:sp>
            <p:nvSpPr>
              <p:cNvPr id="10" name="Tekstfelt 9"/>
              <p:cNvSpPr txBox="1"/>
              <p:nvPr/>
            </p:nvSpPr>
            <p:spPr>
              <a:xfrm>
                <a:off x="6146849" y="4141087"/>
                <a:ext cx="1418400" cy="17548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001965"/>
                    </a:solidFill>
                    <a:effectLst/>
                    <a:uLnTx/>
                    <a:uFillTx/>
                    <a:latin typeface="Verdana"/>
                    <a:ea typeface="+mn-ea"/>
                    <a:cs typeface="+mn-cs"/>
                  </a:rPr>
                  <a:t>Still with NN today</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srgbClr val="001965"/>
                    </a:solidFill>
                    <a:effectLst/>
                    <a:uLnTx/>
                    <a:uFillTx/>
                    <a:latin typeface="Verdana"/>
                    <a:ea typeface="+mn-ea"/>
                    <a:cs typeface="+mn-cs"/>
                  </a:rPr>
                  <a:t>(1999-2016)</a:t>
                </a:r>
              </a:p>
            </p:txBody>
          </p:sp>
        </p:grpSp>
        <p:grpSp>
          <p:nvGrpSpPr>
            <p:cNvPr id="39" name="Grupper 38"/>
            <p:cNvGrpSpPr>
              <a:grpSpLocks noChangeAspect="1"/>
            </p:cNvGrpSpPr>
            <p:nvPr/>
          </p:nvGrpSpPr>
          <p:grpSpPr>
            <a:xfrm>
              <a:off x="5868928" y="2470148"/>
              <a:ext cx="1809811" cy="1257438"/>
              <a:chOff x="6146849" y="3331086"/>
              <a:chExt cx="1418400" cy="985490"/>
            </a:xfrm>
          </p:grpSpPr>
          <p:grpSp>
            <p:nvGrpSpPr>
              <p:cNvPr id="40" name="Grupper 39"/>
              <p:cNvGrpSpPr/>
              <p:nvPr/>
            </p:nvGrpSpPr>
            <p:grpSpPr>
              <a:xfrm>
                <a:off x="6460049" y="3331086"/>
                <a:ext cx="792000" cy="792000"/>
                <a:chOff x="6460049" y="3331086"/>
                <a:chExt cx="792000" cy="792000"/>
              </a:xfrm>
            </p:grpSpPr>
            <p:sp>
              <p:nvSpPr>
                <p:cNvPr id="42" name="Ellipse 41"/>
                <p:cNvSpPr>
                  <a:spLocks noChangeAspect="1"/>
                </p:cNvSpPr>
                <p:nvPr/>
              </p:nvSpPr>
              <p:spPr>
                <a:xfrm>
                  <a:off x="6496050" y="3367088"/>
                  <a:ext cx="720000" cy="720000"/>
                </a:xfrm>
                <a:prstGeom prst="ellips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3" name="Cirkel 42"/>
                <p:cNvSpPr>
                  <a:spLocks noChangeAspect="1"/>
                </p:cNvSpPr>
                <p:nvPr/>
              </p:nvSpPr>
              <p:spPr>
                <a:xfrm rot="16200000">
                  <a:off x="6460049" y="3331086"/>
                  <a:ext cx="792000" cy="792000"/>
                </a:xfrm>
                <a:prstGeom prst="pie">
                  <a:avLst>
                    <a:gd name="adj1" fmla="val 0"/>
                    <a:gd name="adj2" fmla="val 18477638"/>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mn-cs"/>
                  </a:endParaRPr>
                </a:p>
              </p:txBody>
            </p:sp>
            <p:sp>
              <p:nvSpPr>
                <p:cNvPr id="44" name="Ellipse 43"/>
                <p:cNvSpPr>
                  <a:spLocks noChangeAspect="1"/>
                </p:cNvSpPr>
                <p:nvPr/>
              </p:nvSpPr>
              <p:spPr>
                <a:xfrm>
                  <a:off x="6586049" y="3457085"/>
                  <a:ext cx="540000" cy="540000"/>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ysClr val="windowText" lastClr="000000"/>
                    </a:solidFill>
                    <a:effectLst/>
                    <a:uLnTx/>
                    <a:uFillTx/>
                    <a:latin typeface="Verdana"/>
                    <a:ea typeface="+mn-ea"/>
                    <a:cs typeface="+mn-cs"/>
                  </a:endParaRPr>
                </a:p>
              </p:txBody>
            </p:sp>
            <p:sp>
              <p:nvSpPr>
                <p:cNvPr id="45" name="Tekstfelt 44"/>
                <p:cNvSpPr txBox="1"/>
                <p:nvPr/>
              </p:nvSpPr>
              <p:spPr>
                <a:xfrm>
                  <a:off x="6540066" y="3598714"/>
                  <a:ext cx="653393" cy="194496"/>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001965"/>
                      </a:solidFill>
                      <a:effectLst/>
                      <a:uLnTx/>
                      <a:uFillTx/>
                      <a:latin typeface="Verdana"/>
                      <a:ea typeface="+mn-ea"/>
                      <a:cs typeface="+mn-cs"/>
                    </a:rPr>
                    <a:t>88</a:t>
                  </a:r>
                  <a:r>
                    <a:rPr kumimoji="0" lang="en-GB" sz="1400" b="0" i="0" u="none" strike="noStrike" kern="1200" cap="none" spc="0" normalizeH="0" baseline="0" noProof="0" dirty="0">
                      <a:ln>
                        <a:noFill/>
                      </a:ln>
                      <a:solidFill>
                        <a:srgbClr val="001965"/>
                      </a:solidFill>
                      <a:effectLst/>
                      <a:uLnTx/>
                      <a:uFillTx/>
                      <a:latin typeface="Verdana"/>
                      <a:ea typeface="+mn-ea"/>
                      <a:cs typeface="+mn-cs"/>
                    </a:rPr>
                    <a:t>%</a:t>
                  </a:r>
                  <a:endParaRPr kumimoji="0" lang="en-GB" sz="1600" b="0" i="0" u="none" strike="noStrike" kern="1200" cap="none" spc="0" normalizeH="0" baseline="0" noProof="0" dirty="0">
                    <a:ln>
                      <a:noFill/>
                    </a:ln>
                    <a:solidFill>
                      <a:srgbClr val="001965"/>
                    </a:solidFill>
                    <a:effectLst/>
                    <a:uLnTx/>
                    <a:uFillTx/>
                    <a:latin typeface="Verdana"/>
                    <a:ea typeface="+mn-ea"/>
                    <a:cs typeface="+mn-cs"/>
                  </a:endParaRPr>
                </a:p>
              </p:txBody>
            </p:sp>
          </p:grpSp>
          <p:sp>
            <p:nvSpPr>
              <p:cNvPr id="41" name="Tekstfelt 40"/>
              <p:cNvSpPr txBox="1"/>
              <p:nvPr/>
            </p:nvSpPr>
            <p:spPr>
              <a:xfrm>
                <a:off x="6146849" y="4141087"/>
                <a:ext cx="1418400" cy="17548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001965"/>
                    </a:solidFill>
                    <a:effectLst/>
                    <a:uLnTx/>
                    <a:uFillTx/>
                    <a:latin typeface="Verdana"/>
                    <a:ea typeface="+mn-ea"/>
                    <a:cs typeface="+mn-cs"/>
                  </a:rPr>
                  <a:t>Retention rat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srgbClr val="001965"/>
                    </a:solidFill>
                    <a:effectLst/>
                    <a:uLnTx/>
                    <a:uFillTx/>
                    <a:latin typeface="Verdana"/>
                    <a:ea typeface="+mn-ea"/>
                    <a:cs typeface="+mn-cs"/>
                  </a:rPr>
                  <a:t>(2001-03 programmes)</a:t>
                </a:r>
              </a:p>
            </p:txBody>
          </p:sp>
        </p:grpSp>
      </p:grpSp>
      <p:sp>
        <p:nvSpPr>
          <p:cNvPr id="37" name="Titel 2"/>
          <p:cNvSpPr txBox="1">
            <a:spLocks/>
          </p:cNvSpPr>
          <p:nvPr/>
        </p:nvSpPr>
        <p:spPr>
          <a:xfrm>
            <a:off x="422400" y="481044"/>
            <a:ext cx="11347200" cy="344488"/>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br>
              <a:rPr kumimoji="0" lang="en-GB" sz="3200" b="1" i="0" u="none" strike="noStrike" kern="1200" cap="none" spc="0" normalizeH="0" baseline="0" noProof="0" dirty="0">
                <a:ln>
                  <a:noFill/>
                </a:ln>
                <a:solidFill>
                  <a:srgbClr val="AEA79F">
                    <a:lumMod val="40000"/>
                    <a:lumOff val="60000"/>
                  </a:srgbClr>
                </a:solidFill>
                <a:effectLst/>
                <a:uLnTx/>
                <a:uFillTx/>
                <a:latin typeface="Verdana"/>
                <a:ea typeface="+mj-ea"/>
                <a:cs typeface="+mj-cs"/>
              </a:rPr>
            </a:br>
            <a:r>
              <a:rPr kumimoji="0" lang="en-GB" sz="3200" b="1" i="0" u="none" strike="noStrike" kern="1200" cap="none" spc="0" normalizeH="0" baseline="0" noProof="0" dirty="0">
                <a:ln>
                  <a:noFill/>
                </a:ln>
                <a:solidFill>
                  <a:srgbClr val="001965"/>
                </a:solidFill>
                <a:effectLst/>
                <a:uLnTx/>
                <a:uFillTx/>
                <a:latin typeface="Verdana"/>
                <a:ea typeface="+mj-ea"/>
                <a:cs typeface="+mj-cs"/>
              </a:rPr>
              <a:t>Graduate Programmes – at a glance</a:t>
            </a:r>
          </a:p>
        </p:txBody>
      </p:sp>
      <p:sp>
        <p:nvSpPr>
          <p:cNvPr id="56" name="TextBox 55"/>
          <p:cNvSpPr txBox="1"/>
          <p:nvPr/>
        </p:nvSpPr>
        <p:spPr>
          <a:xfrm>
            <a:off x="1238250" y="1612900"/>
            <a:ext cx="5016500" cy="344488"/>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lIns="48000" tIns="48000" rIns="48000" bIns="4800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1965"/>
                </a:solidFill>
                <a:effectLst/>
                <a:uLnTx/>
                <a:uFillTx/>
                <a:latin typeface="Verdana"/>
                <a:ea typeface="+mn-ea"/>
                <a:cs typeface="+mn-cs"/>
              </a:rPr>
              <a:t>Former graduates taking up key positions</a:t>
            </a:r>
          </a:p>
        </p:txBody>
      </p:sp>
      <p:graphicFrame>
        <p:nvGraphicFramePr>
          <p:cNvPr id="79" name="Chart 78">
            <a:extLst>
              <a:ext uri="{FF2B5EF4-FFF2-40B4-BE49-F238E27FC236}">
                <a16:creationId xmlns:a16="http://schemas.microsoft.com/office/drawing/2014/main" id="{F633CBA0-463B-490A-AEAA-FFDCA78F7F64}"/>
              </a:ext>
            </a:extLst>
          </p:cNvPr>
          <p:cNvGraphicFramePr/>
          <p:nvPr>
            <p:custDataLst>
              <p:tags r:id="rId4"/>
            </p:custDataLst>
          </p:nvPr>
        </p:nvGraphicFramePr>
        <p:xfrm>
          <a:off x="3294063" y="2300288"/>
          <a:ext cx="1616075" cy="1616075"/>
        </p:xfrm>
        <a:graphic>
          <a:graphicData uri="http://schemas.openxmlformats.org/drawingml/2006/chart">
            <c:chart xmlns:c="http://schemas.openxmlformats.org/drawingml/2006/chart" xmlns:r="http://schemas.openxmlformats.org/officeDocument/2006/relationships" r:id="rId27"/>
          </a:graphicData>
        </a:graphic>
      </p:graphicFrame>
      <p:cxnSp>
        <p:nvCxnSpPr>
          <p:cNvPr id="59" name="Straight Connector 58"/>
          <p:cNvCxnSpPr/>
          <p:nvPr>
            <p:custDataLst>
              <p:tags r:id="rId5"/>
            </p:custDataLst>
          </p:nvPr>
        </p:nvCxnSpPr>
        <p:spPr bwMode="auto">
          <a:xfrm>
            <a:off x="4102100" y="3108325"/>
            <a:ext cx="279400" cy="66992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6"/>
            </p:custDataLst>
          </p:nvPr>
        </p:nvCxnSpPr>
        <p:spPr bwMode="auto">
          <a:xfrm flipH="1" flipV="1">
            <a:off x="3527425" y="2665413"/>
            <a:ext cx="574675" cy="44291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0" name="Rectangle 59"/>
          <p:cNvSpPr/>
          <p:nvPr>
            <p:custDataLst>
              <p:tags r:id="rId7"/>
            </p:custDataLst>
          </p:nvPr>
        </p:nvSpPr>
        <p:spPr bwMode="auto">
          <a:xfrm>
            <a:off x="1319213" y="2455863"/>
            <a:ext cx="238125" cy="177800"/>
          </a:xfrm>
          <a:prstGeom prst="rect">
            <a:avLst/>
          </a:prstGeom>
          <a:solidFill>
            <a:schemeClr val="accent5"/>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 name="Rectangle 2"/>
          <p:cNvSpPr/>
          <p:nvPr>
            <p:custDataLst>
              <p:tags r:id="rId8"/>
            </p:custDataLst>
          </p:nvPr>
        </p:nvSpPr>
        <p:spPr bwMode="auto">
          <a:xfrm>
            <a:off x="1319213" y="2709863"/>
            <a:ext cx="238125" cy="177800"/>
          </a:xfrm>
          <a:prstGeom prst="rect">
            <a:avLst/>
          </a:prstGeom>
          <a:solidFill>
            <a:schemeClr val="accent2"/>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61" name="Rectangle 60"/>
          <p:cNvSpPr/>
          <p:nvPr>
            <p:custDataLst>
              <p:tags r:id="rId9"/>
            </p:custDataLst>
          </p:nvPr>
        </p:nvSpPr>
        <p:spPr bwMode="auto">
          <a:xfrm>
            <a:off x="1319213" y="2963863"/>
            <a:ext cx="238125" cy="177800"/>
          </a:xfrm>
          <a:prstGeom prst="rect">
            <a:avLst/>
          </a:prstGeom>
          <a:solidFill>
            <a:schemeClr val="accent1"/>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62" name="Rectangle 61"/>
          <p:cNvSpPr/>
          <p:nvPr>
            <p:custDataLst>
              <p:tags r:id="rId10"/>
            </p:custDataLst>
          </p:nvPr>
        </p:nvSpPr>
        <p:spPr bwMode="auto">
          <a:xfrm>
            <a:off x="1319213" y="3217863"/>
            <a:ext cx="238125" cy="177800"/>
          </a:xfrm>
          <a:prstGeom prst="rect">
            <a:avLst/>
          </a:prstGeom>
          <a:solidFill>
            <a:srgbClr val="4C6C9C"/>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66" name="Rectangle 65"/>
          <p:cNvSpPr/>
          <p:nvPr>
            <p:custDataLst>
              <p:tags r:id="rId11"/>
            </p:custDataLst>
          </p:nvPr>
        </p:nvSpPr>
        <p:spPr bwMode="auto">
          <a:xfrm>
            <a:off x="1319213" y="3471863"/>
            <a:ext cx="238125" cy="177800"/>
          </a:xfrm>
          <a:prstGeom prst="rect">
            <a:avLst/>
          </a:prstGeom>
          <a:solidFill>
            <a:schemeClr val="bg2"/>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65" name="Rectangle 64"/>
          <p:cNvSpPr/>
          <p:nvPr>
            <p:custDataLst>
              <p:tags r:id="rId12"/>
            </p:custDataLst>
          </p:nvPr>
        </p:nvSpPr>
        <p:spPr bwMode="auto">
          <a:xfrm>
            <a:off x="1319213" y="3725863"/>
            <a:ext cx="238125" cy="177800"/>
          </a:xfrm>
          <a:prstGeom prst="rect">
            <a:avLst/>
          </a:prstGeom>
          <a:solidFill>
            <a:srgbClr val="F3B03E"/>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63" name="Rectangle 62"/>
          <p:cNvSpPr/>
          <p:nvPr>
            <p:custDataLst>
              <p:tags r:id="rId13"/>
            </p:custDataLst>
          </p:nvPr>
        </p:nvSpPr>
        <p:spPr bwMode="auto">
          <a:xfrm>
            <a:off x="1319213" y="3979863"/>
            <a:ext cx="238125" cy="177800"/>
          </a:xfrm>
          <a:prstGeom prst="rect">
            <a:avLst/>
          </a:prstGeom>
          <a:solidFill>
            <a:schemeClr val="accent1"/>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64" name="Rectangle 63"/>
          <p:cNvSpPr/>
          <p:nvPr>
            <p:custDataLst>
              <p:tags r:id="rId14"/>
            </p:custDataLst>
          </p:nvPr>
        </p:nvSpPr>
        <p:spPr bwMode="auto">
          <a:xfrm>
            <a:off x="1319213" y="4233863"/>
            <a:ext cx="238125" cy="177800"/>
          </a:xfrm>
          <a:prstGeom prst="rect">
            <a:avLst/>
          </a:prstGeom>
          <a:solidFill>
            <a:srgbClr val="007770"/>
          </a:solidFill>
          <a:ln w="9525" algn="ctr">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73" name="Text Placeholder 2"/>
          <p:cNvSpPr>
            <a:spLocks noGrp="1"/>
          </p:cNvSpPr>
          <p:nvPr>
            <p:custDataLst>
              <p:tags r:id="rId15"/>
            </p:custDataLst>
          </p:nvPr>
        </p:nvSpPr>
        <p:spPr bwMode="auto">
          <a:xfrm>
            <a:off x="1608138" y="2451100"/>
            <a:ext cx="357188"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6213" indent="-176213"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1pPr>
            <a:lvl2pPr marL="360363" indent="-184150"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2pPr>
            <a:lvl3pPr marL="536575" indent="-176213" algn="l" defTabSz="914400" rtl="0" eaLnBrk="1" latinLnBrk="0" hangingPunct="1">
              <a:spcBef>
                <a:spcPct val="20000"/>
              </a:spcBef>
              <a:buClr>
                <a:schemeClr val="tx1"/>
              </a:buClr>
              <a:buFont typeface="Wingdings" pitchFamily="2" charset="2"/>
              <a:buChar char="§"/>
              <a:defRPr sz="18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8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fld id="{C7DADC59-FEFA-453D-ACD5-7AA48B6633C9}" type="datetime'''''''''''C''''''''''''''''''''''''''''''''''''EO'''''">
              <a:rPr kumimoji="0" lang="en-GB" altLang="en-US" sz="1333" b="0" i="0" u="none" strike="noStrike" kern="1200" cap="none" spc="0" normalizeH="0" baseline="0" noProof="0">
                <a:ln>
                  <a:noFill/>
                </a:ln>
                <a:solidFill>
                  <a:srgbClr val="001965"/>
                </a:solidFill>
                <a:effectLst/>
                <a:uLnTx/>
                <a:uFillTx/>
                <a:latin typeface="Verdana"/>
                <a:ea typeface="+mn-ea"/>
                <a:cs typeface="+mn-cs"/>
                <a:sym typeface="+mn-lt"/>
              </a:rPr>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t>CEO</a:t>
            </a:fld>
            <a:endParaRPr kumimoji="0" lang="en-GB" sz="1333" b="0" i="0" u="none" strike="noStrike" kern="1200" cap="none" spc="0" normalizeH="0" baseline="0" noProof="0" dirty="0">
              <a:ln>
                <a:noFill/>
              </a:ln>
              <a:solidFill>
                <a:srgbClr val="001965"/>
              </a:solidFill>
              <a:effectLst/>
              <a:uLnTx/>
              <a:uFillTx/>
              <a:latin typeface="Verdana"/>
              <a:ea typeface="+mn-ea"/>
              <a:cs typeface="+mn-cs"/>
              <a:sym typeface="+mn-lt"/>
            </a:endParaRPr>
          </a:p>
        </p:txBody>
      </p:sp>
      <p:sp>
        <p:nvSpPr>
          <p:cNvPr id="72" name="Text Placeholder 2"/>
          <p:cNvSpPr>
            <a:spLocks noGrp="1"/>
          </p:cNvSpPr>
          <p:nvPr>
            <p:custDataLst>
              <p:tags r:id="rId16"/>
            </p:custDataLst>
          </p:nvPr>
        </p:nvSpPr>
        <p:spPr bwMode="auto">
          <a:xfrm>
            <a:off x="1608138" y="2959100"/>
            <a:ext cx="334963"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6213" indent="-176213"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1pPr>
            <a:lvl2pPr marL="360363" indent="-184150"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2pPr>
            <a:lvl3pPr marL="536575" indent="-176213" algn="l" defTabSz="914400" rtl="0" eaLnBrk="1" latinLnBrk="0" hangingPunct="1">
              <a:spcBef>
                <a:spcPct val="20000"/>
              </a:spcBef>
              <a:buClr>
                <a:schemeClr val="tx1"/>
              </a:buClr>
              <a:buFont typeface="Wingdings" pitchFamily="2" charset="2"/>
              <a:buChar char="§"/>
              <a:defRPr sz="18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8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fld id="{F38D57FD-8493-408A-B687-86560766DA93}" type="datetime'''''''''CV''''''''''''''''''P'''''''''''''''''''''">
              <a:rPr kumimoji="0" lang="en-GB" altLang="en-US" sz="1333" b="0" i="0" u="none" strike="noStrike" kern="1200" cap="none" spc="0" normalizeH="0" baseline="0" noProof="0">
                <a:ln>
                  <a:noFill/>
                </a:ln>
                <a:solidFill>
                  <a:srgbClr val="001965"/>
                </a:solidFill>
                <a:effectLst/>
                <a:uLnTx/>
                <a:uFillTx/>
                <a:latin typeface="Verdana"/>
                <a:ea typeface="+mn-ea"/>
                <a:cs typeface="+mn-cs"/>
                <a:sym typeface="+mn-lt"/>
              </a:rPr>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t>CVP</a:t>
            </a:fld>
            <a:endParaRPr kumimoji="0" lang="en-GB" sz="1333" b="0" i="0" u="none" strike="noStrike" kern="1200" cap="none" spc="0" normalizeH="0" baseline="0" noProof="0" dirty="0">
              <a:ln>
                <a:noFill/>
              </a:ln>
              <a:solidFill>
                <a:srgbClr val="001965"/>
              </a:solidFill>
              <a:effectLst/>
              <a:uLnTx/>
              <a:uFillTx/>
              <a:latin typeface="Verdana"/>
              <a:ea typeface="+mn-ea"/>
              <a:cs typeface="+mn-cs"/>
              <a:sym typeface="+mn-lt"/>
            </a:endParaRPr>
          </a:p>
        </p:txBody>
      </p:sp>
      <p:sp>
        <p:nvSpPr>
          <p:cNvPr id="55" name="Text Placeholder 2"/>
          <p:cNvSpPr>
            <a:spLocks noGrp="1"/>
          </p:cNvSpPr>
          <p:nvPr>
            <p:custDataLst>
              <p:tags r:id="rId17"/>
            </p:custDataLst>
          </p:nvPr>
        </p:nvSpPr>
        <p:spPr bwMode="auto">
          <a:xfrm>
            <a:off x="1608138" y="2705100"/>
            <a:ext cx="323850"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6213" indent="-176213"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1pPr>
            <a:lvl2pPr marL="360363" indent="-184150"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2pPr>
            <a:lvl3pPr marL="536575" indent="-176213" algn="l" defTabSz="914400" rtl="0" eaLnBrk="1" latinLnBrk="0" hangingPunct="1">
              <a:spcBef>
                <a:spcPct val="20000"/>
              </a:spcBef>
              <a:buClr>
                <a:schemeClr val="tx1"/>
              </a:buClr>
              <a:buFont typeface="Wingdings" pitchFamily="2" charset="2"/>
              <a:buChar char="§"/>
              <a:defRPr sz="18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8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fld id="{55BCA2E5-DA86-4A4E-BCDE-71849A02D873}" type="datetime'''''''''''''''E''''V''''''''''''''''''P'">
              <a:rPr kumimoji="0" lang="en-GB" altLang="en-US" sz="1333" b="0" i="0" u="none" strike="noStrike" kern="1200" cap="none" spc="0" normalizeH="0" baseline="0" noProof="0">
                <a:ln>
                  <a:noFill/>
                </a:ln>
                <a:solidFill>
                  <a:srgbClr val="001965"/>
                </a:solidFill>
                <a:effectLst/>
                <a:uLnTx/>
                <a:uFillTx/>
                <a:latin typeface="Verdana"/>
                <a:ea typeface="+mn-ea"/>
                <a:cs typeface="+mn-cs"/>
                <a:sym typeface="+mn-lt"/>
              </a:rPr>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t>EVP</a:t>
            </a:fld>
            <a:endParaRPr kumimoji="0" lang="en-GB" sz="1333" b="0" i="0" u="none" strike="noStrike" kern="1200" cap="none" spc="0" normalizeH="0" baseline="0" noProof="0" dirty="0">
              <a:ln>
                <a:noFill/>
              </a:ln>
              <a:solidFill>
                <a:srgbClr val="001965"/>
              </a:solidFill>
              <a:effectLst/>
              <a:uLnTx/>
              <a:uFillTx/>
              <a:latin typeface="Verdana"/>
              <a:ea typeface="+mn-ea"/>
              <a:cs typeface="+mn-cs"/>
              <a:sym typeface="+mn-lt"/>
            </a:endParaRPr>
          </a:p>
        </p:txBody>
      </p:sp>
      <p:sp>
        <p:nvSpPr>
          <p:cNvPr id="71" name="Text Placeholder 2"/>
          <p:cNvSpPr>
            <a:spLocks noGrp="1"/>
          </p:cNvSpPr>
          <p:nvPr>
            <p:custDataLst>
              <p:tags r:id="rId18"/>
            </p:custDataLst>
          </p:nvPr>
        </p:nvSpPr>
        <p:spPr bwMode="auto">
          <a:xfrm>
            <a:off x="1608138" y="3213100"/>
            <a:ext cx="274638"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6213" indent="-176213"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1pPr>
            <a:lvl2pPr marL="360363" indent="-184150"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2pPr>
            <a:lvl3pPr marL="536575" indent="-176213" algn="l" defTabSz="914400" rtl="0" eaLnBrk="1" latinLnBrk="0" hangingPunct="1">
              <a:spcBef>
                <a:spcPct val="20000"/>
              </a:spcBef>
              <a:buClr>
                <a:schemeClr val="tx1"/>
              </a:buClr>
              <a:buFont typeface="Wingdings" pitchFamily="2" charset="2"/>
              <a:buChar char="§"/>
              <a:defRPr sz="18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8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fld id="{8EDA3164-36B7-4441-8B57-9C5D545CB5A5}" type="datetime'''''''''''''''''''''''''''''''''''''''''''''''''''G''''''''M'">
              <a:rPr kumimoji="0" lang="en-GB" altLang="en-US" sz="1333" b="0" i="0" u="none" strike="noStrike" kern="1200" cap="none" spc="0" normalizeH="0" baseline="0" noProof="0">
                <a:ln>
                  <a:noFill/>
                </a:ln>
                <a:solidFill>
                  <a:srgbClr val="001965"/>
                </a:solidFill>
                <a:effectLst/>
                <a:uLnTx/>
                <a:uFillTx/>
                <a:latin typeface="Verdana"/>
                <a:ea typeface="+mn-ea"/>
                <a:cs typeface="+mn-cs"/>
                <a:sym typeface="+mn-lt"/>
              </a:rPr>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t>GM</a:t>
            </a:fld>
            <a:endParaRPr kumimoji="0" lang="en-GB" sz="1333" b="0" i="0" u="none" strike="noStrike" kern="1200" cap="none" spc="0" normalizeH="0" baseline="0" noProof="0" dirty="0">
              <a:ln>
                <a:noFill/>
              </a:ln>
              <a:solidFill>
                <a:srgbClr val="001965"/>
              </a:solidFill>
              <a:effectLst/>
              <a:uLnTx/>
              <a:uFillTx/>
              <a:latin typeface="Verdana"/>
              <a:ea typeface="+mn-ea"/>
              <a:cs typeface="+mn-cs"/>
              <a:sym typeface="+mn-lt"/>
            </a:endParaRPr>
          </a:p>
        </p:txBody>
      </p:sp>
      <p:sp>
        <p:nvSpPr>
          <p:cNvPr id="70" name="Text Placeholder 2"/>
          <p:cNvSpPr>
            <a:spLocks noGrp="1"/>
          </p:cNvSpPr>
          <p:nvPr>
            <p:custDataLst>
              <p:tags r:id="rId19"/>
            </p:custDataLst>
          </p:nvPr>
        </p:nvSpPr>
        <p:spPr bwMode="auto">
          <a:xfrm>
            <a:off x="1608138" y="3467100"/>
            <a:ext cx="217488"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6213" indent="-176213"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1pPr>
            <a:lvl2pPr marL="360363" indent="-184150"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2pPr>
            <a:lvl3pPr marL="536575" indent="-176213" algn="l" defTabSz="914400" rtl="0" eaLnBrk="1" latinLnBrk="0" hangingPunct="1">
              <a:spcBef>
                <a:spcPct val="20000"/>
              </a:spcBef>
              <a:buClr>
                <a:schemeClr val="tx1"/>
              </a:buClr>
              <a:buFont typeface="Wingdings" pitchFamily="2" charset="2"/>
              <a:buChar char="§"/>
              <a:defRPr sz="18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8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fld id="{5037A6B5-6569-4D5F-9BE3-D6E74A05B1EA}" type="datetime'''''''''''''''''''V''''''''''''''''''''''P'''''''''''''''''">
              <a:rPr kumimoji="0" lang="en-GB" altLang="en-US" sz="1333" b="0" i="0" u="none" strike="noStrike" kern="1200" cap="none" spc="0" normalizeH="0" baseline="0" noProof="0">
                <a:ln>
                  <a:noFill/>
                </a:ln>
                <a:solidFill>
                  <a:srgbClr val="001965"/>
                </a:solidFill>
                <a:effectLst/>
                <a:uLnTx/>
                <a:uFillTx/>
                <a:latin typeface="Verdana"/>
                <a:ea typeface="+mn-ea"/>
                <a:cs typeface="+mn-cs"/>
                <a:sym typeface="+mn-lt"/>
              </a:rPr>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t>VP</a:t>
            </a:fld>
            <a:endParaRPr kumimoji="0" lang="en-GB" sz="1333" b="0" i="0" u="none" strike="noStrike" kern="1200" cap="none" spc="0" normalizeH="0" baseline="0" noProof="0" dirty="0">
              <a:ln>
                <a:noFill/>
              </a:ln>
              <a:solidFill>
                <a:srgbClr val="001965"/>
              </a:solidFill>
              <a:effectLst/>
              <a:uLnTx/>
              <a:uFillTx/>
              <a:latin typeface="Verdana"/>
              <a:ea typeface="+mn-ea"/>
              <a:cs typeface="+mn-cs"/>
              <a:sym typeface="+mn-lt"/>
            </a:endParaRPr>
          </a:p>
        </p:txBody>
      </p:sp>
      <p:sp>
        <p:nvSpPr>
          <p:cNvPr id="69" name="Text Placeholder 2"/>
          <p:cNvSpPr>
            <a:spLocks noGrp="1"/>
          </p:cNvSpPr>
          <p:nvPr>
            <p:custDataLst>
              <p:tags r:id="rId20"/>
            </p:custDataLst>
          </p:nvPr>
        </p:nvSpPr>
        <p:spPr bwMode="auto">
          <a:xfrm>
            <a:off x="1608138" y="3721100"/>
            <a:ext cx="1490663"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6213" indent="-176213"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1pPr>
            <a:lvl2pPr marL="360363" indent="-184150"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2pPr>
            <a:lvl3pPr marL="536575" indent="-176213" algn="l" defTabSz="914400" rtl="0" eaLnBrk="1" latinLnBrk="0" hangingPunct="1">
              <a:spcBef>
                <a:spcPct val="20000"/>
              </a:spcBef>
              <a:buClr>
                <a:schemeClr val="tx1"/>
              </a:buClr>
              <a:buFont typeface="Wingdings" pitchFamily="2" charset="2"/>
              <a:buChar char="§"/>
              <a:defRPr sz="18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8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fld id="{E2C6BD3F-BF8A-4B66-BD54-3D8E56A25CD0}" type="datetime'''''Ma''''n''''a''''g''''''er/''Dir''e''c''''to''r'">
              <a:rPr kumimoji="0" lang="en-GB" altLang="en-US" sz="1333" b="0" i="0" u="none" strike="noStrike" kern="1200" cap="none" spc="0" normalizeH="0" baseline="0" noProof="0">
                <a:ln>
                  <a:noFill/>
                </a:ln>
                <a:solidFill>
                  <a:srgbClr val="001965"/>
                </a:solidFill>
                <a:effectLst/>
                <a:uLnTx/>
                <a:uFillTx/>
                <a:latin typeface="Verdana"/>
                <a:ea typeface="+mn-ea"/>
                <a:cs typeface="+mn-cs"/>
                <a:sym typeface="+mn-lt"/>
              </a:rPr>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t>Manager/Director</a:t>
            </a:fld>
            <a:endParaRPr kumimoji="0" lang="en-GB" sz="1333" b="0" i="0" u="none" strike="noStrike" kern="1200" cap="none" spc="0" normalizeH="0" baseline="0" noProof="0" dirty="0">
              <a:ln>
                <a:noFill/>
              </a:ln>
              <a:solidFill>
                <a:srgbClr val="001965"/>
              </a:solidFill>
              <a:effectLst/>
              <a:uLnTx/>
              <a:uFillTx/>
              <a:latin typeface="Verdana"/>
              <a:ea typeface="+mn-ea"/>
              <a:cs typeface="+mn-cs"/>
              <a:sym typeface="+mn-lt"/>
            </a:endParaRPr>
          </a:p>
        </p:txBody>
      </p:sp>
      <p:sp>
        <p:nvSpPr>
          <p:cNvPr id="68" name="Text Placeholder 2"/>
          <p:cNvSpPr>
            <a:spLocks noGrp="1"/>
          </p:cNvSpPr>
          <p:nvPr>
            <p:custDataLst>
              <p:tags r:id="rId21"/>
            </p:custDataLst>
          </p:nvPr>
        </p:nvSpPr>
        <p:spPr bwMode="auto">
          <a:xfrm>
            <a:off x="1608138" y="3975100"/>
            <a:ext cx="1776413"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6213" indent="-176213"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1pPr>
            <a:lvl2pPr marL="360363" indent="-184150"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2pPr>
            <a:lvl3pPr marL="536575" indent="-176213" algn="l" defTabSz="914400" rtl="0" eaLnBrk="1" latinLnBrk="0" hangingPunct="1">
              <a:spcBef>
                <a:spcPct val="20000"/>
              </a:spcBef>
              <a:buClr>
                <a:schemeClr val="tx1"/>
              </a:buClr>
              <a:buFont typeface="Wingdings" pitchFamily="2" charset="2"/>
              <a:buChar char="§"/>
              <a:defRPr sz="18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8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fld id="{39BB92D0-F8D0-4220-8F95-85441671F450}" type="datetime'Sr./P''''ro''''je''''''''c''''t'''''''' M''an''agers'''''''''">
              <a:rPr kumimoji="0" lang="en-GB" altLang="en-US" sz="1333" b="0" i="0" u="none" strike="noStrike" kern="1200" cap="none" spc="0" normalizeH="0" baseline="0" noProof="0">
                <a:ln>
                  <a:noFill/>
                </a:ln>
                <a:solidFill>
                  <a:srgbClr val="001965"/>
                </a:solidFill>
                <a:effectLst/>
                <a:uLnTx/>
                <a:uFillTx/>
                <a:latin typeface="Verdana"/>
                <a:ea typeface="+mn-ea"/>
                <a:cs typeface="+mn-cs"/>
                <a:sym typeface="+mn-lt"/>
              </a:rPr>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t>Sr./Project Managers</a:t>
            </a:fld>
            <a:endParaRPr kumimoji="0" lang="en-GB" sz="1333" b="0" i="0" u="none" strike="noStrike" kern="1200" cap="none" spc="0" normalizeH="0" baseline="0" noProof="0" dirty="0">
              <a:ln>
                <a:noFill/>
              </a:ln>
              <a:solidFill>
                <a:srgbClr val="001965"/>
              </a:solidFill>
              <a:effectLst/>
              <a:uLnTx/>
              <a:uFillTx/>
              <a:latin typeface="Verdana"/>
              <a:ea typeface="+mn-ea"/>
              <a:cs typeface="+mn-cs"/>
              <a:sym typeface="+mn-lt"/>
            </a:endParaRPr>
          </a:p>
        </p:txBody>
      </p:sp>
      <p:sp>
        <p:nvSpPr>
          <p:cNvPr id="67" name="Text Placeholder 2"/>
          <p:cNvSpPr>
            <a:spLocks noGrp="1"/>
          </p:cNvSpPr>
          <p:nvPr>
            <p:custDataLst>
              <p:tags r:id="rId22"/>
            </p:custDataLst>
          </p:nvPr>
        </p:nvSpPr>
        <p:spPr bwMode="auto">
          <a:xfrm>
            <a:off x="1608138" y="4229100"/>
            <a:ext cx="1198563" cy="203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6213" indent="-176213"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1pPr>
            <a:lvl2pPr marL="360363" indent="-184150" algn="l" defTabSz="914400" rtl="0" eaLnBrk="1" latinLnBrk="0" hangingPunct="1">
              <a:spcBef>
                <a:spcPct val="20000"/>
              </a:spcBef>
              <a:buClr>
                <a:schemeClr val="tx1"/>
              </a:buClr>
              <a:buFont typeface="Verdana" pitchFamily="34" charset="0"/>
              <a:buChar char="­"/>
              <a:defRPr sz="1800" kern="1200">
                <a:solidFill>
                  <a:schemeClr val="accent2"/>
                </a:solidFill>
                <a:latin typeface="+mn-lt"/>
                <a:ea typeface="+mn-ea"/>
                <a:cs typeface="+mn-cs"/>
              </a:defRPr>
            </a:lvl2pPr>
            <a:lvl3pPr marL="536575" indent="-176213" algn="l" defTabSz="914400" rtl="0" eaLnBrk="1" latinLnBrk="0" hangingPunct="1">
              <a:spcBef>
                <a:spcPct val="20000"/>
              </a:spcBef>
              <a:buClr>
                <a:schemeClr val="tx1"/>
              </a:buClr>
              <a:buFont typeface="Wingdings" pitchFamily="2" charset="2"/>
              <a:buChar char="§"/>
              <a:defRPr sz="18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8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fld id="{869FC97C-829A-4B2E-BB79-9EC6BDEEA6F7}" type="datetime'Sr./S''p''''''''''e''c''''ia''''l''i''s''''t''s'''''''''''''">
              <a:rPr kumimoji="0" lang="en-GB" altLang="en-US" sz="1333" b="0" i="0" u="none" strike="noStrike" kern="1200" cap="none" spc="0" normalizeH="0" baseline="0" noProof="0">
                <a:ln>
                  <a:noFill/>
                </a:ln>
                <a:solidFill>
                  <a:srgbClr val="001965"/>
                </a:solidFill>
                <a:effectLst/>
                <a:uLnTx/>
                <a:uFillTx/>
                <a:latin typeface="Verdana"/>
                <a:ea typeface="+mn-ea"/>
                <a:cs typeface="+mn-cs"/>
                <a:sym typeface="+mn-lt"/>
              </a:rPr>
              <a:pPr marL="0" marR="0" lvl="0" indent="0" algn="l" defTabSz="1219170" rtl="0" eaLnBrk="1" fontAlgn="auto" latinLnBrk="0" hangingPunct="1">
                <a:lnSpc>
                  <a:spcPct val="100000"/>
                </a:lnSpc>
                <a:spcBef>
                  <a:spcPct val="0"/>
                </a:spcBef>
                <a:spcAft>
                  <a:spcPct val="0"/>
                </a:spcAft>
                <a:buClr>
                  <a:srgbClr val="001965"/>
                </a:buClr>
                <a:buSzTx/>
                <a:buFont typeface="Verdana" pitchFamily="34" charset="0"/>
                <a:buNone/>
                <a:tabLst/>
                <a:defRPr/>
              </a:pPr>
              <a:t>Sr./Specialists</a:t>
            </a:fld>
            <a:endParaRPr kumimoji="0" lang="en-GB" sz="1333" b="0" i="0" u="none" strike="noStrike" kern="1200" cap="none" spc="0" normalizeH="0" baseline="0" noProof="0" dirty="0">
              <a:ln>
                <a:noFill/>
              </a:ln>
              <a:solidFill>
                <a:srgbClr val="001965"/>
              </a:solidFill>
              <a:effectLst/>
              <a:uLnTx/>
              <a:uFillTx/>
              <a:latin typeface="Verdana"/>
              <a:ea typeface="+mn-ea"/>
              <a:cs typeface="+mn-cs"/>
              <a:sym typeface="+mn-lt"/>
            </a:endParaRPr>
          </a:p>
        </p:txBody>
      </p:sp>
      <p:sp>
        <p:nvSpPr>
          <p:cNvPr id="49" name="Rectangle 48">
            <a:extLst>
              <a:ext uri="{FF2B5EF4-FFF2-40B4-BE49-F238E27FC236}">
                <a16:creationId xmlns:a16="http://schemas.microsoft.com/office/drawing/2014/main" id="{F134DC62-7B6D-456C-8E0A-F271863A78FF}"/>
              </a:ext>
            </a:extLst>
          </p:cNvPr>
          <p:cNvSpPr/>
          <p:nvPr/>
        </p:nvSpPr>
        <p:spPr>
          <a:xfrm>
            <a:off x="10661904" y="5851590"/>
            <a:ext cx="1271016" cy="8875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Verdana"/>
              <a:ea typeface="+mn-ea"/>
              <a:cs typeface="+mn-cs"/>
            </a:endParaRPr>
          </a:p>
        </p:txBody>
      </p:sp>
      <p:sp>
        <p:nvSpPr>
          <p:cNvPr id="76" name="Slide Number Placeholder 4">
            <a:extLst>
              <a:ext uri="{FF2B5EF4-FFF2-40B4-BE49-F238E27FC236}">
                <a16:creationId xmlns:a16="http://schemas.microsoft.com/office/drawing/2014/main" id="{F014F0F9-EA02-4D31-BCCE-B18004EC9AD4}"/>
              </a:ext>
            </a:extLst>
          </p:cNvPr>
          <p:cNvSpPr txBox="1">
            <a:spLocks/>
          </p:cNvSpPr>
          <p:nvPr/>
        </p:nvSpPr>
        <p:spPr>
          <a:xfrm>
            <a:off x="324000" y="324000"/>
            <a:ext cx="324000" cy="125850"/>
          </a:xfrm>
          <a:prstGeom prst="rect">
            <a:avLst/>
          </a:prstGeom>
        </p:spPr>
        <p:txBody>
          <a:bodyPr vert="horz" lIns="0" tIns="0" rIns="0" bIns="0" rtlCol="0" anchor="t"/>
          <a:lstStyle>
            <a:defPPr>
              <a:defRPr lang="en-US"/>
            </a:defPPr>
            <a:lvl1pPr marL="0" algn="l"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GB" sz="700" b="0" i="0" u="none" strike="noStrike" kern="1200" cap="none" spc="0" normalizeH="0" baseline="0" noProof="0" smtClean="0">
                <a:ln>
                  <a:noFill/>
                </a:ln>
                <a:solidFill>
                  <a:srgbClr val="001965"/>
                </a:solidFill>
                <a:effectLst/>
                <a:uLnTx/>
                <a:uFillTx/>
                <a:latin typeface="Apis For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700" b="0" i="0" u="none" strike="noStrike" kern="1200" cap="none" spc="0" normalizeH="0" baseline="0" noProof="0" dirty="0">
              <a:ln>
                <a:noFill/>
              </a:ln>
              <a:solidFill>
                <a:srgbClr val="001965"/>
              </a:solidFill>
              <a:effectLst/>
              <a:uLnTx/>
              <a:uFillTx/>
              <a:latin typeface="Apis For Office"/>
              <a:ea typeface="+mn-ea"/>
              <a:cs typeface="+mn-cs"/>
            </a:endParaRPr>
          </a:p>
        </p:txBody>
      </p:sp>
      <p:sp>
        <p:nvSpPr>
          <p:cNvPr id="78" name="TextBox 77">
            <a:extLst>
              <a:ext uri="{FF2B5EF4-FFF2-40B4-BE49-F238E27FC236}">
                <a16:creationId xmlns:a16="http://schemas.microsoft.com/office/drawing/2014/main" id="{BAEE5855-3182-4137-B2AD-383D1B4A672C}"/>
              </a:ext>
            </a:extLst>
          </p:cNvPr>
          <p:cNvSpPr txBox="1"/>
          <p:nvPr/>
        </p:nvSpPr>
        <p:spPr>
          <a:xfrm>
            <a:off x="11218069" y="324000"/>
            <a:ext cx="648494" cy="107722"/>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Novo Nordisk</a:t>
            </a:r>
            <a:r>
              <a:rPr kumimoji="0" lang="en-GB" sz="700" b="0" i="0" u="none" strike="noStrike" kern="1200" cap="none" spc="0" normalizeH="0" baseline="30000" noProof="0" dirty="0">
                <a:ln>
                  <a:noFill/>
                </a:ln>
                <a:solidFill>
                  <a:srgbClr val="001965"/>
                </a:solidFill>
                <a:effectLst/>
                <a:uLnTx/>
                <a:uFillTx/>
                <a:latin typeface="Apis For Office"/>
                <a:ea typeface="+mn-ea"/>
                <a:cs typeface="+mn-cs"/>
              </a:rPr>
              <a:t>®</a:t>
            </a:r>
          </a:p>
        </p:txBody>
      </p:sp>
      <p:pic>
        <p:nvPicPr>
          <p:cNvPr id="4" name="Picture 3">
            <a:extLst>
              <a:ext uri="{FF2B5EF4-FFF2-40B4-BE49-F238E27FC236}">
                <a16:creationId xmlns:a16="http://schemas.microsoft.com/office/drawing/2014/main" id="{8E71BEDC-CD4B-4D16-AD86-39F3BCEC88B1}"/>
              </a:ext>
            </a:extLst>
          </p:cNvPr>
          <p:cNvPicPr>
            <a:picLocks noChangeAspect="1"/>
          </p:cNvPicPr>
          <p:nvPr/>
        </p:nvPicPr>
        <p:blipFill>
          <a:blip r:embed="rId28"/>
          <a:stretch>
            <a:fillRect/>
          </a:stretch>
        </p:blipFill>
        <p:spPr>
          <a:xfrm>
            <a:off x="732292" y="294057"/>
            <a:ext cx="1969179" cy="176799"/>
          </a:xfrm>
          <a:prstGeom prst="rect">
            <a:avLst/>
          </a:prstGeom>
        </p:spPr>
      </p:pic>
    </p:spTree>
    <p:extLst>
      <p:ext uri="{BB962C8B-B14F-4D97-AF65-F5344CB8AC3E}">
        <p14:creationId xmlns:p14="http://schemas.microsoft.com/office/powerpoint/2010/main" val="13663905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D59ABC-1EAE-4E2C-A069-F8F0941B768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9" name="think-cell Slide" r:id="rId6" imgW="416" imgH="416" progId="TCLayout.ActiveDocument.1">
                  <p:embed/>
                </p:oleObj>
              </mc:Choice>
              <mc:Fallback>
                <p:oleObj name="think-cell Slide" r:id="rId6" imgW="416" imgH="416" progId="TCLayout.ActiveDocument.1">
                  <p:embed/>
                  <p:pic>
                    <p:nvPicPr>
                      <p:cNvPr id="4" name="Object 3" hidden="1">
                        <a:extLst>
                          <a:ext uri="{FF2B5EF4-FFF2-40B4-BE49-F238E27FC236}">
                            <a16:creationId xmlns:a16="http://schemas.microsoft.com/office/drawing/2014/main" id="{7BD59ABC-1EAE-4E2C-A069-F8F0941B76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143628D-B0E5-40BB-BD88-6E0BA23848B0}"/>
              </a:ext>
            </a:extLst>
          </p:cNvPr>
          <p:cNvSpPr/>
          <p:nvPr>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dirty="0" err="1">
              <a:ln>
                <a:noFill/>
              </a:ln>
              <a:solidFill>
                <a:srgbClr val="FFFFFF"/>
              </a:solidFill>
              <a:effectLst/>
              <a:uLnTx/>
              <a:uFillTx/>
              <a:latin typeface="Apis For Office" panose="020B0504010101010104" pitchFamily="34" charset="0"/>
              <a:ea typeface="+mn-ea"/>
              <a:cs typeface="+mn-cs"/>
              <a:sym typeface="Apis For Office" panose="020B0504010101010104" pitchFamily="34" charset="0"/>
            </a:endParaRPr>
          </a:p>
        </p:txBody>
      </p:sp>
      <p:sp>
        <p:nvSpPr>
          <p:cNvPr id="11" name="Titel 5">
            <a:extLst>
              <a:ext uri="{FF2B5EF4-FFF2-40B4-BE49-F238E27FC236}">
                <a16:creationId xmlns:a16="http://schemas.microsoft.com/office/drawing/2014/main" id="{C440A639-351E-4118-B0FE-35819D227739}"/>
              </a:ext>
            </a:extLst>
          </p:cNvPr>
          <p:cNvSpPr>
            <a:spLocks noGrp="1"/>
          </p:cNvSpPr>
          <p:nvPr>
            <p:ph type="title"/>
          </p:nvPr>
        </p:nvSpPr>
        <p:spPr>
          <a:xfrm>
            <a:off x="648000" y="647700"/>
            <a:ext cx="6406850" cy="5561013"/>
          </a:xfrm>
        </p:spPr>
        <p:txBody>
          <a:bodyPr anchor="t"/>
          <a:lstStyle/>
          <a:p>
            <a:r>
              <a:rPr lang="en-GB" sz="3600" dirty="0"/>
              <a:t>Next Steps</a:t>
            </a:r>
          </a:p>
        </p:txBody>
      </p:sp>
      <p:sp>
        <p:nvSpPr>
          <p:cNvPr id="5" name="Text Placeholder 4">
            <a:extLst>
              <a:ext uri="{FF2B5EF4-FFF2-40B4-BE49-F238E27FC236}">
                <a16:creationId xmlns:a16="http://schemas.microsoft.com/office/drawing/2014/main" id="{F39ABE74-2585-459F-A104-E4BA5F8B8089}"/>
              </a:ext>
            </a:extLst>
          </p:cNvPr>
          <p:cNvSpPr>
            <a:spLocks noGrp="1"/>
          </p:cNvSpPr>
          <p:nvPr>
            <p:ph type="body" sz="quarter" idx="13"/>
          </p:nvPr>
        </p:nvSpPr>
        <p:spPr/>
        <p:txBody>
          <a:bodyPr/>
          <a:lstStyle/>
          <a:p>
            <a:endParaRPr lang="da-DK"/>
          </a:p>
        </p:txBody>
      </p:sp>
      <p:sp>
        <p:nvSpPr>
          <p:cNvPr id="12" name="TextBox 65">
            <a:extLst>
              <a:ext uri="{FF2B5EF4-FFF2-40B4-BE49-F238E27FC236}">
                <a16:creationId xmlns:a16="http://schemas.microsoft.com/office/drawing/2014/main" id="{FF5D0511-1941-4278-B367-11A0C38723AF}"/>
              </a:ext>
            </a:extLst>
          </p:cNvPr>
          <p:cNvSpPr txBox="1">
            <a:spLocks/>
          </p:cNvSpPr>
          <p:nvPr/>
        </p:nvSpPr>
        <p:spPr>
          <a:xfrm flipH="1">
            <a:off x="2378828" y="2037628"/>
            <a:ext cx="1571517" cy="881624"/>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001965"/>
                </a:solidFill>
                <a:effectLst/>
                <a:uLnTx/>
                <a:uFillTx/>
                <a:latin typeface="Apis For Office"/>
                <a:ea typeface="+mn-ea"/>
                <a:cs typeface="+mn-cs"/>
              </a:rPr>
              <a:t>Apply!</a:t>
            </a:r>
            <a:br>
              <a:rPr kumimoji="0" lang="en-GB" sz="1051" b="1" i="0" u="none" strike="noStrike" kern="1200" cap="none" spc="0" normalizeH="0" baseline="0" noProof="0" dirty="0">
                <a:ln>
                  <a:noFill/>
                </a:ln>
                <a:solidFill>
                  <a:srgbClr val="001965"/>
                </a:solidFill>
                <a:effectLst/>
                <a:uLnTx/>
                <a:uFillTx/>
                <a:latin typeface="Apis For Office"/>
                <a:ea typeface="+mn-ea"/>
                <a:cs typeface="+mn-cs"/>
              </a:rPr>
            </a:br>
            <a:r>
              <a:rPr kumimoji="0" lang="en-GB" sz="1051" b="1" i="0" u="none" strike="noStrike" kern="1200" cap="none" spc="0" normalizeH="0" baseline="0" noProof="0" dirty="0">
                <a:ln>
                  <a:noFill/>
                </a:ln>
                <a:solidFill>
                  <a:srgbClr val="001965"/>
                </a:solidFill>
                <a:effectLst/>
                <a:uLnTx/>
                <a:uFillTx/>
                <a:latin typeface="Apis For Office"/>
                <a:ea typeface="+mn-ea"/>
                <a:cs typeface="+mn-cs"/>
              </a:rPr>
              <a:t>C</a:t>
            </a:r>
            <a:r>
              <a:rPr kumimoji="0" lang="en-GB" sz="1200" b="0" i="0" u="none" strike="noStrike" kern="1200" cap="none" spc="0" normalizeH="0" baseline="0" noProof="0" dirty="0">
                <a:ln>
                  <a:noFill/>
                </a:ln>
                <a:solidFill>
                  <a:srgbClr val="001965"/>
                </a:solidFill>
                <a:effectLst/>
                <a:uLnTx/>
                <a:uFillTx/>
                <a:latin typeface="Apis For Office"/>
                <a:ea typeface="+mn-ea"/>
                <a:cs typeface="+mn-cs"/>
              </a:rPr>
              <a:t>heck the Novo Nordisk Careers Page to apply on Nov. 17!</a:t>
            </a:r>
            <a:endParaRPr kumimoji="0" lang="en-GB" sz="1067" b="0" i="0" u="none" strike="noStrike" kern="1200" cap="none" spc="0" normalizeH="0" baseline="0" noProof="0" dirty="0">
              <a:ln>
                <a:noFill/>
              </a:ln>
              <a:solidFill>
                <a:srgbClr val="001965"/>
              </a:solidFill>
              <a:effectLst/>
              <a:uLnTx/>
              <a:uFillTx/>
              <a:latin typeface="Apis For Office"/>
              <a:ea typeface="+mn-ea"/>
              <a:cs typeface="+mn-cs"/>
            </a:endParaRPr>
          </a:p>
        </p:txBody>
      </p:sp>
      <p:sp>
        <p:nvSpPr>
          <p:cNvPr id="13" name="TextBox 65">
            <a:extLst>
              <a:ext uri="{FF2B5EF4-FFF2-40B4-BE49-F238E27FC236}">
                <a16:creationId xmlns:a16="http://schemas.microsoft.com/office/drawing/2014/main" id="{BCED8C72-B7A8-4A2A-A08F-4AF9D37A8BA5}"/>
              </a:ext>
            </a:extLst>
          </p:cNvPr>
          <p:cNvSpPr txBox="1">
            <a:spLocks/>
          </p:cNvSpPr>
          <p:nvPr/>
        </p:nvSpPr>
        <p:spPr>
          <a:xfrm flipH="1">
            <a:off x="5211174" y="4781142"/>
            <a:ext cx="2803682" cy="881624"/>
          </a:xfrm>
          <a:prstGeom prst="rect">
            <a:avLst/>
          </a:prstGeom>
          <a:noFill/>
        </p:spPr>
        <p:txBody>
          <a:bodyPr wrap="square" lIns="0" tIns="0" rIns="0" bIns="0" rtlCol="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001965"/>
                </a:solidFill>
                <a:effectLst/>
                <a:uLnTx/>
                <a:uFillTx/>
                <a:latin typeface="Apis For Office"/>
                <a:ea typeface="+mn-ea"/>
                <a:cs typeface="+mn-cs"/>
              </a:rPr>
              <a:t>WEBINARS</a:t>
            </a:r>
            <a:br>
              <a:rPr kumimoji="0" lang="en-GB" sz="1051" b="1" i="0" u="none" strike="noStrike" kern="1200" cap="none" spc="0" normalizeH="0" baseline="0" noProof="0" dirty="0">
                <a:ln>
                  <a:noFill/>
                </a:ln>
                <a:solidFill>
                  <a:srgbClr val="001965"/>
                </a:solidFill>
                <a:effectLst/>
                <a:uLnTx/>
                <a:uFillTx/>
                <a:latin typeface="Apis For Office"/>
                <a:ea typeface="+mn-ea"/>
                <a:cs typeface="+mn-cs"/>
              </a:rPr>
            </a:br>
            <a:r>
              <a:rPr kumimoji="0" lang="en-GB" sz="1200" b="0" i="0" u="none" strike="noStrike" kern="1200" cap="none" spc="0" normalizeH="0" baseline="0" noProof="0" dirty="0">
                <a:ln>
                  <a:noFill/>
                </a:ln>
                <a:solidFill>
                  <a:srgbClr val="001965"/>
                </a:solidFill>
                <a:effectLst/>
                <a:uLnTx/>
                <a:uFillTx/>
                <a:latin typeface="Apis For Office"/>
                <a:ea typeface="+mn-ea"/>
                <a:cs typeface="+mn-cs"/>
              </a:rPr>
              <a:t>10-12 November</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mn-cs"/>
              </a:rPr>
              <a:t>2-8 December</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1965"/>
              </a:solidFill>
              <a:effectLst/>
              <a:uLnTx/>
              <a:uFillTx/>
              <a:latin typeface="Apis For Office"/>
              <a:ea typeface="+mn-ea"/>
              <a:cs typeface="+mn-cs"/>
            </a:endParaRPr>
          </a:p>
          <a:p>
            <a:pPr defTabSz="1219140">
              <a:lnSpc>
                <a:spcPct val="150000"/>
              </a:lnSpc>
              <a:spcBef>
                <a:spcPct val="0"/>
              </a:spcBef>
              <a:defRPr/>
            </a:pPr>
            <a:r>
              <a:rPr lang="en-GB" sz="1050" b="1" dirty="0"/>
              <a:t>▪️12th November </a:t>
            </a:r>
            <a:r>
              <a:rPr lang="en-GB" sz="1050" dirty="0">
                <a:hlinkClick r:id="rId8"/>
              </a:rPr>
              <a:t>https://lnkd.in/epYNtRf</a:t>
            </a:r>
            <a:br>
              <a:rPr lang="en-GB" sz="1050" dirty="0"/>
            </a:br>
            <a:r>
              <a:rPr lang="en-GB" sz="1050" b="1" dirty="0"/>
              <a:t>▪️2nd December </a:t>
            </a:r>
            <a:r>
              <a:rPr lang="en-GB" sz="1050" dirty="0">
                <a:hlinkClick r:id="rId9"/>
              </a:rPr>
              <a:t>https://lnkd.in/epGdazd</a:t>
            </a:r>
            <a:br>
              <a:rPr lang="en-GB" sz="1050" dirty="0"/>
            </a:br>
            <a:r>
              <a:rPr lang="en-GB" sz="1050" dirty="0"/>
              <a:t>▪️</a:t>
            </a:r>
            <a:r>
              <a:rPr lang="en-GB" sz="1050" b="1" dirty="0"/>
              <a:t>8th December </a:t>
            </a:r>
            <a:r>
              <a:rPr lang="en-GB" sz="1050" dirty="0">
                <a:hlinkClick r:id="rId10"/>
              </a:rPr>
              <a:t>https://lnkd.in/ega-TBh</a:t>
            </a:r>
            <a:endParaRPr lang="en-GB" altLang="da-DK" sz="1050" baseline="30000" dirty="0">
              <a:solidFill>
                <a:srgbClr val="001965"/>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1" b="0" i="0" u="none" strike="noStrike" kern="1200" cap="none" spc="0" normalizeH="0" baseline="0" noProof="0" dirty="0">
              <a:ln>
                <a:noFill/>
              </a:ln>
              <a:solidFill>
                <a:srgbClr val="001965"/>
              </a:solidFill>
              <a:effectLst/>
              <a:uLnTx/>
              <a:uFillTx/>
              <a:latin typeface="Apis For Office"/>
              <a:ea typeface="+mn-ea"/>
              <a:cs typeface="+mn-cs"/>
            </a:endParaRPr>
          </a:p>
        </p:txBody>
      </p:sp>
      <p:sp>
        <p:nvSpPr>
          <p:cNvPr id="14" name="TextBox 65">
            <a:extLst>
              <a:ext uri="{FF2B5EF4-FFF2-40B4-BE49-F238E27FC236}">
                <a16:creationId xmlns:a16="http://schemas.microsoft.com/office/drawing/2014/main" id="{2B0E5A19-2128-4E02-857B-15189582DDA1}"/>
              </a:ext>
            </a:extLst>
          </p:cNvPr>
          <p:cNvSpPr txBox="1">
            <a:spLocks/>
          </p:cNvSpPr>
          <p:nvPr/>
        </p:nvSpPr>
        <p:spPr>
          <a:xfrm flipH="1">
            <a:off x="8112358" y="2037628"/>
            <a:ext cx="2227395" cy="881624"/>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001965"/>
                </a:solidFill>
                <a:effectLst/>
                <a:uLnTx/>
                <a:uFillTx/>
                <a:latin typeface="Apis For Office"/>
                <a:ea typeface="+mn-ea"/>
                <a:cs typeface="+mn-cs"/>
              </a:rPr>
              <a:t>Reach out to us</a:t>
            </a:r>
            <a:br>
              <a:rPr kumimoji="0" lang="en-GB" sz="1051" b="1" i="0" u="none" strike="noStrike" kern="1200" cap="none" spc="0" normalizeH="0" baseline="0" noProof="0" dirty="0">
                <a:ln>
                  <a:noFill/>
                </a:ln>
                <a:solidFill>
                  <a:srgbClr val="001965"/>
                </a:solidFill>
                <a:effectLst/>
                <a:uLnTx/>
                <a:uFillTx/>
                <a:latin typeface="Apis For Office"/>
                <a:ea typeface="+mn-ea"/>
                <a:cs typeface="+mn-cs"/>
              </a:rPr>
            </a:br>
            <a:r>
              <a:rPr kumimoji="0" lang="en-GB" sz="1200" b="0" i="0" u="none" strike="noStrike" kern="1200" cap="none" spc="0" normalizeH="0" baseline="0" noProof="0" dirty="0">
                <a:ln>
                  <a:noFill/>
                </a:ln>
                <a:solidFill>
                  <a:srgbClr val="001965"/>
                </a:solidFill>
                <a:effectLst/>
                <a:uLnTx/>
                <a:uFillTx/>
                <a:latin typeface="Apis For Office"/>
                <a:ea typeface="+mn-ea"/>
                <a:cs typeface="+mn-cs"/>
              </a:rPr>
              <a:t>Feel free to contact us with any other questions you may have, through email or LinkedIn</a:t>
            </a:r>
            <a:endParaRPr kumimoji="0" lang="en-GB" sz="1600" b="0" i="0" u="none" strike="noStrike" kern="1200" cap="none" spc="0" normalizeH="0" baseline="0" noProof="0" dirty="0">
              <a:ln>
                <a:noFill/>
              </a:ln>
              <a:solidFill>
                <a:srgbClr val="001965"/>
              </a:solidFill>
              <a:effectLst/>
              <a:uLnTx/>
              <a:uFillTx/>
              <a:latin typeface="Apis For Office"/>
              <a:ea typeface="+mn-ea"/>
              <a:cs typeface="+mn-cs"/>
            </a:endParaRPr>
          </a:p>
        </p:txBody>
      </p:sp>
      <p:sp>
        <p:nvSpPr>
          <p:cNvPr id="2" name="Slide Number Placeholder 1">
            <a:extLst>
              <a:ext uri="{FF2B5EF4-FFF2-40B4-BE49-F238E27FC236}">
                <a16:creationId xmlns:a16="http://schemas.microsoft.com/office/drawing/2014/main" id="{5DA92839-450B-4536-8369-9FBC21F9A27E}"/>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GB" sz="700" b="0" i="0" u="none" strike="noStrike" kern="1200" cap="none" spc="0" normalizeH="0" baseline="0" noProof="0" smtClean="0">
                <a:ln>
                  <a:noFill/>
                </a:ln>
                <a:solidFill>
                  <a:srgbClr val="001965"/>
                </a:solidFill>
                <a:effectLst/>
                <a:uLnTx/>
                <a:uFillTx/>
                <a:latin typeface="Apis For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700" b="0" i="0" u="none" strike="noStrike" kern="1200" cap="none" spc="0" normalizeH="0" baseline="0" noProof="0" dirty="0">
              <a:ln>
                <a:noFill/>
              </a:ln>
              <a:solidFill>
                <a:srgbClr val="001965"/>
              </a:solidFill>
              <a:effectLst/>
              <a:uLnTx/>
              <a:uFillTx/>
              <a:latin typeface="Apis For Office"/>
              <a:ea typeface="+mn-ea"/>
              <a:cs typeface="+mn-cs"/>
            </a:endParaRPr>
          </a:p>
        </p:txBody>
      </p:sp>
      <p:sp>
        <p:nvSpPr>
          <p:cNvPr id="3" name="Footer Placeholder 2">
            <a:extLst>
              <a:ext uri="{FF2B5EF4-FFF2-40B4-BE49-F238E27FC236}">
                <a16:creationId xmlns:a16="http://schemas.microsoft.com/office/drawing/2014/main" id="{F75E4F05-EB0A-49C5-8627-9E8A60637ADC}"/>
              </a:ext>
            </a:extLst>
          </p:cNvPr>
          <p:cNvSpPr>
            <a:spLocks noGrp="1"/>
          </p:cNvSpPr>
          <p:nvPr>
            <p:ph type="ftr" sz="quarter"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001965"/>
                </a:solidFill>
                <a:effectLst/>
                <a:uLnTx/>
                <a:uFillTx/>
                <a:latin typeface="Apis For Office"/>
                <a:ea typeface="+mn-ea"/>
                <a:cs typeface="+mn-cs"/>
              </a:rPr>
              <a:t>CEMS Insights Session</a:t>
            </a:r>
          </a:p>
        </p:txBody>
      </p:sp>
      <p:sp>
        <p:nvSpPr>
          <p:cNvPr id="16" name="Freeform: Shape 15">
            <a:extLst>
              <a:ext uri="{FF2B5EF4-FFF2-40B4-BE49-F238E27FC236}">
                <a16:creationId xmlns:a16="http://schemas.microsoft.com/office/drawing/2014/main" id="{64F4F102-D3F1-4F85-9B6E-19021927E6C4}"/>
              </a:ext>
            </a:extLst>
          </p:cNvPr>
          <p:cNvSpPr>
            <a:spLocks/>
          </p:cNvSpPr>
          <p:nvPr/>
        </p:nvSpPr>
        <p:spPr>
          <a:xfrm>
            <a:off x="-724927" y="1612567"/>
            <a:ext cx="13341464" cy="4687973"/>
          </a:xfrm>
          <a:custGeom>
            <a:avLst/>
            <a:gdLst>
              <a:gd name="connsiteX0" fmla="*/ 0 w 12198285"/>
              <a:gd name="connsiteY0" fmla="*/ 763699 h 763840"/>
              <a:gd name="connsiteX1" fmla="*/ 1225485 w 12198285"/>
              <a:gd name="connsiteY1" fmla="*/ 669431 h 763840"/>
              <a:gd name="connsiteX2" fmla="*/ 1800520 w 12198285"/>
              <a:gd name="connsiteY2" fmla="*/ 188664 h 763840"/>
              <a:gd name="connsiteX3" fmla="*/ 2441542 w 12198285"/>
              <a:gd name="connsiteY3" fmla="*/ 160384 h 763840"/>
              <a:gd name="connsiteX4" fmla="*/ 3205113 w 12198285"/>
              <a:gd name="connsiteY4" fmla="*/ 301786 h 763840"/>
              <a:gd name="connsiteX5" fmla="*/ 4421171 w 12198285"/>
              <a:gd name="connsiteY5" fmla="*/ 150957 h 763840"/>
              <a:gd name="connsiteX6" fmla="*/ 5769204 w 12198285"/>
              <a:gd name="connsiteY6" fmla="*/ 245225 h 763840"/>
              <a:gd name="connsiteX7" fmla="*/ 6872140 w 12198285"/>
              <a:gd name="connsiteY7" fmla="*/ 128 h 763840"/>
              <a:gd name="connsiteX8" fmla="*/ 8342722 w 12198285"/>
              <a:gd name="connsiteY8" fmla="*/ 282932 h 763840"/>
              <a:gd name="connsiteX9" fmla="*/ 9709608 w 12198285"/>
              <a:gd name="connsiteY9" fmla="*/ 94396 h 763840"/>
              <a:gd name="connsiteX10" fmla="*/ 11349872 w 12198285"/>
              <a:gd name="connsiteY10" fmla="*/ 509176 h 763840"/>
              <a:gd name="connsiteX11" fmla="*/ 12198285 w 12198285"/>
              <a:gd name="connsiteY11" fmla="*/ 377200 h 763840"/>
              <a:gd name="connsiteX0" fmla="*/ 0 w 12198285"/>
              <a:gd name="connsiteY0" fmla="*/ 763699 h 763699"/>
              <a:gd name="connsiteX1" fmla="*/ 1055803 w 12198285"/>
              <a:gd name="connsiteY1" fmla="*/ 113249 h 763699"/>
              <a:gd name="connsiteX2" fmla="*/ 1800520 w 12198285"/>
              <a:gd name="connsiteY2" fmla="*/ 188664 h 763699"/>
              <a:gd name="connsiteX3" fmla="*/ 2441542 w 12198285"/>
              <a:gd name="connsiteY3" fmla="*/ 160384 h 763699"/>
              <a:gd name="connsiteX4" fmla="*/ 3205113 w 12198285"/>
              <a:gd name="connsiteY4" fmla="*/ 301786 h 763699"/>
              <a:gd name="connsiteX5" fmla="*/ 4421171 w 12198285"/>
              <a:gd name="connsiteY5" fmla="*/ 150957 h 763699"/>
              <a:gd name="connsiteX6" fmla="*/ 5769204 w 12198285"/>
              <a:gd name="connsiteY6" fmla="*/ 245225 h 763699"/>
              <a:gd name="connsiteX7" fmla="*/ 6872140 w 12198285"/>
              <a:gd name="connsiteY7" fmla="*/ 128 h 763699"/>
              <a:gd name="connsiteX8" fmla="*/ 8342722 w 12198285"/>
              <a:gd name="connsiteY8" fmla="*/ 282932 h 763699"/>
              <a:gd name="connsiteX9" fmla="*/ 9709608 w 12198285"/>
              <a:gd name="connsiteY9" fmla="*/ 94396 h 763699"/>
              <a:gd name="connsiteX10" fmla="*/ 11349872 w 12198285"/>
              <a:gd name="connsiteY10" fmla="*/ 509176 h 763699"/>
              <a:gd name="connsiteX11" fmla="*/ 12198285 w 12198285"/>
              <a:gd name="connsiteY11" fmla="*/ 377200 h 763699"/>
              <a:gd name="connsiteX0" fmla="*/ 0 w 12217139"/>
              <a:gd name="connsiteY0" fmla="*/ 0 h 899120"/>
              <a:gd name="connsiteX1" fmla="*/ 1074657 w 12217139"/>
              <a:gd name="connsiteY1" fmla="*/ 490193 h 899120"/>
              <a:gd name="connsiteX2" fmla="*/ 1819374 w 12217139"/>
              <a:gd name="connsiteY2" fmla="*/ 565608 h 899120"/>
              <a:gd name="connsiteX3" fmla="*/ 2460396 w 12217139"/>
              <a:gd name="connsiteY3" fmla="*/ 537328 h 899120"/>
              <a:gd name="connsiteX4" fmla="*/ 3223967 w 12217139"/>
              <a:gd name="connsiteY4" fmla="*/ 678730 h 899120"/>
              <a:gd name="connsiteX5" fmla="*/ 4440025 w 12217139"/>
              <a:gd name="connsiteY5" fmla="*/ 527901 h 899120"/>
              <a:gd name="connsiteX6" fmla="*/ 5788058 w 12217139"/>
              <a:gd name="connsiteY6" fmla="*/ 622169 h 899120"/>
              <a:gd name="connsiteX7" fmla="*/ 6890994 w 12217139"/>
              <a:gd name="connsiteY7" fmla="*/ 377072 h 899120"/>
              <a:gd name="connsiteX8" fmla="*/ 8361576 w 12217139"/>
              <a:gd name="connsiteY8" fmla="*/ 659876 h 899120"/>
              <a:gd name="connsiteX9" fmla="*/ 9728462 w 12217139"/>
              <a:gd name="connsiteY9" fmla="*/ 471340 h 899120"/>
              <a:gd name="connsiteX10" fmla="*/ 11368726 w 12217139"/>
              <a:gd name="connsiteY10" fmla="*/ 886120 h 899120"/>
              <a:gd name="connsiteX11" fmla="*/ 12217139 w 12217139"/>
              <a:gd name="connsiteY11" fmla="*/ 754144 h 899120"/>
              <a:gd name="connsiteX0" fmla="*/ 0 w 12217139"/>
              <a:gd name="connsiteY0" fmla="*/ 0 h 899120"/>
              <a:gd name="connsiteX1" fmla="*/ 1084084 w 12217139"/>
              <a:gd name="connsiteY1" fmla="*/ 377072 h 899120"/>
              <a:gd name="connsiteX2" fmla="*/ 1819374 w 12217139"/>
              <a:gd name="connsiteY2" fmla="*/ 565608 h 899120"/>
              <a:gd name="connsiteX3" fmla="*/ 2460396 w 12217139"/>
              <a:gd name="connsiteY3" fmla="*/ 537328 h 899120"/>
              <a:gd name="connsiteX4" fmla="*/ 3223967 w 12217139"/>
              <a:gd name="connsiteY4" fmla="*/ 678730 h 899120"/>
              <a:gd name="connsiteX5" fmla="*/ 4440025 w 12217139"/>
              <a:gd name="connsiteY5" fmla="*/ 527901 h 899120"/>
              <a:gd name="connsiteX6" fmla="*/ 5788058 w 12217139"/>
              <a:gd name="connsiteY6" fmla="*/ 622169 h 899120"/>
              <a:gd name="connsiteX7" fmla="*/ 6890994 w 12217139"/>
              <a:gd name="connsiteY7" fmla="*/ 377072 h 899120"/>
              <a:gd name="connsiteX8" fmla="*/ 8361576 w 12217139"/>
              <a:gd name="connsiteY8" fmla="*/ 659876 h 899120"/>
              <a:gd name="connsiteX9" fmla="*/ 9728462 w 12217139"/>
              <a:gd name="connsiteY9" fmla="*/ 471340 h 899120"/>
              <a:gd name="connsiteX10" fmla="*/ 11368726 w 12217139"/>
              <a:gd name="connsiteY10" fmla="*/ 886120 h 899120"/>
              <a:gd name="connsiteX11" fmla="*/ 12217139 w 12217139"/>
              <a:gd name="connsiteY11" fmla="*/ 754144 h 899120"/>
              <a:gd name="connsiteX0" fmla="*/ 0 w 12217139"/>
              <a:gd name="connsiteY0" fmla="*/ 0 h 899120"/>
              <a:gd name="connsiteX1" fmla="*/ 1084084 w 12217139"/>
              <a:gd name="connsiteY1" fmla="*/ 377072 h 899120"/>
              <a:gd name="connsiteX2" fmla="*/ 1819374 w 12217139"/>
              <a:gd name="connsiteY2" fmla="*/ 565608 h 899120"/>
              <a:gd name="connsiteX3" fmla="*/ 2460396 w 12217139"/>
              <a:gd name="connsiteY3" fmla="*/ 537328 h 899120"/>
              <a:gd name="connsiteX4" fmla="*/ 3223967 w 12217139"/>
              <a:gd name="connsiteY4" fmla="*/ 678730 h 899120"/>
              <a:gd name="connsiteX5" fmla="*/ 4440025 w 12217139"/>
              <a:gd name="connsiteY5" fmla="*/ 527901 h 899120"/>
              <a:gd name="connsiteX6" fmla="*/ 5788058 w 12217139"/>
              <a:gd name="connsiteY6" fmla="*/ 622169 h 899120"/>
              <a:gd name="connsiteX7" fmla="*/ 6890994 w 12217139"/>
              <a:gd name="connsiteY7" fmla="*/ 377072 h 899120"/>
              <a:gd name="connsiteX8" fmla="*/ 8361576 w 12217139"/>
              <a:gd name="connsiteY8" fmla="*/ 659876 h 899120"/>
              <a:gd name="connsiteX9" fmla="*/ 9728462 w 12217139"/>
              <a:gd name="connsiteY9" fmla="*/ 471340 h 899120"/>
              <a:gd name="connsiteX10" fmla="*/ 11368726 w 12217139"/>
              <a:gd name="connsiteY10" fmla="*/ 886120 h 899120"/>
              <a:gd name="connsiteX11" fmla="*/ 12217139 w 12217139"/>
              <a:gd name="connsiteY11" fmla="*/ 754144 h 899120"/>
              <a:gd name="connsiteX0" fmla="*/ 0 w 12217139"/>
              <a:gd name="connsiteY0" fmla="*/ 0 h 899120"/>
              <a:gd name="connsiteX1" fmla="*/ 1084084 w 12217139"/>
              <a:gd name="connsiteY1" fmla="*/ 377072 h 899120"/>
              <a:gd name="connsiteX2" fmla="*/ 1819374 w 12217139"/>
              <a:gd name="connsiteY2" fmla="*/ 565608 h 899120"/>
              <a:gd name="connsiteX3" fmla="*/ 2460396 w 12217139"/>
              <a:gd name="connsiteY3" fmla="*/ 537328 h 899120"/>
              <a:gd name="connsiteX4" fmla="*/ 3223967 w 12217139"/>
              <a:gd name="connsiteY4" fmla="*/ 678730 h 899120"/>
              <a:gd name="connsiteX5" fmla="*/ 4440025 w 12217139"/>
              <a:gd name="connsiteY5" fmla="*/ 527901 h 899120"/>
              <a:gd name="connsiteX6" fmla="*/ 5788058 w 12217139"/>
              <a:gd name="connsiteY6" fmla="*/ 622169 h 899120"/>
              <a:gd name="connsiteX7" fmla="*/ 6890994 w 12217139"/>
              <a:gd name="connsiteY7" fmla="*/ 377072 h 899120"/>
              <a:gd name="connsiteX8" fmla="*/ 8361576 w 12217139"/>
              <a:gd name="connsiteY8" fmla="*/ 659876 h 899120"/>
              <a:gd name="connsiteX9" fmla="*/ 9728462 w 12217139"/>
              <a:gd name="connsiteY9" fmla="*/ 471340 h 899120"/>
              <a:gd name="connsiteX10" fmla="*/ 11368726 w 12217139"/>
              <a:gd name="connsiteY10" fmla="*/ 886120 h 899120"/>
              <a:gd name="connsiteX11" fmla="*/ 12217139 w 12217139"/>
              <a:gd name="connsiteY11" fmla="*/ 754144 h 899120"/>
              <a:gd name="connsiteX0" fmla="*/ 0 w 12122871"/>
              <a:gd name="connsiteY0" fmla="*/ 0 h 635169"/>
              <a:gd name="connsiteX1" fmla="*/ 989816 w 12122871"/>
              <a:gd name="connsiteY1" fmla="*/ 113121 h 635169"/>
              <a:gd name="connsiteX2" fmla="*/ 1725106 w 12122871"/>
              <a:gd name="connsiteY2" fmla="*/ 301657 h 635169"/>
              <a:gd name="connsiteX3" fmla="*/ 2366128 w 12122871"/>
              <a:gd name="connsiteY3" fmla="*/ 273377 h 635169"/>
              <a:gd name="connsiteX4" fmla="*/ 3129699 w 12122871"/>
              <a:gd name="connsiteY4" fmla="*/ 414779 h 635169"/>
              <a:gd name="connsiteX5" fmla="*/ 4345757 w 12122871"/>
              <a:gd name="connsiteY5" fmla="*/ 263950 h 635169"/>
              <a:gd name="connsiteX6" fmla="*/ 5693790 w 12122871"/>
              <a:gd name="connsiteY6" fmla="*/ 358218 h 635169"/>
              <a:gd name="connsiteX7" fmla="*/ 6796726 w 12122871"/>
              <a:gd name="connsiteY7" fmla="*/ 113121 h 635169"/>
              <a:gd name="connsiteX8" fmla="*/ 8267308 w 12122871"/>
              <a:gd name="connsiteY8" fmla="*/ 395925 h 635169"/>
              <a:gd name="connsiteX9" fmla="*/ 9634194 w 12122871"/>
              <a:gd name="connsiteY9" fmla="*/ 207389 h 635169"/>
              <a:gd name="connsiteX10" fmla="*/ 11274458 w 12122871"/>
              <a:gd name="connsiteY10" fmla="*/ 622169 h 635169"/>
              <a:gd name="connsiteX11" fmla="*/ 12122871 w 12122871"/>
              <a:gd name="connsiteY11" fmla="*/ 490193 h 635169"/>
              <a:gd name="connsiteX0" fmla="*/ 0 w 12122871"/>
              <a:gd name="connsiteY0" fmla="*/ 69945 h 705114"/>
              <a:gd name="connsiteX1" fmla="*/ 999243 w 12122871"/>
              <a:gd name="connsiteY1" fmla="*/ 13383 h 705114"/>
              <a:gd name="connsiteX2" fmla="*/ 1725106 w 12122871"/>
              <a:gd name="connsiteY2" fmla="*/ 371602 h 705114"/>
              <a:gd name="connsiteX3" fmla="*/ 2366128 w 12122871"/>
              <a:gd name="connsiteY3" fmla="*/ 343322 h 705114"/>
              <a:gd name="connsiteX4" fmla="*/ 3129699 w 12122871"/>
              <a:gd name="connsiteY4" fmla="*/ 484724 h 705114"/>
              <a:gd name="connsiteX5" fmla="*/ 4345757 w 12122871"/>
              <a:gd name="connsiteY5" fmla="*/ 333895 h 705114"/>
              <a:gd name="connsiteX6" fmla="*/ 5693790 w 12122871"/>
              <a:gd name="connsiteY6" fmla="*/ 428163 h 705114"/>
              <a:gd name="connsiteX7" fmla="*/ 6796726 w 12122871"/>
              <a:gd name="connsiteY7" fmla="*/ 183066 h 705114"/>
              <a:gd name="connsiteX8" fmla="*/ 8267308 w 12122871"/>
              <a:gd name="connsiteY8" fmla="*/ 465870 h 705114"/>
              <a:gd name="connsiteX9" fmla="*/ 9634194 w 12122871"/>
              <a:gd name="connsiteY9" fmla="*/ 277334 h 705114"/>
              <a:gd name="connsiteX10" fmla="*/ 11274458 w 12122871"/>
              <a:gd name="connsiteY10" fmla="*/ 692114 h 705114"/>
              <a:gd name="connsiteX11" fmla="*/ 12122871 w 12122871"/>
              <a:gd name="connsiteY11" fmla="*/ 560138 h 705114"/>
              <a:gd name="connsiteX0" fmla="*/ 0 w 12217139"/>
              <a:gd name="connsiteY0" fmla="*/ 14732 h 725315"/>
              <a:gd name="connsiteX1" fmla="*/ 1093511 w 12217139"/>
              <a:gd name="connsiteY1" fmla="*/ 33584 h 725315"/>
              <a:gd name="connsiteX2" fmla="*/ 1819374 w 12217139"/>
              <a:gd name="connsiteY2" fmla="*/ 391803 h 725315"/>
              <a:gd name="connsiteX3" fmla="*/ 2460396 w 12217139"/>
              <a:gd name="connsiteY3" fmla="*/ 363523 h 725315"/>
              <a:gd name="connsiteX4" fmla="*/ 3223967 w 12217139"/>
              <a:gd name="connsiteY4" fmla="*/ 504925 h 725315"/>
              <a:gd name="connsiteX5" fmla="*/ 4440025 w 12217139"/>
              <a:gd name="connsiteY5" fmla="*/ 354096 h 725315"/>
              <a:gd name="connsiteX6" fmla="*/ 5788058 w 12217139"/>
              <a:gd name="connsiteY6" fmla="*/ 448364 h 725315"/>
              <a:gd name="connsiteX7" fmla="*/ 6890994 w 12217139"/>
              <a:gd name="connsiteY7" fmla="*/ 203267 h 725315"/>
              <a:gd name="connsiteX8" fmla="*/ 8361576 w 12217139"/>
              <a:gd name="connsiteY8" fmla="*/ 486071 h 725315"/>
              <a:gd name="connsiteX9" fmla="*/ 9728462 w 12217139"/>
              <a:gd name="connsiteY9" fmla="*/ 297535 h 725315"/>
              <a:gd name="connsiteX10" fmla="*/ 11368726 w 12217139"/>
              <a:gd name="connsiteY10" fmla="*/ 712315 h 725315"/>
              <a:gd name="connsiteX11" fmla="*/ 12217139 w 12217139"/>
              <a:gd name="connsiteY11" fmla="*/ 580339 h 725315"/>
              <a:gd name="connsiteX0" fmla="*/ 0 w 12217139"/>
              <a:gd name="connsiteY0" fmla="*/ 109053 h 819636"/>
              <a:gd name="connsiteX1" fmla="*/ 914402 w 12217139"/>
              <a:gd name="connsiteY1" fmla="*/ 14783 h 819636"/>
              <a:gd name="connsiteX2" fmla="*/ 1819374 w 12217139"/>
              <a:gd name="connsiteY2" fmla="*/ 486124 h 819636"/>
              <a:gd name="connsiteX3" fmla="*/ 2460396 w 12217139"/>
              <a:gd name="connsiteY3" fmla="*/ 457844 h 819636"/>
              <a:gd name="connsiteX4" fmla="*/ 3223967 w 12217139"/>
              <a:gd name="connsiteY4" fmla="*/ 599246 h 819636"/>
              <a:gd name="connsiteX5" fmla="*/ 4440025 w 12217139"/>
              <a:gd name="connsiteY5" fmla="*/ 448417 h 819636"/>
              <a:gd name="connsiteX6" fmla="*/ 5788058 w 12217139"/>
              <a:gd name="connsiteY6" fmla="*/ 542685 h 819636"/>
              <a:gd name="connsiteX7" fmla="*/ 6890994 w 12217139"/>
              <a:gd name="connsiteY7" fmla="*/ 297588 h 819636"/>
              <a:gd name="connsiteX8" fmla="*/ 8361576 w 12217139"/>
              <a:gd name="connsiteY8" fmla="*/ 580392 h 819636"/>
              <a:gd name="connsiteX9" fmla="*/ 9728462 w 12217139"/>
              <a:gd name="connsiteY9" fmla="*/ 391856 h 819636"/>
              <a:gd name="connsiteX10" fmla="*/ 11368726 w 12217139"/>
              <a:gd name="connsiteY10" fmla="*/ 806636 h 819636"/>
              <a:gd name="connsiteX11" fmla="*/ 12217139 w 12217139"/>
              <a:gd name="connsiteY11" fmla="*/ 674660 h 819636"/>
              <a:gd name="connsiteX0" fmla="*/ 0 w 12217139"/>
              <a:gd name="connsiteY0" fmla="*/ 285010 h 807057"/>
              <a:gd name="connsiteX1" fmla="*/ 914402 w 12217139"/>
              <a:gd name="connsiteY1" fmla="*/ 2204 h 807057"/>
              <a:gd name="connsiteX2" fmla="*/ 1819374 w 12217139"/>
              <a:gd name="connsiteY2" fmla="*/ 473545 h 807057"/>
              <a:gd name="connsiteX3" fmla="*/ 2460396 w 12217139"/>
              <a:gd name="connsiteY3" fmla="*/ 445265 h 807057"/>
              <a:gd name="connsiteX4" fmla="*/ 3223967 w 12217139"/>
              <a:gd name="connsiteY4" fmla="*/ 586667 h 807057"/>
              <a:gd name="connsiteX5" fmla="*/ 4440025 w 12217139"/>
              <a:gd name="connsiteY5" fmla="*/ 435838 h 807057"/>
              <a:gd name="connsiteX6" fmla="*/ 5788058 w 12217139"/>
              <a:gd name="connsiteY6" fmla="*/ 530106 h 807057"/>
              <a:gd name="connsiteX7" fmla="*/ 6890994 w 12217139"/>
              <a:gd name="connsiteY7" fmla="*/ 285009 h 807057"/>
              <a:gd name="connsiteX8" fmla="*/ 8361576 w 12217139"/>
              <a:gd name="connsiteY8" fmla="*/ 567813 h 807057"/>
              <a:gd name="connsiteX9" fmla="*/ 9728462 w 12217139"/>
              <a:gd name="connsiteY9" fmla="*/ 379277 h 807057"/>
              <a:gd name="connsiteX10" fmla="*/ 11368726 w 12217139"/>
              <a:gd name="connsiteY10" fmla="*/ 794057 h 807057"/>
              <a:gd name="connsiteX11" fmla="*/ 12217139 w 12217139"/>
              <a:gd name="connsiteY11" fmla="*/ 662081 h 807057"/>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23967 w 12217139"/>
              <a:gd name="connsiteY4" fmla="*/ 587880 h 808270"/>
              <a:gd name="connsiteX5" fmla="*/ 4440025 w 12217139"/>
              <a:gd name="connsiteY5" fmla="*/ 437051 h 808270"/>
              <a:gd name="connsiteX6" fmla="*/ 5788058 w 12217139"/>
              <a:gd name="connsiteY6" fmla="*/ 531319 h 808270"/>
              <a:gd name="connsiteX7" fmla="*/ 6890994 w 12217139"/>
              <a:gd name="connsiteY7" fmla="*/ 28622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33394 w 12217139"/>
              <a:gd name="connsiteY4" fmla="*/ 653868 h 808270"/>
              <a:gd name="connsiteX5" fmla="*/ 4440025 w 12217139"/>
              <a:gd name="connsiteY5" fmla="*/ 437051 h 808270"/>
              <a:gd name="connsiteX6" fmla="*/ 5788058 w 12217139"/>
              <a:gd name="connsiteY6" fmla="*/ 531319 h 808270"/>
              <a:gd name="connsiteX7" fmla="*/ 6890994 w 12217139"/>
              <a:gd name="connsiteY7" fmla="*/ 28622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33394 w 12217139"/>
              <a:gd name="connsiteY4" fmla="*/ 653868 h 808270"/>
              <a:gd name="connsiteX5" fmla="*/ 4440025 w 12217139"/>
              <a:gd name="connsiteY5" fmla="*/ 437051 h 808270"/>
              <a:gd name="connsiteX6" fmla="*/ 5788058 w 12217139"/>
              <a:gd name="connsiteY6" fmla="*/ 531319 h 808270"/>
              <a:gd name="connsiteX7" fmla="*/ 6890994 w 12217139"/>
              <a:gd name="connsiteY7" fmla="*/ 28622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33394 w 12217139"/>
              <a:gd name="connsiteY4" fmla="*/ 653868 h 808270"/>
              <a:gd name="connsiteX5" fmla="*/ 4440025 w 12217139"/>
              <a:gd name="connsiteY5" fmla="*/ 437051 h 808270"/>
              <a:gd name="connsiteX6" fmla="*/ 5788058 w 12217139"/>
              <a:gd name="connsiteY6" fmla="*/ 531319 h 808270"/>
              <a:gd name="connsiteX7" fmla="*/ 6975836 w 12217139"/>
              <a:gd name="connsiteY7" fmla="*/ 22966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286223 h 808270"/>
              <a:gd name="connsiteX1" fmla="*/ 914402 w 12217139"/>
              <a:gd name="connsiteY1" fmla="*/ 3417 h 808270"/>
              <a:gd name="connsiteX2" fmla="*/ 1819374 w 12217139"/>
              <a:gd name="connsiteY2" fmla="*/ 474758 h 808270"/>
              <a:gd name="connsiteX3" fmla="*/ 2460396 w 12217139"/>
              <a:gd name="connsiteY3" fmla="*/ 446478 h 808270"/>
              <a:gd name="connsiteX4" fmla="*/ 3233394 w 12217139"/>
              <a:gd name="connsiteY4" fmla="*/ 653868 h 808270"/>
              <a:gd name="connsiteX5" fmla="*/ 4440025 w 12217139"/>
              <a:gd name="connsiteY5" fmla="*/ 437051 h 808270"/>
              <a:gd name="connsiteX6" fmla="*/ 5788058 w 12217139"/>
              <a:gd name="connsiteY6" fmla="*/ 531319 h 808270"/>
              <a:gd name="connsiteX7" fmla="*/ 6975836 w 12217139"/>
              <a:gd name="connsiteY7" fmla="*/ 229662 h 808270"/>
              <a:gd name="connsiteX8" fmla="*/ 8361576 w 12217139"/>
              <a:gd name="connsiteY8" fmla="*/ 569026 h 808270"/>
              <a:gd name="connsiteX9" fmla="*/ 9728462 w 12217139"/>
              <a:gd name="connsiteY9" fmla="*/ 380490 h 808270"/>
              <a:gd name="connsiteX10" fmla="*/ 11368726 w 12217139"/>
              <a:gd name="connsiteY10" fmla="*/ 795270 h 808270"/>
              <a:gd name="connsiteX11" fmla="*/ 12217139 w 12217139"/>
              <a:gd name="connsiteY11" fmla="*/ 663294 h 808270"/>
              <a:gd name="connsiteX0" fmla="*/ 0 w 12217139"/>
              <a:gd name="connsiteY0" fmla="*/ 125855 h 647902"/>
              <a:gd name="connsiteX1" fmla="*/ 914402 w 12217139"/>
              <a:gd name="connsiteY1" fmla="*/ 12731 h 647902"/>
              <a:gd name="connsiteX2" fmla="*/ 1819374 w 12217139"/>
              <a:gd name="connsiteY2" fmla="*/ 314390 h 647902"/>
              <a:gd name="connsiteX3" fmla="*/ 2460396 w 12217139"/>
              <a:gd name="connsiteY3" fmla="*/ 286110 h 647902"/>
              <a:gd name="connsiteX4" fmla="*/ 3233394 w 12217139"/>
              <a:gd name="connsiteY4" fmla="*/ 493500 h 647902"/>
              <a:gd name="connsiteX5" fmla="*/ 4440025 w 12217139"/>
              <a:gd name="connsiteY5" fmla="*/ 276683 h 647902"/>
              <a:gd name="connsiteX6" fmla="*/ 5788058 w 12217139"/>
              <a:gd name="connsiteY6" fmla="*/ 370951 h 647902"/>
              <a:gd name="connsiteX7" fmla="*/ 6975836 w 12217139"/>
              <a:gd name="connsiteY7" fmla="*/ 69294 h 647902"/>
              <a:gd name="connsiteX8" fmla="*/ 8361576 w 12217139"/>
              <a:gd name="connsiteY8" fmla="*/ 408658 h 647902"/>
              <a:gd name="connsiteX9" fmla="*/ 9728462 w 12217139"/>
              <a:gd name="connsiteY9" fmla="*/ 220122 h 647902"/>
              <a:gd name="connsiteX10" fmla="*/ 11368726 w 12217139"/>
              <a:gd name="connsiteY10" fmla="*/ 634902 h 647902"/>
              <a:gd name="connsiteX11" fmla="*/ 12217139 w 12217139"/>
              <a:gd name="connsiteY11" fmla="*/ 502926 h 647902"/>
              <a:gd name="connsiteX0" fmla="*/ 0 w 12179432"/>
              <a:gd name="connsiteY0" fmla="*/ 236351 h 635849"/>
              <a:gd name="connsiteX1" fmla="*/ 876695 w 12179432"/>
              <a:gd name="connsiteY1" fmla="*/ 678 h 635849"/>
              <a:gd name="connsiteX2" fmla="*/ 1781667 w 12179432"/>
              <a:gd name="connsiteY2" fmla="*/ 302337 h 635849"/>
              <a:gd name="connsiteX3" fmla="*/ 2422689 w 12179432"/>
              <a:gd name="connsiteY3" fmla="*/ 274057 h 635849"/>
              <a:gd name="connsiteX4" fmla="*/ 3195687 w 12179432"/>
              <a:gd name="connsiteY4" fmla="*/ 481447 h 635849"/>
              <a:gd name="connsiteX5" fmla="*/ 4402318 w 12179432"/>
              <a:gd name="connsiteY5" fmla="*/ 264630 h 635849"/>
              <a:gd name="connsiteX6" fmla="*/ 5750351 w 12179432"/>
              <a:gd name="connsiteY6" fmla="*/ 358898 h 635849"/>
              <a:gd name="connsiteX7" fmla="*/ 6938129 w 12179432"/>
              <a:gd name="connsiteY7" fmla="*/ 57241 h 635849"/>
              <a:gd name="connsiteX8" fmla="*/ 8323869 w 12179432"/>
              <a:gd name="connsiteY8" fmla="*/ 396605 h 635849"/>
              <a:gd name="connsiteX9" fmla="*/ 9690755 w 12179432"/>
              <a:gd name="connsiteY9" fmla="*/ 208069 h 635849"/>
              <a:gd name="connsiteX10" fmla="*/ 11331019 w 12179432"/>
              <a:gd name="connsiteY10" fmla="*/ 622849 h 635849"/>
              <a:gd name="connsiteX11" fmla="*/ 12179432 w 12179432"/>
              <a:gd name="connsiteY11" fmla="*/ 490873 h 635849"/>
              <a:gd name="connsiteX0" fmla="*/ 0 w 12179432"/>
              <a:gd name="connsiteY0" fmla="*/ 260408 h 659906"/>
              <a:gd name="connsiteX1" fmla="*/ 876695 w 12179432"/>
              <a:gd name="connsiteY1" fmla="*/ 24735 h 659906"/>
              <a:gd name="connsiteX2" fmla="*/ 1781667 w 12179432"/>
              <a:gd name="connsiteY2" fmla="*/ 326394 h 659906"/>
              <a:gd name="connsiteX3" fmla="*/ 2422689 w 12179432"/>
              <a:gd name="connsiteY3" fmla="*/ 298114 h 659906"/>
              <a:gd name="connsiteX4" fmla="*/ 3195687 w 12179432"/>
              <a:gd name="connsiteY4" fmla="*/ 505504 h 659906"/>
              <a:gd name="connsiteX5" fmla="*/ 4402318 w 12179432"/>
              <a:gd name="connsiteY5" fmla="*/ 288687 h 659906"/>
              <a:gd name="connsiteX6" fmla="*/ 5750351 w 12179432"/>
              <a:gd name="connsiteY6" fmla="*/ 382955 h 659906"/>
              <a:gd name="connsiteX7" fmla="*/ 6938129 w 12179432"/>
              <a:gd name="connsiteY7" fmla="*/ 81298 h 659906"/>
              <a:gd name="connsiteX8" fmla="*/ 8323869 w 12179432"/>
              <a:gd name="connsiteY8" fmla="*/ 420662 h 659906"/>
              <a:gd name="connsiteX9" fmla="*/ 9690755 w 12179432"/>
              <a:gd name="connsiteY9" fmla="*/ 232126 h 659906"/>
              <a:gd name="connsiteX10" fmla="*/ 11331019 w 12179432"/>
              <a:gd name="connsiteY10" fmla="*/ 646906 h 659906"/>
              <a:gd name="connsiteX11" fmla="*/ 12179432 w 12179432"/>
              <a:gd name="connsiteY11" fmla="*/ 514930 h 659906"/>
              <a:gd name="connsiteX0" fmla="*/ 0 w 12179432"/>
              <a:gd name="connsiteY0" fmla="*/ 236204 h 635702"/>
              <a:gd name="connsiteX1" fmla="*/ 876695 w 12179432"/>
              <a:gd name="connsiteY1" fmla="*/ 531 h 635702"/>
              <a:gd name="connsiteX2" fmla="*/ 1781667 w 12179432"/>
              <a:gd name="connsiteY2" fmla="*/ 302190 h 635702"/>
              <a:gd name="connsiteX3" fmla="*/ 2422689 w 12179432"/>
              <a:gd name="connsiteY3" fmla="*/ 273910 h 635702"/>
              <a:gd name="connsiteX4" fmla="*/ 3195687 w 12179432"/>
              <a:gd name="connsiteY4" fmla="*/ 481300 h 635702"/>
              <a:gd name="connsiteX5" fmla="*/ 4402318 w 12179432"/>
              <a:gd name="connsiteY5" fmla="*/ 264483 h 635702"/>
              <a:gd name="connsiteX6" fmla="*/ 5750351 w 12179432"/>
              <a:gd name="connsiteY6" fmla="*/ 358751 h 635702"/>
              <a:gd name="connsiteX7" fmla="*/ 6938129 w 12179432"/>
              <a:gd name="connsiteY7" fmla="*/ 57094 h 635702"/>
              <a:gd name="connsiteX8" fmla="*/ 8323869 w 12179432"/>
              <a:gd name="connsiteY8" fmla="*/ 396458 h 635702"/>
              <a:gd name="connsiteX9" fmla="*/ 9690755 w 12179432"/>
              <a:gd name="connsiteY9" fmla="*/ 207922 h 635702"/>
              <a:gd name="connsiteX10" fmla="*/ 11331019 w 12179432"/>
              <a:gd name="connsiteY10" fmla="*/ 622702 h 635702"/>
              <a:gd name="connsiteX11" fmla="*/ 12179432 w 12179432"/>
              <a:gd name="connsiteY11" fmla="*/ 490726 h 635702"/>
              <a:gd name="connsiteX0" fmla="*/ 0 w 12217140"/>
              <a:gd name="connsiteY0" fmla="*/ 236204 h 635702"/>
              <a:gd name="connsiteX1" fmla="*/ 914403 w 12217140"/>
              <a:gd name="connsiteY1" fmla="*/ 531 h 635702"/>
              <a:gd name="connsiteX2" fmla="*/ 1819375 w 12217140"/>
              <a:gd name="connsiteY2" fmla="*/ 302190 h 635702"/>
              <a:gd name="connsiteX3" fmla="*/ 2460397 w 12217140"/>
              <a:gd name="connsiteY3" fmla="*/ 273910 h 635702"/>
              <a:gd name="connsiteX4" fmla="*/ 3233395 w 12217140"/>
              <a:gd name="connsiteY4" fmla="*/ 481300 h 635702"/>
              <a:gd name="connsiteX5" fmla="*/ 4440026 w 12217140"/>
              <a:gd name="connsiteY5" fmla="*/ 264483 h 635702"/>
              <a:gd name="connsiteX6" fmla="*/ 5788059 w 12217140"/>
              <a:gd name="connsiteY6" fmla="*/ 358751 h 635702"/>
              <a:gd name="connsiteX7" fmla="*/ 6975837 w 12217140"/>
              <a:gd name="connsiteY7" fmla="*/ 57094 h 635702"/>
              <a:gd name="connsiteX8" fmla="*/ 8361577 w 12217140"/>
              <a:gd name="connsiteY8" fmla="*/ 396458 h 635702"/>
              <a:gd name="connsiteX9" fmla="*/ 9728463 w 12217140"/>
              <a:gd name="connsiteY9" fmla="*/ 207922 h 635702"/>
              <a:gd name="connsiteX10" fmla="*/ 11368727 w 12217140"/>
              <a:gd name="connsiteY10" fmla="*/ 622702 h 635702"/>
              <a:gd name="connsiteX11" fmla="*/ 12217140 w 12217140"/>
              <a:gd name="connsiteY11" fmla="*/ 490726 h 635702"/>
              <a:gd name="connsiteX0" fmla="*/ 0 w 12217140"/>
              <a:gd name="connsiteY0" fmla="*/ 236204 h 3047325"/>
              <a:gd name="connsiteX1" fmla="*/ 914403 w 12217140"/>
              <a:gd name="connsiteY1" fmla="*/ 531 h 3047325"/>
              <a:gd name="connsiteX2" fmla="*/ 1819375 w 12217140"/>
              <a:gd name="connsiteY2" fmla="*/ 302190 h 3047325"/>
              <a:gd name="connsiteX3" fmla="*/ 2460397 w 12217140"/>
              <a:gd name="connsiteY3" fmla="*/ 273910 h 3047325"/>
              <a:gd name="connsiteX4" fmla="*/ 2949570 w 12217140"/>
              <a:gd name="connsiteY4" fmla="*/ 3047287 h 3047325"/>
              <a:gd name="connsiteX5" fmla="*/ 4440026 w 12217140"/>
              <a:gd name="connsiteY5" fmla="*/ 264483 h 3047325"/>
              <a:gd name="connsiteX6" fmla="*/ 5788059 w 12217140"/>
              <a:gd name="connsiteY6" fmla="*/ 358751 h 3047325"/>
              <a:gd name="connsiteX7" fmla="*/ 6975837 w 12217140"/>
              <a:gd name="connsiteY7" fmla="*/ 57094 h 3047325"/>
              <a:gd name="connsiteX8" fmla="*/ 8361577 w 12217140"/>
              <a:gd name="connsiteY8" fmla="*/ 396458 h 3047325"/>
              <a:gd name="connsiteX9" fmla="*/ 9728463 w 12217140"/>
              <a:gd name="connsiteY9" fmla="*/ 207922 h 3047325"/>
              <a:gd name="connsiteX10" fmla="*/ 11368727 w 12217140"/>
              <a:gd name="connsiteY10" fmla="*/ 622702 h 3047325"/>
              <a:gd name="connsiteX11" fmla="*/ 12217140 w 12217140"/>
              <a:gd name="connsiteY11" fmla="*/ 490726 h 3047325"/>
              <a:gd name="connsiteX0" fmla="*/ 0 w 12217140"/>
              <a:gd name="connsiteY0" fmla="*/ 308167 h 3119288"/>
              <a:gd name="connsiteX1" fmla="*/ 914403 w 12217140"/>
              <a:gd name="connsiteY1" fmla="*/ 72494 h 3119288"/>
              <a:gd name="connsiteX2" fmla="*/ 1819375 w 12217140"/>
              <a:gd name="connsiteY2" fmla="*/ 374153 h 3119288"/>
              <a:gd name="connsiteX3" fmla="*/ 2460397 w 12217140"/>
              <a:gd name="connsiteY3" fmla="*/ 345873 h 3119288"/>
              <a:gd name="connsiteX4" fmla="*/ 2949570 w 12217140"/>
              <a:gd name="connsiteY4" fmla="*/ 3119250 h 3119288"/>
              <a:gd name="connsiteX5" fmla="*/ 4440026 w 12217140"/>
              <a:gd name="connsiteY5" fmla="*/ 336446 h 3119288"/>
              <a:gd name="connsiteX6" fmla="*/ 5704307 w 12217140"/>
              <a:gd name="connsiteY6" fmla="*/ 2982525 h 3119288"/>
              <a:gd name="connsiteX7" fmla="*/ 6975837 w 12217140"/>
              <a:gd name="connsiteY7" fmla="*/ 129057 h 3119288"/>
              <a:gd name="connsiteX8" fmla="*/ 8361577 w 12217140"/>
              <a:gd name="connsiteY8" fmla="*/ 468421 h 3119288"/>
              <a:gd name="connsiteX9" fmla="*/ 9728463 w 12217140"/>
              <a:gd name="connsiteY9" fmla="*/ 279885 h 3119288"/>
              <a:gd name="connsiteX10" fmla="*/ 11368727 w 12217140"/>
              <a:gd name="connsiteY10" fmla="*/ 694665 h 3119288"/>
              <a:gd name="connsiteX11" fmla="*/ 12217140 w 12217140"/>
              <a:gd name="connsiteY11" fmla="*/ 562689 h 3119288"/>
              <a:gd name="connsiteX0" fmla="*/ 0 w 12217140"/>
              <a:gd name="connsiteY0" fmla="*/ 236204 h 3123303"/>
              <a:gd name="connsiteX1" fmla="*/ 914403 w 12217140"/>
              <a:gd name="connsiteY1" fmla="*/ 531 h 3123303"/>
              <a:gd name="connsiteX2" fmla="*/ 1819375 w 12217140"/>
              <a:gd name="connsiteY2" fmla="*/ 302190 h 3123303"/>
              <a:gd name="connsiteX3" fmla="*/ 2460397 w 12217140"/>
              <a:gd name="connsiteY3" fmla="*/ 273910 h 3123303"/>
              <a:gd name="connsiteX4" fmla="*/ 2949570 w 12217140"/>
              <a:gd name="connsiteY4" fmla="*/ 3047287 h 3123303"/>
              <a:gd name="connsiteX5" fmla="*/ 4440026 w 12217140"/>
              <a:gd name="connsiteY5" fmla="*/ 264483 h 3123303"/>
              <a:gd name="connsiteX6" fmla="*/ 5704307 w 12217140"/>
              <a:gd name="connsiteY6" fmla="*/ 2910562 h 3123303"/>
              <a:gd name="connsiteX7" fmla="*/ 6975837 w 12217140"/>
              <a:gd name="connsiteY7" fmla="*/ 57094 h 3123303"/>
              <a:gd name="connsiteX8" fmla="*/ 8752420 w 12217140"/>
              <a:gd name="connsiteY8" fmla="*/ 3123116 h 3123303"/>
              <a:gd name="connsiteX9" fmla="*/ 9728463 w 12217140"/>
              <a:gd name="connsiteY9" fmla="*/ 207922 h 3123303"/>
              <a:gd name="connsiteX10" fmla="*/ 11368727 w 12217140"/>
              <a:gd name="connsiteY10" fmla="*/ 622702 h 3123303"/>
              <a:gd name="connsiteX11" fmla="*/ 12217140 w 12217140"/>
              <a:gd name="connsiteY11" fmla="*/ 490726 h 3123303"/>
              <a:gd name="connsiteX0" fmla="*/ 0 w 12217140"/>
              <a:gd name="connsiteY0" fmla="*/ 287253 h 3174351"/>
              <a:gd name="connsiteX1" fmla="*/ 914403 w 12217140"/>
              <a:gd name="connsiteY1" fmla="*/ 51580 h 3174351"/>
              <a:gd name="connsiteX2" fmla="*/ 2460397 w 12217140"/>
              <a:gd name="connsiteY2" fmla="*/ 324959 h 3174351"/>
              <a:gd name="connsiteX3" fmla="*/ 2949570 w 12217140"/>
              <a:gd name="connsiteY3" fmla="*/ 3098336 h 3174351"/>
              <a:gd name="connsiteX4" fmla="*/ 4440026 w 12217140"/>
              <a:gd name="connsiteY4" fmla="*/ 315532 h 3174351"/>
              <a:gd name="connsiteX5" fmla="*/ 5704307 w 12217140"/>
              <a:gd name="connsiteY5" fmla="*/ 2961611 h 3174351"/>
              <a:gd name="connsiteX6" fmla="*/ 6975837 w 12217140"/>
              <a:gd name="connsiteY6" fmla="*/ 108143 h 3174351"/>
              <a:gd name="connsiteX7" fmla="*/ 8752420 w 12217140"/>
              <a:gd name="connsiteY7" fmla="*/ 3174165 h 3174351"/>
              <a:gd name="connsiteX8" fmla="*/ 9728463 w 12217140"/>
              <a:gd name="connsiteY8" fmla="*/ 258971 h 3174351"/>
              <a:gd name="connsiteX9" fmla="*/ 11368727 w 12217140"/>
              <a:gd name="connsiteY9" fmla="*/ 673751 h 3174351"/>
              <a:gd name="connsiteX10" fmla="*/ 12217140 w 12217140"/>
              <a:gd name="connsiteY10" fmla="*/ 541775 h 3174351"/>
              <a:gd name="connsiteX0" fmla="*/ 0 w 12217140"/>
              <a:gd name="connsiteY0" fmla="*/ 279749 h 3166847"/>
              <a:gd name="connsiteX1" fmla="*/ 914403 w 12217140"/>
              <a:gd name="connsiteY1" fmla="*/ 44076 h 3166847"/>
              <a:gd name="connsiteX2" fmla="*/ 2469703 w 12217140"/>
              <a:gd name="connsiteY2" fmla="*/ 331632 h 3166847"/>
              <a:gd name="connsiteX3" fmla="*/ 2949570 w 12217140"/>
              <a:gd name="connsiteY3" fmla="*/ 3090832 h 3166847"/>
              <a:gd name="connsiteX4" fmla="*/ 4440026 w 12217140"/>
              <a:gd name="connsiteY4" fmla="*/ 308028 h 3166847"/>
              <a:gd name="connsiteX5" fmla="*/ 5704307 w 12217140"/>
              <a:gd name="connsiteY5" fmla="*/ 2954107 h 3166847"/>
              <a:gd name="connsiteX6" fmla="*/ 6975837 w 12217140"/>
              <a:gd name="connsiteY6" fmla="*/ 100639 h 3166847"/>
              <a:gd name="connsiteX7" fmla="*/ 8752420 w 12217140"/>
              <a:gd name="connsiteY7" fmla="*/ 3166661 h 3166847"/>
              <a:gd name="connsiteX8" fmla="*/ 9728463 w 12217140"/>
              <a:gd name="connsiteY8" fmla="*/ 251467 h 3166847"/>
              <a:gd name="connsiteX9" fmla="*/ 11368727 w 12217140"/>
              <a:gd name="connsiteY9" fmla="*/ 666247 h 3166847"/>
              <a:gd name="connsiteX10" fmla="*/ 12217140 w 12217140"/>
              <a:gd name="connsiteY10" fmla="*/ 534271 h 3166847"/>
              <a:gd name="connsiteX0" fmla="*/ 0 w 12217140"/>
              <a:gd name="connsiteY0" fmla="*/ 409064 h 3296162"/>
              <a:gd name="connsiteX1" fmla="*/ 914403 w 12217140"/>
              <a:gd name="connsiteY1" fmla="*/ 173391 h 3296162"/>
              <a:gd name="connsiteX2" fmla="*/ 2949570 w 12217140"/>
              <a:gd name="connsiteY2" fmla="*/ 3220147 h 3296162"/>
              <a:gd name="connsiteX3" fmla="*/ 4440026 w 12217140"/>
              <a:gd name="connsiteY3" fmla="*/ 437343 h 3296162"/>
              <a:gd name="connsiteX4" fmla="*/ 5704307 w 12217140"/>
              <a:gd name="connsiteY4" fmla="*/ 3083422 h 3296162"/>
              <a:gd name="connsiteX5" fmla="*/ 6975837 w 12217140"/>
              <a:gd name="connsiteY5" fmla="*/ 229954 h 3296162"/>
              <a:gd name="connsiteX6" fmla="*/ 8752420 w 12217140"/>
              <a:gd name="connsiteY6" fmla="*/ 3295976 h 3296162"/>
              <a:gd name="connsiteX7" fmla="*/ 9728463 w 12217140"/>
              <a:gd name="connsiteY7" fmla="*/ 380782 h 3296162"/>
              <a:gd name="connsiteX8" fmla="*/ 11368727 w 12217140"/>
              <a:gd name="connsiteY8" fmla="*/ 795562 h 3296162"/>
              <a:gd name="connsiteX9" fmla="*/ 12217140 w 12217140"/>
              <a:gd name="connsiteY9" fmla="*/ 663586 h 3296162"/>
              <a:gd name="connsiteX0" fmla="*/ 0 w 12217140"/>
              <a:gd name="connsiteY0" fmla="*/ 179437 h 3066535"/>
              <a:gd name="connsiteX1" fmla="*/ 2949570 w 12217140"/>
              <a:gd name="connsiteY1" fmla="*/ 2990520 h 3066535"/>
              <a:gd name="connsiteX2" fmla="*/ 4440026 w 12217140"/>
              <a:gd name="connsiteY2" fmla="*/ 207716 h 3066535"/>
              <a:gd name="connsiteX3" fmla="*/ 5704307 w 12217140"/>
              <a:gd name="connsiteY3" fmla="*/ 2853795 h 3066535"/>
              <a:gd name="connsiteX4" fmla="*/ 6975837 w 12217140"/>
              <a:gd name="connsiteY4" fmla="*/ 327 h 3066535"/>
              <a:gd name="connsiteX5" fmla="*/ 8752420 w 12217140"/>
              <a:gd name="connsiteY5" fmla="*/ 3066349 h 3066535"/>
              <a:gd name="connsiteX6" fmla="*/ 9728463 w 12217140"/>
              <a:gd name="connsiteY6" fmla="*/ 151155 h 3066535"/>
              <a:gd name="connsiteX7" fmla="*/ 11368727 w 12217140"/>
              <a:gd name="connsiteY7" fmla="*/ 565935 h 3066535"/>
              <a:gd name="connsiteX8" fmla="*/ 12217140 w 12217140"/>
              <a:gd name="connsiteY8" fmla="*/ 433959 h 3066535"/>
              <a:gd name="connsiteX0" fmla="*/ 0 w 12217140"/>
              <a:gd name="connsiteY0" fmla="*/ 179437 h 3066535"/>
              <a:gd name="connsiteX1" fmla="*/ 2949570 w 12217140"/>
              <a:gd name="connsiteY1" fmla="*/ 2990520 h 3066535"/>
              <a:gd name="connsiteX2" fmla="*/ 4440026 w 12217140"/>
              <a:gd name="connsiteY2" fmla="*/ 207716 h 3066535"/>
              <a:gd name="connsiteX3" fmla="*/ 5704307 w 12217140"/>
              <a:gd name="connsiteY3" fmla="*/ 2853795 h 3066535"/>
              <a:gd name="connsiteX4" fmla="*/ 6975837 w 12217140"/>
              <a:gd name="connsiteY4" fmla="*/ 327 h 3066535"/>
              <a:gd name="connsiteX5" fmla="*/ 8752420 w 12217140"/>
              <a:gd name="connsiteY5" fmla="*/ 3066349 h 3066535"/>
              <a:gd name="connsiteX6" fmla="*/ 9728463 w 12217140"/>
              <a:gd name="connsiteY6" fmla="*/ 151155 h 3066535"/>
              <a:gd name="connsiteX7" fmla="*/ 11368727 w 12217140"/>
              <a:gd name="connsiteY7" fmla="*/ 565935 h 3066535"/>
              <a:gd name="connsiteX8" fmla="*/ 12217140 w 12217140"/>
              <a:gd name="connsiteY8" fmla="*/ 433959 h 3066535"/>
              <a:gd name="connsiteX0" fmla="*/ 0 w 12217140"/>
              <a:gd name="connsiteY0" fmla="*/ 179437 h 3066535"/>
              <a:gd name="connsiteX1" fmla="*/ 2949570 w 12217140"/>
              <a:gd name="connsiteY1" fmla="*/ 2990520 h 3066535"/>
              <a:gd name="connsiteX2" fmla="*/ 4440026 w 12217140"/>
              <a:gd name="connsiteY2" fmla="*/ 207716 h 3066535"/>
              <a:gd name="connsiteX3" fmla="*/ 5704307 w 12217140"/>
              <a:gd name="connsiteY3" fmla="*/ 2853795 h 3066535"/>
              <a:gd name="connsiteX4" fmla="*/ 6975837 w 12217140"/>
              <a:gd name="connsiteY4" fmla="*/ 327 h 3066535"/>
              <a:gd name="connsiteX5" fmla="*/ 8752420 w 12217140"/>
              <a:gd name="connsiteY5" fmla="*/ 3066349 h 3066535"/>
              <a:gd name="connsiteX6" fmla="*/ 9728463 w 12217140"/>
              <a:gd name="connsiteY6" fmla="*/ 151155 h 3066535"/>
              <a:gd name="connsiteX7" fmla="*/ 11368727 w 12217140"/>
              <a:gd name="connsiteY7" fmla="*/ 565935 h 3066535"/>
              <a:gd name="connsiteX8" fmla="*/ 12217140 w 12217140"/>
              <a:gd name="connsiteY8" fmla="*/ 433959 h 3066535"/>
              <a:gd name="connsiteX0" fmla="*/ 0 w 12217140"/>
              <a:gd name="connsiteY0" fmla="*/ 455470 h 3342568"/>
              <a:gd name="connsiteX1" fmla="*/ 2949570 w 12217140"/>
              <a:gd name="connsiteY1" fmla="*/ 3266553 h 3342568"/>
              <a:gd name="connsiteX2" fmla="*/ 4440026 w 12217140"/>
              <a:gd name="connsiteY2" fmla="*/ 483749 h 3342568"/>
              <a:gd name="connsiteX3" fmla="*/ 6975837 w 12217140"/>
              <a:gd name="connsiteY3" fmla="*/ 276360 h 3342568"/>
              <a:gd name="connsiteX4" fmla="*/ 8752420 w 12217140"/>
              <a:gd name="connsiteY4" fmla="*/ 3342382 h 3342568"/>
              <a:gd name="connsiteX5" fmla="*/ 9728463 w 12217140"/>
              <a:gd name="connsiteY5" fmla="*/ 427188 h 3342568"/>
              <a:gd name="connsiteX6" fmla="*/ 11368727 w 12217140"/>
              <a:gd name="connsiteY6" fmla="*/ 841968 h 3342568"/>
              <a:gd name="connsiteX7" fmla="*/ 12217140 w 12217140"/>
              <a:gd name="connsiteY7" fmla="*/ 709992 h 3342568"/>
              <a:gd name="connsiteX0" fmla="*/ 0 w 12217140"/>
              <a:gd name="connsiteY0" fmla="*/ 445706 h 3332771"/>
              <a:gd name="connsiteX1" fmla="*/ 2949570 w 12217140"/>
              <a:gd name="connsiteY1" fmla="*/ 3256789 h 3332771"/>
              <a:gd name="connsiteX2" fmla="*/ 4440026 w 12217140"/>
              <a:gd name="connsiteY2" fmla="*/ 473985 h 3332771"/>
              <a:gd name="connsiteX3" fmla="*/ 6989796 w 12217140"/>
              <a:gd name="connsiteY3" fmla="*/ 280773 h 3332771"/>
              <a:gd name="connsiteX4" fmla="*/ 8752420 w 12217140"/>
              <a:gd name="connsiteY4" fmla="*/ 3332618 h 3332771"/>
              <a:gd name="connsiteX5" fmla="*/ 9728463 w 12217140"/>
              <a:gd name="connsiteY5" fmla="*/ 417424 h 3332771"/>
              <a:gd name="connsiteX6" fmla="*/ 11368727 w 12217140"/>
              <a:gd name="connsiteY6" fmla="*/ 832204 h 3332771"/>
              <a:gd name="connsiteX7" fmla="*/ 12217140 w 12217140"/>
              <a:gd name="connsiteY7" fmla="*/ 700228 h 3332771"/>
              <a:gd name="connsiteX0" fmla="*/ 0 w 12217140"/>
              <a:gd name="connsiteY0" fmla="*/ 149874 h 3036809"/>
              <a:gd name="connsiteX1" fmla="*/ 2949570 w 12217140"/>
              <a:gd name="connsiteY1" fmla="*/ 2960957 h 3036809"/>
              <a:gd name="connsiteX2" fmla="*/ 4440026 w 12217140"/>
              <a:gd name="connsiteY2" fmla="*/ 178153 h 3036809"/>
              <a:gd name="connsiteX3" fmla="*/ 8752420 w 12217140"/>
              <a:gd name="connsiteY3" fmla="*/ 3036786 h 3036809"/>
              <a:gd name="connsiteX4" fmla="*/ 9728463 w 12217140"/>
              <a:gd name="connsiteY4" fmla="*/ 121592 h 3036809"/>
              <a:gd name="connsiteX5" fmla="*/ 11368727 w 12217140"/>
              <a:gd name="connsiteY5" fmla="*/ 536372 h 3036809"/>
              <a:gd name="connsiteX6" fmla="*/ 12217140 w 12217140"/>
              <a:gd name="connsiteY6" fmla="*/ 404396 h 3036809"/>
              <a:gd name="connsiteX0" fmla="*/ 0 w 12217140"/>
              <a:gd name="connsiteY0" fmla="*/ 151333 h 3038369"/>
              <a:gd name="connsiteX1" fmla="*/ 2949570 w 12217140"/>
              <a:gd name="connsiteY1" fmla="*/ 2962416 h 3038369"/>
              <a:gd name="connsiteX2" fmla="*/ 5780057 w 12217140"/>
              <a:gd name="connsiteY2" fmla="*/ 40 h 3038369"/>
              <a:gd name="connsiteX3" fmla="*/ 8752420 w 12217140"/>
              <a:gd name="connsiteY3" fmla="*/ 3038245 h 3038369"/>
              <a:gd name="connsiteX4" fmla="*/ 9728463 w 12217140"/>
              <a:gd name="connsiteY4" fmla="*/ 123051 h 3038369"/>
              <a:gd name="connsiteX5" fmla="*/ 11368727 w 12217140"/>
              <a:gd name="connsiteY5" fmla="*/ 537831 h 3038369"/>
              <a:gd name="connsiteX6" fmla="*/ 12217140 w 12217140"/>
              <a:gd name="connsiteY6" fmla="*/ 405855 h 3038369"/>
              <a:gd name="connsiteX0" fmla="*/ 0 w 12217140"/>
              <a:gd name="connsiteY0" fmla="*/ 151322 h 3038358"/>
              <a:gd name="connsiteX1" fmla="*/ 2949570 w 12217140"/>
              <a:gd name="connsiteY1" fmla="*/ 2962405 h 3038358"/>
              <a:gd name="connsiteX2" fmla="*/ 5780057 w 12217140"/>
              <a:gd name="connsiteY2" fmla="*/ 29 h 3038358"/>
              <a:gd name="connsiteX3" fmla="*/ 8752420 w 12217140"/>
              <a:gd name="connsiteY3" fmla="*/ 3038234 h 3038358"/>
              <a:gd name="connsiteX4" fmla="*/ 9728463 w 12217140"/>
              <a:gd name="connsiteY4" fmla="*/ 123040 h 3038358"/>
              <a:gd name="connsiteX5" fmla="*/ 11368727 w 12217140"/>
              <a:gd name="connsiteY5" fmla="*/ 537820 h 3038358"/>
              <a:gd name="connsiteX6" fmla="*/ 12217140 w 12217140"/>
              <a:gd name="connsiteY6" fmla="*/ 405844 h 3038358"/>
              <a:gd name="connsiteX0" fmla="*/ 0 w 12217140"/>
              <a:gd name="connsiteY0" fmla="*/ 151323 h 3040957"/>
              <a:gd name="connsiteX1" fmla="*/ 2949570 w 12217140"/>
              <a:gd name="connsiteY1" fmla="*/ 2962406 h 3040957"/>
              <a:gd name="connsiteX2" fmla="*/ 5780057 w 12217140"/>
              <a:gd name="connsiteY2" fmla="*/ 30 h 3040957"/>
              <a:gd name="connsiteX3" fmla="*/ 8752420 w 12217140"/>
              <a:gd name="connsiteY3" fmla="*/ 3038235 h 3040957"/>
              <a:gd name="connsiteX4" fmla="*/ 11368727 w 12217140"/>
              <a:gd name="connsiteY4" fmla="*/ 537821 h 3040957"/>
              <a:gd name="connsiteX5" fmla="*/ 12217140 w 12217140"/>
              <a:gd name="connsiteY5" fmla="*/ 405845 h 3040957"/>
              <a:gd name="connsiteX0" fmla="*/ 0 w 12217140"/>
              <a:gd name="connsiteY0" fmla="*/ 151323 h 3039794"/>
              <a:gd name="connsiteX1" fmla="*/ 2949570 w 12217140"/>
              <a:gd name="connsiteY1" fmla="*/ 2962406 h 3039794"/>
              <a:gd name="connsiteX2" fmla="*/ 5780057 w 12217140"/>
              <a:gd name="connsiteY2" fmla="*/ 30 h 3039794"/>
              <a:gd name="connsiteX3" fmla="*/ 8752420 w 12217140"/>
              <a:gd name="connsiteY3" fmla="*/ 3038235 h 3039794"/>
              <a:gd name="connsiteX4" fmla="*/ 12217140 w 12217140"/>
              <a:gd name="connsiteY4" fmla="*/ 405845 h 3039794"/>
              <a:gd name="connsiteX0" fmla="*/ 0 w 11379329"/>
              <a:gd name="connsiteY0" fmla="*/ 151323 h 3038334"/>
              <a:gd name="connsiteX1" fmla="*/ 2949570 w 11379329"/>
              <a:gd name="connsiteY1" fmla="*/ 2962406 h 3038334"/>
              <a:gd name="connsiteX2" fmla="*/ 5780057 w 11379329"/>
              <a:gd name="connsiteY2" fmla="*/ 30 h 3038334"/>
              <a:gd name="connsiteX3" fmla="*/ 8752420 w 11379329"/>
              <a:gd name="connsiteY3" fmla="*/ 3038235 h 3038334"/>
              <a:gd name="connsiteX4" fmla="*/ 11379329 w 11379329"/>
              <a:gd name="connsiteY4" fmla="*/ 107395 h 3038334"/>
              <a:gd name="connsiteX0" fmla="*/ 0 w 12204635"/>
              <a:gd name="connsiteY0" fmla="*/ 151323 h 3038275"/>
              <a:gd name="connsiteX1" fmla="*/ 2949570 w 12204635"/>
              <a:gd name="connsiteY1" fmla="*/ 2962406 h 3038275"/>
              <a:gd name="connsiteX2" fmla="*/ 5780057 w 12204635"/>
              <a:gd name="connsiteY2" fmla="*/ 30 h 3038275"/>
              <a:gd name="connsiteX3" fmla="*/ 8752420 w 12204635"/>
              <a:gd name="connsiteY3" fmla="*/ 3038235 h 3038275"/>
              <a:gd name="connsiteX4" fmla="*/ 12204635 w 12204635"/>
              <a:gd name="connsiteY4" fmla="*/ 69295 h 3038275"/>
              <a:gd name="connsiteX0" fmla="*/ 0 w 12867381"/>
              <a:gd name="connsiteY0" fmla="*/ 144972 h 3038275"/>
              <a:gd name="connsiteX1" fmla="*/ 3612316 w 12867381"/>
              <a:gd name="connsiteY1" fmla="*/ 2962406 h 3038275"/>
              <a:gd name="connsiteX2" fmla="*/ 6442803 w 12867381"/>
              <a:gd name="connsiteY2" fmla="*/ 30 h 3038275"/>
              <a:gd name="connsiteX3" fmla="*/ 9415166 w 12867381"/>
              <a:gd name="connsiteY3" fmla="*/ 3038235 h 3038275"/>
              <a:gd name="connsiteX4" fmla="*/ 12867381 w 12867381"/>
              <a:gd name="connsiteY4" fmla="*/ 69295 h 3038275"/>
              <a:gd name="connsiteX0" fmla="*/ 0 w 12867381"/>
              <a:gd name="connsiteY0" fmla="*/ 144972 h 3038262"/>
              <a:gd name="connsiteX1" fmla="*/ 3612316 w 12867381"/>
              <a:gd name="connsiteY1" fmla="*/ 2962406 h 3038262"/>
              <a:gd name="connsiteX2" fmla="*/ 6442803 w 12867381"/>
              <a:gd name="connsiteY2" fmla="*/ 30 h 3038262"/>
              <a:gd name="connsiteX3" fmla="*/ 9415166 w 12867381"/>
              <a:gd name="connsiteY3" fmla="*/ 3038235 h 3038262"/>
              <a:gd name="connsiteX4" fmla="*/ 12867381 w 12867381"/>
              <a:gd name="connsiteY4" fmla="*/ 56595 h 3038262"/>
              <a:gd name="connsiteX0" fmla="*/ 0 w 12867381"/>
              <a:gd name="connsiteY0" fmla="*/ 144972 h 3038257"/>
              <a:gd name="connsiteX1" fmla="*/ 3612316 w 12867381"/>
              <a:gd name="connsiteY1" fmla="*/ 2962406 h 3038257"/>
              <a:gd name="connsiteX2" fmla="*/ 6442803 w 12867381"/>
              <a:gd name="connsiteY2" fmla="*/ 30 h 3038257"/>
              <a:gd name="connsiteX3" fmla="*/ 9415166 w 12867381"/>
              <a:gd name="connsiteY3" fmla="*/ 3038235 h 3038257"/>
              <a:gd name="connsiteX4" fmla="*/ 12867381 w 12867381"/>
              <a:gd name="connsiteY4" fmla="*/ 56595 h 3038257"/>
              <a:gd name="connsiteX0" fmla="*/ 0 w 12867381"/>
              <a:gd name="connsiteY0" fmla="*/ 145005 h 3057341"/>
              <a:gd name="connsiteX1" fmla="*/ 3612316 w 12867381"/>
              <a:gd name="connsiteY1" fmla="*/ 2962439 h 3057341"/>
              <a:gd name="connsiteX2" fmla="*/ 6442803 w 12867381"/>
              <a:gd name="connsiteY2" fmla="*/ 63 h 3057341"/>
              <a:gd name="connsiteX3" fmla="*/ 9408913 w 12867381"/>
              <a:gd name="connsiteY3" fmla="*/ 3057318 h 3057341"/>
              <a:gd name="connsiteX4" fmla="*/ 12867381 w 12867381"/>
              <a:gd name="connsiteY4" fmla="*/ 56628 h 3057341"/>
              <a:gd name="connsiteX0" fmla="*/ 0 w 12867381"/>
              <a:gd name="connsiteY0" fmla="*/ 145005 h 3057440"/>
              <a:gd name="connsiteX1" fmla="*/ 3612316 w 12867381"/>
              <a:gd name="connsiteY1" fmla="*/ 2962439 h 3057440"/>
              <a:gd name="connsiteX2" fmla="*/ 6442803 w 12867381"/>
              <a:gd name="connsiteY2" fmla="*/ 63 h 3057440"/>
              <a:gd name="connsiteX3" fmla="*/ 9408913 w 12867381"/>
              <a:gd name="connsiteY3" fmla="*/ 3057318 h 3057440"/>
              <a:gd name="connsiteX4" fmla="*/ 12867381 w 12867381"/>
              <a:gd name="connsiteY4" fmla="*/ 56628 h 3057440"/>
              <a:gd name="connsiteX0" fmla="*/ 0 w 12867381"/>
              <a:gd name="connsiteY0" fmla="*/ 144965 h 3057399"/>
              <a:gd name="connsiteX1" fmla="*/ 3612316 w 12867381"/>
              <a:gd name="connsiteY1" fmla="*/ 2962399 h 3057399"/>
              <a:gd name="connsiteX2" fmla="*/ 6442803 w 12867381"/>
              <a:gd name="connsiteY2" fmla="*/ 23 h 3057399"/>
              <a:gd name="connsiteX3" fmla="*/ 9408913 w 12867381"/>
              <a:gd name="connsiteY3" fmla="*/ 3057278 h 3057399"/>
              <a:gd name="connsiteX4" fmla="*/ 12867381 w 12867381"/>
              <a:gd name="connsiteY4" fmla="*/ 56588 h 3057399"/>
              <a:gd name="connsiteX0" fmla="*/ 0 w 12867381"/>
              <a:gd name="connsiteY0" fmla="*/ 144965 h 3057399"/>
              <a:gd name="connsiteX1" fmla="*/ 3612316 w 12867381"/>
              <a:gd name="connsiteY1" fmla="*/ 2962399 h 3057399"/>
              <a:gd name="connsiteX2" fmla="*/ 6442803 w 12867381"/>
              <a:gd name="connsiteY2" fmla="*/ 23 h 3057399"/>
              <a:gd name="connsiteX3" fmla="*/ 9408913 w 12867381"/>
              <a:gd name="connsiteY3" fmla="*/ 3057278 h 3057399"/>
              <a:gd name="connsiteX4" fmla="*/ 12867381 w 12867381"/>
              <a:gd name="connsiteY4" fmla="*/ 56588 h 3057399"/>
              <a:gd name="connsiteX0" fmla="*/ 0 w 12867381"/>
              <a:gd name="connsiteY0" fmla="*/ 199084 h 3111518"/>
              <a:gd name="connsiteX1" fmla="*/ 3612316 w 12867381"/>
              <a:gd name="connsiteY1" fmla="*/ 3016518 h 3111518"/>
              <a:gd name="connsiteX2" fmla="*/ 5109154 w 12867381"/>
              <a:gd name="connsiteY2" fmla="*/ 1291945 h 3111518"/>
              <a:gd name="connsiteX3" fmla="*/ 6442803 w 12867381"/>
              <a:gd name="connsiteY3" fmla="*/ 54142 h 3111518"/>
              <a:gd name="connsiteX4" fmla="*/ 9408913 w 12867381"/>
              <a:gd name="connsiteY4" fmla="*/ 3111397 h 3111518"/>
              <a:gd name="connsiteX5" fmla="*/ 12867381 w 12867381"/>
              <a:gd name="connsiteY5" fmla="*/ 110707 h 3111518"/>
              <a:gd name="connsiteX0" fmla="*/ 0 w 12867381"/>
              <a:gd name="connsiteY0" fmla="*/ 1004730 h 3917164"/>
              <a:gd name="connsiteX1" fmla="*/ 3612316 w 12867381"/>
              <a:gd name="connsiteY1" fmla="*/ 3822164 h 3917164"/>
              <a:gd name="connsiteX2" fmla="*/ 2058023 w 12867381"/>
              <a:gd name="connsiteY2" fmla="*/ 192591 h 3917164"/>
              <a:gd name="connsiteX3" fmla="*/ 6442803 w 12867381"/>
              <a:gd name="connsiteY3" fmla="*/ 859788 h 3917164"/>
              <a:gd name="connsiteX4" fmla="*/ 9408913 w 12867381"/>
              <a:gd name="connsiteY4" fmla="*/ 3917043 h 3917164"/>
              <a:gd name="connsiteX5" fmla="*/ 12867381 w 12867381"/>
              <a:gd name="connsiteY5" fmla="*/ 916353 h 3917164"/>
              <a:gd name="connsiteX0" fmla="*/ 0 w 12867381"/>
              <a:gd name="connsiteY0" fmla="*/ 892754 h 3805188"/>
              <a:gd name="connsiteX1" fmla="*/ 3612316 w 12867381"/>
              <a:gd name="connsiteY1" fmla="*/ 3710188 h 3805188"/>
              <a:gd name="connsiteX2" fmla="*/ 2827058 w 12867381"/>
              <a:gd name="connsiteY2" fmla="*/ 2131666 h 3805188"/>
              <a:gd name="connsiteX3" fmla="*/ 2058023 w 12867381"/>
              <a:gd name="connsiteY3" fmla="*/ 80615 h 3805188"/>
              <a:gd name="connsiteX4" fmla="*/ 6442803 w 12867381"/>
              <a:gd name="connsiteY4" fmla="*/ 747812 h 3805188"/>
              <a:gd name="connsiteX5" fmla="*/ 9408913 w 12867381"/>
              <a:gd name="connsiteY5" fmla="*/ 3805067 h 3805188"/>
              <a:gd name="connsiteX6" fmla="*/ 12867381 w 12867381"/>
              <a:gd name="connsiteY6" fmla="*/ 804377 h 3805188"/>
              <a:gd name="connsiteX0" fmla="*/ 0 w 12867381"/>
              <a:gd name="connsiteY0" fmla="*/ 892754 h 3805188"/>
              <a:gd name="connsiteX1" fmla="*/ 3612316 w 12867381"/>
              <a:gd name="connsiteY1" fmla="*/ 3710188 h 3805188"/>
              <a:gd name="connsiteX2" fmla="*/ 5002865 w 12867381"/>
              <a:gd name="connsiteY2" fmla="*/ 2582515 h 3805188"/>
              <a:gd name="connsiteX3" fmla="*/ 2058023 w 12867381"/>
              <a:gd name="connsiteY3" fmla="*/ 80615 h 3805188"/>
              <a:gd name="connsiteX4" fmla="*/ 6442803 w 12867381"/>
              <a:gd name="connsiteY4" fmla="*/ 747812 h 3805188"/>
              <a:gd name="connsiteX5" fmla="*/ 9408913 w 12867381"/>
              <a:gd name="connsiteY5" fmla="*/ 3805067 h 3805188"/>
              <a:gd name="connsiteX6" fmla="*/ 12867381 w 12867381"/>
              <a:gd name="connsiteY6" fmla="*/ 804377 h 3805188"/>
              <a:gd name="connsiteX0" fmla="*/ 0 w 12867381"/>
              <a:gd name="connsiteY0" fmla="*/ 289193 h 3201627"/>
              <a:gd name="connsiteX1" fmla="*/ 3612316 w 12867381"/>
              <a:gd name="connsiteY1" fmla="*/ 3106627 h 3201627"/>
              <a:gd name="connsiteX2" fmla="*/ 5002865 w 12867381"/>
              <a:gd name="connsiteY2" fmla="*/ 1978954 h 3201627"/>
              <a:gd name="connsiteX3" fmla="*/ 5109154 w 12867381"/>
              <a:gd name="connsiteY3" fmla="*/ 601003 h 3201627"/>
              <a:gd name="connsiteX4" fmla="*/ 6442803 w 12867381"/>
              <a:gd name="connsiteY4" fmla="*/ 144251 h 3201627"/>
              <a:gd name="connsiteX5" fmla="*/ 9408913 w 12867381"/>
              <a:gd name="connsiteY5" fmla="*/ 3201506 h 3201627"/>
              <a:gd name="connsiteX6" fmla="*/ 12867381 w 12867381"/>
              <a:gd name="connsiteY6" fmla="*/ 200816 h 3201627"/>
              <a:gd name="connsiteX0" fmla="*/ 0 w 12867381"/>
              <a:gd name="connsiteY0" fmla="*/ 802286 h 3714720"/>
              <a:gd name="connsiteX1" fmla="*/ 3612316 w 12867381"/>
              <a:gd name="connsiteY1" fmla="*/ 3619720 h 3714720"/>
              <a:gd name="connsiteX2" fmla="*/ 2070529 w 12867381"/>
              <a:gd name="connsiteY2" fmla="*/ 123498 h 3714720"/>
              <a:gd name="connsiteX3" fmla="*/ 5109154 w 12867381"/>
              <a:gd name="connsiteY3" fmla="*/ 1114096 h 3714720"/>
              <a:gd name="connsiteX4" fmla="*/ 6442803 w 12867381"/>
              <a:gd name="connsiteY4" fmla="*/ 657344 h 3714720"/>
              <a:gd name="connsiteX5" fmla="*/ 9408913 w 12867381"/>
              <a:gd name="connsiteY5" fmla="*/ 3714599 h 3714720"/>
              <a:gd name="connsiteX6" fmla="*/ 12867381 w 12867381"/>
              <a:gd name="connsiteY6" fmla="*/ 713909 h 3714720"/>
              <a:gd name="connsiteX0" fmla="*/ 0 w 12867381"/>
              <a:gd name="connsiteY0" fmla="*/ 802286 h 3714720"/>
              <a:gd name="connsiteX1" fmla="*/ 3612316 w 12867381"/>
              <a:gd name="connsiteY1" fmla="*/ 3619720 h 3714720"/>
              <a:gd name="connsiteX2" fmla="*/ 2070529 w 12867381"/>
              <a:gd name="connsiteY2" fmla="*/ 123498 h 3714720"/>
              <a:gd name="connsiteX3" fmla="*/ 5109154 w 12867381"/>
              <a:gd name="connsiteY3" fmla="*/ 1114096 h 3714720"/>
              <a:gd name="connsiteX4" fmla="*/ 6442803 w 12867381"/>
              <a:gd name="connsiteY4" fmla="*/ 657344 h 3714720"/>
              <a:gd name="connsiteX5" fmla="*/ 9408913 w 12867381"/>
              <a:gd name="connsiteY5" fmla="*/ 3714599 h 3714720"/>
              <a:gd name="connsiteX6" fmla="*/ 12867381 w 12867381"/>
              <a:gd name="connsiteY6" fmla="*/ 713909 h 3714720"/>
              <a:gd name="connsiteX0" fmla="*/ 0 w 12867381"/>
              <a:gd name="connsiteY0" fmla="*/ 1043579 h 3956013"/>
              <a:gd name="connsiteX1" fmla="*/ 3612316 w 12867381"/>
              <a:gd name="connsiteY1" fmla="*/ 3861013 h 3956013"/>
              <a:gd name="connsiteX2" fmla="*/ 6134535 w 12867381"/>
              <a:gd name="connsiteY2" fmla="*/ 110792 h 3956013"/>
              <a:gd name="connsiteX3" fmla="*/ 5109154 w 12867381"/>
              <a:gd name="connsiteY3" fmla="*/ 1355389 h 3956013"/>
              <a:gd name="connsiteX4" fmla="*/ 6442803 w 12867381"/>
              <a:gd name="connsiteY4" fmla="*/ 898637 h 3956013"/>
              <a:gd name="connsiteX5" fmla="*/ 9408913 w 12867381"/>
              <a:gd name="connsiteY5" fmla="*/ 3955892 h 3956013"/>
              <a:gd name="connsiteX6" fmla="*/ 12867381 w 12867381"/>
              <a:gd name="connsiteY6" fmla="*/ 955202 h 3956013"/>
              <a:gd name="connsiteX0" fmla="*/ 0 w 12867381"/>
              <a:gd name="connsiteY0" fmla="*/ 1014584 h 3927018"/>
              <a:gd name="connsiteX1" fmla="*/ 3612316 w 12867381"/>
              <a:gd name="connsiteY1" fmla="*/ 3832018 h 3927018"/>
              <a:gd name="connsiteX2" fmla="*/ 6134535 w 12867381"/>
              <a:gd name="connsiteY2" fmla="*/ 81797 h 3927018"/>
              <a:gd name="connsiteX3" fmla="*/ 2495685 w 12867381"/>
              <a:gd name="connsiteY3" fmla="*/ 2202693 h 3927018"/>
              <a:gd name="connsiteX4" fmla="*/ 6442803 w 12867381"/>
              <a:gd name="connsiteY4" fmla="*/ 869642 h 3927018"/>
              <a:gd name="connsiteX5" fmla="*/ 9408913 w 12867381"/>
              <a:gd name="connsiteY5" fmla="*/ 3926897 h 3927018"/>
              <a:gd name="connsiteX6" fmla="*/ 12867381 w 12867381"/>
              <a:gd name="connsiteY6" fmla="*/ 926207 h 3927018"/>
              <a:gd name="connsiteX0" fmla="*/ 0 w 12867381"/>
              <a:gd name="connsiteY0" fmla="*/ 1113775 h 4026209"/>
              <a:gd name="connsiteX1" fmla="*/ 3612316 w 12867381"/>
              <a:gd name="connsiteY1" fmla="*/ 3931209 h 4026209"/>
              <a:gd name="connsiteX2" fmla="*/ 3327245 w 12867381"/>
              <a:gd name="connsiteY2" fmla="*/ 79388 h 4026209"/>
              <a:gd name="connsiteX3" fmla="*/ 2495685 w 12867381"/>
              <a:gd name="connsiteY3" fmla="*/ 2301884 h 4026209"/>
              <a:gd name="connsiteX4" fmla="*/ 6442803 w 12867381"/>
              <a:gd name="connsiteY4" fmla="*/ 968833 h 4026209"/>
              <a:gd name="connsiteX5" fmla="*/ 9408913 w 12867381"/>
              <a:gd name="connsiteY5" fmla="*/ 4026088 h 4026209"/>
              <a:gd name="connsiteX6" fmla="*/ 12867381 w 12867381"/>
              <a:gd name="connsiteY6" fmla="*/ 1025398 h 4026209"/>
              <a:gd name="connsiteX0" fmla="*/ 0 w 12867381"/>
              <a:gd name="connsiteY0" fmla="*/ 1113775 h 4794083"/>
              <a:gd name="connsiteX1" fmla="*/ 3787382 w 12867381"/>
              <a:gd name="connsiteY1" fmla="*/ 4788459 h 4794083"/>
              <a:gd name="connsiteX2" fmla="*/ 3327245 w 12867381"/>
              <a:gd name="connsiteY2" fmla="*/ 79388 h 4794083"/>
              <a:gd name="connsiteX3" fmla="*/ 2495685 w 12867381"/>
              <a:gd name="connsiteY3" fmla="*/ 2301884 h 4794083"/>
              <a:gd name="connsiteX4" fmla="*/ 6442803 w 12867381"/>
              <a:gd name="connsiteY4" fmla="*/ 968833 h 4794083"/>
              <a:gd name="connsiteX5" fmla="*/ 9408913 w 12867381"/>
              <a:gd name="connsiteY5" fmla="*/ 4026088 h 4794083"/>
              <a:gd name="connsiteX6" fmla="*/ 12867381 w 12867381"/>
              <a:gd name="connsiteY6" fmla="*/ 1025398 h 4794083"/>
              <a:gd name="connsiteX0" fmla="*/ 0 w 12867381"/>
              <a:gd name="connsiteY0" fmla="*/ 958854 h 4637614"/>
              <a:gd name="connsiteX1" fmla="*/ 3787382 w 12867381"/>
              <a:gd name="connsiteY1" fmla="*/ 4633538 h 4637614"/>
              <a:gd name="connsiteX2" fmla="*/ 3971233 w 12867381"/>
              <a:gd name="connsiteY2" fmla="*/ 83216 h 4637614"/>
              <a:gd name="connsiteX3" fmla="*/ 2495685 w 12867381"/>
              <a:gd name="connsiteY3" fmla="*/ 2146963 h 4637614"/>
              <a:gd name="connsiteX4" fmla="*/ 6442803 w 12867381"/>
              <a:gd name="connsiteY4" fmla="*/ 813912 h 4637614"/>
              <a:gd name="connsiteX5" fmla="*/ 9408913 w 12867381"/>
              <a:gd name="connsiteY5" fmla="*/ 3871167 h 4637614"/>
              <a:gd name="connsiteX6" fmla="*/ 12867381 w 12867381"/>
              <a:gd name="connsiteY6" fmla="*/ 870477 h 4637614"/>
              <a:gd name="connsiteX0" fmla="*/ 0 w 12867381"/>
              <a:gd name="connsiteY0" fmla="*/ 1095167 h 4775278"/>
              <a:gd name="connsiteX1" fmla="*/ 3787382 w 12867381"/>
              <a:gd name="connsiteY1" fmla="*/ 4769851 h 4775278"/>
              <a:gd name="connsiteX2" fmla="*/ 3746150 w 12867381"/>
              <a:gd name="connsiteY2" fmla="*/ 79829 h 4775278"/>
              <a:gd name="connsiteX3" fmla="*/ 2495685 w 12867381"/>
              <a:gd name="connsiteY3" fmla="*/ 2283276 h 4775278"/>
              <a:gd name="connsiteX4" fmla="*/ 6442803 w 12867381"/>
              <a:gd name="connsiteY4" fmla="*/ 950225 h 4775278"/>
              <a:gd name="connsiteX5" fmla="*/ 9408913 w 12867381"/>
              <a:gd name="connsiteY5" fmla="*/ 4007480 h 4775278"/>
              <a:gd name="connsiteX6" fmla="*/ 12867381 w 12867381"/>
              <a:gd name="connsiteY6" fmla="*/ 1006790 h 4775278"/>
              <a:gd name="connsiteX0" fmla="*/ 0 w 12867381"/>
              <a:gd name="connsiteY0" fmla="*/ 1015338 h 4695449"/>
              <a:gd name="connsiteX1" fmla="*/ 3787382 w 12867381"/>
              <a:gd name="connsiteY1" fmla="*/ 4690022 h 4695449"/>
              <a:gd name="connsiteX2" fmla="*/ 3746150 w 12867381"/>
              <a:gd name="connsiteY2" fmla="*/ 0 h 4695449"/>
              <a:gd name="connsiteX3" fmla="*/ 2495685 w 12867381"/>
              <a:gd name="connsiteY3" fmla="*/ 2203447 h 4695449"/>
              <a:gd name="connsiteX4" fmla="*/ 6442803 w 12867381"/>
              <a:gd name="connsiteY4" fmla="*/ 870396 h 4695449"/>
              <a:gd name="connsiteX5" fmla="*/ 9408913 w 12867381"/>
              <a:gd name="connsiteY5" fmla="*/ 3927651 h 4695449"/>
              <a:gd name="connsiteX6" fmla="*/ 12867381 w 12867381"/>
              <a:gd name="connsiteY6" fmla="*/ 926961 h 4695449"/>
              <a:gd name="connsiteX0" fmla="*/ 0 w 12867381"/>
              <a:gd name="connsiteY0" fmla="*/ 1047089 h 4727532"/>
              <a:gd name="connsiteX1" fmla="*/ 3787382 w 12867381"/>
              <a:gd name="connsiteY1" fmla="*/ 4721773 h 4727532"/>
              <a:gd name="connsiteX2" fmla="*/ 3971233 w 12867381"/>
              <a:gd name="connsiteY2" fmla="*/ 0 h 4727532"/>
              <a:gd name="connsiteX3" fmla="*/ 2495685 w 12867381"/>
              <a:gd name="connsiteY3" fmla="*/ 2235198 h 4727532"/>
              <a:gd name="connsiteX4" fmla="*/ 6442803 w 12867381"/>
              <a:gd name="connsiteY4" fmla="*/ 902147 h 4727532"/>
              <a:gd name="connsiteX5" fmla="*/ 9408913 w 12867381"/>
              <a:gd name="connsiteY5" fmla="*/ 3959402 h 4727532"/>
              <a:gd name="connsiteX6" fmla="*/ 12867381 w 12867381"/>
              <a:gd name="connsiteY6" fmla="*/ 958712 h 4727532"/>
              <a:gd name="connsiteX0" fmla="*/ 0 w 12867381"/>
              <a:gd name="connsiteY0" fmla="*/ 1047980 h 4728423"/>
              <a:gd name="connsiteX1" fmla="*/ 3787382 w 12867381"/>
              <a:gd name="connsiteY1" fmla="*/ 4722664 h 4728423"/>
              <a:gd name="connsiteX2" fmla="*/ 3971233 w 12867381"/>
              <a:gd name="connsiteY2" fmla="*/ 891 h 4728423"/>
              <a:gd name="connsiteX3" fmla="*/ 2495685 w 12867381"/>
              <a:gd name="connsiteY3" fmla="*/ 2236089 h 4728423"/>
              <a:gd name="connsiteX4" fmla="*/ 6442803 w 12867381"/>
              <a:gd name="connsiteY4" fmla="*/ 903038 h 4728423"/>
              <a:gd name="connsiteX5" fmla="*/ 9408913 w 12867381"/>
              <a:gd name="connsiteY5" fmla="*/ 3960293 h 4728423"/>
              <a:gd name="connsiteX6" fmla="*/ 12867381 w 12867381"/>
              <a:gd name="connsiteY6" fmla="*/ 959603 h 4728423"/>
              <a:gd name="connsiteX0" fmla="*/ 0 w 12867381"/>
              <a:gd name="connsiteY0" fmla="*/ 1086075 h 4766928"/>
              <a:gd name="connsiteX1" fmla="*/ 3787382 w 12867381"/>
              <a:gd name="connsiteY1" fmla="*/ 4760759 h 4766928"/>
              <a:gd name="connsiteX2" fmla="*/ 3352254 w 12867381"/>
              <a:gd name="connsiteY2" fmla="*/ 886 h 4766928"/>
              <a:gd name="connsiteX3" fmla="*/ 2495685 w 12867381"/>
              <a:gd name="connsiteY3" fmla="*/ 2274184 h 4766928"/>
              <a:gd name="connsiteX4" fmla="*/ 6442803 w 12867381"/>
              <a:gd name="connsiteY4" fmla="*/ 941133 h 4766928"/>
              <a:gd name="connsiteX5" fmla="*/ 9408913 w 12867381"/>
              <a:gd name="connsiteY5" fmla="*/ 3998388 h 4766928"/>
              <a:gd name="connsiteX6" fmla="*/ 12867381 w 12867381"/>
              <a:gd name="connsiteY6" fmla="*/ 997698 h 4766928"/>
              <a:gd name="connsiteX0" fmla="*/ 0 w 12867381"/>
              <a:gd name="connsiteY0" fmla="*/ 1092978 h 4773831"/>
              <a:gd name="connsiteX1" fmla="*/ 3787382 w 12867381"/>
              <a:gd name="connsiteY1" fmla="*/ 4767662 h 4773831"/>
              <a:gd name="connsiteX2" fmla="*/ 3352254 w 12867381"/>
              <a:gd name="connsiteY2" fmla="*/ 7789 h 4773831"/>
              <a:gd name="connsiteX3" fmla="*/ 2495685 w 12867381"/>
              <a:gd name="connsiteY3" fmla="*/ 2281087 h 4773831"/>
              <a:gd name="connsiteX4" fmla="*/ 6442803 w 12867381"/>
              <a:gd name="connsiteY4" fmla="*/ 948036 h 4773831"/>
              <a:gd name="connsiteX5" fmla="*/ 9408913 w 12867381"/>
              <a:gd name="connsiteY5" fmla="*/ 4005291 h 4773831"/>
              <a:gd name="connsiteX6" fmla="*/ 12867381 w 12867381"/>
              <a:gd name="connsiteY6" fmla="*/ 1004601 h 4773831"/>
              <a:gd name="connsiteX0" fmla="*/ 0 w 12867381"/>
              <a:gd name="connsiteY0" fmla="*/ 1085362 h 4766215"/>
              <a:gd name="connsiteX1" fmla="*/ 3787382 w 12867381"/>
              <a:gd name="connsiteY1" fmla="*/ 4760046 h 4766215"/>
              <a:gd name="connsiteX2" fmla="*/ 3352254 w 12867381"/>
              <a:gd name="connsiteY2" fmla="*/ 173 h 4766215"/>
              <a:gd name="connsiteX3" fmla="*/ 3052142 w 12867381"/>
              <a:gd name="connsiteY3" fmla="*/ 4559471 h 4766215"/>
              <a:gd name="connsiteX4" fmla="*/ 6442803 w 12867381"/>
              <a:gd name="connsiteY4" fmla="*/ 940420 h 4766215"/>
              <a:gd name="connsiteX5" fmla="*/ 9408913 w 12867381"/>
              <a:gd name="connsiteY5" fmla="*/ 3997675 h 4766215"/>
              <a:gd name="connsiteX6" fmla="*/ 12867381 w 12867381"/>
              <a:gd name="connsiteY6" fmla="*/ 996985 h 4766215"/>
              <a:gd name="connsiteX0" fmla="*/ 0 w 12867381"/>
              <a:gd name="connsiteY0" fmla="*/ 1086551 h 5135182"/>
              <a:gd name="connsiteX1" fmla="*/ 2349349 w 12867381"/>
              <a:gd name="connsiteY1" fmla="*/ 5129535 h 5135182"/>
              <a:gd name="connsiteX2" fmla="*/ 3352254 w 12867381"/>
              <a:gd name="connsiteY2" fmla="*/ 1362 h 5135182"/>
              <a:gd name="connsiteX3" fmla="*/ 3052142 w 12867381"/>
              <a:gd name="connsiteY3" fmla="*/ 4560660 h 5135182"/>
              <a:gd name="connsiteX4" fmla="*/ 6442803 w 12867381"/>
              <a:gd name="connsiteY4" fmla="*/ 941609 h 5135182"/>
              <a:gd name="connsiteX5" fmla="*/ 9408913 w 12867381"/>
              <a:gd name="connsiteY5" fmla="*/ 3998864 h 5135182"/>
              <a:gd name="connsiteX6" fmla="*/ 12867381 w 12867381"/>
              <a:gd name="connsiteY6" fmla="*/ 998174 h 5135182"/>
              <a:gd name="connsiteX0" fmla="*/ 0 w 12867381"/>
              <a:gd name="connsiteY0" fmla="*/ 1086643 h 5154299"/>
              <a:gd name="connsiteX1" fmla="*/ 4956564 w 12867381"/>
              <a:gd name="connsiteY1" fmla="*/ 5148678 h 5154299"/>
              <a:gd name="connsiteX2" fmla="*/ 3352254 w 12867381"/>
              <a:gd name="connsiteY2" fmla="*/ 1454 h 5154299"/>
              <a:gd name="connsiteX3" fmla="*/ 3052142 w 12867381"/>
              <a:gd name="connsiteY3" fmla="*/ 4560752 h 5154299"/>
              <a:gd name="connsiteX4" fmla="*/ 6442803 w 12867381"/>
              <a:gd name="connsiteY4" fmla="*/ 941701 h 5154299"/>
              <a:gd name="connsiteX5" fmla="*/ 9408913 w 12867381"/>
              <a:gd name="connsiteY5" fmla="*/ 3998956 h 5154299"/>
              <a:gd name="connsiteX6" fmla="*/ 12867381 w 12867381"/>
              <a:gd name="connsiteY6" fmla="*/ 998266 h 5154299"/>
              <a:gd name="connsiteX0" fmla="*/ 0 w 12867381"/>
              <a:gd name="connsiteY0" fmla="*/ 1086643 h 5154299"/>
              <a:gd name="connsiteX1" fmla="*/ 4956564 w 12867381"/>
              <a:gd name="connsiteY1" fmla="*/ 5148678 h 5154299"/>
              <a:gd name="connsiteX2" fmla="*/ 3352254 w 12867381"/>
              <a:gd name="connsiteY2" fmla="*/ 1454 h 5154299"/>
              <a:gd name="connsiteX3" fmla="*/ 3052142 w 12867381"/>
              <a:gd name="connsiteY3" fmla="*/ 4560752 h 5154299"/>
              <a:gd name="connsiteX4" fmla="*/ 6442803 w 12867381"/>
              <a:gd name="connsiteY4" fmla="*/ 941701 h 5154299"/>
              <a:gd name="connsiteX5" fmla="*/ 9408913 w 12867381"/>
              <a:gd name="connsiteY5" fmla="*/ 3998956 h 5154299"/>
              <a:gd name="connsiteX6" fmla="*/ 12867381 w 12867381"/>
              <a:gd name="connsiteY6" fmla="*/ 998266 h 5154299"/>
              <a:gd name="connsiteX0" fmla="*/ 0 w 12867381"/>
              <a:gd name="connsiteY0" fmla="*/ 1086582 h 5141555"/>
              <a:gd name="connsiteX1" fmla="*/ 4925302 w 12867381"/>
              <a:gd name="connsiteY1" fmla="*/ 5135917 h 5141555"/>
              <a:gd name="connsiteX2" fmla="*/ 3352254 w 12867381"/>
              <a:gd name="connsiteY2" fmla="*/ 1393 h 5141555"/>
              <a:gd name="connsiteX3" fmla="*/ 3052142 w 12867381"/>
              <a:gd name="connsiteY3" fmla="*/ 4560691 h 5141555"/>
              <a:gd name="connsiteX4" fmla="*/ 6442803 w 12867381"/>
              <a:gd name="connsiteY4" fmla="*/ 941640 h 5141555"/>
              <a:gd name="connsiteX5" fmla="*/ 9408913 w 12867381"/>
              <a:gd name="connsiteY5" fmla="*/ 3998895 h 5141555"/>
              <a:gd name="connsiteX6" fmla="*/ 12867381 w 12867381"/>
              <a:gd name="connsiteY6" fmla="*/ 998205 h 5141555"/>
              <a:gd name="connsiteX0" fmla="*/ 0 w 12867381"/>
              <a:gd name="connsiteY0" fmla="*/ 1086582 h 5136038"/>
              <a:gd name="connsiteX1" fmla="*/ 4925302 w 12867381"/>
              <a:gd name="connsiteY1" fmla="*/ 5135917 h 5136038"/>
              <a:gd name="connsiteX2" fmla="*/ 3352254 w 12867381"/>
              <a:gd name="connsiteY2" fmla="*/ 1393 h 5136038"/>
              <a:gd name="connsiteX3" fmla="*/ 3052142 w 12867381"/>
              <a:gd name="connsiteY3" fmla="*/ 4560691 h 5136038"/>
              <a:gd name="connsiteX4" fmla="*/ 6442803 w 12867381"/>
              <a:gd name="connsiteY4" fmla="*/ 941640 h 5136038"/>
              <a:gd name="connsiteX5" fmla="*/ 9408913 w 12867381"/>
              <a:gd name="connsiteY5" fmla="*/ 3998895 h 5136038"/>
              <a:gd name="connsiteX6" fmla="*/ 12867381 w 12867381"/>
              <a:gd name="connsiteY6" fmla="*/ 998205 h 5136038"/>
              <a:gd name="connsiteX0" fmla="*/ 0 w 12867381"/>
              <a:gd name="connsiteY0" fmla="*/ 1086582 h 5135918"/>
              <a:gd name="connsiteX1" fmla="*/ 4925302 w 12867381"/>
              <a:gd name="connsiteY1" fmla="*/ 5135917 h 5135918"/>
              <a:gd name="connsiteX2" fmla="*/ 3352254 w 12867381"/>
              <a:gd name="connsiteY2" fmla="*/ 1393 h 5135918"/>
              <a:gd name="connsiteX3" fmla="*/ 3052142 w 12867381"/>
              <a:gd name="connsiteY3" fmla="*/ 4560691 h 5135918"/>
              <a:gd name="connsiteX4" fmla="*/ 6442803 w 12867381"/>
              <a:gd name="connsiteY4" fmla="*/ 941640 h 5135918"/>
              <a:gd name="connsiteX5" fmla="*/ 9408913 w 12867381"/>
              <a:gd name="connsiteY5" fmla="*/ 3998895 h 5135918"/>
              <a:gd name="connsiteX6" fmla="*/ 12867381 w 12867381"/>
              <a:gd name="connsiteY6" fmla="*/ 998205 h 5135918"/>
              <a:gd name="connsiteX0" fmla="*/ 0 w 12867381"/>
              <a:gd name="connsiteY0" fmla="*/ 1086582 h 5136038"/>
              <a:gd name="connsiteX1" fmla="*/ 4925302 w 12867381"/>
              <a:gd name="connsiteY1" fmla="*/ 5135917 h 5136038"/>
              <a:gd name="connsiteX2" fmla="*/ 3352254 w 12867381"/>
              <a:gd name="connsiteY2" fmla="*/ 1393 h 5136038"/>
              <a:gd name="connsiteX3" fmla="*/ 3052142 w 12867381"/>
              <a:gd name="connsiteY3" fmla="*/ 4560691 h 5136038"/>
              <a:gd name="connsiteX4" fmla="*/ 6442803 w 12867381"/>
              <a:gd name="connsiteY4" fmla="*/ 941640 h 5136038"/>
              <a:gd name="connsiteX5" fmla="*/ 9408913 w 12867381"/>
              <a:gd name="connsiteY5" fmla="*/ 3998895 h 5136038"/>
              <a:gd name="connsiteX6" fmla="*/ 12867381 w 12867381"/>
              <a:gd name="connsiteY6" fmla="*/ 998205 h 5136038"/>
              <a:gd name="connsiteX0" fmla="*/ 0 w 12867381"/>
              <a:gd name="connsiteY0" fmla="*/ 1094393 h 5143851"/>
              <a:gd name="connsiteX1" fmla="*/ 4925302 w 12867381"/>
              <a:gd name="connsiteY1" fmla="*/ 5143728 h 5143851"/>
              <a:gd name="connsiteX2" fmla="*/ 3352254 w 12867381"/>
              <a:gd name="connsiteY2" fmla="*/ 9204 h 5143851"/>
              <a:gd name="connsiteX3" fmla="*/ 3571085 w 12867381"/>
              <a:gd name="connsiteY3" fmla="*/ 3755703 h 5143851"/>
              <a:gd name="connsiteX4" fmla="*/ 6442803 w 12867381"/>
              <a:gd name="connsiteY4" fmla="*/ 949451 h 5143851"/>
              <a:gd name="connsiteX5" fmla="*/ 9408913 w 12867381"/>
              <a:gd name="connsiteY5" fmla="*/ 4006706 h 5143851"/>
              <a:gd name="connsiteX6" fmla="*/ 12867381 w 12867381"/>
              <a:gd name="connsiteY6" fmla="*/ 1006016 h 5143851"/>
              <a:gd name="connsiteX0" fmla="*/ 0 w 12867381"/>
              <a:gd name="connsiteY0" fmla="*/ 1094393 h 5143852"/>
              <a:gd name="connsiteX1" fmla="*/ 4925302 w 12867381"/>
              <a:gd name="connsiteY1" fmla="*/ 5143728 h 5143852"/>
              <a:gd name="connsiteX2" fmla="*/ 3352254 w 12867381"/>
              <a:gd name="connsiteY2" fmla="*/ 9204 h 5143852"/>
              <a:gd name="connsiteX3" fmla="*/ 3571085 w 12867381"/>
              <a:gd name="connsiteY3" fmla="*/ 3755703 h 5143852"/>
              <a:gd name="connsiteX4" fmla="*/ 6442803 w 12867381"/>
              <a:gd name="connsiteY4" fmla="*/ 949451 h 5143852"/>
              <a:gd name="connsiteX5" fmla="*/ 9408913 w 12867381"/>
              <a:gd name="connsiteY5" fmla="*/ 4006706 h 5143852"/>
              <a:gd name="connsiteX6" fmla="*/ 12867381 w 12867381"/>
              <a:gd name="connsiteY6" fmla="*/ 1006016 h 5143852"/>
              <a:gd name="connsiteX0" fmla="*/ 0 w 12867381"/>
              <a:gd name="connsiteY0" fmla="*/ 1094897 h 5144356"/>
              <a:gd name="connsiteX1" fmla="*/ 4925302 w 12867381"/>
              <a:gd name="connsiteY1" fmla="*/ 5144232 h 5144356"/>
              <a:gd name="connsiteX2" fmla="*/ 3352254 w 12867381"/>
              <a:gd name="connsiteY2" fmla="*/ 9708 h 5144356"/>
              <a:gd name="connsiteX3" fmla="*/ 3571085 w 12867381"/>
              <a:gd name="connsiteY3" fmla="*/ 3756207 h 5144356"/>
              <a:gd name="connsiteX4" fmla="*/ 6442803 w 12867381"/>
              <a:gd name="connsiteY4" fmla="*/ 949955 h 5144356"/>
              <a:gd name="connsiteX5" fmla="*/ 9408913 w 12867381"/>
              <a:gd name="connsiteY5" fmla="*/ 4007210 h 5144356"/>
              <a:gd name="connsiteX6" fmla="*/ 12867381 w 12867381"/>
              <a:gd name="connsiteY6" fmla="*/ 1006520 h 5144356"/>
              <a:gd name="connsiteX0" fmla="*/ 0 w 12867381"/>
              <a:gd name="connsiteY0" fmla="*/ 1094853 h 5144312"/>
              <a:gd name="connsiteX1" fmla="*/ 4925302 w 12867381"/>
              <a:gd name="connsiteY1" fmla="*/ 5144188 h 5144312"/>
              <a:gd name="connsiteX2" fmla="*/ 3352254 w 12867381"/>
              <a:gd name="connsiteY2" fmla="*/ 9664 h 5144312"/>
              <a:gd name="connsiteX3" fmla="*/ 3571085 w 12867381"/>
              <a:gd name="connsiteY3" fmla="*/ 3756163 h 5144312"/>
              <a:gd name="connsiteX4" fmla="*/ 6442803 w 12867381"/>
              <a:gd name="connsiteY4" fmla="*/ 949911 h 5144312"/>
              <a:gd name="connsiteX5" fmla="*/ 9408913 w 12867381"/>
              <a:gd name="connsiteY5" fmla="*/ 4007166 h 5144312"/>
              <a:gd name="connsiteX6" fmla="*/ 12867381 w 12867381"/>
              <a:gd name="connsiteY6" fmla="*/ 1006476 h 5144312"/>
              <a:gd name="connsiteX0" fmla="*/ 0 w 13136231"/>
              <a:gd name="connsiteY0" fmla="*/ 2752203 h 5193839"/>
              <a:gd name="connsiteX1" fmla="*/ 5194152 w 13136231"/>
              <a:gd name="connsiteY1" fmla="*/ 5144188 h 5193839"/>
              <a:gd name="connsiteX2" fmla="*/ 3621104 w 13136231"/>
              <a:gd name="connsiteY2" fmla="*/ 9664 h 5193839"/>
              <a:gd name="connsiteX3" fmla="*/ 3839935 w 13136231"/>
              <a:gd name="connsiteY3" fmla="*/ 3756163 h 5193839"/>
              <a:gd name="connsiteX4" fmla="*/ 6711653 w 13136231"/>
              <a:gd name="connsiteY4" fmla="*/ 949911 h 5193839"/>
              <a:gd name="connsiteX5" fmla="*/ 9677763 w 13136231"/>
              <a:gd name="connsiteY5" fmla="*/ 4007166 h 5193839"/>
              <a:gd name="connsiteX6" fmla="*/ 13136231 w 13136231"/>
              <a:gd name="connsiteY6" fmla="*/ 1006476 h 5193839"/>
              <a:gd name="connsiteX0" fmla="*/ 0 w 13136231"/>
              <a:gd name="connsiteY0" fmla="*/ 2752203 h 5193838"/>
              <a:gd name="connsiteX1" fmla="*/ 5194152 w 13136231"/>
              <a:gd name="connsiteY1" fmla="*/ 5144188 h 5193838"/>
              <a:gd name="connsiteX2" fmla="*/ 3621104 w 13136231"/>
              <a:gd name="connsiteY2" fmla="*/ 9664 h 5193838"/>
              <a:gd name="connsiteX3" fmla="*/ 3839935 w 13136231"/>
              <a:gd name="connsiteY3" fmla="*/ 3756163 h 5193838"/>
              <a:gd name="connsiteX4" fmla="*/ 6711653 w 13136231"/>
              <a:gd name="connsiteY4" fmla="*/ 949911 h 5193838"/>
              <a:gd name="connsiteX5" fmla="*/ 9677763 w 13136231"/>
              <a:gd name="connsiteY5" fmla="*/ 4007166 h 5193838"/>
              <a:gd name="connsiteX6" fmla="*/ 13136231 w 13136231"/>
              <a:gd name="connsiteY6" fmla="*/ 1006476 h 5193838"/>
              <a:gd name="connsiteX0" fmla="*/ 0 w 13136231"/>
              <a:gd name="connsiteY0" fmla="*/ 2742695 h 5184330"/>
              <a:gd name="connsiteX1" fmla="*/ 5194152 w 13136231"/>
              <a:gd name="connsiteY1" fmla="*/ 5134680 h 5184330"/>
              <a:gd name="connsiteX2" fmla="*/ 3621104 w 13136231"/>
              <a:gd name="connsiteY2" fmla="*/ 156 h 5184330"/>
              <a:gd name="connsiteX3" fmla="*/ 3839935 w 13136231"/>
              <a:gd name="connsiteY3" fmla="*/ 3746655 h 5184330"/>
              <a:gd name="connsiteX4" fmla="*/ 6711653 w 13136231"/>
              <a:gd name="connsiteY4" fmla="*/ 940403 h 5184330"/>
              <a:gd name="connsiteX5" fmla="*/ 9677763 w 13136231"/>
              <a:gd name="connsiteY5" fmla="*/ 3997658 h 5184330"/>
              <a:gd name="connsiteX6" fmla="*/ 13136231 w 13136231"/>
              <a:gd name="connsiteY6" fmla="*/ 996968 h 5184330"/>
              <a:gd name="connsiteX0" fmla="*/ 0 w 13136231"/>
              <a:gd name="connsiteY0" fmla="*/ 2745223 h 4527203"/>
              <a:gd name="connsiteX1" fmla="*/ 4787751 w 13136231"/>
              <a:gd name="connsiteY1" fmla="*/ 4464109 h 4527203"/>
              <a:gd name="connsiteX2" fmla="*/ 3621104 w 13136231"/>
              <a:gd name="connsiteY2" fmla="*/ 2684 h 4527203"/>
              <a:gd name="connsiteX3" fmla="*/ 3839935 w 13136231"/>
              <a:gd name="connsiteY3" fmla="*/ 3749183 h 4527203"/>
              <a:gd name="connsiteX4" fmla="*/ 6711653 w 13136231"/>
              <a:gd name="connsiteY4" fmla="*/ 942931 h 4527203"/>
              <a:gd name="connsiteX5" fmla="*/ 9677763 w 13136231"/>
              <a:gd name="connsiteY5" fmla="*/ 4000186 h 4527203"/>
              <a:gd name="connsiteX6" fmla="*/ 13136231 w 13136231"/>
              <a:gd name="connsiteY6" fmla="*/ 999496 h 4527203"/>
              <a:gd name="connsiteX0" fmla="*/ 0 w 13136231"/>
              <a:gd name="connsiteY0" fmla="*/ 2745223 h 4690322"/>
              <a:gd name="connsiteX1" fmla="*/ 4787751 w 13136231"/>
              <a:gd name="connsiteY1" fmla="*/ 4464109 h 4690322"/>
              <a:gd name="connsiteX2" fmla="*/ 3621104 w 13136231"/>
              <a:gd name="connsiteY2" fmla="*/ 2684 h 4690322"/>
              <a:gd name="connsiteX3" fmla="*/ 3839935 w 13136231"/>
              <a:gd name="connsiteY3" fmla="*/ 3749183 h 4690322"/>
              <a:gd name="connsiteX4" fmla="*/ 6711653 w 13136231"/>
              <a:gd name="connsiteY4" fmla="*/ 942931 h 4690322"/>
              <a:gd name="connsiteX5" fmla="*/ 9677763 w 13136231"/>
              <a:gd name="connsiteY5" fmla="*/ 4000186 h 4690322"/>
              <a:gd name="connsiteX6" fmla="*/ 13136231 w 13136231"/>
              <a:gd name="connsiteY6" fmla="*/ 999496 h 4690322"/>
              <a:gd name="connsiteX0" fmla="*/ 0 w 13136231"/>
              <a:gd name="connsiteY0" fmla="*/ 2742874 h 4687971"/>
              <a:gd name="connsiteX1" fmla="*/ 4787751 w 13136231"/>
              <a:gd name="connsiteY1" fmla="*/ 4461760 h 4687971"/>
              <a:gd name="connsiteX2" fmla="*/ 3621104 w 13136231"/>
              <a:gd name="connsiteY2" fmla="*/ 335 h 4687971"/>
              <a:gd name="connsiteX3" fmla="*/ 3839935 w 13136231"/>
              <a:gd name="connsiteY3" fmla="*/ 3746834 h 4687971"/>
              <a:gd name="connsiteX4" fmla="*/ 6711653 w 13136231"/>
              <a:gd name="connsiteY4" fmla="*/ 940582 h 4687971"/>
              <a:gd name="connsiteX5" fmla="*/ 9677763 w 13136231"/>
              <a:gd name="connsiteY5" fmla="*/ 3997837 h 4687971"/>
              <a:gd name="connsiteX6" fmla="*/ 13136231 w 13136231"/>
              <a:gd name="connsiteY6" fmla="*/ 997147 h 4687971"/>
              <a:gd name="connsiteX0" fmla="*/ 0 w 13136231"/>
              <a:gd name="connsiteY0" fmla="*/ 2742874 h 4687972"/>
              <a:gd name="connsiteX1" fmla="*/ 4787751 w 13136231"/>
              <a:gd name="connsiteY1" fmla="*/ 4461760 h 4687972"/>
              <a:gd name="connsiteX2" fmla="*/ 3621104 w 13136231"/>
              <a:gd name="connsiteY2" fmla="*/ 335 h 4687972"/>
              <a:gd name="connsiteX3" fmla="*/ 3839935 w 13136231"/>
              <a:gd name="connsiteY3" fmla="*/ 3746834 h 4687972"/>
              <a:gd name="connsiteX4" fmla="*/ 6711653 w 13136231"/>
              <a:gd name="connsiteY4" fmla="*/ 940582 h 4687972"/>
              <a:gd name="connsiteX5" fmla="*/ 9677763 w 13136231"/>
              <a:gd name="connsiteY5" fmla="*/ 3997837 h 4687972"/>
              <a:gd name="connsiteX6" fmla="*/ 13136231 w 13136231"/>
              <a:gd name="connsiteY6" fmla="*/ 997147 h 468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6231" h="4687972">
                <a:moveTo>
                  <a:pt x="0" y="2742874"/>
                </a:moveTo>
                <a:cubicBezTo>
                  <a:pt x="2350021" y="2742545"/>
                  <a:pt x="3283900" y="5477650"/>
                  <a:pt x="4787751" y="4461760"/>
                </a:cubicBezTo>
                <a:cubicBezTo>
                  <a:pt x="6291602" y="3445870"/>
                  <a:pt x="5135826" y="-39260"/>
                  <a:pt x="3621104" y="335"/>
                </a:cubicBezTo>
                <a:cubicBezTo>
                  <a:pt x="2106382" y="39930"/>
                  <a:pt x="2011856" y="3767925"/>
                  <a:pt x="3839935" y="3746834"/>
                </a:cubicBezTo>
                <a:cubicBezTo>
                  <a:pt x="5668014" y="3725743"/>
                  <a:pt x="5132208" y="943198"/>
                  <a:pt x="6711653" y="940582"/>
                </a:cubicBezTo>
                <a:cubicBezTo>
                  <a:pt x="8291098" y="937966"/>
                  <a:pt x="7856722" y="3975710"/>
                  <a:pt x="9677763" y="3997837"/>
                </a:cubicBezTo>
                <a:cubicBezTo>
                  <a:pt x="11498804" y="4019964"/>
                  <a:pt x="9900982" y="1005813"/>
                  <a:pt x="13136231" y="997147"/>
                </a:cubicBezTo>
              </a:path>
            </a:pathLst>
          </a:custGeom>
          <a:noFill/>
          <a:ln w="76200">
            <a:solidFill>
              <a:srgbClr val="EA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pis For Office"/>
              <a:ea typeface="+mn-ea"/>
              <a:cs typeface="+mn-cs"/>
            </a:endParaRPr>
          </a:p>
        </p:txBody>
      </p:sp>
      <p:pic>
        <p:nvPicPr>
          <p:cNvPr id="187396" name="Picture 4" descr="LinkedIn Logo R | | Vector Images Icon Sign And Symbols">
            <a:extLst>
              <a:ext uri="{FF2B5EF4-FFF2-40B4-BE49-F238E27FC236}">
                <a16:creationId xmlns:a16="http://schemas.microsoft.com/office/drawing/2014/main" id="{58EB3E1A-50AC-4B16-8CC3-35508CFF513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0112" y="3080360"/>
            <a:ext cx="1573498" cy="1573498"/>
          </a:xfrm>
          <a:prstGeom prst="rect">
            <a:avLst/>
          </a:prstGeom>
          <a:noFill/>
          <a:extLst>
            <a:ext uri="{909E8E84-426E-40DD-AFC4-6F175D3DCCD1}">
              <a14:hiddenFill xmlns:a14="http://schemas.microsoft.com/office/drawing/2010/main">
                <a:solidFill>
                  <a:srgbClr val="FFFFFF"/>
                </a:solidFill>
              </a14:hiddenFill>
            </a:ext>
          </a:extLst>
        </p:spPr>
      </p:pic>
      <p:pic>
        <p:nvPicPr>
          <p:cNvPr id="17" name="Graphic 16">
            <a:extLst>
              <a:ext uri="{FF2B5EF4-FFF2-40B4-BE49-F238E27FC236}">
                <a16:creationId xmlns:a16="http://schemas.microsoft.com/office/drawing/2014/main" id="{55FF20C8-5E69-4E21-9816-B24AB56017B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36861" y="3080360"/>
            <a:ext cx="1333647" cy="1333647"/>
          </a:xfrm>
          <a:prstGeom prst="rect">
            <a:avLst/>
          </a:prstGeom>
        </p:spPr>
      </p:pic>
      <p:pic>
        <p:nvPicPr>
          <p:cNvPr id="187398" name="Picture 6" descr="Novo Nordisk - Wikipedia">
            <a:extLst>
              <a:ext uri="{FF2B5EF4-FFF2-40B4-BE49-F238E27FC236}">
                <a16:creationId xmlns:a16="http://schemas.microsoft.com/office/drawing/2014/main" id="{AAA48CED-33FA-482C-A8D7-0F8C0213F12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321492" y="3117102"/>
            <a:ext cx="1787616" cy="1360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59427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450B9022-A262-4922-A6B5-8584374FFF51}"/>
              </a:ext>
            </a:extLst>
          </p:cNvPr>
          <p:cNvPicPr>
            <a:picLocks noGrp="1" noChangeAspect="1"/>
          </p:cNvPicPr>
          <p:nvPr>
            <p:ph type="pic" sz="quarter" idx="13"/>
            <p:custDataLst>
              <p:tags r:id="rId3"/>
            </p:custDataLst>
          </p:nvPr>
        </p:nvPicPr>
        <p:blipFill rotWithShape="1">
          <a:blip r:embed="rId6">
            <a:extLst>
              <a:ext uri="{28A0092B-C50C-407E-A947-70E740481C1C}">
                <a14:useLocalDpi xmlns:a14="http://schemas.microsoft.com/office/drawing/2010/main" val="0"/>
              </a:ext>
            </a:extLst>
          </a:blip>
          <a:srcRect t="7813" b="7813"/>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101600 h 6858000"/>
              <a:gd name="connsiteX3" fmla="*/ 12192000 w 12192000"/>
              <a:gd name="connsiteY3" fmla="*/ 1271588 h 6858000"/>
              <a:gd name="connsiteX4" fmla="*/ 12192000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101600"/>
                </a:lnTo>
                <a:lnTo>
                  <a:pt x="12192000" y="1271588"/>
                </a:lnTo>
                <a:lnTo>
                  <a:pt x="12192000" y="6858000"/>
                </a:lnTo>
                <a:lnTo>
                  <a:pt x="0" y="6858000"/>
                </a:lnTo>
                <a:close/>
              </a:path>
            </a:pathLst>
          </a:custGeom>
          <a:solidFill>
            <a:srgbClr val="D4D7DC"/>
          </a:solidFill>
        </p:spPr>
      </p:pic>
      <p:sp>
        <p:nvSpPr>
          <p:cNvPr id="6" name="Rectangle 5">
            <a:extLst>
              <a:ext uri="{FF2B5EF4-FFF2-40B4-BE49-F238E27FC236}">
                <a16:creationId xmlns:a16="http://schemas.microsoft.com/office/drawing/2014/main" id="{4B6B2E94-2278-4BEE-A122-43489E1936C3}"/>
              </a:ext>
            </a:extLst>
          </p:cNvPr>
          <p:cNvSpPr>
            <a:spLocks/>
          </p:cNvSpPr>
          <p:nvPr/>
        </p:nvSpPr>
        <p:spPr>
          <a:xfrm rot="5400000">
            <a:off x="4826883" y="-4821942"/>
            <a:ext cx="2543175" cy="12187060"/>
          </a:xfrm>
          <a:prstGeom prst="rect">
            <a:avLst/>
          </a:prstGeom>
          <a:gradFill>
            <a:gsLst>
              <a:gs pos="39000">
                <a:schemeClr val="tx1">
                  <a:lumMod val="95000"/>
                  <a:lumOff val="5000"/>
                  <a:alpha val="46000"/>
                </a:schemeClr>
              </a:gs>
              <a:gs pos="93000">
                <a:schemeClr val="tx1">
                  <a:lumMod val="95000"/>
                  <a:lumOff val="5000"/>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GB" sz="2400" dirty="0">
              <a:solidFill>
                <a:srgbClr val="FFFFFF"/>
              </a:solidFill>
              <a:latin typeface="Verdana"/>
            </a:endParaRPr>
          </a:p>
        </p:txBody>
      </p:sp>
      <p:sp>
        <p:nvSpPr>
          <p:cNvPr id="9" name="Tekstfelt 10">
            <a:extLst>
              <a:ext uri="{FF2B5EF4-FFF2-40B4-BE49-F238E27FC236}">
                <a16:creationId xmlns:a16="http://schemas.microsoft.com/office/drawing/2014/main" id="{182CB28C-A58A-4069-8D42-5129CF3A170A}"/>
              </a:ext>
            </a:extLst>
          </p:cNvPr>
          <p:cNvSpPr txBox="1">
            <a:spLocks/>
          </p:cNvSpPr>
          <p:nvPr/>
        </p:nvSpPr>
        <p:spPr>
          <a:xfrm>
            <a:off x="647700" y="4819506"/>
            <a:ext cx="11418039" cy="1606594"/>
          </a:xfrm>
          <a:prstGeom prst="rect">
            <a:avLst/>
          </a:prstGeom>
          <a:noFill/>
        </p:spPr>
        <p:txBody>
          <a:bodyPr wrap="square" lIns="0" tIns="0" rIns="0" bIns="0" rtlCol="0" anchor="b" anchorCtr="0">
            <a:spAutoFit/>
          </a:bodyPr>
          <a:lstStyle/>
          <a:p>
            <a:pPr>
              <a:lnSpc>
                <a:spcPct val="90000"/>
              </a:lnSpc>
            </a:pPr>
            <a:r>
              <a:rPr lang="en-GB" sz="11600" dirty="0">
                <a:solidFill>
                  <a:schemeClr val="bg1"/>
                </a:solidFill>
              </a:rPr>
              <a:t>Q&amp;A? </a:t>
            </a:r>
          </a:p>
        </p:txBody>
      </p:sp>
      <p:sp>
        <p:nvSpPr>
          <p:cNvPr id="3" name="Freeform: Shape 2">
            <a:extLst>
              <a:ext uri="{FF2B5EF4-FFF2-40B4-BE49-F238E27FC236}">
                <a16:creationId xmlns:a16="http://schemas.microsoft.com/office/drawing/2014/main" id="{74AEDDB1-7974-4DDA-A53C-1824BB3C88B5}"/>
              </a:ext>
            </a:extLst>
          </p:cNvPr>
          <p:cNvSpPr>
            <a:spLocks/>
          </p:cNvSpPr>
          <p:nvPr/>
        </p:nvSpPr>
        <p:spPr>
          <a:xfrm>
            <a:off x="11172825" y="321618"/>
            <a:ext cx="701251"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bg1"/>
          </a:solidFill>
          <a:ln w="8132" cap="flat">
            <a:noFill/>
            <a:prstDash val="solid"/>
            <a:miter/>
          </a:ln>
        </p:spPr>
        <p:txBody>
          <a:bodyPr rtlCol="0" anchor="ctr"/>
          <a:lstStyle/>
          <a:p>
            <a:endParaRPr lang="en-GB"/>
          </a:p>
        </p:txBody>
      </p:sp>
      <p:pic>
        <p:nvPicPr>
          <p:cNvPr id="2" name="Tagline" descr="{&quot;templafy&quot;:{&quot;id&quot;:&quot;c215a79c-8bc1-4263-a019-e1669e46f9f9&quot;}}">
            <a:extLst>
              <a:ext uri="{FF2B5EF4-FFF2-40B4-BE49-F238E27FC236}">
                <a16:creationId xmlns:a16="http://schemas.microsoft.com/office/drawing/2014/main" id="{3930A285-0329-4210-8FA3-7CDAEB8E7F1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9240654" y="5336922"/>
            <a:ext cx="2761545" cy="1297876"/>
          </a:xfrm>
          <a:prstGeom prst="rect">
            <a:avLst/>
          </a:prstGeom>
        </p:spPr>
      </p:pic>
    </p:spTree>
    <p:custDataLst>
      <p:custData r:id="rId1"/>
      <p:custData r:id="rId2"/>
    </p:custDataLst>
    <p:extLst>
      <p:ext uri="{BB962C8B-B14F-4D97-AF65-F5344CB8AC3E}">
        <p14:creationId xmlns:p14="http://schemas.microsoft.com/office/powerpoint/2010/main" val="2893573539"/>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CA82-B68E-4AAA-894F-15E1ADC4DFF6}"/>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7" name="think-cell Slide" r:id="rId7" imgW="416" imgH="416" progId="TCLayout.ActiveDocument.1">
                  <p:embed/>
                </p:oleObj>
              </mc:Choice>
              <mc:Fallback>
                <p:oleObj name="think-cell Slide" r:id="rId7" imgW="416" imgH="416" progId="TCLayout.ActiveDocument.1">
                  <p:embed/>
                  <p:pic>
                    <p:nvPicPr>
                      <p:cNvPr id="2" name="Object 1" hidden="1">
                        <a:extLst>
                          <a:ext uri="{FF2B5EF4-FFF2-40B4-BE49-F238E27FC236}">
                            <a16:creationId xmlns:a16="http://schemas.microsoft.com/office/drawing/2014/main" id="{3389CA82-B68E-4AAA-894F-15E1ADC4DFF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68395EA-7B97-4F74-BB7F-783FD5C6F60D}"/>
              </a:ext>
            </a:extLst>
          </p:cNvPr>
          <p:cNvSpPr/>
          <p:nvPr>
            <p:custDataLst>
              <p:tags r:id="rId4"/>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noProof="0" dirty="0">
              <a:latin typeface="Apis For Office" panose="020B0504010101010104" pitchFamily="34" charset="0"/>
              <a:ea typeface="+mj-ea"/>
              <a:cs typeface="+mj-cs"/>
              <a:sym typeface="Apis For Office" panose="020B0504010101010104" pitchFamily="34" charset="0"/>
            </a:endParaRPr>
          </a:p>
        </p:txBody>
      </p:sp>
      <p:pic>
        <p:nvPicPr>
          <p:cNvPr id="36" name="Picture 35">
            <a:extLst>
              <a:ext uri="{FF2B5EF4-FFF2-40B4-BE49-F238E27FC236}">
                <a16:creationId xmlns:a16="http://schemas.microsoft.com/office/drawing/2014/main" id="{A41287E7-5DD5-4E57-BC15-58380EB8420E}"/>
              </a:ext>
            </a:extLst>
          </p:cNvPr>
          <p:cNvPicPr>
            <a:picLocks noChangeAspect="1"/>
          </p:cNvPicPr>
          <p:nvPr/>
        </p:nvPicPr>
        <p:blipFill>
          <a:blip r:embed="rId9" r:link="rId10">
            <a:extLst>
              <a:ext uri="{28A0092B-C50C-407E-A947-70E740481C1C}">
                <a14:useLocalDpi xmlns:a14="http://schemas.microsoft.com/office/drawing/2010/main" val="0"/>
              </a:ext>
            </a:extLst>
          </a:blip>
          <a:stretch>
            <a:fillRect/>
          </a:stretch>
        </p:blipFill>
        <p:spPr>
          <a:xfrm>
            <a:off x="401992" y="1888059"/>
            <a:ext cx="3218640" cy="3218640"/>
          </a:xfrm>
          <a:prstGeom prst="ellipse">
            <a:avLst/>
          </a:prstGeom>
        </p:spPr>
      </p:pic>
      <p:sp>
        <p:nvSpPr>
          <p:cNvPr id="23" name="Freeform: Shape 22">
            <a:extLst>
              <a:ext uri="{FF2B5EF4-FFF2-40B4-BE49-F238E27FC236}">
                <a16:creationId xmlns:a16="http://schemas.microsoft.com/office/drawing/2014/main" id="{8309AC85-3AD1-453E-A629-A23A96178336}"/>
              </a:ext>
            </a:extLst>
          </p:cNvPr>
          <p:cNvSpPr>
            <a:spLocks/>
          </p:cNvSpPr>
          <p:nvPr/>
        </p:nvSpPr>
        <p:spPr>
          <a:xfrm>
            <a:off x="-406580" y="-582539"/>
            <a:ext cx="10059381" cy="5668856"/>
          </a:xfrm>
          <a:custGeom>
            <a:avLst/>
            <a:gdLst>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46698 w 8070112"/>
              <a:gd name="connsiteY5" fmla="*/ 2489148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15027"/>
              <a:gd name="connsiteY0" fmla="*/ 2890697 h 2890697"/>
              <a:gd name="connsiteX1" fmla="*/ 1456660 w 8015027"/>
              <a:gd name="connsiteY1" fmla="*/ 2571721 h 2890697"/>
              <a:gd name="connsiteX2" fmla="*/ 2721935 w 8015027"/>
              <a:gd name="connsiteY2" fmla="*/ 1210753 h 2890697"/>
              <a:gd name="connsiteX3" fmla="*/ 4136065 w 8015027"/>
              <a:gd name="connsiteY3" fmla="*/ 944939 h 2890697"/>
              <a:gd name="connsiteX4" fmla="*/ 5108723 w 8015027"/>
              <a:gd name="connsiteY4" fmla="*/ 1886475 h 2890697"/>
              <a:gd name="connsiteX5" fmla="*/ 4137173 w 8015027"/>
              <a:gd name="connsiteY5" fmla="*/ 2853262 h 2890697"/>
              <a:gd name="connsiteX6" fmla="*/ 3190543 w 8015027"/>
              <a:gd name="connsiteY6" fmla="*/ 1859339 h 2890697"/>
              <a:gd name="connsiteX7" fmla="*/ 4125432 w 8015027"/>
              <a:gd name="connsiteY7" fmla="*/ 944939 h 2890697"/>
              <a:gd name="connsiteX8" fmla="*/ 5922335 w 8015027"/>
              <a:gd name="connsiteY8" fmla="*/ 881144 h 2890697"/>
              <a:gd name="connsiteX9" fmla="*/ 7272670 w 8015027"/>
              <a:gd name="connsiteY9" fmla="*/ 360149 h 2890697"/>
              <a:gd name="connsiteX10" fmla="*/ 8015027 w 8015027"/>
              <a:gd name="connsiteY10" fmla="*/ 6841 h 2890697"/>
              <a:gd name="connsiteX0" fmla="*/ 0 w 8015027"/>
              <a:gd name="connsiteY0" fmla="*/ 2883856 h 2883856"/>
              <a:gd name="connsiteX1" fmla="*/ 1456660 w 8015027"/>
              <a:gd name="connsiteY1" fmla="*/ 2564880 h 2883856"/>
              <a:gd name="connsiteX2" fmla="*/ 2721935 w 8015027"/>
              <a:gd name="connsiteY2" fmla="*/ 1203912 h 2883856"/>
              <a:gd name="connsiteX3" fmla="*/ 4136065 w 8015027"/>
              <a:gd name="connsiteY3" fmla="*/ 938098 h 2883856"/>
              <a:gd name="connsiteX4" fmla="*/ 5108723 w 8015027"/>
              <a:gd name="connsiteY4" fmla="*/ 1879634 h 2883856"/>
              <a:gd name="connsiteX5" fmla="*/ 4137173 w 8015027"/>
              <a:gd name="connsiteY5" fmla="*/ 2846421 h 2883856"/>
              <a:gd name="connsiteX6" fmla="*/ 3190543 w 8015027"/>
              <a:gd name="connsiteY6" fmla="*/ 1852498 h 2883856"/>
              <a:gd name="connsiteX7" fmla="*/ 4125432 w 8015027"/>
              <a:gd name="connsiteY7" fmla="*/ 938098 h 2883856"/>
              <a:gd name="connsiteX8" fmla="*/ 5922335 w 8015027"/>
              <a:gd name="connsiteY8" fmla="*/ 874303 h 2883856"/>
              <a:gd name="connsiteX9" fmla="*/ 7272670 w 8015027"/>
              <a:gd name="connsiteY9" fmla="*/ 353308 h 2883856"/>
              <a:gd name="connsiteX10" fmla="*/ 8015027 w 8015027"/>
              <a:gd name="connsiteY10" fmla="*/ 0 h 2883856"/>
              <a:gd name="connsiteX0" fmla="*/ 0 w 8103162"/>
              <a:gd name="connsiteY0" fmla="*/ 2707586 h 2707586"/>
              <a:gd name="connsiteX1" fmla="*/ 1456660 w 8103162"/>
              <a:gd name="connsiteY1" fmla="*/ 2388610 h 2707586"/>
              <a:gd name="connsiteX2" fmla="*/ 2721935 w 8103162"/>
              <a:gd name="connsiteY2" fmla="*/ 1027642 h 2707586"/>
              <a:gd name="connsiteX3" fmla="*/ 4136065 w 8103162"/>
              <a:gd name="connsiteY3" fmla="*/ 761828 h 2707586"/>
              <a:gd name="connsiteX4" fmla="*/ 5108723 w 8103162"/>
              <a:gd name="connsiteY4" fmla="*/ 1703364 h 2707586"/>
              <a:gd name="connsiteX5" fmla="*/ 4137173 w 8103162"/>
              <a:gd name="connsiteY5" fmla="*/ 2670151 h 2707586"/>
              <a:gd name="connsiteX6" fmla="*/ 3190543 w 8103162"/>
              <a:gd name="connsiteY6" fmla="*/ 1676228 h 2707586"/>
              <a:gd name="connsiteX7" fmla="*/ 4125432 w 8103162"/>
              <a:gd name="connsiteY7" fmla="*/ 761828 h 2707586"/>
              <a:gd name="connsiteX8" fmla="*/ 5922335 w 8103162"/>
              <a:gd name="connsiteY8" fmla="*/ 698033 h 2707586"/>
              <a:gd name="connsiteX9" fmla="*/ 7272670 w 8103162"/>
              <a:gd name="connsiteY9" fmla="*/ 177038 h 2707586"/>
              <a:gd name="connsiteX10" fmla="*/ 8103162 w 8103162"/>
              <a:gd name="connsiteY10" fmla="*/ 0 h 2707586"/>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7272670 w 7706555"/>
              <a:gd name="connsiteY9" fmla="*/ 331274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6942164 w 7706555"/>
              <a:gd name="connsiteY9" fmla="*/ 573645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6942164 w 7706555"/>
              <a:gd name="connsiteY9" fmla="*/ 573645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6942164 w 7706555"/>
              <a:gd name="connsiteY9" fmla="*/ 573645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6942164 w 7706555"/>
              <a:gd name="connsiteY9" fmla="*/ 573645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7706555 w 7706555"/>
              <a:gd name="connsiteY9" fmla="*/ 0 h 2861822"/>
              <a:gd name="connsiteX0" fmla="*/ 0 w 7761640"/>
              <a:gd name="connsiteY0" fmla="*/ 2927924 h 2927924"/>
              <a:gd name="connsiteX1" fmla="*/ 1456660 w 7761640"/>
              <a:gd name="connsiteY1" fmla="*/ 2608948 h 2927924"/>
              <a:gd name="connsiteX2" fmla="*/ 2721935 w 7761640"/>
              <a:gd name="connsiteY2" fmla="*/ 1247980 h 2927924"/>
              <a:gd name="connsiteX3" fmla="*/ 4136065 w 7761640"/>
              <a:gd name="connsiteY3" fmla="*/ 982166 h 2927924"/>
              <a:gd name="connsiteX4" fmla="*/ 5108723 w 7761640"/>
              <a:gd name="connsiteY4" fmla="*/ 1923702 h 2927924"/>
              <a:gd name="connsiteX5" fmla="*/ 4137173 w 7761640"/>
              <a:gd name="connsiteY5" fmla="*/ 2890489 h 2927924"/>
              <a:gd name="connsiteX6" fmla="*/ 3190543 w 7761640"/>
              <a:gd name="connsiteY6" fmla="*/ 1896566 h 2927924"/>
              <a:gd name="connsiteX7" fmla="*/ 4125432 w 7761640"/>
              <a:gd name="connsiteY7" fmla="*/ 982166 h 2927924"/>
              <a:gd name="connsiteX8" fmla="*/ 5922335 w 7761640"/>
              <a:gd name="connsiteY8" fmla="*/ 918371 h 2927924"/>
              <a:gd name="connsiteX9" fmla="*/ 7761640 w 7761640"/>
              <a:gd name="connsiteY9" fmla="*/ 0 h 2927924"/>
              <a:gd name="connsiteX0" fmla="*/ 0 w 7761640"/>
              <a:gd name="connsiteY0" fmla="*/ 2927924 h 2927924"/>
              <a:gd name="connsiteX1" fmla="*/ 1456660 w 7761640"/>
              <a:gd name="connsiteY1" fmla="*/ 2608948 h 2927924"/>
              <a:gd name="connsiteX2" fmla="*/ 2721935 w 7761640"/>
              <a:gd name="connsiteY2" fmla="*/ 1247980 h 2927924"/>
              <a:gd name="connsiteX3" fmla="*/ 4136065 w 7761640"/>
              <a:gd name="connsiteY3" fmla="*/ 982166 h 2927924"/>
              <a:gd name="connsiteX4" fmla="*/ 5108723 w 7761640"/>
              <a:gd name="connsiteY4" fmla="*/ 1923702 h 2927924"/>
              <a:gd name="connsiteX5" fmla="*/ 4137173 w 7761640"/>
              <a:gd name="connsiteY5" fmla="*/ 2890489 h 2927924"/>
              <a:gd name="connsiteX6" fmla="*/ 3190543 w 7761640"/>
              <a:gd name="connsiteY6" fmla="*/ 1896566 h 2927924"/>
              <a:gd name="connsiteX7" fmla="*/ 4125432 w 7761640"/>
              <a:gd name="connsiteY7" fmla="*/ 982166 h 2927924"/>
              <a:gd name="connsiteX8" fmla="*/ 5922335 w 7761640"/>
              <a:gd name="connsiteY8" fmla="*/ 918371 h 2927924"/>
              <a:gd name="connsiteX9" fmla="*/ 7761640 w 7761640"/>
              <a:gd name="connsiteY9" fmla="*/ 0 h 2927924"/>
              <a:gd name="connsiteX0" fmla="*/ 0 w 7761640"/>
              <a:gd name="connsiteY0" fmla="*/ 2927924 h 2927924"/>
              <a:gd name="connsiteX1" fmla="*/ 1456660 w 7761640"/>
              <a:gd name="connsiteY1" fmla="*/ 2608948 h 2927924"/>
              <a:gd name="connsiteX2" fmla="*/ 2721935 w 7761640"/>
              <a:gd name="connsiteY2" fmla="*/ 1247980 h 2927924"/>
              <a:gd name="connsiteX3" fmla="*/ 4136065 w 7761640"/>
              <a:gd name="connsiteY3" fmla="*/ 982166 h 2927924"/>
              <a:gd name="connsiteX4" fmla="*/ 5108723 w 7761640"/>
              <a:gd name="connsiteY4" fmla="*/ 1923702 h 2927924"/>
              <a:gd name="connsiteX5" fmla="*/ 4137173 w 7761640"/>
              <a:gd name="connsiteY5" fmla="*/ 2890489 h 2927924"/>
              <a:gd name="connsiteX6" fmla="*/ 3190543 w 7761640"/>
              <a:gd name="connsiteY6" fmla="*/ 1896566 h 2927924"/>
              <a:gd name="connsiteX7" fmla="*/ 4125432 w 7761640"/>
              <a:gd name="connsiteY7" fmla="*/ 982166 h 2927924"/>
              <a:gd name="connsiteX8" fmla="*/ 5922335 w 7761640"/>
              <a:gd name="connsiteY8" fmla="*/ 918371 h 2927924"/>
              <a:gd name="connsiteX9" fmla="*/ 7761640 w 7761640"/>
              <a:gd name="connsiteY9" fmla="*/ 0 h 2927924"/>
              <a:gd name="connsiteX0" fmla="*/ 0 w 7276898"/>
              <a:gd name="connsiteY0" fmla="*/ 2916907 h 2916907"/>
              <a:gd name="connsiteX1" fmla="*/ 1456660 w 7276898"/>
              <a:gd name="connsiteY1" fmla="*/ 2597931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276898"/>
              <a:gd name="connsiteY0" fmla="*/ 2916907 h 2916907"/>
              <a:gd name="connsiteX1" fmla="*/ 1434626 w 7276898"/>
              <a:gd name="connsiteY1" fmla="*/ 2509796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276898"/>
              <a:gd name="connsiteY0" fmla="*/ 2916907 h 2916907"/>
              <a:gd name="connsiteX1" fmla="*/ 1434626 w 7276898"/>
              <a:gd name="connsiteY1" fmla="*/ 2509796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276898"/>
              <a:gd name="connsiteY0" fmla="*/ 2916907 h 2916907"/>
              <a:gd name="connsiteX1" fmla="*/ 1434626 w 7276898"/>
              <a:gd name="connsiteY1" fmla="*/ 2509796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276898"/>
              <a:gd name="connsiteY0" fmla="*/ 2916907 h 2916907"/>
              <a:gd name="connsiteX1" fmla="*/ 1434626 w 7276898"/>
              <a:gd name="connsiteY1" fmla="*/ 2509796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342999"/>
              <a:gd name="connsiteY0" fmla="*/ 2520300 h 2879507"/>
              <a:gd name="connsiteX1" fmla="*/ 1500727 w 7342999"/>
              <a:gd name="connsiteY1" fmla="*/ 2509796 h 2879507"/>
              <a:gd name="connsiteX2" fmla="*/ 2788036 w 7342999"/>
              <a:gd name="connsiteY2" fmla="*/ 1236963 h 2879507"/>
              <a:gd name="connsiteX3" fmla="*/ 4202166 w 7342999"/>
              <a:gd name="connsiteY3" fmla="*/ 971149 h 2879507"/>
              <a:gd name="connsiteX4" fmla="*/ 5174824 w 7342999"/>
              <a:gd name="connsiteY4" fmla="*/ 1912685 h 2879507"/>
              <a:gd name="connsiteX5" fmla="*/ 4203274 w 7342999"/>
              <a:gd name="connsiteY5" fmla="*/ 2879472 h 2879507"/>
              <a:gd name="connsiteX6" fmla="*/ 3256644 w 7342999"/>
              <a:gd name="connsiteY6" fmla="*/ 1885549 h 2879507"/>
              <a:gd name="connsiteX7" fmla="*/ 4191533 w 7342999"/>
              <a:gd name="connsiteY7" fmla="*/ 971149 h 2879507"/>
              <a:gd name="connsiteX8" fmla="*/ 5988436 w 7342999"/>
              <a:gd name="connsiteY8" fmla="*/ 907354 h 2879507"/>
              <a:gd name="connsiteX9" fmla="*/ 7342999 w 7342999"/>
              <a:gd name="connsiteY9" fmla="*/ 0 h 2879507"/>
              <a:gd name="connsiteX0" fmla="*/ 0 w 7342999"/>
              <a:gd name="connsiteY0" fmla="*/ 2520300 h 2879507"/>
              <a:gd name="connsiteX1" fmla="*/ 1500727 w 7342999"/>
              <a:gd name="connsiteY1" fmla="*/ 2509796 h 2879507"/>
              <a:gd name="connsiteX2" fmla="*/ 2788036 w 7342999"/>
              <a:gd name="connsiteY2" fmla="*/ 1236963 h 2879507"/>
              <a:gd name="connsiteX3" fmla="*/ 4202166 w 7342999"/>
              <a:gd name="connsiteY3" fmla="*/ 971149 h 2879507"/>
              <a:gd name="connsiteX4" fmla="*/ 5174824 w 7342999"/>
              <a:gd name="connsiteY4" fmla="*/ 1912685 h 2879507"/>
              <a:gd name="connsiteX5" fmla="*/ 4203274 w 7342999"/>
              <a:gd name="connsiteY5" fmla="*/ 2879472 h 2879507"/>
              <a:gd name="connsiteX6" fmla="*/ 3256644 w 7342999"/>
              <a:gd name="connsiteY6" fmla="*/ 1885549 h 2879507"/>
              <a:gd name="connsiteX7" fmla="*/ 4191533 w 7342999"/>
              <a:gd name="connsiteY7" fmla="*/ 971149 h 2879507"/>
              <a:gd name="connsiteX8" fmla="*/ 5988436 w 7342999"/>
              <a:gd name="connsiteY8" fmla="*/ 907354 h 2879507"/>
              <a:gd name="connsiteX9" fmla="*/ 7342999 w 7342999"/>
              <a:gd name="connsiteY9" fmla="*/ 0 h 2879507"/>
              <a:gd name="connsiteX0" fmla="*/ 0 w 7342999"/>
              <a:gd name="connsiteY0" fmla="*/ 2520300 h 2879507"/>
              <a:gd name="connsiteX1" fmla="*/ 1500727 w 7342999"/>
              <a:gd name="connsiteY1" fmla="*/ 2509796 h 2879507"/>
              <a:gd name="connsiteX2" fmla="*/ 2788036 w 7342999"/>
              <a:gd name="connsiteY2" fmla="*/ 1236963 h 2879507"/>
              <a:gd name="connsiteX3" fmla="*/ 4202166 w 7342999"/>
              <a:gd name="connsiteY3" fmla="*/ 971149 h 2879507"/>
              <a:gd name="connsiteX4" fmla="*/ 5174824 w 7342999"/>
              <a:gd name="connsiteY4" fmla="*/ 1912685 h 2879507"/>
              <a:gd name="connsiteX5" fmla="*/ 4203274 w 7342999"/>
              <a:gd name="connsiteY5" fmla="*/ 2879472 h 2879507"/>
              <a:gd name="connsiteX6" fmla="*/ 3256644 w 7342999"/>
              <a:gd name="connsiteY6" fmla="*/ 1885549 h 2879507"/>
              <a:gd name="connsiteX7" fmla="*/ 4191533 w 7342999"/>
              <a:gd name="connsiteY7" fmla="*/ 971149 h 2879507"/>
              <a:gd name="connsiteX8" fmla="*/ 5988436 w 7342999"/>
              <a:gd name="connsiteY8" fmla="*/ 907354 h 2879507"/>
              <a:gd name="connsiteX9" fmla="*/ 7342999 w 7342999"/>
              <a:gd name="connsiteY9" fmla="*/ 0 h 2879507"/>
              <a:gd name="connsiteX0" fmla="*/ 0 w 9014774"/>
              <a:gd name="connsiteY0" fmla="*/ 4357188 h 4716395"/>
              <a:gd name="connsiteX1" fmla="*/ 1500727 w 9014774"/>
              <a:gd name="connsiteY1" fmla="*/ 4346684 h 4716395"/>
              <a:gd name="connsiteX2" fmla="*/ 2788036 w 9014774"/>
              <a:gd name="connsiteY2" fmla="*/ 3073851 h 4716395"/>
              <a:gd name="connsiteX3" fmla="*/ 4202166 w 9014774"/>
              <a:gd name="connsiteY3" fmla="*/ 2808037 h 4716395"/>
              <a:gd name="connsiteX4" fmla="*/ 5174824 w 9014774"/>
              <a:gd name="connsiteY4" fmla="*/ 3749573 h 4716395"/>
              <a:gd name="connsiteX5" fmla="*/ 4203274 w 9014774"/>
              <a:gd name="connsiteY5" fmla="*/ 4716360 h 4716395"/>
              <a:gd name="connsiteX6" fmla="*/ 3256644 w 9014774"/>
              <a:gd name="connsiteY6" fmla="*/ 3722437 h 4716395"/>
              <a:gd name="connsiteX7" fmla="*/ 4191533 w 9014774"/>
              <a:gd name="connsiteY7" fmla="*/ 2808037 h 4716395"/>
              <a:gd name="connsiteX8" fmla="*/ 5988436 w 9014774"/>
              <a:gd name="connsiteY8" fmla="*/ 2744242 h 4716395"/>
              <a:gd name="connsiteX9" fmla="*/ 9014774 w 9014774"/>
              <a:gd name="connsiteY9" fmla="*/ 0 h 4716395"/>
              <a:gd name="connsiteX0" fmla="*/ 0 w 9014774"/>
              <a:gd name="connsiteY0" fmla="*/ 4357188 h 4716395"/>
              <a:gd name="connsiteX1" fmla="*/ 1500727 w 9014774"/>
              <a:gd name="connsiteY1" fmla="*/ 4346684 h 4716395"/>
              <a:gd name="connsiteX2" fmla="*/ 2788036 w 9014774"/>
              <a:gd name="connsiteY2" fmla="*/ 3073851 h 4716395"/>
              <a:gd name="connsiteX3" fmla="*/ 4202166 w 9014774"/>
              <a:gd name="connsiteY3" fmla="*/ 2808037 h 4716395"/>
              <a:gd name="connsiteX4" fmla="*/ 5174824 w 9014774"/>
              <a:gd name="connsiteY4" fmla="*/ 3749573 h 4716395"/>
              <a:gd name="connsiteX5" fmla="*/ 4203274 w 9014774"/>
              <a:gd name="connsiteY5" fmla="*/ 4716360 h 4716395"/>
              <a:gd name="connsiteX6" fmla="*/ 3256644 w 9014774"/>
              <a:gd name="connsiteY6" fmla="*/ 3722437 h 4716395"/>
              <a:gd name="connsiteX7" fmla="*/ 4191533 w 9014774"/>
              <a:gd name="connsiteY7" fmla="*/ 2808037 h 4716395"/>
              <a:gd name="connsiteX8" fmla="*/ 5988436 w 9014774"/>
              <a:gd name="connsiteY8" fmla="*/ 2744242 h 4716395"/>
              <a:gd name="connsiteX9" fmla="*/ 9014774 w 9014774"/>
              <a:gd name="connsiteY9" fmla="*/ 0 h 4716395"/>
              <a:gd name="connsiteX0" fmla="*/ 0 w 9014774"/>
              <a:gd name="connsiteY0" fmla="*/ 4573900 h 4933107"/>
              <a:gd name="connsiteX1" fmla="*/ 1500727 w 9014774"/>
              <a:gd name="connsiteY1" fmla="*/ 4563396 h 4933107"/>
              <a:gd name="connsiteX2" fmla="*/ 2788036 w 9014774"/>
              <a:gd name="connsiteY2" fmla="*/ 3290563 h 4933107"/>
              <a:gd name="connsiteX3" fmla="*/ 4202166 w 9014774"/>
              <a:gd name="connsiteY3" fmla="*/ 3024749 h 4933107"/>
              <a:gd name="connsiteX4" fmla="*/ 5174824 w 9014774"/>
              <a:gd name="connsiteY4" fmla="*/ 3966285 h 4933107"/>
              <a:gd name="connsiteX5" fmla="*/ 4203274 w 9014774"/>
              <a:gd name="connsiteY5" fmla="*/ 4933072 h 4933107"/>
              <a:gd name="connsiteX6" fmla="*/ 3256644 w 9014774"/>
              <a:gd name="connsiteY6" fmla="*/ 3939149 h 4933107"/>
              <a:gd name="connsiteX7" fmla="*/ 4191533 w 9014774"/>
              <a:gd name="connsiteY7" fmla="*/ 3024749 h 4933107"/>
              <a:gd name="connsiteX8" fmla="*/ 5988436 w 9014774"/>
              <a:gd name="connsiteY8" fmla="*/ 2960954 h 4933107"/>
              <a:gd name="connsiteX9" fmla="*/ 9014774 w 9014774"/>
              <a:gd name="connsiteY9" fmla="*/ 0 h 4933107"/>
              <a:gd name="connsiteX0" fmla="*/ 0 w 8752859"/>
              <a:gd name="connsiteY0" fmla="*/ 3002407 h 3361614"/>
              <a:gd name="connsiteX1" fmla="*/ 1500727 w 8752859"/>
              <a:gd name="connsiteY1" fmla="*/ 2991903 h 3361614"/>
              <a:gd name="connsiteX2" fmla="*/ 2788036 w 8752859"/>
              <a:gd name="connsiteY2" fmla="*/ 1719070 h 3361614"/>
              <a:gd name="connsiteX3" fmla="*/ 4202166 w 8752859"/>
              <a:gd name="connsiteY3" fmla="*/ 1453256 h 3361614"/>
              <a:gd name="connsiteX4" fmla="*/ 5174824 w 8752859"/>
              <a:gd name="connsiteY4" fmla="*/ 2394792 h 3361614"/>
              <a:gd name="connsiteX5" fmla="*/ 4203274 w 8752859"/>
              <a:gd name="connsiteY5" fmla="*/ 3361579 h 3361614"/>
              <a:gd name="connsiteX6" fmla="*/ 3256644 w 8752859"/>
              <a:gd name="connsiteY6" fmla="*/ 2367656 h 3361614"/>
              <a:gd name="connsiteX7" fmla="*/ 4191533 w 8752859"/>
              <a:gd name="connsiteY7" fmla="*/ 1453256 h 3361614"/>
              <a:gd name="connsiteX8" fmla="*/ 5988436 w 8752859"/>
              <a:gd name="connsiteY8" fmla="*/ 1389461 h 3361614"/>
              <a:gd name="connsiteX9" fmla="*/ 8752859 w 8752859"/>
              <a:gd name="connsiteY9" fmla="*/ 0 h 3361614"/>
              <a:gd name="connsiteX0" fmla="*/ 0 w 8753217"/>
              <a:gd name="connsiteY0" fmla="*/ 3002407 h 3361614"/>
              <a:gd name="connsiteX1" fmla="*/ 1500727 w 8753217"/>
              <a:gd name="connsiteY1" fmla="*/ 2991903 h 3361614"/>
              <a:gd name="connsiteX2" fmla="*/ 2788036 w 8753217"/>
              <a:gd name="connsiteY2" fmla="*/ 1719070 h 3361614"/>
              <a:gd name="connsiteX3" fmla="*/ 4202166 w 8753217"/>
              <a:gd name="connsiteY3" fmla="*/ 1453256 h 3361614"/>
              <a:gd name="connsiteX4" fmla="*/ 5174824 w 8753217"/>
              <a:gd name="connsiteY4" fmla="*/ 2394792 h 3361614"/>
              <a:gd name="connsiteX5" fmla="*/ 4203274 w 8753217"/>
              <a:gd name="connsiteY5" fmla="*/ 3361579 h 3361614"/>
              <a:gd name="connsiteX6" fmla="*/ 3256644 w 8753217"/>
              <a:gd name="connsiteY6" fmla="*/ 2367656 h 3361614"/>
              <a:gd name="connsiteX7" fmla="*/ 4191533 w 8753217"/>
              <a:gd name="connsiteY7" fmla="*/ 1453256 h 3361614"/>
              <a:gd name="connsiteX8" fmla="*/ 5988436 w 8753217"/>
              <a:gd name="connsiteY8" fmla="*/ 1389461 h 3361614"/>
              <a:gd name="connsiteX9" fmla="*/ 8752859 w 8753217"/>
              <a:gd name="connsiteY9" fmla="*/ 0 h 3361614"/>
              <a:gd name="connsiteX0" fmla="*/ 0 w 7252490"/>
              <a:gd name="connsiteY0" fmla="*/ 2991903 h 3361614"/>
              <a:gd name="connsiteX1" fmla="*/ 1287309 w 7252490"/>
              <a:gd name="connsiteY1" fmla="*/ 1719070 h 3361614"/>
              <a:gd name="connsiteX2" fmla="*/ 2701439 w 7252490"/>
              <a:gd name="connsiteY2" fmla="*/ 1453256 h 3361614"/>
              <a:gd name="connsiteX3" fmla="*/ 3674097 w 7252490"/>
              <a:gd name="connsiteY3" fmla="*/ 2394792 h 3361614"/>
              <a:gd name="connsiteX4" fmla="*/ 2702547 w 7252490"/>
              <a:gd name="connsiteY4" fmla="*/ 3361579 h 3361614"/>
              <a:gd name="connsiteX5" fmla="*/ 1755917 w 7252490"/>
              <a:gd name="connsiteY5" fmla="*/ 2367656 h 3361614"/>
              <a:gd name="connsiteX6" fmla="*/ 2690806 w 7252490"/>
              <a:gd name="connsiteY6" fmla="*/ 1453256 h 3361614"/>
              <a:gd name="connsiteX7" fmla="*/ 4487709 w 7252490"/>
              <a:gd name="connsiteY7" fmla="*/ 1389461 h 3361614"/>
              <a:gd name="connsiteX8" fmla="*/ 7252132 w 7252490"/>
              <a:gd name="connsiteY8" fmla="*/ 0 h 3361614"/>
              <a:gd name="connsiteX0" fmla="*/ 0 w 5965181"/>
              <a:gd name="connsiteY0" fmla="*/ 1719070 h 3361614"/>
              <a:gd name="connsiteX1" fmla="*/ 1414130 w 5965181"/>
              <a:gd name="connsiteY1" fmla="*/ 1453256 h 3361614"/>
              <a:gd name="connsiteX2" fmla="*/ 2386788 w 5965181"/>
              <a:gd name="connsiteY2" fmla="*/ 2394792 h 3361614"/>
              <a:gd name="connsiteX3" fmla="*/ 1415238 w 5965181"/>
              <a:gd name="connsiteY3" fmla="*/ 3361579 h 3361614"/>
              <a:gd name="connsiteX4" fmla="*/ 468608 w 5965181"/>
              <a:gd name="connsiteY4" fmla="*/ 2367656 h 3361614"/>
              <a:gd name="connsiteX5" fmla="*/ 1403497 w 5965181"/>
              <a:gd name="connsiteY5" fmla="*/ 1453256 h 3361614"/>
              <a:gd name="connsiteX6" fmla="*/ 3200400 w 5965181"/>
              <a:gd name="connsiteY6" fmla="*/ 1389461 h 3361614"/>
              <a:gd name="connsiteX7" fmla="*/ 5964823 w 5965181"/>
              <a:gd name="connsiteY7" fmla="*/ 0 h 336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65181" h="3361614">
                <a:moveTo>
                  <a:pt x="0" y="1719070"/>
                </a:moveTo>
                <a:cubicBezTo>
                  <a:pt x="450240" y="1462629"/>
                  <a:pt x="911556" y="1345399"/>
                  <a:pt x="1414130" y="1453256"/>
                </a:cubicBezTo>
                <a:cubicBezTo>
                  <a:pt x="1916704" y="1561113"/>
                  <a:pt x="2391365" y="1757305"/>
                  <a:pt x="2386788" y="2394792"/>
                </a:cubicBezTo>
                <a:cubicBezTo>
                  <a:pt x="2382211" y="3032279"/>
                  <a:pt x="2015923" y="3356577"/>
                  <a:pt x="1415238" y="3361579"/>
                </a:cubicBezTo>
                <a:cubicBezTo>
                  <a:pt x="814553" y="3366581"/>
                  <a:pt x="470565" y="2842873"/>
                  <a:pt x="468608" y="2367656"/>
                </a:cubicBezTo>
                <a:cubicBezTo>
                  <a:pt x="466651" y="1892439"/>
                  <a:pt x="886285" y="1499923"/>
                  <a:pt x="1403497" y="1453256"/>
                </a:cubicBezTo>
                <a:cubicBezTo>
                  <a:pt x="1920709" y="1406589"/>
                  <a:pt x="2675156" y="1551319"/>
                  <a:pt x="3200400" y="1389461"/>
                </a:cubicBezTo>
                <a:cubicBezTo>
                  <a:pt x="3725644" y="1227603"/>
                  <a:pt x="5997929" y="837323"/>
                  <a:pt x="5964823" y="0"/>
                </a:cubicBezTo>
              </a:path>
            </a:pathLst>
          </a:custGeom>
          <a:noFill/>
          <a:ln w="101600">
            <a:solidFill>
              <a:srgbClr val="EA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pis" panose="020B0504010101010104" pitchFamily="34" charset="0"/>
              <a:ea typeface="+mn-ea"/>
              <a:cs typeface="+mn-cs"/>
            </a:endParaRPr>
          </a:p>
        </p:txBody>
      </p:sp>
      <p:sp>
        <p:nvSpPr>
          <p:cNvPr id="4" name="Title 3">
            <a:extLst>
              <a:ext uri="{FF2B5EF4-FFF2-40B4-BE49-F238E27FC236}">
                <a16:creationId xmlns:a16="http://schemas.microsoft.com/office/drawing/2014/main" id="{19428525-7664-4B9E-B7C7-83D6B24D1FED}"/>
              </a:ext>
            </a:extLst>
          </p:cNvPr>
          <p:cNvSpPr>
            <a:spLocks noGrp="1"/>
          </p:cNvSpPr>
          <p:nvPr>
            <p:ph type="title"/>
          </p:nvPr>
        </p:nvSpPr>
        <p:spPr>
          <a:xfrm>
            <a:off x="653034" y="650106"/>
            <a:ext cx="10896000" cy="1296000"/>
          </a:xfrm>
        </p:spPr>
        <p:txBody>
          <a:bodyPr/>
          <a:lstStyle/>
          <a:p>
            <a:r>
              <a:rPr lang="en-GB" sz="3200" dirty="0"/>
              <a:t>Victor Meeus</a:t>
            </a:r>
          </a:p>
        </p:txBody>
      </p:sp>
      <p:sp>
        <p:nvSpPr>
          <p:cNvPr id="5" name="Subtitle 4">
            <a:extLst>
              <a:ext uri="{FF2B5EF4-FFF2-40B4-BE49-F238E27FC236}">
                <a16:creationId xmlns:a16="http://schemas.microsoft.com/office/drawing/2014/main" id="{861595B9-F560-4224-AD11-EABBF28B8CD3}"/>
              </a:ext>
            </a:extLst>
          </p:cNvPr>
          <p:cNvSpPr>
            <a:spLocks noGrp="1"/>
          </p:cNvSpPr>
          <p:nvPr>
            <p:ph type="subTitle" idx="14"/>
          </p:nvPr>
        </p:nvSpPr>
        <p:spPr>
          <a:xfrm>
            <a:off x="642966" y="1184101"/>
            <a:ext cx="11347200" cy="266301"/>
          </a:xfrm>
        </p:spPr>
        <p:txBody>
          <a:bodyPr/>
          <a:lstStyle/>
          <a:p>
            <a:pPr lvl="0">
              <a:spcBef>
                <a:spcPts val="0"/>
              </a:spcBef>
              <a:spcAft>
                <a:spcPts val="0"/>
              </a:spcAft>
              <a:defRPr/>
            </a:pPr>
            <a:r>
              <a:rPr lang="en-GB" sz="1600" spc="0" dirty="0">
                <a:solidFill>
                  <a:srgbClr val="001965"/>
                </a:solidFill>
              </a:rPr>
              <a:t>Global Market Access Graduate</a:t>
            </a:r>
          </a:p>
        </p:txBody>
      </p:sp>
      <p:grpSp>
        <p:nvGrpSpPr>
          <p:cNvPr id="22" name="Group 21">
            <a:extLst>
              <a:ext uri="{FF2B5EF4-FFF2-40B4-BE49-F238E27FC236}">
                <a16:creationId xmlns:a16="http://schemas.microsoft.com/office/drawing/2014/main" id="{6A8DCEE9-35F2-42F7-822F-BF33ABFA56DA}"/>
              </a:ext>
            </a:extLst>
          </p:cNvPr>
          <p:cNvGrpSpPr/>
          <p:nvPr/>
        </p:nvGrpSpPr>
        <p:grpSpPr>
          <a:xfrm>
            <a:off x="3179335" y="1884610"/>
            <a:ext cx="3218641" cy="3218641"/>
            <a:chOff x="3131920" y="1884610"/>
            <a:chExt cx="3218641" cy="3218641"/>
          </a:xfrm>
        </p:grpSpPr>
        <p:grpSp>
          <p:nvGrpSpPr>
            <p:cNvPr id="14" name="Group 26"/>
            <p:cNvGrpSpPr>
              <a:grpSpLocks/>
            </p:cNvGrpSpPr>
            <p:nvPr/>
          </p:nvGrpSpPr>
          <p:grpSpPr bwMode="auto">
            <a:xfrm>
              <a:off x="3760251" y="3064282"/>
              <a:ext cx="1780683" cy="637406"/>
              <a:chOff x="2255508" y="606978"/>
              <a:chExt cx="1138326" cy="406670"/>
            </a:xfrm>
          </p:grpSpPr>
          <p:sp>
            <p:nvSpPr>
              <p:cNvPr id="15" name="Text Box 9"/>
              <p:cNvSpPr txBox="1">
                <a:spLocks noChangeAspect="1" noChangeArrowheads="1"/>
              </p:cNvSpPr>
              <p:nvPr/>
            </p:nvSpPr>
            <p:spPr bwMode="auto">
              <a:xfrm>
                <a:off x="2255508" y="606978"/>
                <a:ext cx="1055948" cy="183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rPr>
                  <a:t>Theme #2</a:t>
                </a:r>
              </a:p>
            </p:txBody>
          </p:sp>
          <p:sp>
            <p:nvSpPr>
              <p:cNvPr id="16" name="Text Box 11"/>
              <p:cNvSpPr txBox="1">
                <a:spLocks noChangeAspect="1" noChangeArrowheads="1"/>
              </p:cNvSpPr>
              <p:nvPr/>
            </p:nvSpPr>
            <p:spPr bwMode="auto">
              <a:xfrm>
                <a:off x="2255508" y="882779"/>
                <a:ext cx="1138326" cy="130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r>
                  <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rPr>
                  <a:t>Add text</a:t>
                </a:r>
              </a:p>
            </p:txBody>
          </p:sp>
        </p:grpSp>
        <p:sp>
          <p:nvSpPr>
            <p:cNvPr id="8" name="Freeform 6"/>
            <p:cNvSpPr>
              <a:spLocks/>
            </p:cNvSpPr>
            <p:nvPr/>
          </p:nvSpPr>
          <p:spPr bwMode="auto">
            <a:xfrm>
              <a:off x="3131920" y="1884610"/>
              <a:ext cx="3218641" cy="3218641"/>
            </a:xfrm>
            <a:custGeom>
              <a:avLst/>
              <a:gdLst>
                <a:gd name="T0" fmla="*/ 1296 w 1296"/>
                <a:gd name="T1" fmla="*/ 682 h 1296"/>
                <a:gd name="T2" fmla="*/ 1284 w 1296"/>
                <a:gd name="T3" fmla="*/ 780 h 1296"/>
                <a:gd name="T4" fmla="*/ 1257 w 1296"/>
                <a:gd name="T5" fmla="*/ 871 h 1296"/>
                <a:gd name="T6" fmla="*/ 1219 w 1296"/>
                <a:gd name="T7" fmla="*/ 957 h 1296"/>
                <a:gd name="T8" fmla="*/ 1168 w 1296"/>
                <a:gd name="T9" fmla="*/ 1037 h 1296"/>
                <a:gd name="T10" fmla="*/ 1107 w 1296"/>
                <a:gd name="T11" fmla="*/ 1107 h 1296"/>
                <a:gd name="T12" fmla="*/ 1037 w 1296"/>
                <a:gd name="T13" fmla="*/ 1169 h 1296"/>
                <a:gd name="T14" fmla="*/ 957 w 1296"/>
                <a:gd name="T15" fmla="*/ 1219 h 1296"/>
                <a:gd name="T16" fmla="*/ 871 w 1296"/>
                <a:gd name="T17" fmla="*/ 1257 h 1296"/>
                <a:gd name="T18" fmla="*/ 780 w 1296"/>
                <a:gd name="T19" fmla="*/ 1285 h 1296"/>
                <a:gd name="T20" fmla="*/ 682 w 1296"/>
                <a:gd name="T21" fmla="*/ 1296 h 1296"/>
                <a:gd name="T22" fmla="*/ 616 w 1296"/>
                <a:gd name="T23" fmla="*/ 1296 h 1296"/>
                <a:gd name="T24" fmla="*/ 518 w 1296"/>
                <a:gd name="T25" fmla="*/ 1285 h 1296"/>
                <a:gd name="T26" fmla="*/ 425 w 1296"/>
                <a:gd name="T27" fmla="*/ 1257 h 1296"/>
                <a:gd name="T28" fmla="*/ 341 w 1296"/>
                <a:gd name="T29" fmla="*/ 1219 h 1296"/>
                <a:gd name="T30" fmla="*/ 262 w 1296"/>
                <a:gd name="T31" fmla="*/ 1169 h 1296"/>
                <a:gd name="T32" fmla="*/ 191 w 1296"/>
                <a:gd name="T33" fmla="*/ 1107 h 1296"/>
                <a:gd name="T34" fmla="*/ 130 w 1296"/>
                <a:gd name="T35" fmla="*/ 1037 h 1296"/>
                <a:gd name="T36" fmla="*/ 80 w 1296"/>
                <a:gd name="T37" fmla="*/ 957 h 1296"/>
                <a:gd name="T38" fmla="*/ 41 w 1296"/>
                <a:gd name="T39" fmla="*/ 871 h 1296"/>
                <a:gd name="T40" fmla="*/ 14 w 1296"/>
                <a:gd name="T41" fmla="*/ 780 h 1296"/>
                <a:gd name="T42" fmla="*/ 2 w 1296"/>
                <a:gd name="T43" fmla="*/ 682 h 1296"/>
                <a:gd name="T44" fmla="*/ 2 w 1296"/>
                <a:gd name="T45" fmla="*/ 616 h 1296"/>
                <a:gd name="T46" fmla="*/ 14 w 1296"/>
                <a:gd name="T47" fmla="*/ 518 h 1296"/>
                <a:gd name="T48" fmla="*/ 41 w 1296"/>
                <a:gd name="T49" fmla="*/ 425 h 1296"/>
                <a:gd name="T50" fmla="*/ 80 w 1296"/>
                <a:gd name="T51" fmla="*/ 341 h 1296"/>
                <a:gd name="T52" fmla="*/ 130 w 1296"/>
                <a:gd name="T53" fmla="*/ 261 h 1296"/>
                <a:gd name="T54" fmla="*/ 191 w 1296"/>
                <a:gd name="T55" fmla="*/ 191 h 1296"/>
                <a:gd name="T56" fmla="*/ 262 w 1296"/>
                <a:gd name="T57" fmla="*/ 130 h 1296"/>
                <a:gd name="T58" fmla="*/ 341 w 1296"/>
                <a:gd name="T59" fmla="*/ 80 h 1296"/>
                <a:gd name="T60" fmla="*/ 425 w 1296"/>
                <a:gd name="T61" fmla="*/ 41 h 1296"/>
                <a:gd name="T62" fmla="*/ 518 w 1296"/>
                <a:gd name="T63" fmla="*/ 14 h 1296"/>
                <a:gd name="T64" fmla="*/ 616 w 1296"/>
                <a:gd name="T65" fmla="*/ 2 h 1296"/>
                <a:gd name="T66" fmla="*/ 682 w 1296"/>
                <a:gd name="T67" fmla="*/ 2 h 1296"/>
                <a:gd name="T68" fmla="*/ 780 w 1296"/>
                <a:gd name="T69" fmla="*/ 14 h 1296"/>
                <a:gd name="T70" fmla="*/ 871 w 1296"/>
                <a:gd name="T71" fmla="*/ 41 h 1296"/>
                <a:gd name="T72" fmla="*/ 957 w 1296"/>
                <a:gd name="T73" fmla="*/ 80 h 1296"/>
                <a:gd name="T74" fmla="*/ 1037 w 1296"/>
                <a:gd name="T75" fmla="*/ 130 h 1296"/>
                <a:gd name="T76" fmla="*/ 1107 w 1296"/>
                <a:gd name="T77" fmla="*/ 191 h 1296"/>
                <a:gd name="T78" fmla="*/ 1168 w 1296"/>
                <a:gd name="T79" fmla="*/ 261 h 1296"/>
                <a:gd name="T80" fmla="*/ 1219 w 1296"/>
                <a:gd name="T81" fmla="*/ 341 h 1296"/>
                <a:gd name="T82" fmla="*/ 1257 w 1296"/>
                <a:gd name="T83" fmla="*/ 425 h 1296"/>
                <a:gd name="T84" fmla="*/ 1284 w 1296"/>
                <a:gd name="T85" fmla="*/ 518 h 1296"/>
                <a:gd name="T86" fmla="*/ 1296 w 1296"/>
                <a:gd name="T87" fmla="*/ 616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96" h="1296">
                  <a:moveTo>
                    <a:pt x="1296" y="648"/>
                  </a:moveTo>
                  <a:lnTo>
                    <a:pt x="1296" y="648"/>
                  </a:lnTo>
                  <a:lnTo>
                    <a:pt x="1296" y="682"/>
                  </a:lnTo>
                  <a:lnTo>
                    <a:pt x="1294" y="716"/>
                  </a:lnTo>
                  <a:lnTo>
                    <a:pt x="1289" y="748"/>
                  </a:lnTo>
                  <a:lnTo>
                    <a:pt x="1284" y="780"/>
                  </a:lnTo>
                  <a:lnTo>
                    <a:pt x="1275" y="812"/>
                  </a:lnTo>
                  <a:lnTo>
                    <a:pt x="1269" y="841"/>
                  </a:lnTo>
                  <a:lnTo>
                    <a:pt x="1257" y="871"/>
                  </a:lnTo>
                  <a:lnTo>
                    <a:pt x="1246" y="900"/>
                  </a:lnTo>
                  <a:lnTo>
                    <a:pt x="1232" y="930"/>
                  </a:lnTo>
                  <a:lnTo>
                    <a:pt x="1219" y="957"/>
                  </a:lnTo>
                  <a:lnTo>
                    <a:pt x="1203" y="985"/>
                  </a:lnTo>
                  <a:lnTo>
                    <a:pt x="1187" y="1012"/>
                  </a:lnTo>
                  <a:lnTo>
                    <a:pt x="1168" y="1037"/>
                  </a:lnTo>
                  <a:lnTo>
                    <a:pt x="1148" y="1062"/>
                  </a:lnTo>
                  <a:lnTo>
                    <a:pt x="1128" y="1085"/>
                  </a:lnTo>
                  <a:lnTo>
                    <a:pt x="1107" y="1107"/>
                  </a:lnTo>
                  <a:lnTo>
                    <a:pt x="1084" y="1128"/>
                  </a:lnTo>
                  <a:lnTo>
                    <a:pt x="1062" y="1148"/>
                  </a:lnTo>
                  <a:lnTo>
                    <a:pt x="1037" y="1169"/>
                  </a:lnTo>
                  <a:lnTo>
                    <a:pt x="1012" y="1187"/>
                  </a:lnTo>
                  <a:lnTo>
                    <a:pt x="984" y="1203"/>
                  </a:lnTo>
                  <a:lnTo>
                    <a:pt x="957" y="1219"/>
                  </a:lnTo>
                  <a:lnTo>
                    <a:pt x="930" y="1232"/>
                  </a:lnTo>
                  <a:lnTo>
                    <a:pt x="900" y="1246"/>
                  </a:lnTo>
                  <a:lnTo>
                    <a:pt x="871" y="1257"/>
                  </a:lnTo>
                  <a:lnTo>
                    <a:pt x="841" y="1269"/>
                  </a:lnTo>
                  <a:lnTo>
                    <a:pt x="812" y="1276"/>
                  </a:lnTo>
                  <a:lnTo>
                    <a:pt x="780" y="1285"/>
                  </a:lnTo>
                  <a:lnTo>
                    <a:pt x="748" y="1289"/>
                  </a:lnTo>
                  <a:lnTo>
                    <a:pt x="716" y="1294"/>
                  </a:lnTo>
                  <a:lnTo>
                    <a:pt x="682" y="1296"/>
                  </a:lnTo>
                  <a:lnTo>
                    <a:pt x="648" y="1296"/>
                  </a:lnTo>
                  <a:lnTo>
                    <a:pt x="648" y="1296"/>
                  </a:lnTo>
                  <a:lnTo>
                    <a:pt x="616" y="1296"/>
                  </a:lnTo>
                  <a:lnTo>
                    <a:pt x="582" y="1294"/>
                  </a:lnTo>
                  <a:lnTo>
                    <a:pt x="550" y="1289"/>
                  </a:lnTo>
                  <a:lnTo>
                    <a:pt x="518" y="1285"/>
                  </a:lnTo>
                  <a:lnTo>
                    <a:pt x="487" y="1276"/>
                  </a:lnTo>
                  <a:lnTo>
                    <a:pt x="457" y="1269"/>
                  </a:lnTo>
                  <a:lnTo>
                    <a:pt x="425" y="1257"/>
                  </a:lnTo>
                  <a:lnTo>
                    <a:pt x="396" y="1246"/>
                  </a:lnTo>
                  <a:lnTo>
                    <a:pt x="368" y="1232"/>
                  </a:lnTo>
                  <a:lnTo>
                    <a:pt x="341" y="1219"/>
                  </a:lnTo>
                  <a:lnTo>
                    <a:pt x="314" y="1203"/>
                  </a:lnTo>
                  <a:lnTo>
                    <a:pt x="287" y="1187"/>
                  </a:lnTo>
                  <a:lnTo>
                    <a:pt x="262" y="1169"/>
                  </a:lnTo>
                  <a:lnTo>
                    <a:pt x="237" y="1148"/>
                  </a:lnTo>
                  <a:lnTo>
                    <a:pt x="214" y="1128"/>
                  </a:lnTo>
                  <a:lnTo>
                    <a:pt x="191" y="1107"/>
                  </a:lnTo>
                  <a:lnTo>
                    <a:pt x="168" y="1085"/>
                  </a:lnTo>
                  <a:lnTo>
                    <a:pt x="148" y="1062"/>
                  </a:lnTo>
                  <a:lnTo>
                    <a:pt x="130" y="1037"/>
                  </a:lnTo>
                  <a:lnTo>
                    <a:pt x="111" y="1012"/>
                  </a:lnTo>
                  <a:lnTo>
                    <a:pt x="96" y="985"/>
                  </a:lnTo>
                  <a:lnTo>
                    <a:pt x="80" y="957"/>
                  </a:lnTo>
                  <a:lnTo>
                    <a:pt x="64" y="930"/>
                  </a:lnTo>
                  <a:lnTo>
                    <a:pt x="52" y="900"/>
                  </a:lnTo>
                  <a:lnTo>
                    <a:pt x="41" y="871"/>
                  </a:lnTo>
                  <a:lnTo>
                    <a:pt x="30" y="841"/>
                  </a:lnTo>
                  <a:lnTo>
                    <a:pt x="21" y="812"/>
                  </a:lnTo>
                  <a:lnTo>
                    <a:pt x="14" y="780"/>
                  </a:lnTo>
                  <a:lnTo>
                    <a:pt x="9" y="748"/>
                  </a:lnTo>
                  <a:lnTo>
                    <a:pt x="5" y="716"/>
                  </a:lnTo>
                  <a:lnTo>
                    <a:pt x="2" y="682"/>
                  </a:lnTo>
                  <a:lnTo>
                    <a:pt x="0" y="648"/>
                  </a:lnTo>
                  <a:lnTo>
                    <a:pt x="0" y="648"/>
                  </a:lnTo>
                  <a:lnTo>
                    <a:pt x="2" y="616"/>
                  </a:lnTo>
                  <a:lnTo>
                    <a:pt x="5" y="582"/>
                  </a:lnTo>
                  <a:lnTo>
                    <a:pt x="9" y="550"/>
                  </a:lnTo>
                  <a:lnTo>
                    <a:pt x="14" y="518"/>
                  </a:lnTo>
                  <a:lnTo>
                    <a:pt x="21" y="487"/>
                  </a:lnTo>
                  <a:lnTo>
                    <a:pt x="30" y="457"/>
                  </a:lnTo>
                  <a:lnTo>
                    <a:pt x="41" y="425"/>
                  </a:lnTo>
                  <a:lnTo>
                    <a:pt x="52" y="396"/>
                  </a:lnTo>
                  <a:lnTo>
                    <a:pt x="64" y="368"/>
                  </a:lnTo>
                  <a:lnTo>
                    <a:pt x="80" y="341"/>
                  </a:lnTo>
                  <a:lnTo>
                    <a:pt x="96" y="314"/>
                  </a:lnTo>
                  <a:lnTo>
                    <a:pt x="111" y="286"/>
                  </a:lnTo>
                  <a:lnTo>
                    <a:pt x="130" y="261"/>
                  </a:lnTo>
                  <a:lnTo>
                    <a:pt x="148" y="236"/>
                  </a:lnTo>
                  <a:lnTo>
                    <a:pt x="168" y="214"/>
                  </a:lnTo>
                  <a:lnTo>
                    <a:pt x="191" y="191"/>
                  </a:lnTo>
                  <a:lnTo>
                    <a:pt x="214" y="168"/>
                  </a:lnTo>
                  <a:lnTo>
                    <a:pt x="237" y="148"/>
                  </a:lnTo>
                  <a:lnTo>
                    <a:pt x="262" y="130"/>
                  </a:lnTo>
                  <a:lnTo>
                    <a:pt x="287" y="111"/>
                  </a:lnTo>
                  <a:lnTo>
                    <a:pt x="314" y="95"/>
                  </a:lnTo>
                  <a:lnTo>
                    <a:pt x="341" y="80"/>
                  </a:lnTo>
                  <a:lnTo>
                    <a:pt x="368" y="64"/>
                  </a:lnTo>
                  <a:lnTo>
                    <a:pt x="396" y="52"/>
                  </a:lnTo>
                  <a:lnTo>
                    <a:pt x="425" y="41"/>
                  </a:lnTo>
                  <a:lnTo>
                    <a:pt x="457" y="30"/>
                  </a:lnTo>
                  <a:lnTo>
                    <a:pt x="487" y="20"/>
                  </a:lnTo>
                  <a:lnTo>
                    <a:pt x="518" y="14"/>
                  </a:lnTo>
                  <a:lnTo>
                    <a:pt x="550" y="9"/>
                  </a:lnTo>
                  <a:lnTo>
                    <a:pt x="582" y="5"/>
                  </a:lnTo>
                  <a:lnTo>
                    <a:pt x="616" y="2"/>
                  </a:lnTo>
                  <a:lnTo>
                    <a:pt x="648" y="0"/>
                  </a:lnTo>
                  <a:lnTo>
                    <a:pt x="648" y="0"/>
                  </a:lnTo>
                  <a:lnTo>
                    <a:pt x="682" y="2"/>
                  </a:lnTo>
                  <a:lnTo>
                    <a:pt x="716" y="5"/>
                  </a:lnTo>
                  <a:lnTo>
                    <a:pt x="748" y="9"/>
                  </a:lnTo>
                  <a:lnTo>
                    <a:pt x="780" y="14"/>
                  </a:lnTo>
                  <a:lnTo>
                    <a:pt x="812" y="20"/>
                  </a:lnTo>
                  <a:lnTo>
                    <a:pt x="841" y="30"/>
                  </a:lnTo>
                  <a:lnTo>
                    <a:pt x="871" y="41"/>
                  </a:lnTo>
                  <a:lnTo>
                    <a:pt x="900" y="52"/>
                  </a:lnTo>
                  <a:lnTo>
                    <a:pt x="930" y="64"/>
                  </a:lnTo>
                  <a:lnTo>
                    <a:pt x="957" y="80"/>
                  </a:lnTo>
                  <a:lnTo>
                    <a:pt x="984" y="95"/>
                  </a:lnTo>
                  <a:lnTo>
                    <a:pt x="1012" y="111"/>
                  </a:lnTo>
                  <a:lnTo>
                    <a:pt x="1037" y="130"/>
                  </a:lnTo>
                  <a:lnTo>
                    <a:pt x="1062" y="148"/>
                  </a:lnTo>
                  <a:lnTo>
                    <a:pt x="1084" y="168"/>
                  </a:lnTo>
                  <a:lnTo>
                    <a:pt x="1107" y="191"/>
                  </a:lnTo>
                  <a:lnTo>
                    <a:pt x="1128" y="214"/>
                  </a:lnTo>
                  <a:lnTo>
                    <a:pt x="1148" y="236"/>
                  </a:lnTo>
                  <a:lnTo>
                    <a:pt x="1168" y="261"/>
                  </a:lnTo>
                  <a:lnTo>
                    <a:pt x="1187" y="286"/>
                  </a:lnTo>
                  <a:lnTo>
                    <a:pt x="1203" y="314"/>
                  </a:lnTo>
                  <a:lnTo>
                    <a:pt x="1219" y="341"/>
                  </a:lnTo>
                  <a:lnTo>
                    <a:pt x="1232" y="368"/>
                  </a:lnTo>
                  <a:lnTo>
                    <a:pt x="1246" y="396"/>
                  </a:lnTo>
                  <a:lnTo>
                    <a:pt x="1257" y="425"/>
                  </a:lnTo>
                  <a:lnTo>
                    <a:pt x="1269" y="457"/>
                  </a:lnTo>
                  <a:lnTo>
                    <a:pt x="1275" y="487"/>
                  </a:lnTo>
                  <a:lnTo>
                    <a:pt x="1284" y="518"/>
                  </a:lnTo>
                  <a:lnTo>
                    <a:pt x="1289" y="550"/>
                  </a:lnTo>
                  <a:lnTo>
                    <a:pt x="1294" y="582"/>
                  </a:lnTo>
                  <a:lnTo>
                    <a:pt x="1296" y="616"/>
                  </a:lnTo>
                  <a:lnTo>
                    <a:pt x="1296" y="648"/>
                  </a:lnTo>
                  <a:lnTo>
                    <a:pt x="1296" y="648"/>
                  </a:lnTo>
                  <a:close/>
                </a:path>
              </a:pathLst>
            </a:custGeom>
            <a:solidFill>
              <a:schemeClr val="bg1"/>
            </a:solidFill>
            <a:ln w="38100">
              <a:solidFill>
                <a:schemeClr val="accent5"/>
              </a:solidFill>
            </a:ln>
          </p:spPr>
          <p:txBody>
            <a:bodyPr/>
            <a:lstStyle/>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p:txBody>
        </p:sp>
        <p:grpSp>
          <p:nvGrpSpPr>
            <p:cNvPr id="29" name="Group 26">
              <a:extLst>
                <a:ext uri="{FF2B5EF4-FFF2-40B4-BE49-F238E27FC236}">
                  <a16:creationId xmlns:a16="http://schemas.microsoft.com/office/drawing/2014/main" id="{5F4BD933-A8B8-43C2-B6C4-73CDED3A2A44}"/>
                </a:ext>
              </a:extLst>
            </p:cNvPr>
            <p:cNvGrpSpPr>
              <a:grpSpLocks/>
            </p:cNvGrpSpPr>
            <p:nvPr/>
          </p:nvGrpSpPr>
          <p:grpSpPr bwMode="auto">
            <a:xfrm>
              <a:off x="3609103" y="2444944"/>
              <a:ext cx="2698579" cy="2285453"/>
              <a:chOff x="2248267" y="612836"/>
              <a:chExt cx="1288721" cy="1458133"/>
            </a:xfrm>
          </p:grpSpPr>
          <p:sp>
            <p:nvSpPr>
              <p:cNvPr id="30" name="Text Box 9">
                <a:extLst>
                  <a:ext uri="{FF2B5EF4-FFF2-40B4-BE49-F238E27FC236}">
                    <a16:creationId xmlns:a16="http://schemas.microsoft.com/office/drawing/2014/main" id="{F327F490-11CC-49B2-9A73-878305AFDC5A}"/>
                  </a:ext>
                </a:extLst>
              </p:cNvPr>
              <p:cNvSpPr txBox="1">
                <a:spLocks noChangeAspect="1" noChangeArrowheads="1"/>
              </p:cNvSpPr>
              <p:nvPr/>
            </p:nvSpPr>
            <p:spPr bwMode="auto">
              <a:xfrm>
                <a:off x="2328383" y="612836"/>
                <a:ext cx="1055948" cy="15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1965"/>
                    </a:solidFill>
                    <a:effectLst/>
                    <a:uLnTx/>
                    <a:uFillTx/>
                    <a:latin typeface="+mn-lt"/>
                    <a:ea typeface="MS PGothic" pitchFamily="34" charset="-128"/>
                    <a:cs typeface="Apis" panose="020B0504010101010104" pitchFamily="34" charset="0"/>
                  </a:rPr>
                  <a:t>Career &amp; </a:t>
                </a:r>
                <a:r>
                  <a:rPr lang="en-GB" sz="1600" b="1" noProof="0" dirty="0">
                    <a:solidFill>
                      <a:srgbClr val="001965"/>
                    </a:solidFill>
                    <a:latin typeface="+mn-lt"/>
                    <a:ea typeface="MS PGothic" pitchFamily="34" charset="-128"/>
                    <a:cs typeface="Apis" panose="020B0504010101010104" pitchFamily="34" charset="0"/>
                  </a:rPr>
                  <a:t>Education</a:t>
                </a:r>
                <a:endParaRPr kumimoji="0" lang="en-GB" sz="1600" b="1" i="0" u="none" strike="noStrike" kern="1200" cap="none" spc="0" normalizeH="0" baseline="0" dirty="0">
                  <a:ln>
                    <a:noFill/>
                  </a:ln>
                  <a:solidFill>
                    <a:srgbClr val="001965"/>
                  </a:solidFill>
                  <a:effectLst/>
                  <a:uLnTx/>
                  <a:uFillTx/>
                  <a:latin typeface="+mn-lt"/>
                  <a:ea typeface="MS PGothic" pitchFamily="34" charset="-128"/>
                  <a:cs typeface="Apis" panose="020B0504010101010104" pitchFamily="34" charset="0"/>
                </a:endParaRPr>
              </a:p>
            </p:txBody>
          </p:sp>
          <p:sp>
            <p:nvSpPr>
              <p:cNvPr id="31" name="Text Box 11">
                <a:extLst>
                  <a:ext uri="{FF2B5EF4-FFF2-40B4-BE49-F238E27FC236}">
                    <a16:creationId xmlns:a16="http://schemas.microsoft.com/office/drawing/2014/main" id="{5C4A4276-5DF1-4C91-8D30-D963621BB1B8}"/>
                  </a:ext>
                </a:extLst>
              </p:cNvPr>
              <p:cNvSpPr txBox="1">
                <a:spLocks noChangeAspect="1" noChangeArrowheads="1"/>
              </p:cNvSpPr>
              <p:nvPr/>
            </p:nvSpPr>
            <p:spPr bwMode="auto">
              <a:xfrm>
                <a:off x="2248267" y="888820"/>
                <a:ext cx="1288721" cy="1182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228594" lvl="0" indent="-228594" defTabSz="1354633" eaLnBrk="1" hangingPunct="1">
                  <a:lnSpc>
                    <a:spcPts val="2133"/>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University of Exeter, Business </a:t>
                </a:r>
                <a:br>
                  <a:rPr lang="en-GB" sz="1200" dirty="0">
                    <a:solidFill>
                      <a:srgbClr val="001965"/>
                    </a:solidFill>
                    <a:latin typeface="Apis" panose="020B0504010101010104" pitchFamily="34" charset="0"/>
                    <a:ea typeface="MS PGothic" pitchFamily="34" charset="-128"/>
                    <a:cs typeface="Apis" panose="020B0504010101010104" pitchFamily="34" charset="0"/>
                  </a:rPr>
                </a:br>
                <a:r>
                  <a:rPr lang="en-GB" sz="1200" dirty="0">
                    <a:solidFill>
                      <a:srgbClr val="001965"/>
                    </a:solidFill>
                    <a:latin typeface="Apis" panose="020B0504010101010104" pitchFamily="34" charset="0"/>
                    <a:ea typeface="MS PGothic" pitchFamily="34" charset="-128"/>
                    <a:cs typeface="Apis" panose="020B0504010101010104" pitchFamily="34" charset="0"/>
                  </a:rPr>
                  <a:t>and Management with</a:t>
                </a:r>
                <a:br>
                  <a:rPr lang="en-GB" sz="1200" dirty="0">
                    <a:solidFill>
                      <a:srgbClr val="001965"/>
                    </a:solidFill>
                    <a:latin typeface="Apis" panose="020B0504010101010104" pitchFamily="34" charset="0"/>
                    <a:ea typeface="MS PGothic" pitchFamily="34" charset="-128"/>
                    <a:cs typeface="Apis" panose="020B0504010101010104" pitchFamily="34" charset="0"/>
                  </a:rPr>
                </a:br>
                <a:r>
                  <a:rPr lang="en-GB" sz="1200" dirty="0">
                    <a:solidFill>
                      <a:srgbClr val="001965"/>
                    </a:solidFill>
                    <a:latin typeface="Apis" panose="020B0504010101010104" pitchFamily="34" charset="0"/>
                    <a:ea typeface="MS PGothic" pitchFamily="34" charset="-128"/>
                    <a:cs typeface="Apis" panose="020B0504010101010104" pitchFamily="34" charset="0"/>
                  </a:rPr>
                  <a:t>Industrial Experience</a:t>
                </a:r>
              </a:p>
              <a:p>
                <a:pPr marL="228594" lvl="0" indent="-228594" defTabSz="1354633" eaLnBrk="1" hangingPunct="1">
                  <a:lnSpc>
                    <a:spcPts val="2133"/>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Placement Year at IBM</a:t>
                </a:r>
                <a:br>
                  <a:rPr lang="en-GB" sz="1200" dirty="0">
                    <a:solidFill>
                      <a:srgbClr val="001965"/>
                    </a:solidFill>
                    <a:latin typeface="Apis" panose="020B0504010101010104" pitchFamily="34" charset="0"/>
                    <a:ea typeface="MS PGothic" pitchFamily="34" charset="-128"/>
                    <a:cs typeface="Apis" panose="020B0504010101010104" pitchFamily="34" charset="0"/>
                  </a:rPr>
                </a:br>
                <a:r>
                  <a:rPr lang="en-GB" sz="1200" dirty="0">
                    <a:solidFill>
                      <a:srgbClr val="001965"/>
                    </a:solidFill>
                    <a:latin typeface="Apis" panose="020B0504010101010104" pitchFamily="34" charset="0"/>
                    <a:ea typeface="MS PGothic" pitchFamily="34" charset="-128"/>
                    <a:cs typeface="Apis" panose="020B0504010101010104" pitchFamily="34" charset="0"/>
                  </a:rPr>
                  <a:t>Watson Health</a:t>
                </a:r>
              </a:p>
              <a:p>
                <a:pPr marL="228594" lvl="0" indent="-228594" defTabSz="1354633" eaLnBrk="1" hangingPunct="1">
                  <a:lnSpc>
                    <a:spcPts val="2133"/>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LSE, MSc International Health Policy (Health Economics)</a:t>
                </a:r>
              </a:p>
            </p:txBody>
          </p:sp>
        </p:grpSp>
      </p:grpSp>
      <p:grpSp>
        <p:nvGrpSpPr>
          <p:cNvPr id="7" name="Group 6">
            <a:extLst>
              <a:ext uri="{FF2B5EF4-FFF2-40B4-BE49-F238E27FC236}">
                <a16:creationId xmlns:a16="http://schemas.microsoft.com/office/drawing/2014/main" id="{C2E3F557-8C5E-451C-979F-63C3AE0DF2F6}"/>
              </a:ext>
            </a:extLst>
          </p:cNvPr>
          <p:cNvGrpSpPr/>
          <p:nvPr/>
        </p:nvGrpSpPr>
        <p:grpSpPr>
          <a:xfrm>
            <a:off x="642966" y="5736305"/>
            <a:ext cx="3112317" cy="420741"/>
            <a:chOff x="1010829" y="5736305"/>
            <a:chExt cx="3112317" cy="420741"/>
          </a:xfrm>
        </p:grpSpPr>
        <p:sp>
          <p:nvSpPr>
            <p:cNvPr id="34" name="Title 11">
              <a:extLst>
                <a:ext uri="{FF2B5EF4-FFF2-40B4-BE49-F238E27FC236}">
                  <a16:creationId xmlns:a16="http://schemas.microsoft.com/office/drawing/2014/main" id="{44726059-9066-4460-B843-220E8ACEC0D9}"/>
                </a:ext>
              </a:extLst>
            </p:cNvPr>
            <p:cNvSpPr txBox="1">
              <a:spLocks/>
            </p:cNvSpPr>
            <p:nvPr/>
          </p:nvSpPr>
          <p:spPr>
            <a:xfrm>
              <a:off x="1010829" y="5972380"/>
              <a:ext cx="3112317" cy="184666"/>
            </a:xfrm>
            <a:prstGeom prst="rect">
              <a:avLst/>
            </a:prstGeom>
            <a:solidFill>
              <a:schemeClr val="bg1"/>
            </a:solidFill>
          </p:spPr>
          <p:txBody>
            <a:bodyPr vert="horz" wrap="square" lIns="0" tIns="0" rIns="0" bIns="0" rtlCol="0" anchor="ctr" anchorCtr="0">
              <a:spAutoFit/>
            </a:bodyPr>
            <a:lst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a:lstStyle>
            <a:p>
              <a:r>
                <a:rPr lang="en-GB" sz="1200" dirty="0"/>
                <a:t>Email: vtmu@novonordisk.com</a:t>
              </a:r>
              <a:endParaRPr lang="en-US" sz="1200" dirty="0"/>
            </a:p>
          </p:txBody>
        </p:sp>
        <p:sp>
          <p:nvSpPr>
            <p:cNvPr id="38" name="Title 11">
              <a:extLst>
                <a:ext uri="{FF2B5EF4-FFF2-40B4-BE49-F238E27FC236}">
                  <a16:creationId xmlns:a16="http://schemas.microsoft.com/office/drawing/2014/main" id="{108F163B-A960-47A4-BC49-0A35AB0BA28A}"/>
                </a:ext>
              </a:extLst>
            </p:cNvPr>
            <p:cNvSpPr txBox="1">
              <a:spLocks/>
            </p:cNvSpPr>
            <p:nvPr/>
          </p:nvSpPr>
          <p:spPr>
            <a:xfrm>
              <a:off x="1010829" y="5736305"/>
              <a:ext cx="3112317" cy="184666"/>
            </a:xfrm>
            <a:prstGeom prst="rect">
              <a:avLst/>
            </a:prstGeom>
            <a:solidFill>
              <a:schemeClr val="bg1"/>
            </a:solidFill>
          </p:spPr>
          <p:txBody>
            <a:bodyPr vert="horz" wrap="square" lIns="0" tIns="0" rIns="0" bIns="0" rtlCol="0" anchor="ctr" anchorCtr="0">
              <a:spAutoFit/>
            </a:bodyPr>
            <a:lst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a:lstStyle>
            <a:p>
              <a:r>
                <a:rPr lang="en-GB" sz="1200" dirty="0"/>
                <a:t>LinkedIn: /</a:t>
              </a:r>
              <a:r>
                <a:rPr lang="en-GB" sz="1200" dirty="0" err="1"/>
                <a:t>victormeeus</a:t>
              </a:r>
              <a:endParaRPr lang="en-US" sz="1200" dirty="0"/>
            </a:p>
          </p:txBody>
        </p:sp>
      </p:grpSp>
      <p:grpSp>
        <p:nvGrpSpPr>
          <p:cNvPr id="21" name="Group 20">
            <a:extLst>
              <a:ext uri="{FF2B5EF4-FFF2-40B4-BE49-F238E27FC236}">
                <a16:creationId xmlns:a16="http://schemas.microsoft.com/office/drawing/2014/main" id="{B02EBF00-F320-425E-B593-285C755E9B5A}"/>
              </a:ext>
            </a:extLst>
          </p:cNvPr>
          <p:cNvGrpSpPr/>
          <p:nvPr/>
        </p:nvGrpSpPr>
        <p:grpSpPr>
          <a:xfrm>
            <a:off x="5905117" y="1884610"/>
            <a:ext cx="3218641" cy="3218641"/>
            <a:chOff x="5841441" y="1884610"/>
            <a:chExt cx="3218641" cy="3218641"/>
          </a:xfrm>
        </p:grpSpPr>
        <p:grpSp>
          <p:nvGrpSpPr>
            <p:cNvPr id="17" name="Group 29"/>
            <p:cNvGrpSpPr>
              <a:grpSpLocks/>
            </p:cNvGrpSpPr>
            <p:nvPr/>
          </p:nvGrpSpPr>
          <p:grpSpPr bwMode="auto">
            <a:xfrm>
              <a:off x="6559177" y="3064282"/>
              <a:ext cx="1783167" cy="637406"/>
              <a:chOff x="2255508" y="606978"/>
              <a:chExt cx="1138326" cy="406670"/>
            </a:xfrm>
          </p:grpSpPr>
          <p:sp>
            <p:nvSpPr>
              <p:cNvPr id="18" name="Text Box 9"/>
              <p:cNvSpPr txBox="1">
                <a:spLocks noChangeAspect="1" noChangeArrowheads="1"/>
              </p:cNvSpPr>
              <p:nvPr/>
            </p:nvSpPr>
            <p:spPr bwMode="auto">
              <a:xfrm>
                <a:off x="2255508" y="606978"/>
                <a:ext cx="1055948" cy="183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rPr>
                  <a:t>Theme #3</a:t>
                </a:r>
              </a:p>
            </p:txBody>
          </p:sp>
          <p:sp>
            <p:nvSpPr>
              <p:cNvPr id="19" name="Text Box 11"/>
              <p:cNvSpPr txBox="1">
                <a:spLocks noChangeAspect="1" noChangeArrowheads="1"/>
              </p:cNvSpPr>
              <p:nvPr/>
            </p:nvSpPr>
            <p:spPr bwMode="auto">
              <a:xfrm>
                <a:off x="2255508" y="882779"/>
                <a:ext cx="1138326" cy="130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r>
                  <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rPr>
                  <a:t>Add text</a:t>
                </a:r>
              </a:p>
            </p:txBody>
          </p:sp>
        </p:grpSp>
        <p:sp>
          <p:nvSpPr>
            <p:cNvPr id="9" name="Freeform 7"/>
            <p:cNvSpPr>
              <a:spLocks/>
            </p:cNvSpPr>
            <p:nvPr/>
          </p:nvSpPr>
          <p:spPr bwMode="auto">
            <a:xfrm>
              <a:off x="5841441" y="1884610"/>
              <a:ext cx="3218641" cy="3218641"/>
            </a:xfrm>
            <a:custGeom>
              <a:avLst/>
              <a:gdLst>
                <a:gd name="T0" fmla="*/ 1296 w 1296"/>
                <a:gd name="T1" fmla="*/ 682 h 1296"/>
                <a:gd name="T2" fmla="*/ 1285 w 1296"/>
                <a:gd name="T3" fmla="*/ 780 h 1296"/>
                <a:gd name="T4" fmla="*/ 1257 w 1296"/>
                <a:gd name="T5" fmla="*/ 871 h 1296"/>
                <a:gd name="T6" fmla="*/ 1219 w 1296"/>
                <a:gd name="T7" fmla="*/ 957 h 1296"/>
                <a:gd name="T8" fmla="*/ 1169 w 1296"/>
                <a:gd name="T9" fmla="*/ 1037 h 1296"/>
                <a:gd name="T10" fmla="*/ 1107 w 1296"/>
                <a:gd name="T11" fmla="*/ 1107 h 1296"/>
                <a:gd name="T12" fmla="*/ 1037 w 1296"/>
                <a:gd name="T13" fmla="*/ 1169 h 1296"/>
                <a:gd name="T14" fmla="*/ 957 w 1296"/>
                <a:gd name="T15" fmla="*/ 1219 h 1296"/>
                <a:gd name="T16" fmla="*/ 871 w 1296"/>
                <a:gd name="T17" fmla="*/ 1257 h 1296"/>
                <a:gd name="T18" fmla="*/ 780 w 1296"/>
                <a:gd name="T19" fmla="*/ 1285 h 1296"/>
                <a:gd name="T20" fmla="*/ 682 w 1296"/>
                <a:gd name="T21" fmla="*/ 1296 h 1296"/>
                <a:gd name="T22" fmla="*/ 616 w 1296"/>
                <a:gd name="T23" fmla="*/ 1296 h 1296"/>
                <a:gd name="T24" fmla="*/ 518 w 1296"/>
                <a:gd name="T25" fmla="*/ 1285 h 1296"/>
                <a:gd name="T26" fmla="*/ 425 w 1296"/>
                <a:gd name="T27" fmla="*/ 1257 h 1296"/>
                <a:gd name="T28" fmla="*/ 341 w 1296"/>
                <a:gd name="T29" fmla="*/ 1219 h 1296"/>
                <a:gd name="T30" fmla="*/ 262 w 1296"/>
                <a:gd name="T31" fmla="*/ 1169 h 1296"/>
                <a:gd name="T32" fmla="*/ 191 w 1296"/>
                <a:gd name="T33" fmla="*/ 1107 h 1296"/>
                <a:gd name="T34" fmla="*/ 130 w 1296"/>
                <a:gd name="T35" fmla="*/ 1037 h 1296"/>
                <a:gd name="T36" fmla="*/ 80 w 1296"/>
                <a:gd name="T37" fmla="*/ 957 h 1296"/>
                <a:gd name="T38" fmla="*/ 41 w 1296"/>
                <a:gd name="T39" fmla="*/ 871 h 1296"/>
                <a:gd name="T40" fmla="*/ 14 w 1296"/>
                <a:gd name="T41" fmla="*/ 780 h 1296"/>
                <a:gd name="T42" fmla="*/ 2 w 1296"/>
                <a:gd name="T43" fmla="*/ 682 h 1296"/>
                <a:gd name="T44" fmla="*/ 2 w 1296"/>
                <a:gd name="T45" fmla="*/ 616 h 1296"/>
                <a:gd name="T46" fmla="*/ 14 w 1296"/>
                <a:gd name="T47" fmla="*/ 518 h 1296"/>
                <a:gd name="T48" fmla="*/ 41 w 1296"/>
                <a:gd name="T49" fmla="*/ 425 h 1296"/>
                <a:gd name="T50" fmla="*/ 80 w 1296"/>
                <a:gd name="T51" fmla="*/ 341 h 1296"/>
                <a:gd name="T52" fmla="*/ 130 w 1296"/>
                <a:gd name="T53" fmla="*/ 261 h 1296"/>
                <a:gd name="T54" fmla="*/ 191 w 1296"/>
                <a:gd name="T55" fmla="*/ 191 h 1296"/>
                <a:gd name="T56" fmla="*/ 262 w 1296"/>
                <a:gd name="T57" fmla="*/ 130 h 1296"/>
                <a:gd name="T58" fmla="*/ 341 w 1296"/>
                <a:gd name="T59" fmla="*/ 80 h 1296"/>
                <a:gd name="T60" fmla="*/ 425 w 1296"/>
                <a:gd name="T61" fmla="*/ 41 h 1296"/>
                <a:gd name="T62" fmla="*/ 518 w 1296"/>
                <a:gd name="T63" fmla="*/ 14 h 1296"/>
                <a:gd name="T64" fmla="*/ 616 w 1296"/>
                <a:gd name="T65" fmla="*/ 2 h 1296"/>
                <a:gd name="T66" fmla="*/ 682 w 1296"/>
                <a:gd name="T67" fmla="*/ 2 h 1296"/>
                <a:gd name="T68" fmla="*/ 780 w 1296"/>
                <a:gd name="T69" fmla="*/ 14 h 1296"/>
                <a:gd name="T70" fmla="*/ 871 w 1296"/>
                <a:gd name="T71" fmla="*/ 41 h 1296"/>
                <a:gd name="T72" fmla="*/ 957 w 1296"/>
                <a:gd name="T73" fmla="*/ 80 h 1296"/>
                <a:gd name="T74" fmla="*/ 1037 w 1296"/>
                <a:gd name="T75" fmla="*/ 130 h 1296"/>
                <a:gd name="T76" fmla="*/ 1107 w 1296"/>
                <a:gd name="T77" fmla="*/ 191 h 1296"/>
                <a:gd name="T78" fmla="*/ 1169 w 1296"/>
                <a:gd name="T79" fmla="*/ 261 h 1296"/>
                <a:gd name="T80" fmla="*/ 1219 w 1296"/>
                <a:gd name="T81" fmla="*/ 341 h 1296"/>
                <a:gd name="T82" fmla="*/ 1257 w 1296"/>
                <a:gd name="T83" fmla="*/ 425 h 1296"/>
                <a:gd name="T84" fmla="*/ 1285 w 1296"/>
                <a:gd name="T85" fmla="*/ 518 h 1296"/>
                <a:gd name="T86" fmla="*/ 1296 w 1296"/>
                <a:gd name="T87" fmla="*/ 616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96" h="1296">
                  <a:moveTo>
                    <a:pt x="1296" y="648"/>
                  </a:moveTo>
                  <a:lnTo>
                    <a:pt x="1296" y="648"/>
                  </a:lnTo>
                  <a:lnTo>
                    <a:pt x="1296" y="682"/>
                  </a:lnTo>
                  <a:lnTo>
                    <a:pt x="1294" y="716"/>
                  </a:lnTo>
                  <a:lnTo>
                    <a:pt x="1289" y="748"/>
                  </a:lnTo>
                  <a:lnTo>
                    <a:pt x="1285" y="780"/>
                  </a:lnTo>
                  <a:lnTo>
                    <a:pt x="1275" y="812"/>
                  </a:lnTo>
                  <a:lnTo>
                    <a:pt x="1269" y="841"/>
                  </a:lnTo>
                  <a:lnTo>
                    <a:pt x="1257" y="871"/>
                  </a:lnTo>
                  <a:lnTo>
                    <a:pt x="1246" y="900"/>
                  </a:lnTo>
                  <a:lnTo>
                    <a:pt x="1232" y="930"/>
                  </a:lnTo>
                  <a:lnTo>
                    <a:pt x="1219" y="957"/>
                  </a:lnTo>
                  <a:lnTo>
                    <a:pt x="1203" y="985"/>
                  </a:lnTo>
                  <a:lnTo>
                    <a:pt x="1187" y="1012"/>
                  </a:lnTo>
                  <a:lnTo>
                    <a:pt x="1169" y="1037"/>
                  </a:lnTo>
                  <a:lnTo>
                    <a:pt x="1148" y="1062"/>
                  </a:lnTo>
                  <a:lnTo>
                    <a:pt x="1128" y="1085"/>
                  </a:lnTo>
                  <a:lnTo>
                    <a:pt x="1107" y="1107"/>
                  </a:lnTo>
                  <a:lnTo>
                    <a:pt x="1084" y="1128"/>
                  </a:lnTo>
                  <a:lnTo>
                    <a:pt x="1062" y="1148"/>
                  </a:lnTo>
                  <a:lnTo>
                    <a:pt x="1037" y="1169"/>
                  </a:lnTo>
                  <a:lnTo>
                    <a:pt x="1012" y="1187"/>
                  </a:lnTo>
                  <a:lnTo>
                    <a:pt x="984" y="1203"/>
                  </a:lnTo>
                  <a:lnTo>
                    <a:pt x="957" y="1219"/>
                  </a:lnTo>
                  <a:lnTo>
                    <a:pt x="930" y="1232"/>
                  </a:lnTo>
                  <a:lnTo>
                    <a:pt x="900" y="1246"/>
                  </a:lnTo>
                  <a:lnTo>
                    <a:pt x="871" y="1257"/>
                  </a:lnTo>
                  <a:lnTo>
                    <a:pt x="841" y="1269"/>
                  </a:lnTo>
                  <a:lnTo>
                    <a:pt x="812" y="1276"/>
                  </a:lnTo>
                  <a:lnTo>
                    <a:pt x="780" y="1285"/>
                  </a:lnTo>
                  <a:lnTo>
                    <a:pt x="748" y="1289"/>
                  </a:lnTo>
                  <a:lnTo>
                    <a:pt x="716" y="1294"/>
                  </a:lnTo>
                  <a:lnTo>
                    <a:pt x="682" y="1296"/>
                  </a:lnTo>
                  <a:lnTo>
                    <a:pt x="648" y="1296"/>
                  </a:lnTo>
                  <a:lnTo>
                    <a:pt x="648" y="1296"/>
                  </a:lnTo>
                  <a:lnTo>
                    <a:pt x="616" y="1296"/>
                  </a:lnTo>
                  <a:lnTo>
                    <a:pt x="582" y="1294"/>
                  </a:lnTo>
                  <a:lnTo>
                    <a:pt x="550" y="1289"/>
                  </a:lnTo>
                  <a:lnTo>
                    <a:pt x="518" y="1285"/>
                  </a:lnTo>
                  <a:lnTo>
                    <a:pt x="487" y="1276"/>
                  </a:lnTo>
                  <a:lnTo>
                    <a:pt x="457" y="1269"/>
                  </a:lnTo>
                  <a:lnTo>
                    <a:pt x="425" y="1257"/>
                  </a:lnTo>
                  <a:lnTo>
                    <a:pt x="396" y="1246"/>
                  </a:lnTo>
                  <a:lnTo>
                    <a:pt x="368" y="1232"/>
                  </a:lnTo>
                  <a:lnTo>
                    <a:pt x="341" y="1219"/>
                  </a:lnTo>
                  <a:lnTo>
                    <a:pt x="314" y="1203"/>
                  </a:lnTo>
                  <a:lnTo>
                    <a:pt x="287" y="1187"/>
                  </a:lnTo>
                  <a:lnTo>
                    <a:pt x="262" y="1169"/>
                  </a:lnTo>
                  <a:lnTo>
                    <a:pt x="237" y="1148"/>
                  </a:lnTo>
                  <a:lnTo>
                    <a:pt x="214" y="1128"/>
                  </a:lnTo>
                  <a:lnTo>
                    <a:pt x="191" y="1107"/>
                  </a:lnTo>
                  <a:lnTo>
                    <a:pt x="168" y="1085"/>
                  </a:lnTo>
                  <a:lnTo>
                    <a:pt x="148" y="1062"/>
                  </a:lnTo>
                  <a:lnTo>
                    <a:pt x="130" y="1037"/>
                  </a:lnTo>
                  <a:lnTo>
                    <a:pt x="112" y="1012"/>
                  </a:lnTo>
                  <a:lnTo>
                    <a:pt x="96" y="985"/>
                  </a:lnTo>
                  <a:lnTo>
                    <a:pt x="80" y="957"/>
                  </a:lnTo>
                  <a:lnTo>
                    <a:pt x="64" y="930"/>
                  </a:lnTo>
                  <a:lnTo>
                    <a:pt x="52" y="900"/>
                  </a:lnTo>
                  <a:lnTo>
                    <a:pt x="41" y="871"/>
                  </a:lnTo>
                  <a:lnTo>
                    <a:pt x="30" y="841"/>
                  </a:lnTo>
                  <a:lnTo>
                    <a:pt x="21" y="812"/>
                  </a:lnTo>
                  <a:lnTo>
                    <a:pt x="14" y="780"/>
                  </a:lnTo>
                  <a:lnTo>
                    <a:pt x="9" y="748"/>
                  </a:lnTo>
                  <a:lnTo>
                    <a:pt x="5" y="716"/>
                  </a:lnTo>
                  <a:lnTo>
                    <a:pt x="2" y="682"/>
                  </a:lnTo>
                  <a:lnTo>
                    <a:pt x="0" y="648"/>
                  </a:lnTo>
                  <a:lnTo>
                    <a:pt x="0" y="648"/>
                  </a:lnTo>
                  <a:lnTo>
                    <a:pt x="2" y="616"/>
                  </a:lnTo>
                  <a:lnTo>
                    <a:pt x="5" y="582"/>
                  </a:lnTo>
                  <a:lnTo>
                    <a:pt x="9" y="550"/>
                  </a:lnTo>
                  <a:lnTo>
                    <a:pt x="14" y="518"/>
                  </a:lnTo>
                  <a:lnTo>
                    <a:pt x="21" y="487"/>
                  </a:lnTo>
                  <a:lnTo>
                    <a:pt x="30" y="457"/>
                  </a:lnTo>
                  <a:lnTo>
                    <a:pt x="41" y="425"/>
                  </a:lnTo>
                  <a:lnTo>
                    <a:pt x="52" y="396"/>
                  </a:lnTo>
                  <a:lnTo>
                    <a:pt x="64" y="368"/>
                  </a:lnTo>
                  <a:lnTo>
                    <a:pt x="80" y="341"/>
                  </a:lnTo>
                  <a:lnTo>
                    <a:pt x="96" y="314"/>
                  </a:lnTo>
                  <a:lnTo>
                    <a:pt x="112" y="286"/>
                  </a:lnTo>
                  <a:lnTo>
                    <a:pt x="130" y="261"/>
                  </a:lnTo>
                  <a:lnTo>
                    <a:pt x="148" y="236"/>
                  </a:lnTo>
                  <a:lnTo>
                    <a:pt x="168" y="214"/>
                  </a:lnTo>
                  <a:lnTo>
                    <a:pt x="191" y="191"/>
                  </a:lnTo>
                  <a:lnTo>
                    <a:pt x="214" y="168"/>
                  </a:lnTo>
                  <a:lnTo>
                    <a:pt x="237" y="148"/>
                  </a:lnTo>
                  <a:lnTo>
                    <a:pt x="262" y="130"/>
                  </a:lnTo>
                  <a:lnTo>
                    <a:pt x="287" y="111"/>
                  </a:lnTo>
                  <a:lnTo>
                    <a:pt x="314" y="95"/>
                  </a:lnTo>
                  <a:lnTo>
                    <a:pt x="341" y="80"/>
                  </a:lnTo>
                  <a:lnTo>
                    <a:pt x="368" y="64"/>
                  </a:lnTo>
                  <a:lnTo>
                    <a:pt x="396" y="52"/>
                  </a:lnTo>
                  <a:lnTo>
                    <a:pt x="425" y="41"/>
                  </a:lnTo>
                  <a:lnTo>
                    <a:pt x="457" y="30"/>
                  </a:lnTo>
                  <a:lnTo>
                    <a:pt x="487" y="20"/>
                  </a:lnTo>
                  <a:lnTo>
                    <a:pt x="518" y="14"/>
                  </a:lnTo>
                  <a:lnTo>
                    <a:pt x="550" y="9"/>
                  </a:lnTo>
                  <a:lnTo>
                    <a:pt x="582" y="5"/>
                  </a:lnTo>
                  <a:lnTo>
                    <a:pt x="616" y="2"/>
                  </a:lnTo>
                  <a:lnTo>
                    <a:pt x="648" y="0"/>
                  </a:lnTo>
                  <a:lnTo>
                    <a:pt x="648" y="0"/>
                  </a:lnTo>
                  <a:lnTo>
                    <a:pt x="682" y="2"/>
                  </a:lnTo>
                  <a:lnTo>
                    <a:pt x="716" y="5"/>
                  </a:lnTo>
                  <a:lnTo>
                    <a:pt x="748" y="9"/>
                  </a:lnTo>
                  <a:lnTo>
                    <a:pt x="780" y="14"/>
                  </a:lnTo>
                  <a:lnTo>
                    <a:pt x="812" y="20"/>
                  </a:lnTo>
                  <a:lnTo>
                    <a:pt x="841" y="30"/>
                  </a:lnTo>
                  <a:lnTo>
                    <a:pt x="871" y="41"/>
                  </a:lnTo>
                  <a:lnTo>
                    <a:pt x="900" y="52"/>
                  </a:lnTo>
                  <a:lnTo>
                    <a:pt x="930" y="64"/>
                  </a:lnTo>
                  <a:lnTo>
                    <a:pt x="957" y="80"/>
                  </a:lnTo>
                  <a:lnTo>
                    <a:pt x="984" y="95"/>
                  </a:lnTo>
                  <a:lnTo>
                    <a:pt x="1012" y="111"/>
                  </a:lnTo>
                  <a:lnTo>
                    <a:pt x="1037" y="130"/>
                  </a:lnTo>
                  <a:lnTo>
                    <a:pt x="1062" y="148"/>
                  </a:lnTo>
                  <a:lnTo>
                    <a:pt x="1084" y="168"/>
                  </a:lnTo>
                  <a:lnTo>
                    <a:pt x="1107" y="191"/>
                  </a:lnTo>
                  <a:lnTo>
                    <a:pt x="1128" y="214"/>
                  </a:lnTo>
                  <a:lnTo>
                    <a:pt x="1148" y="236"/>
                  </a:lnTo>
                  <a:lnTo>
                    <a:pt x="1169" y="261"/>
                  </a:lnTo>
                  <a:lnTo>
                    <a:pt x="1187" y="286"/>
                  </a:lnTo>
                  <a:lnTo>
                    <a:pt x="1203" y="314"/>
                  </a:lnTo>
                  <a:lnTo>
                    <a:pt x="1219" y="341"/>
                  </a:lnTo>
                  <a:lnTo>
                    <a:pt x="1232" y="368"/>
                  </a:lnTo>
                  <a:lnTo>
                    <a:pt x="1246" y="396"/>
                  </a:lnTo>
                  <a:lnTo>
                    <a:pt x="1257" y="425"/>
                  </a:lnTo>
                  <a:lnTo>
                    <a:pt x="1269" y="457"/>
                  </a:lnTo>
                  <a:lnTo>
                    <a:pt x="1275" y="487"/>
                  </a:lnTo>
                  <a:lnTo>
                    <a:pt x="1285" y="518"/>
                  </a:lnTo>
                  <a:lnTo>
                    <a:pt x="1289" y="550"/>
                  </a:lnTo>
                  <a:lnTo>
                    <a:pt x="1294" y="582"/>
                  </a:lnTo>
                  <a:lnTo>
                    <a:pt x="1296" y="616"/>
                  </a:lnTo>
                  <a:lnTo>
                    <a:pt x="1296" y="648"/>
                  </a:lnTo>
                  <a:lnTo>
                    <a:pt x="1296" y="648"/>
                  </a:lnTo>
                  <a:close/>
                </a:path>
              </a:pathLst>
            </a:custGeom>
            <a:solidFill>
              <a:schemeClr val="bg1"/>
            </a:solidFill>
            <a:ln w="38100">
              <a:solidFill>
                <a:schemeClr val="accent3"/>
              </a:solid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Apis" panose="020B0504010101010104" pitchFamily="34" charset="0"/>
                <a:ea typeface="+mn-ea"/>
                <a:cs typeface="+mn-cs"/>
              </a:endParaRPr>
            </a:p>
          </p:txBody>
        </p:sp>
        <p:grpSp>
          <p:nvGrpSpPr>
            <p:cNvPr id="26" name="Group 26">
              <a:extLst>
                <a:ext uri="{FF2B5EF4-FFF2-40B4-BE49-F238E27FC236}">
                  <a16:creationId xmlns:a16="http://schemas.microsoft.com/office/drawing/2014/main" id="{C17C4D5B-3667-437F-A6B4-2B0BAD12C933}"/>
                </a:ext>
              </a:extLst>
            </p:cNvPr>
            <p:cNvGrpSpPr>
              <a:grpSpLocks/>
            </p:cNvGrpSpPr>
            <p:nvPr/>
          </p:nvGrpSpPr>
          <p:grpSpPr bwMode="auto">
            <a:xfrm>
              <a:off x="6536627" y="2397492"/>
              <a:ext cx="2229540" cy="2670533"/>
              <a:chOff x="1949964" y="615271"/>
              <a:chExt cx="1425266" cy="1703824"/>
            </a:xfrm>
          </p:grpSpPr>
          <p:sp>
            <p:nvSpPr>
              <p:cNvPr id="27" name="Text Box 9">
                <a:extLst>
                  <a:ext uri="{FF2B5EF4-FFF2-40B4-BE49-F238E27FC236}">
                    <a16:creationId xmlns:a16="http://schemas.microsoft.com/office/drawing/2014/main" id="{B86BDC32-7099-4856-94EC-3D066AFAE856}"/>
                  </a:ext>
                </a:extLst>
              </p:cNvPr>
              <p:cNvSpPr txBox="1">
                <a:spLocks noChangeAspect="1" noChangeArrowheads="1"/>
              </p:cNvSpPr>
              <p:nvPr/>
            </p:nvSpPr>
            <p:spPr bwMode="auto">
              <a:xfrm>
                <a:off x="2057661" y="615271"/>
                <a:ext cx="1165682" cy="15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rPr>
                  <a:t>My current role</a:t>
                </a:r>
              </a:p>
            </p:txBody>
          </p:sp>
          <p:sp>
            <p:nvSpPr>
              <p:cNvPr id="28" name="Text Box 11">
                <a:extLst>
                  <a:ext uri="{FF2B5EF4-FFF2-40B4-BE49-F238E27FC236}">
                    <a16:creationId xmlns:a16="http://schemas.microsoft.com/office/drawing/2014/main" id="{308CB737-EB7C-46AD-BCB6-3461D97A9B21}"/>
                  </a:ext>
                </a:extLst>
              </p:cNvPr>
              <p:cNvSpPr txBox="1">
                <a:spLocks noChangeAspect="1" noChangeArrowheads="1"/>
              </p:cNvSpPr>
              <p:nvPr/>
            </p:nvSpPr>
            <p:spPr bwMode="auto">
              <a:xfrm>
                <a:off x="1949964" y="905273"/>
                <a:ext cx="1425266" cy="1413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228594" lvl="0" indent="-228594" defTabSz="1354633" eaLnBrk="1" hangingPunct="1">
                  <a:lnSpc>
                    <a:spcPct val="150000"/>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GEPA EAST</a:t>
                </a:r>
              </a:p>
              <a:p>
                <a:pPr marL="228594" lvl="0" indent="-228594" defTabSz="1354633" eaLnBrk="1" hangingPunct="1">
                  <a:lnSpc>
                    <a:spcPct val="150000"/>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Health Economic </a:t>
                </a:r>
                <a:br>
                  <a:rPr lang="en-GB" sz="1200" dirty="0">
                    <a:solidFill>
                      <a:srgbClr val="001965"/>
                    </a:solidFill>
                    <a:latin typeface="Apis" panose="020B0504010101010104" pitchFamily="34" charset="0"/>
                    <a:ea typeface="MS PGothic" pitchFamily="34" charset="-128"/>
                    <a:cs typeface="Apis" panose="020B0504010101010104" pitchFamily="34" charset="0"/>
                  </a:rPr>
                </a:br>
                <a:r>
                  <a:rPr lang="en-GB" sz="1200" dirty="0">
                    <a:solidFill>
                      <a:srgbClr val="001965"/>
                    </a:solidFill>
                    <a:latin typeface="Apis" panose="020B0504010101010104" pitchFamily="34" charset="0"/>
                    <a:ea typeface="MS PGothic" pitchFamily="34" charset="-128"/>
                    <a:cs typeface="Apis" panose="020B0504010101010104" pitchFamily="34" charset="0"/>
                  </a:rPr>
                  <a:t>Modelling on Early</a:t>
                </a:r>
                <a:br>
                  <a:rPr lang="en-GB" sz="1200" dirty="0">
                    <a:solidFill>
                      <a:srgbClr val="001965"/>
                    </a:solidFill>
                    <a:latin typeface="Apis" panose="020B0504010101010104" pitchFamily="34" charset="0"/>
                    <a:ea typeface="MS PGothic" pitchFamily="34" charset="-128"/>
                    <a:cs typeface="Apis" panose="020B0504010101010104" pitchFamily="34" charset="0"/>
                  </a:rPr>
                </a:br>
                <a:r>
                  <a:rPr lang="en-GB" sz="1200" dirty="0">
                    <a:solidFill>
                      <a:srgbClr val="001965"/>
                    </a:solidFill>
                    <a:latin typeface="Apis" panose="020B0504010101010104" pitchFamily="34" charset="0"/>
                    <a:ea typeface="MS PGothic" pitchFamily="34" charset="-128"/>
                    <a:cs typeface="Apis" panose="020B0504010101010104" pitchFamily="34" charset="0"/>
                  </a:rPr>
                  <a:t>Pipeline Assets</a:t>
                </a:r>
              </a:p>
              <a:p>
                <a:pPr marL="228594" lvl="0" indent="-228594" defTabSz="1354633" eaLnBrk="1" hangingPunct="1">
                  <a:lnSpc>
                    <a:spcPct val="150000"/>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Providing payer voice</a:t>
                </a:r>
                <a:br>
                  <a:rPr lang="en-GB" sz="1200" dirty="0">
                    <a:solidFill>
                      <a:srgbClr val="001965"/>
                    </a:solidFill>
                    <a:latin typeface="Apis" panose="020B0504010101010104" pitchFamily="34" charset="0"/>
                    <a:ea typeface="MS PGothic" pitchFamily="34" charset="-128"/>
                    <a:cs typeface="Apis" panose="020B0504010101010104" pitchFamily="34" charset="0"/>
                  </a:rPr>
                </a:br>
                <a:r>
                  <a:rPr lang="en-GB" sz="1200" dirty="0">
                    <a:solidFill>
                      <a:srgbClr val="001965"/>
                    </a:solidFill>
                    <a:latin typeface="Apis" panose="020B0504010101010104" pitchFamily="34" charset="0"/>
                    <a:ea typeface="MS PGothic" pitchFamily="34" charset="-128"/>
                    <a:cs typeface="Apis" panose="020B0504010101010104" pitchFamily="34" charset="0"/>
                  </a:rPr>
                  <a:t>to early trial phase assets</a:t>
                </a: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p:txBody>
          </p:sp>
        </p:grpSp>
      </p:grpSp>
      <p:grpSp>
        <p:nvGrpSpPr>
          <p:cNvPr id="20" name="Group 19">
            <a:extLst>
              <a:ext uri="{FF2B5EF4-FFF2-40B4-BE49-F238E27FC236}">
                <a16:creationId xmlns:a16="http://schemas.microsoft.com/office/drawing/2014/main" id="{76844B87-08BD-4F19-8179-C47F228F87EA}"/>
              </a:ext>
            </a:extLst>
          </p:cNvPr>
          <p:cNvGrpSpPr/>
          <p:nvPr/>
        </p:nvGrpSpPr>
        <p:grpSpPr>
          <a:xfrm>
            <a:off x="8630900" y="1884610"/>
            <a:ext cx="3218641" cy="3482363"/>
            <a:chOff x="8550960" y="1884610"/>
            <a:chExt cx="3218641" cy="3482363"/>
          </a:xfrm>
        </p:grpSpPr>
        <p:grpSp>
          <p:nvGrpSpPr>
            <p:cNvPr id="11" name="Group 10">
              <a:extLst>
                <a:ext uri="{FF2B5EF4-FFF2-40B4-BE49-F238E27FC236}">
                  <a16:creationId xmlns:a16="http://schemas.microsoft.com/office/drawing/2014/main" id="{6B4A7E0C-4EF8-4B6F-BF76-3D6DD0C6279D}"/>
                </a:ext>
              </a:extLst>
            </p:cNvPr>
            <p:cNvGrpSpPr/>
            <p:nvPr/>
          </p:nvGrpSpPr>
          <p:grpSpPr>
            <a:xfrm>
              <a:off x="8550960" y="1884610"/>
              <a:ext cx="3218641" cy="3218641"/>
              <a:chOff x="8550960" y="1884610"/>
              <a:chExt cx="3218641" cy="3218641"/>
            </a:xfrm>
          </p:grpSpPr>
          <p:sp>
            <p:nvSpPr>
              <p:cNvPr id="56" name="Text Box 11">
                <a:extLst>
                  <a:ext uri="{FF2B5EF4-FFF2-40B4-BE49-F238E27FC236}">
                    <a16:creationId xmlns:a16="http://schemas.microsoft.com/office/drawing/2014/main" id="{2D4BFE01-D3FF-4AD0-95AE-8F38A0ADD5C7}"/>
                  </a:ext>
                </a:extLst>
              </p:cNvPr>
              <p:cNvSpPr txBox="1">
                <a:spLocks noChangeAspect="1" noChangeArrowheads="1"/>
              </p:cNvSpPr>
              <p:nvPr/>
            </p:nvSpPr>
            <p:spPr bwMode="auto">
              <a:xfrm>
                <a:off x="9148139" y="2848312"/>
                <a:ext cx="25334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p:txBody>
          </p:sp>
          <p:sp>
            <p:nvSpPr>
              <p:cNvPr id="10" name="Freeform 8"/>
              <p:cNvSpPr>
                <a:spLocks/>
              </p:cNvSpPr>
              <p:nvPr/>
            </p:nvSpPr>
            <p:spPr bwMode="auto">
              <a:xfrm>
                <a:off x="8550960" y="1884610"/>
                <a:ext cx="3218641" cy="3218641"/>
              </a:xfrm>
              <a:custGeom>
                <a:avLst/>
                <a:gdLst>
                  <a:gd name="T0" fmla="*/ 1296 w 1296"/>
                  <a:gd name="T1" fmla="*/ 682 h 1296"/>
                  <a:gd name="T2" fmla="*/ 1285 w 1296"/>
                  <a:gd name="T3" fmla="*/ 780 h 1296"/>
                  <a:gd name="T4" fmla="*/ 1257 w 1296"/>
                  <a:gd name="T5" fmla="*/ 871 h 1296"/>
                  <a:gd name="T6" fmla="*/ 1219 w 1296"/>
                  <a:gd name="T7" fmla="*/ 957 h 1296"/>
                  <a:gd name="T8" fmla="*/ 1169 w 1296"/>
                  <a:gd name="T9" fmla="*/ 1037 h 1296"/>
                  <a:gd name="T10" fmla="*/ 1107 w 1296"/>
                  <a:gd name="T11" fmla="*/ 1107 h 1296"/>
                  <a:gd name="T12" fmla="*/ 1037 w 1296"/>
                  <a:gd name="T13" fmla="*/ 1169 h 1296"/>
                  <a:gd name="T14" fmla="*/ 957 w 1296"/>
                  <a:gd name="T15" fmla="*/ 1219 h 1296"/>
                  <a:gd name="T16" fmla="*/ 871 w 1296"/>
                  <a:gd name="T17" fmla="*/ 1257 h 1296"/>
                  <a:gd name="T18" fmla="*/ 780 w 1296"/>
                  <a:gd name="T19" fmla="*/ 1285 h 1296"/>
                  <a:gd name="T20" fmla="*/ 682 w 1296"/>
                  <a:gd name="T21" fmla="*/ 1296 h 1296"/>
                  <a:gd name="T22" fmla="*/ 616 w 1296"/>
                  <a:gd name="T23" fmla="*/ 1296 h 1296"/>
                  <a:gd name="T24" fmla="*/ 519 w 1296"/>
                  <a:gd name="T25" fmla="*/ 1285 h 1296"/>
                  <a:gd name="T26" fmla="*/ 425 w 1296"/>
                  <a:gd name="T27" fmla="*/ 1257 h 1296"/>
                  <a:gd name="T28" fmla="*/ 341 w 1296"/>
                  <a:gd name="T29" fmla="*/ 1219 h 1296"/>
                  <a:gd name="T30" fmla="*/ 262 w 1296"/>
                  <a:gd name="T31" fmla="*/ 1169 h 1296"/>
                  <a:gd name="T32" fmla="*/ 191 w 1296"/>
                  <a:gd name="T33" fmla="*/ 1107 h 1296"/>
                  <a:gd name="T34" fmla="*/ 130 w 1296"/>
                  <a:gd name="T35" fmla="*/ 1037 h 1296"/>
                  <a:gd name="T36" fmla="*/ 80 w 1296"/>
                  <a:gd name="T37" fmla="*/ 957 h 1296"/>
                  <a:gd name="T38" fmla="*/ 41 w 1296"/>
                  <a:gd name="T39" fmla="*/ 871 h 1296"/>
                  <a:gd name="T40" fmla="*/ 14 w 1296"/>
                  <a:gd name="T41" fmla="*/ 780 h 1296"/>
                  <a:gd name="T42" fmla="*/ 3 w 1296"/>
                  <a:gd name="T43" fmla="*/ 682 h 1296"/>
                  <a:gd name="T44" fmla="*/ 3 w 1296"/>
                  <a:gd name="T45" fmla="*/ 616 h 1296"/>
                  <a:gd name="T46" fmla="*/ 14 w 1296"/>
                  <a:gd name="T47" fmla="*/ 518 h 1296"/>
                  <a:gd name="T48" fmla="*/ 41 w 1296"/>
                  <a:gd name="T49" fmla="*/ 425 h 1296"/>
                  <a:gd name="T50" fmla="*/ 80 w 1296"/>
                  <a:gd name="T51" fmla="*/ 341 h 1296"/>
                  <a:gd name="T52" fmla="*/ 130 w 1296"/>
                  <a:gd name="T53" fmla="*/ 261 h 1296"/>
                  <a:gd name="T54" fmla="*/ 191 w 1296"/>
                  <a:gd name="T55" fmla="*/ 191 h 1296"/>
                  <a:gd name="T56" fmla="*/ 262 w 1296"/>
                  <a:gd name="T57" fmla="*/ 130 h 1296"/>
                  <a:gd name="T58" fmla="*/ 341 w 1296"/>
                  <a:gd name="T59" fmla="*/ 80 h 1296"/>
                  <a:gd name="T60" fmla="*/ 425 w 1296"/>
                  <a:gd name="T61" fmla="*/ 41 h 1296"/>
                  <a:gd name="T62" fmla="*/ 519 w 1296"/>
                  <a:gd name="T63" fmla="*/ 14 h 1296"/>
                  <a:gd name="T64" fmla="*/ 616 w 1296"/>
                  <a:gd name="T65" fmla="*/ 2 h 1296"/>
                  <a:gd name="T66" fmla="*/ 682 w 1296"/>
                  <a:gd name="T67" fmla="*/ 2 h 1296"/>
                  <a:gd name="T68" fmla="*/ 780 w 1296"/>
                  <a:gd name="T69" fmla="*/ 14 h 1296"/>
                  <a:gd name="T70" fmla="*/ 871 w 1296"/>
                  <a:gd name="T71" fmla="*/ 41 h 1296"/>
                  <a:gd name="T72" fmla="*/ 957 w 1296"/>
                  <a:gd name="T73" fmla="*/ 80 h 1296"/>
                  <a:gd name="T74" fmla="*/ 1037 w 1296"/>
                  <a:gd name="T75" fmla="*/ 130 h 1296"/>
                  <a:gd name="T76" fmla="*/ 1107 w 1296"/>
                  <a:gd name="T77" fmla="*/ 191 h 1296"/>
                  <a:gd name="T78" fmla="*/ 1169 w 1296"/>
                  <a:gd name="T79" fmla="*/ 261 h 1296"/>
                  <a:gd name="T80" fmla="*/ 1219 w 1296"/>
                  <a:gd name="T81" fmla="*/ 341 h 1296"/>
                  <a:gd name="T82" fmla="*/ 1257 w 1296"/>
                  <a:gd name="T83" fmla="*/ 425 h 1296"/>
                  <a:gd name="T84" fmla="*/ 1285 w 1296"/>
                  <a:gd name="T85" fmla="*/ 518 h 1296"/>
                  <a:gd name="T86" fmla="*/ 1296 w 1296"/>
                  <a:gd name="T87" fmla="*/ 616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96" h="1296">
                    <a:moveTo>
                      <a:pt x="1296" y="648"/>
                    </a:moveTo>
                    <a:lnTo>
                      <a:pt x="1296" y="648"/>
                    </a:lnTo>
                    <a:lnTo>
                      <a:pt x="1296" y="682"/>
                    </a:lnTo>
                    <a:lnTo>
                      <a:pt x="1294" y="716"/>
                    </a:lnTo>
                    <a:lnTo>
                      <a:pt x="1289" y="748"/>
                    </a:lnTo>
                    <a:lnTo>
                      <a:pt x="1285" y="780"/>
                    </a:lnTo>
                    <a:lnTo>
                      <a:pt x="1276" y="812"/>
                    </a:lnTo>
                    <a:lnTo>
                      <a:pt x="1269" y="841"/>
                    </a:lnTo>
                    <a:lnTo>
                      <a:pt x="1257" y="871"/>
                    </a:lnTo>
                    <a:lnTo>
                      <a:pt x="1246" y="900"/>
                    </a:lnTo>
                    <a:lnTo>
                      <a:pt x="1232" y="930"/>
                    </a:lnTo>
                    <a:lnTo>
                      <a:pt x="1219" y="957"/>
                    </a:lnTo>
                    <a:lnTo>
                      <a:pt x="1203" y="985"/>
                    </a:lnTo>
                    <a:lnTo>
                      <a:pt x="1187" y="1012"/>
                    </a:lnTo>
                    <a:lnTo>
                      <a:pt x="1169" y="1037"/>
                    </a:lnTo>
                    <a:lnTo>
                      <a:pt x="1148" y="1062"/>
                    </a:lnTo>
                    <a:lnTo>
                      <a:pt x="1128" y="1085"/>
                    </a:lnTo>
                    <a:lnTo>
                      <a:pt x="1107" y="1107"/>
                    </a:lnTo>
                    <a:lnTo>
                      <a:pt x="1085" y="1128"/>
                    </a:lnTo>
                    <a:lnTo>
                      <a:pt x="1062" y="1148"/>
                    </a:lnTo>
                    <a:lnTo>
                      <a:pt x="1037" y="1169"/>
                    </a:lnTo>
                    <a:lnTo>
                      <a:pt x="1012" y="1187"/>
                    </a:lnTo>
                    <a:lnTo>
                      <a:pt x="985" y="1203"/>
                    </a:lnTo>
                    <a:lnTo>
                      <a:pt x="957" y="1219"/>
                    </a:lnTo>
                    <a:lnTo>
                      <a:pt x="930" y="1232"/>
                    </a:lnTo>
                    <a:lnTo>
                      <a:pt x="900" y="1246"/>
                    </a:lnTo>
                    <a:lnTo>
                      <a:pt x="871" y="1257"/>
                    </a:lnTo>
                    <a:lnTo>
                      <a:pt x="841" y="1269"/>
                    </a:lnTo>
                    <a:lnTo>
                      <a:pt x="812" y="1276"/>
                    </a:lnTo>
                    <a:lnTo>
                      <a:pt x="780" y="1285"/>
                    </a:lnTo>
                    <a:lnTo>
                      <a:pt x="748" y="1289"/>
                    </a:lnTo>
                    <a:lnTo>
                      <a:pt x="716" y="1294"/>
                    </a:lnTo>
                    <a:lnTo>
                      <a:pt x="682" y="1296"/>
                    </a:lnTo>
                    <a:lnTo>
                      <a:pt x="648" y="1296"/>
                    </a:lnTo>
                    <a:lnTo>
                      <a:pt x="648" y="1296"/>
                    </a:lnTo>
                    <a:lnTo>
                      <a:pt x="616" y="1296"/>
                    </a:lnTo>
                    <a:lnTo>
                      <a:pt x="582" y="1294"/>
                    </a:lnTo>
                    <a:lnTo>
                      <a:pt x="550" y="1289"/>
                    </a:lnTo>
                    <a:lnTo>
                      <a:pt x="519" y="1285"/>
                    </a:lnTo>
                    <a:lnTo>
                      <a:pt x="487" y="1276"/>
                    </a:lnTo>
                    <a:lnTo>
                      <a:pt x="457" y="1269"/>
                    </a:lnTo>
                    <a:lnTo>
                      <a:pt x="425" y="1257"/>
                    </a:lnTo>
                    <a:lnTo>
                      <a:pt x="396" y="1246"/>
                    </a:lnTo>
                    <a:lnTo>
                      <a:pt x="369" y="1232"/>
                    </a:lnTo>
                    <a:lnTo>
                      <a:pt x="341" y="1219"/>
                    </a:lnTo>
                    <a:lnTo>
                      <a:pt x="314" y="1203"/>
                    </a:lnTo>
                    <a:lnTo>
                      <a:pt x="287" y="1187"/>
                    </a:lnTo>
                    <a:lnTo>
                      <a:pt x="262" y="1169"/>
                    </a:lnTo>
                    <a:lnTo>
                      <a:pt x="237" y="1148"/>
                    </a:lnTo>
                    <a:lnTo>
                      <a:pt x="214" y="1128"/>
                    </a:lnTo>
                    <a:lnTo>
                      <a:pt x="191" y="1107"/>
                    </a:lnTo>
                    <a:lnTo>
                      <a:pt x="169" y="1085"/>
                    </a:lnTo>
                    <a:lnTo>
                      <a:pt x="148" y="1062"/>
                    </a:lnTo>
                    <a:lnTo>
                      <a:pt x="130" y="1037"/>
                    </a:lnTo>
                    <a:lnTo>
                      <a:pt x="112" y="1012"/>
                    </a:lnTo>
                    <a:lnTo>
                      <a:pt x="96" y="985"/>
                    </a:lnTo>
                    <a:lnTo>
                      <a:pt x="80" y="957"/>
                    </a:lnTo>
                    <a:lnTo>
                      <a:pt x="64" y="930"/>
                    </a:lnTo>
                    <a:lnTo>
                      <a:pt x="53" y="900"/>
                    </a:lnTo>
                    <a:lnTo>
                      <a:pt x="41" y="871"/>
                    </a:lnTo>
                    <a:lnTo>
                      <a:pt x="30" y="841"/>
                    </a:lnTo>
                    <a:lnTo>
                      <a:pt x="21" y="812"/>
                    </a:lnTo>
                    <a:lnTo>
                      <a:pt x="14" y="780"/>
                    </a:lnTo>
                    <a:lnTo>
                      <a:pt x="9" y="748"/>
                    </a:lnTo>
                    <a:lnTo>
                      <a:pt x="5" y="716"/>
                    </a:lnTo>
                    <a:lnTo>
                      <a:pt x="3" y="682"/>
                    </a:lnTo>
                    <a:lnTo>
                      <a:pt x="0" y="648"/>
                    </a:lnTo>
                    <a:lnTo>
                      <a:pt x="0" y="648"/>
                    </a:lnTo>
                    <a:lnTo>
                      <a:pt x="3" y="616"/>
                    </a:lnTo>
                    <a:lnTo>
                      <a:pt x="5" y="582"/>
                    </a:lnTo>
                    <a:lnTo>
                      <a:pt x="9" y="550"/>
                    </a:lnTo>
                    <a:lnTo>
                      <a:pt x="14" y="518"/>
                    </a:lnTo>
                    <a:lnTo>
                      <a:pt x="21" y="487"/>
                    </a:lnTo>
                    <a:lnTo>
                      <a:pt x="30" y="457"/>
                    </a:lnTo>
                    <a:lnTo>
                      <a:pt x="41" y="425"/>
                    </a:lnTo>
                    <a:lnTo>
                      <a:pt x="53" y="396"/>
                    </a:lnTo>
                    <a:lnTo>
                      <a:pt x="64" y="368"/>
                    </a:lnTo>
                    <a:lnTo>
                      <a:pt x="80" y="341"/>
                    </a:lnTo>
                    <a:lnTo>
                      <a:pt x="96" y="314"/>
                    </a:lnTo>
                    <a:lnTo>
                      <a:pt x="112" y="286"/>
                    </a:lnTo>
                    <a:lnTo>
                      <a:pt x="130" y="261"/>
                    </a:lnTo>
                    <a:lnTo>
                      <a:pt x="148" y="236"/>
                    </a:lnTo>
                    <a:lnTo>
                      <a:pt x="169" y="214"/>
                    </a:lnTo>
                    <a:lnTo>
                      <a:pt x="191" y="191"/>
                    </a:lnTo>
                    <a:lnTo>
                      <a:pt x="214" y="168"/>
                    </a:lnTo>
                    <a:lnTo>
                      <a:pt x="237" y="148"/>
                    </a:lnTo>
                    <a:lnTo>
                      <a:pt x="262" y="130"/>
                    </a:lnTo>
                    <a:lnTo>
                      <a:pt x="287" y="111"/>
                    </a:lnTo>
                    <a:lnTo>
                      <a:pt x="314" y="95"/>
                    </a:lnTo>
                    <a:lnTo>
                      <a:pt x="341" y="80"/>
                    </a:lnTo>
                    <a:lnTo>
                      <a:pt x="369" y="64"/>
                    </a:lnTo>
                    <a:lnTo>
                      <a:pt x="396" y="52"/>
                    </a:lnTo>
                    <a:lnTo>
                      <a:pt x="425" y="41"/>
                    </a:lnTo>
                    <a:lnTo>
                      <a:pt x="457" y="30"/>
                    </a:lnTo>
                    <a:lnTo>
                      <a:pt x="487" y="20"/>
                    </a:lnTo>
                    <a:lnTo>
                      <a:pt x="519" y="14"/>
                    </a:lnTo>
                    <a:lnTo>
                      <a:pt x="550" y="9"/>
                    </a:lnTo>
                    <a:lnTo>
                      <a:pt x="582" y="5"/>
                    </a:lnTo>
                    <a:lnTo>
                      <a:pt x="616" y="2"/>
                    </a:lnTo>
                    <a:lnTo>
                      <a:pt x="648" y="0"/>
                    </a:lnTo>
                    <a:lnTo>
                      <a:pt x="648" y="0"/>
                    </a:lnTo>
                    <a:lnTo>
                      <a:pt x="682" y="2"/>
                    </a:lnTo>
                    <a:lnTo>
                      <a:pt x="716" y="5"/>
                    </a:lnTo>
                    <a:lnTo>
                      <a:pt x="748" y="9"/>
                    </a:lnTo>
                    <a:lnTo>
                      <a:pt x="780" y="14"/>
                    </a:lnTo>
                    <a:lnTo>
                      <a:pt x="812" y="20"/>
                    </a:lnTo>
                    <a:lnTo>
                      <a:pt x="841" y="30"/>
                    </a:lnTo>
                    <a:lnTo>
                      <a:pt x="871" y="41"/>
                    </a:lnTo>
                    <a:lnTo>
                      <a:pt x="900" y="52"/>
                    </a:lnTo>
                    <a:lnTo>
                      <a:pt x="930" y="64"/>
                    </a:lnTo>
                    <a:lnTo>
                      <a:pt x="957" y="80"/>
                    </a:lnTo>
                    <a:lnTo>
                      <a:pt x="985" y="95"/>
                    </a:lnTo>
                    <a:lnTo>
                      <a:pt x="1012" y="111"/>
                    </a:lnTo>
                    <a:lnTo>
                      <a:pt x="1037" y="130"/>
                    </a:lnTo>
                    <a:lnTo>
                      <a:pt x="1062" y="148"/>
                    </a:lnTo>
                    <a:lnTo>
                      <a:pt x="1085" y="168"/>
                    </a:lnTo>
                    <a:lnTo>
                      <a:pt x="1107" y="191"/>
                    </a:lnTo>
                    <a:lnTo>
                      <a:pt x="1128" y="214"/>
                    </a:lnTo>
                    <a:lnTo>
                      <a:pt x="1148" y="236"/>
                    </a:lnTo>
                    <a:lnTo>
                      <a:pt x="1169" y="261"/>
                    </a:lnTo>
                    <a:lnTo>
                      <a:pt x="1187" y="286"/>
                    </a:lnTo>
                    <a:lnTo>
                      <a:pt x="1203" y="314"/>
                    </a:lnTo>
                    <a:lnTo>
                      <a:pt x="1219" y="341"/>
                    </a:lnTo>
                    <a:lnTo>
                      <a:pt x="1232" y="368"/>
                    </a:lnTo>
                    <a:lnTo>
                      <a:pt x="1246" y="396"/>
                    </a:lnTo>
                    <a:lnTo>
                      <a:pt x="1257" y="425"/>
                    </a:lnTo>
                    <a:lnTo>
                      <a:pt x="1269" y="457"/>
                    </a:lnTo>
                    <a:lnTo>
                      <a:pt x="1276" y="487"/>
                    </a:lnTo>
                    <a:lnTo>
                      <a:pt x="1285" y="518"/>
                    </a:lnTo>
                    <a:lnTo>
                      <a:pt x="1289" y="550"/>
                    </a:lnTo>
                    <a:lnTo>
                      <a:pt x="1294" y="582"/>
                    </a:lnTo>
                    <a:lnTo>
                      <a:pt x="1296" y="616"/>
                    </a:lnTo>
                    <a:lnTo>
                      <a:pt x="1296" y="648"/>
                    </a:lnTo>
                    <a:lnTo>
                      <a:pt x="1296" y="648"/>
                    </a:lnTo>
                    <a:close/>
                  </a:path>
                </a:pathLst>
              </a:custGeom>
              <a:solidFill>
                <a:schemeClr val="bg1"/>
              </a:solidFill>
              <a:ln w="38100">
                <a:solidFill>
                  <a:schemeClr val="accent4"/>
                </a:solid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Apis" panose="020B0504010101010104" pitchFamily="34" charset="0"/>
                  <a:ea typeface="+mn-ea"/>
                  <a:cs typeface="+mn-cs"/>
                </a:endParaRPr>
              </a:p>
            </p:txBody>
          </p:sp>
        </p:grpSp>
        <p:grpSp>
          <p:nvGrpSpPr>
            <p:cNvPr id="6" name="Group 5">
              <a:extLst>
                <a:ext uri="{FF2B5EF4-FFF2-40B4-BE49-F238E27FC236}">
                  <a16:creationId xmlns:a16="http://schemas.microsoft.com/office/drawing/2014/main" id="{FE7773CA-E73F-42C9-A1A2-78C04F473E4A}"/>
                </a:ext>
              </a:extLst>
            </p:cNvPr>
            <p:cNvGrpSpPr/>
            <p:nvPr/>
          </p:nvGrpSpPr>
          <p:grpSpPr>
            <a:xfrm>
              <a:off x="9082472" y="2429818"/>
              <a:ext cx="2504253" cy="2937155"/>
              <a:chOff x="9246148" y="2429818"/>
              <a:chExt cx="2504253" cy="2937155"/>
            </a:xfrm>
          </p:grpSpPr>
          <p:sp>
            <p:nvSpPr>
              <p:cNvPr id="35" name="Text Box 9">
                <a:extLst>
                  <a:ext uri="{FF2B5EF4-FFF2-40B4-BE49-F238E27FC236}">
                    <a16:creationId xmlns:a16="http://schemas.microsoft.com/office/drawing/2014/main" id="{F8353169-F618-4770-B3BC-74B1729F7C02}"/>
                  </a:ext>
                </a:extLst>
              </p:cNvPr>
              <p:cNvSpPr txBox="1">
                <a:spLocks noChangeAspect="1" noChangeArrowheads="1"/>
              </p:cNvSpPr>
              <p:nvPr/>
            </p:nvSpPr>
            <p:spPr bwMode="auto">
              <a:xfrm>
                <a:off x="9291958" y="2429818"/>
                <a:ext cx="225707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0160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1965"/>
                    </a:solidFill>
                    <a:effectLst/>
                    <a:uLnTx/>
                    <a:uFillTx/>
                    <a:latin typeface="+mn-lt"/>
                    <a:ea typeface="MS PGothic" pitchFamily="34" charset="-128"/>
                    <a:cs typeface="Apis" panose="020B0504010101010104" pitchFamily="34" charset="0"/>
                  </a:rPr>
                  <a:t>During quarantine</a:t>
                </a:r>
              </a:p>
              <a:p>
                <a:pPr marL="0" marR="0" lvl="0" indent="0" algn="l" defTabSz="1354633"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p:txBody>
          </p:sp>
          <p:sp>
            <p:nvSpPr>
              <p:cNvPr id="41" name="Text Box 11">
                <a:extLst>
                  <a:ext uri="{FF2B5EF4-FFF2-40B4-BE49-F238E27FC236}">
                    <a16:creationId xmlns:a16="http://schemas.microsoft.com/office/drawing/2014/main" id="{6BDD0C48-61C6-45EE-9DAE-69B4EC71A3A7}"/>
                  </a:ext>
                </a:extLst>
              </p:cNvPr>
              <p:cNvSpPr txBox="1">
                <a:spLocks noChangeAspect="1" noChangeArrowheads="1"/>
              </p:cNvSpPr>
              <p:nvPr/>
            </p:nvSpPr>
            <p:spPr bwMode="auto">
              <a:xfrm>
                <a:off x="9246148" y="2781650"/>
                <a:ext cx="2504253" cy="2585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228594" lvl="0" indent="-228594" defTabSz="1354633" eaLnBrk="1" hangingPunct="1">
                  <a:lnSpc>
                    <a:spcPct val="200000"/>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Finished my Master’s thesis</a:t>
                </a:r>
              </a:p>
              <a:p>
                <a:pPr marL="228594" lvl="0" indent="-228594" defTabSz="1354633" eaLnBrk="1" hangingPunct="1">
                  <a:lnSpc>
                    <a:spcPct val="200000"/>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Leisure reading</a:t>
                </a:r>
              </a:p>
              <a:p>
                <a:pPr marL="228594" lvl="0" indent="-228594" defTabSz="1354633" eaLnBrk="1" hangingPunct="1">
                  <a:lnSpc>
                    <a:spcPct val="200000"/>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New outdoor activities</a:t>
                </a: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228594" marR="0" lvl="0" indent="-228594" algn="l" defTabSz="1354633" rtl="0" eaLnBrk="1" fontAlgn="auto" latinLnBrk="0" hangingPunct="1">
                  <a:lnSpc>
                    <a:spcPct val="200000"/>
                  </a:lnSpc>
                  <a:spcBef>
                    <a:spcPts val="0"/>
                  </a:spcBef>
                  <a:spcAft>
                    <a:spcPts val="0"/>
                  </a:spcAft>
                  <a:buClr>
                    <a:srgbClr val="001965"/>
                  </a:buClr>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228594" marR="0" lvl="0" indent="-228594" algn="l" defTabSz="1354633" rtl="0" eaLnBrk="1" fontAlgn="auto" latinLnBrk="0" hangingPunct="1">
                  <a:lnSpc>
                    <a:spcPct val="200000"/>
                  </a:lnSpc>
                  <a:spcBef>
                    <a:spcPts val="0"/>
                  </a:spcBef>
                  <a:spcAft>
                    <a:spcPts val="0"/>
                  </a:spcAft>
                  <a:buClr>
                    <a:srgbClr val="001965"/>
                  </a:buClr>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p:txBody>
          </p:sp>
        </p:grpSp>
      </p:grpSp>
      <p:sp>
        <p:nvSpPr>
          <p:cNvPr id="39" name="Slide Number Placeholder 4">
            <a:extLst>
              <a:ext uri="{FF2B5EF4-FFF2-40B4-BE49-F238E27FC236}">
                <a16:creationId xmlns:a16="http://schemas.microsoft.com/office/drawing/2014/main" id="{BF34EC69-6465-4ADE-900C-46FC50C26F78}"/>
              </a:ext>
            </a:extLst>
          </p:cNvPr>
          <p:cNvSpPr txBox="1">
            <a:spLocks/>
          </p:cNvSpPr>
          <p:nvPr/>
        </p:nvSpPr>
        <p:spPr>
          <a:xfrm>
            <a:off x="324000" y="324000"/>
            <a:ext cx="324000" cy="125850"/>
          </a:xfrm>
          <a:prstGeom prst="rect">
            <a:avLst/>
          </a:prstGeom>
        </p:spPr>
        <p:txBody>
          <a:bodyPr vert="horz" lIns="0" tIns="0" rIns="0" bIns="0" rtlCol="0" anchor="t"/>
          <a:lstStyle>
            <a:defPPr>
              <a:defRPr lang="en-US"/>
            </a:defPPr>
            <a:lvl1pPr marL="0" algn="l"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mtClean="0"/>
              <a:pPr/>
              <a:t>4</a:t>
            </a:fld>
            <a:endParaRPr lang="en-GB" dirty="0"/>
          </a:p>
        </p:txBody>
      </p:sp>
      <p:sp>
        <p:nvSpPr>
          <p:cNvPr id="40" name="Footer Placeholder 3">
            <a:extLst>
              <a:ext uri="{FF2B5EF4-FFF2-40B4-BE49-F238E27FC236}">
                <a16:creationId xmlns:a16="http://schemas.microsoft.com/office/drawing/2014/main" id="{75288C4F-5ED9-49FB-AFC0-0BB4B33A0A1A}"/>
              </a:ext>
            </a:extLst>
          </p:cNvPr>
          <p:cNvSpPr>
            <a:spLocks noGrp="1"/>
          </p:cNvSpPr>
          <p:nvPr>
            <p:ph type="ftr" sz="quarter" idx="11"/>
          </p:nvPr>
        </p:nvSpPr>
        <p:spPr>
          <a:xfrm>
            <a:off x="648000" y="323850"/>
            <a:ext cx="1919288" cy="126000"/>
          </a:xfrm>
        </p:spPr>
        <p:txBody>
          <a:bodyPr/>
          <a:lstStyle/>
          <a:p>
            <a:r>
              <a:rPr lang="en-GB">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Graduate Programme Introduction</a:t>
            </a:r>
            <a:endParaRPr lang="en-GB"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Tree>
    <p:custDataLst>
      <p:tags r:id="rId2"/>
    </p:custDataLst>
    <p:extLst>
      <p:ext uri="{BB962C8B-B14F-4D97-AF65-F5344CB8AC3E}">
        <p14:creationId xmlns:p14="http://schemas.microsoft.com/office/powerpoint/2010/main" val="4663829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CA82-B68E-4AAA-894F-15E1ADC4DFF6}"/>
              </a:ext>
            </a:extLst>
          </p:cNvPr>
          <p:cNvGraphicFramePr>
            <a:graphicFrameLocks noChangeAspect="1"/>
          </p:cNvGraphicFramePr>
          <p:nvPr>
            <p:custDataLst>
              <p:tags r:id="rId3"/>
            </p:custDataLst>
            <p:extLst>
              <p:ext uri="{D42A27DB-BD31-4B8C-83A1-F6EECF244321}">
                <p14:modId xmlns:p14="http://schemas.microsoft.com/office/powerpoint/2010/main" val="204212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61" name="think-cell Slide" r:id="rId7" imgW="416" imgH="416" progId="TCLayout.ActiveDocument.1">
                  <p:embed/>
                </p:oleObj>
              </mc:Choice>
              <mc:Fallback>
                <p:oleObj name="think-cell Slide" r:id="rId7" imgW="416" imgH="416" progId="TCLayout.ActiveDocument.1">
                  <p:embed/>
                  <p:pic>
                    <p:nvPicPr>
                      <p:cNvPr id="2" name="Object 1" hidden="1">
                        <a:extLst>
                          <a:ext uri="{FF2B5EF4-FFF2-40B4-BE49-F238E27FC236}">
                            <a16:creationId xmlns:a16="http://schemas.microsoft.com/office/drawing/2014/main" id="{3389CA82-B68E-4AAA-894F-15E1ADC4DFF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68395EA-7B97-4F74-BB7F-783FD5C6F60D}"/>
              </a:ext>
            </a:extLst>
          </p:cNvPr>
          <p:cNvSpPr/>
          <p:nvPr>
            <p:custDataLst>
              <p:tags r:id="rId4"/>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noProof="0" dirty="0">
              <a:latin typeface="Apis For Office" panose="020B0504010101010104" pitchFamily="34" charset="0"/>
              <a:ea typeface="+mj-ea"/>
              <a:cs typeface="+mj-cs"/>
              <a:sym typeface="Apis For Office" panose="020B0504010101010104" pitchFamily="34" charset="0"/>
            </a:endParaRPr>
          </a:p>
        </p:txBody>
      </p:sp>
      <p:pic>
        <p:nvPicPr>
          <p:cNvPr id="13" name="Picture 12">
            <a:extLst>
              <a:ext uri="{FF2B5EF4-FFF2-40B4-BE49-F238E27FC236}">
                <a16:creationId xmlns:a16="http://schemas.microsoft.com/office/drawing/2014/main" id="{868E131D-5744-469B-A1EC-FB1E343EB9F3}"/>
              </a:ext>
            </a:extLst>
          </p:cNvPr>
          <p:cNvPicPr>
            <a:picLocks noChangeAspect="1"/>
          </p:cNvPicPr>
          <p:nvPr/>
        </p:nvPicPr>
        <p:blipFill rotWithShape="1">
          <a:blip r:embed="rId9">
            <a:extLst>
              <a:ext uri="{28A0092B-C50C-407E-A947-70E740481C1C}">
                <a14:useLocalDpi xmlns:a14="http://schemas.microsoft.com/office/drawing/2010/main" val="0"/>
              </a:ext>
            </a:extLst>
          </a:blip>
          <a:srcRect l="16667" r="16667"/>
          <a:stretch/>
        </p:blipFill>
        <p:spPr>
          <a:xfrm>
            <a:off x="436980" y="1921763"/>
            <a:ext cx="3184973" cy="3184973"/>
          </a:xfrm>
          <a:prstGeom prst="ellipse">
            <a:avLst/>
          </a:prstGeom>
        </p:spPr>
      </p:pic>
      <p:sp>
        <p:nvSpPr>
          <p:cNvPr id="23" name="Freeform: Shape 22">
            <a:extLst>
              <a:ext uri="{FF2B5EF4-FFF2-40B4-BE49-F238E27FC236}">
                <a16:creationId xmlns:a16="http://schemas.microsoft.com/office/drawing/2014/main" id="{8309AC85-3AD1-453E-A629-A23A96178336}"/>
              </a:ext>
            </a:extLst>
          </p:cNvPr>
          <p:cNvSpPr>
            <a:spLocks/>
          </p:cNvSpPr>
          <p:nvPr/>
        </p:nvSpPr>
        <p:spPr>
          <a:xfrm>
            <a:off x="-406580" y="-582539"/>
            <a:ext cx="10059381" cy="5668856"/>
          </a:xfrm>
          <a:custGeom>
            <a:avLst/>
            <a:gdLst>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242930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061098 w 8070112"/>
              <a:gd name="connsiteY4" fmla="*/ 1574748 h 2574208"/>
              <a:gd name="connsiteX5" fmla="*/ 4146698 w 8070112"/>
              <a:gd name="connsiteY5" fmla="*/ 2489148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46698 w 8070112"/>
              <a:gd name="connsiteY5" fmla="*/ 2489148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70112"/>
              <a:gd name="connsiteY0" fmla="*/ 2574208 h 2574208"/>
              <a:gd name="connsiteX1" fmla="*/ 1456660 w 8070112"/>
              <a:gd name="connsiteY1" fmla="*/ 2255232 h 2574208"/>
              <a:gd name="connsiteX2" fmla="*/ 2721935 w 8070112"/>
              <a:gd name="connsiteY2" fmla="*/ 894264 h 2574208"/>
              <a:gd name="connsiteX3" fmla="*/ 4136065 w 8070112"/>
              <a:gd name="connsiteY3" fmla="*/ 628450 h 2574208"/>
              <a:gd name="connsiteX4" fmla="*/ 5108723 w 8070112"/>
              <a:gd name="connsiteY4" fmla="*/ 1569986 h 2574208"/>
              <a:gd name="connsiteX5" fmla="*/ 4137173 w 8070112"/>
              <a:gd name="connsiteY5" fmla="*/ 2536773 h 2574208"/>
              <a:gd name="connsiteX6" fmla="*/ 3190543 w 8070112"/>
              <a:gd name="connsiteY6" fmla="*/ 1542850 h 2574208"/>
              <a:gd name="connsiteX7" fmla="*/ 4125432 w 8070112"/>
              <a:gd name="connsiteY7" fmla="*/ 628450 h 2574208"/>
              <a:gd name="connsiteX8" fmla="*/ 5922335 w 8070112"/>
              <a:gd name="connsiteY8" fmla="*/ 564655 h 2574208"/>
              <a:gd name="connsiteX9" fmla="*/ 7272670 w 8070112"/>
              <a:gd name="connsiteY9" fmla="*/ 43660 h 2574208"/>
              <a:gd name="connsiteX10" fmla="*/ 8070112 w 8070112"/>
              <a:gd name="connsiteY10" fmla="*/ 64925 h 2574208"/>
              <a:gd name="connsiteX0" fmla="*/ 0 w 8015027"/>
              <a:gd name="connsiteY0" fmla="*/ 2890697 h 2890697"/>
              <a:gd name="connsiteX1" fmla="*/ 1456660 w 8015027"/>
              <a:gd name="connsiteY1" fmla="*/ 2571721 h 2890697"/>
              <a:gd name="connsiteX2" fmla="*/ 2721935 w 8015027"/>
              <a:gd name="connsiteY2" fmla="*/ 1210753 h 2890697"/>
              <a:gd name="connsiteX3" fmla="*/ 4136065 w 8015027"/>
              <a:gd name="connsiteY3" fmla="*/ 944939 h 2890697"/>
              <a:gd name="connsiteX4" fmla="*/ 5108723 w 8015027"/>
              <a:gd name="connsiteY4" fmla="*/ 1886475 h 2890697"/>
              <a:gd name="connsiteX5" fmla="*/ 4137173 w 8015027"/>
              <a:gd name="connsiteY5" fmla="*/ 2853262 h 2890697"/>
              <a:gd name="connsiteX6" fmla="*/ 3190543 w 8015027"/>
              <a:gd name="connsiteY6" fmla="*/ 1859339 h 2890697"/>
              <a:gd name="connsiteX7" fmla="*/ 4125432 w 8015027"/>
              <a:gd name="connsiteY7" fmla="*/ 944939 h 2890697"/>
              <a:gd name="connsiteX8" fmla="*/ 5922335 w 8015027"/>
              <a:gd name="connsiteY8" fmla="*/ 881144 h 2890697"/>
              <a:gd name="connsiteX9" fmla="*/ 7272670 w 8015027"/>
              <a:gd name="connsiteY9" fmla="*/ 360149 h 2890697"/>
              <a:gd name="connsiteX10" fmla="*/ 8015027 w 8015027"/>
              <a:gd name="connsiteY10" fmla="*/ 6841 h 2890697"/>
              <a:gd name="connsiteX0" fmla="*/ 0 w 8015027"/>
              <a:gd name="connsiteY0" fmla="*/ 2883856 h 2883856"/>
              <a:gd name="connsiteX1" fmla="*/ 1456660 w 8015027"/>
              <a:gd name="connsiteY1" fmla="*/ 2564880 h 2883856"/>
              <a:gd name="connsiteX2" fmla="*/ 2721935 w 8015027"/>
              <a:gd name="connsiteY2" fmla="*/ 1203912 h 2883856"/>
              <a:gd name="connsiteX3" fmla="*/ 4136065 w 8015027"/>
              <a:gd name="connsiteY3" fmla="*/ 938098 h 2883856"/>
              <a:gd name="connsiteX4" fmla="*/ 5108723 w 8015027"/>
              <a:gd name="connsiteY4" fmla="*/ 1879634 h 2883856"/>
              <a:gd name="connsiteX5" fmla="*/ 4137173 w 8015027"/>
              <a:gd name="connsiteY5" fmla="*/ 2846421 h 2883856"/>
              <a:gd name="connsiteX6" fmla="*/ 3190543 w 8015027"/>
              <a:gd name="connsiteY6" fmla="*/ 1852498 h 2883856"/>
              <a:gd name="connsiteX7" fmla="*/ 4125432 w 8015027"/>
              <a:gd name="connsiteY7" fmla="*/ 938098 h 2883856"/>
              <a:gd name="connsiteX8" fmla="*/ 5922335 w 8015027"/>
              <a:gd name="connsiteY8" fmla="*/ 874303 h 2883856"/>
              <a:gd name="connsiteX9" fmla="*/ 7272670 w 8015027"/>
              <a:gd name="connsiteY9" fmla="*/ 353308 h 2883856"/>
              <a:gd name="connsiteX10" fmla="*/ 8015027 w 8015027"/>
              <a:gd name="connsiteY10" fmla="*/ 0 h 2883856"/>
              <a:gd name="connsiteX0" fmla="*/ 0 w 8103162"/>
              <a:gd name="connsiteY0" fmla="*/ 2707586 h 2707586"/>
              <a:gd name="connsiteX1" fmla="*/ 1456660 w 8103162"/>
              <a:gd name="connsiteY1" fmla="*/ 2388610 h 2707586"/>
              <a:gd name="connsiteX2" fmla="*/ 2721935 w 8103162"/>
              <a:gd name="connsiteY2" fmla="*/ 1027642 h 2707586"/>
              <a:gd name="connsiteX3" fmla="*/ 4136065 w 8103162"/>
              <a:gd name="connsiteY3" fmla="*/ 761828 h 2707586"/>
              <a:gd name="connsiteX4" fmla="*/ 5108723 w 8103162"/>
              <a:gd name="connsiteY4" fmla="*/ 1703364 h 2707586"/>
              <a:gd name="connsiteX5" fmla="*/ 4137173 w 8103162"/>
              <a:gd name="connsiteY5" fmla="*/ 2670151 h 2707586"/>
              <a:gd name="connsiteX6" fmla="*/ 3190543 w 8103162"/>
              <a:gd name="connsiteY6" fmla="*/ 1676228 h 2707586"/>
              <a:gd name="connsiteX7" fmla="*/ 4125432 w 8103162"/>
              <a:gd name="connsiteY7" fmla="*/ 761828 h 2707586"/>
              <a:gd name="connsiteX8" fmla="*/ 5922335 w 8103162"/>
              <a:gd name="connsiteY8" fmla="*/ 698033 h 2707586"/>
              <a:gd name="connsiteX9" fmla="*/ 7272670 w 8103162"/>
              <a:gd name="connsiteY9" fmla="*/ 177038 h 2707586"/>
              <a:gd name="connsiteX10" fmla="*/ 8103162 w 8103162"/>
              <a:gd name="connsiteY10" fmla="*/ 0 h 2707586"/>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7272670 w 7706555"/>
              <a:gd name="connsiteY9" fmla="*/ 331274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6942164 w 7706555"/>
              <a:gd name="connsiteY9" fmla="*/ 573645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6942164 w 7706555"/>
              <a:gd name="connsiteY9" fmla="*/ 573645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6942164 w 7706555"/>
              <a:gd name="connsiteY9" fmla="*/ 573645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6942164 w 7706555"/>
              <a:gd name="connsiteY9" fmla="*/ 573645 h 2861822"/>
              <a:gd name="connsiteX10" fmla="*/ 7706555 w 7706555"/>
              <a:gd name="connsiteY10" fmla="*/ 0 h 2861822"/>
              <a:gd name="connsiteX0" fmla="*/ 0 w 7706555"/>
              <a:gd name="connsiteY0" fmla="*/ 2861822 h 2861822"/>
              <a:gd name="connsiteX1" fmla="*/ 1456660 w 7706555"/>
              <a:gd name="connsiteY1" fmla="*/ 2542846 h 2861822"/>
              <a:gd name="connsiteX2" fmla="*/ 2721935 w 7706555"/>
              <a:gd name="connsiteY2" fmla="*/ 1181878 h 2861822"/>
              <a:gd name="connsiteX3" fmla="*/ 4136065 w 7706555"/>
              <a:gd name="connsiteY3" fmla="*/ 916064 h 2861822"/>
              <a:gd name="connsiteX4" fmla="*/ 5108723 w 7706555"/>
              <a:gd name="connsiteY4" fmla="*/ 1857600 h 2861822"/>
              <a:gd name="connsiteX5" fmla="*/ 4137173 w 7706555"/>
              <a:gd name="connsiteY5" fmla="*/ 2824387 h 2861822"/>
              <a:gd name="connsiteX6" fmla="*/ 3190543 w 7706555"/>
              <a:gd name="connsiteY6" fmla="*/ 1830464 h 2861822"/>
              <a:gd name="connsiteX7" fmla="*/ 4125432 w 7706555"/>
              <a:gd name="connsiteY7" fmla="*/ 916064 h 2861822"/>
              <a:gd name="connsiteX8" fmla="*/ 5922335 w 7706555"/>
              <a:gd name="connsiteY8" fmla="*/ 852269 h 2861822"/>
              <a:gd name="connsiteX9" fmla="*/ 7706555 w 7706555"/>
              <a:gd name="connsiteY9" fmla="*/ 0 h 2861822"/>
              <a:gd name="connsiteX0" fmla="*/ 0 w 7761640"/>
              <a:gd name="connsiteY0" fmla="*/ 2927924 h 2927924"/>
              <a:gd name="connsiteX1" fmla="*/ 1456660 w 7761640"/>
              <a:gd name="connsiteY1" fmla="*/ 2608948 h 2927924"/>
              <a:gd name="connsiteX2" fmla="*/ 2721935 w 7761640"/>
              <a:gd name="connsiteY2" fmla="*/ 1247980 h 2927924"/>
              <a:gd name="connsiteX3" fmla="*/ 4136065 w 7761640"/>
              <a:gd name="connsiteY3" fmla="*/ 982166 h 2927924"/>
              <a:gd name="connsiteX4" fmla="*/ 5108723 w 7761640"/>
              <a:gd name="connsiteY4" fmla="*/ 1923702 h 2927924"/>
              <a:gd name="connsiteX5" fmla="*/ 4137173 w 7761640"/>
              <a:gd name="connsiteY5" fmla="*/ 2890489 h 2927924"/>
              <a:gd name="connsiteX6" fmla="*/ 3190543 w 7761640"/>
              <a:gd name="connsiteY6" fmla="*/ 1896566 h 2927924"/>
              <a:gd name="connsiteX7" fmla="*/ 4125432 w 7761640"/>
              <a:gd name="connsiteY7" fmla="*/ 982166 h 2927924"/>
              <a:gd name="connsiteX8" fmla="*/ 5922335 w 7761640"/>
              <a:gd name="connsiteY8" fmla="*/ 918371 h 2927924"/>
              <a:gd name="connsiteX9" fmla="*/ 7761640 w 7761640"/>
              <a:gd name="connsiteY9" fmla="*/ 0 h 2927924"/>
              <a:gd name="connsiteX0" fmla="*/ 0 w 7761640"/>
              <a:gd name="connsiteY0" fmla="*/ 2927924 h 2927924"/>
              <a:gd name="connsiteX1" fmla="*/ 1456660 w 7761640"/>
              <a:gd name="connsiteY1" fmla="*/ 2608948 h 2927924"/>
              <a:gd name="connsiteX2" fmla="*/ 2721935 w 7761640"/>
              <a:gd name="connsiteY2" fmla="*/ 1247980 h 2927924"/>
              <a:gd name="connsiteX3" fmla="*/ 4136065 w 7761640"/>
              <a:gd name="connsiteY3" fmla="*/ 982166 h 2927924"/>
              <a:gd name="connsiteX4" fmla="*/ 5108723 w 7761640"/>
              <a:gd name="connsiteY4" fmla="*/ 1923702 h 2927924"/>
              <a:gd name="connsiteX5" fmla="*/ 4137173 w 7761640"/>
              <a:gd name="connsiteY5" fmla="*/ 2890489 h 2927924"/>
              <a:gd name="connsiteX6" fmla="*/ 3190543 w 7761640"/>
              <a:gd name="connsiteY6" fmla="*/ 1896566 h 2927924"/>
              <a:gd name="connsiteX7" fmla="*/ 4125432 w 7761640"/>
              <a:gd name="connsiteY7" fmla="*/ 982166 h 2927924"/>
              <a:gd name="connsiteX8" fmla="*/ 5922335 w 7761640"/>
              <a:gd name="connsiteY8" fmla="*/ 918371 h 2927924"/>
              <a:gd name="connsiteX9" fmla="*/ 7761640 w 7761640"/>
              <a:gd name="connsiteY9" fmla="*/ 0 h 2927924"/>
              <a:gd name="connsiteX0" fmla="*/ 0 w 7761640"/>
              <a:gd name="connsiteY0" fmla="*/ 2927924 h 2927924"/>
              <a:gd name="connsiteX1" fmla="*/ 1456660 w 7761640"/>
              <a:gd name="connsiteY1" fmla="*/ 2608948 h 2927924"/>
              <a:gd name="connsiteX2" fmla="*/ 2721935 w 7761640"/>
              <a:gd name="connsiteY2" fmla="*/ 1247980 h 2927924"/>
              <a:gd name="connsiteX3" fmla="*/ 4136065 w 7761640"/>
              <a:gd name="connsiteY3" fmla="*/ 982166 h 2927924"/>
              <a:gd name="connsiteX4" fmla="*/ 5108723 w 7761640"/>
              <a:gd name="connsiteY4" fmla="*/ 1923702 h 2927924"/>
              <a:gd name="connsiteX5" fmla="*/ 4137173 w 7761640"/>
              <a:gd name="connsiteY5" fmla="*/ 2890489 h 2927924"/>
              <a:gd name="connsiteX6" fmla="*/ 3190543 w 7761640"/>
              <a:gd name="connsiteY6" fmla="*/ 1896566 h 2927924"/>
              <a:gd name="connsiteX7" fmla="*/ 4125432 w 7761640"/>
              <a:gd name="connsiteY7" fmla="*/ 982166 h 2927924"/>
              <a:gd name="connsiteX8" fmla="*/ 5922335 w 7761640"/>
              <a:gd name="connsiteY8" fmla="*/ 918371 h 2927924"/>
              <a:gd name="connsiteX9" fmla="*/ 7761640 w 7761640"/>
              <a:gd name="connsiteY9" fmla="*/ 0 h 2927924"/>
              <a:gd name="connsiteX0" fmla="*/ 0 w 7276898"/>
              <a:gd name="connsiteY0" fmla="*/ 2916907 h 2916907"/>
              <a:gd name="connsiteX1" fmla="*/ 1456660 w 7276898"/>
              <a:gd name="connsiteY1" fmla="*/ 2597931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276898"/>
              <a:gd name="connsiteY0" fmla="*/ 2916907 h 2916907"/>
              <a:gd name="connsiteX1" fmla="*/ 1434626 w 7276898"/>
              <a:gd name="connsiteY1" fmla="*/ 2509796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276898"/>
              <a:gd name="connsiteY0" fmla="*/ 2916907 h 2916907"/>
              <a:gd name="connsiteX1" fmla="*/ 1434626 w 7276898"/>
              <a:gd name="connsiteY1" fmla="*/ 2509796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276898"/>
              <a:gd name="connsiteY0" fmla="*/ 2916907 h 2916907"/>
              <a:gd name="connsiteX1" fmla="*/ 1434626 w 7276898"/>
              <a:gd name="connsiteY1" fmla="*/ 2509796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276898"/>
              <a:gd name="connsiteY0" fmla="*/ 2916907 h 2916907"/>
              <a:gd name="connsiteX1" fmla="*/ 1434626 w 7276898"/>
              <a:gd name="connsiteY1" fmla="*/ 2509796 h 2916907"/>
              <a:gd name="connsiteX2" fmla="*/ 2721935 w 7276898"/>
              <a:gd name="connsiteY2" fmla="*/ 1236963 h 2916907"/>
              <a:gd name="connsiteX3" fmla="*/ 4136065 w 7276898"/>
              <a:gd name="connsiteY3" fmla="*/ 971149 h 2916907"/>
              <a:gd name="connsiteX4" fmla="*/ 5108723 w 7276898"/>
              <a:gd name="connsiteY4" fmla="*/ 1912685 h 2916907"/>
              <a:gd name="connsiteX5" fmla="*/ 4137173 w 7276898"/>
              <a:gd name="connsiteY5" fmla="*/ 2879472 h 2916907"/>
              <a:gd name="connsiteX6" fmla="*/ 3190543 w 7276898"/>
              <a:gd name="connsiteY6" fmla="*/ 1885549 h 2916907"/>
              <a:gd name="connsiteX7" fmla="*/ 4125432 w 7276898"/>
              <a:gd name="connsiteY7" fmla="*/ 971149 h 2916907"/>
              <a:gd name="connsiteX8" fmla="*/ 5922335 w 7276898"/>
              <a:gd name="connsiteY8" fmla="*/ 907354 h 2916907"/>
              <a:gd name="connsiteX9" fmla="*/ 7276898 w 7276898"/>
              <a:gd name="connsiteY9" fmla="*/ 0 h 2916907"/>
              <a:gd name="connsiteX0" fmla="*/ 0 w 7342999"/>
              <a:gd name="connsiteY0" fmla="*/ 2520300 h 2879507"/>
              <a:gd name="connsiteX1" fmla="*/ 1500727 w 7342999"/>
              <a:gd name="connsiteY1" fmla="*/ 2509796 h 2879507"/>
              <a:gd name="connsiteX2" fmla="*/ 2788036 w 7342999"/>
              <a:gd name="connsiteY2" fmla="*/ 1236963 h 2879507"/>
              <a:gd name="connsiteX3" fmla="*/ 4202166 w 7342999"/>
              <a:gd name="connsiteY3" fmla="*/ 971149 h 2879507"/>
              <a:gd name="connsiteX4" fmla="*/ 5174824 w 7342999"/>
              <a:gd name="connsiteY4" fmla="*/ 1912685 h 2879507"/>
              <a:gd name="connsiteX5" fmla="*/ 4203274 w 7342999"/>
              <a:gd name="connsiteY5" fmla="*/ 2879472 h 2879507"/>
              <a:gd name="connsiteX6" fmla="*/ 3256644 w 7342999"/>
              <a:gd name="connsiteY6" fmla="*/ 1885549 h 2879507"/>
              <a:gd name="connsiteX7" fmla="*/ 4191533 w 7342999"/>
              <a:gd name="connsiteY7" fmla="*/ 971149 h 2879507"/>
              <a:gd name="connsiteX8" fmla="*/ 5988436 w 7342999"/>
              <a:gd name="connsiteY8" fmla="*/ 907354 h 2879507"/>
              <a:gd name="connsiteX9" fmla="*/ 7342999 w 7342999"/>
              <a:gd name="connsiteY9" fmla="*/ 0 h 2879507"/>
              <a:gd name="connsiteX0" fmla="*/ 0 w 7342999"/>
              <a:gd name="connsiteY0" fmla="*/ 2520300 h 2879507"/>
              <a:gd name="connsiteX1" fmla="*/ 1500727 w 7342999"/>
              <a:gd name="connsiteY1" fmla="*/ 2509796 h 2879507"/>
              <a:gd name="connsiteX2" fmla="*/ 2788036 w 7342999"/>
              <a:gd name="connsiteY2" fmla="*/ 1236963 h 2879507"/>
              <a:gd name="connsiteX3" fmla="*/ 4202166 w 7342999"/>
              <a:gd name="connsiteY3" fmla="*/ 971149 h 2879507"/>
              <a:gd name="connsiteX4" fmla="*/ 5174824 w 7342999"/>
              <a:gd name="connsiteY4" fmla="*/ 1912685 h 2879507"/>
              <a:gd name="connsiteX5" fmla="*/ 4203274 w 7342999"/>
              <a:gd name="connsiteY5" fmla="*/ 2879472 h 2879507"/>
              <a:gd name="connsiteX6" fmla="*/ 3256644 w 7342999"/>
              <a:gd name="connsiteY6" fmla="*/ 1885549 h 2879507"/>
              <a:gd name="connsiteX7" fmla="*/ 4191533 w 7342999"/>
              <a:gd name="connsiteY7" fmla="*/ 971149 h 2879507"/>
              <a:gd name="connsiteX8" fmla="*/ 5988436 w 7342999"/>
              <a:gd name="connsiteY8" fmla="*/ 907354 h 2879507"/>
              <a:gd name="connsiteX9" fmla="*/ 7342999 w 7342999"/>
              <a:gd name="connsiteY9" fmla="*/ 0 h 2879507"/>
              <a:gd name="connsiteX0" fmla="*/ 0 w 7342999"/>
              <a:gd name="connsiteY0" fmla="*/ 2520300 h 2879507"/>
              <a:gd name="connsiteX1" fmla="*/ 1500727 w 7342999"/>
              <a:gd name="connsiteY1" fmla="*/ 2509796 h 2879507"/>
              <a:gd name="connsiteX2" fmla="*/ 2788036 w 7342999"/>
              <a:gd name="connsiteY2" fmla="*/ 1236963 h 2879507"/>
              <a:gd name="connsiteX3" fmla="*/ 4202166 w 7342999"/>
              <a:gd name="connsiteY3" fmla="*/ 971149 h 2879507"/>
              <a:gd name="connsiteX4" fmla="*/ 5174824 w 7342999"/>
              <a:gd name="connsiteY4" fmla="*/ 1912685 h 2879507"/>
              <a:gd name="connsiteX5" fmla="*/ 4203274 w 7342999"/>
              <a:gd name="connsiteY5" fmla="*/ 2879472 h 2879507"/>
              <a:gd name="connsiteX6" fmla="*/ 3256644 w 7342999"/>
              <a:gd name="connsiteY6" fmla="*/ 1885549 h 2879507"/>
              <a:gd name="connsiteX7" fmla="*/ 4191533 w 7342999"/>
              <a:gd name="connsiteY7" fmla="*/ 971149 h 2879507"/>
              <a:gd name="connsiteX8" fmla="*/ 5988436 w 7342999"/>
              <a:gd name="connsiteY8" fmla="*/ 907354 h 2879507"/>
              <a:gd name="connsiteX9" fmla="*/ 7342999 w 7342999"/>
              <a:gd name="connsiteY9" fmla="*/ 0 h 2879507"/>
              <a:gd name="connsiteX0" fmla="*/ 0 w 9014774"/>
              <a:gd name="connsiteY0" fmla="*/ 4357188 h 4716395"/>
              <a:gd name="connsiteX1" fmla="*/ 1500727 w 9014774"/>
              <a:gd name="connsiteY1" fmla="*/ 4346684 h 4716395"/>
              <a:gd name="connsiteX2" fmla="*/ 2788036 w 9014774"/>
              <a:gd name="connsiteY2" fmla="*/ 3073851 h 4716395"/>
              <a:gd name="connsiteX3" fmla="*/ 4202166 w 9014774"/>
              <a:gd name="connsiteY3" fmla="*/ 2808037 h 4716395"/>
              <a:gd name="connsiteX4" fmla="*/ 5174824 w 9014774"/>
              <a:gd name="connsiteY4" fmla="*/ 3749573 h 4716395"/>
              <a:gd name="connsiteX5" fmla="*/ 4203274 w 9014774"/>
              <a:gd name="connsiteY5" fmla="*/ 4716360 h 4716395"/>
              <a:gd name="connsiteX6" fmla="*/ 3256644 w 9014774"/>
              <a:gd name="connsiteY6" fmla="*/ 3722437 h 4716395"/>
              <a:gd name="connsiteX7" fmla="*/ 4191533 w 9014774"/>
              <a:gd name="connsiteY7" fmla="*/ 2808037 h 4716395"/>
              <a:gd name="connsiteX8" fmla="*/ 5988436 w 9014774"/>
              <a:gd name="connsiteY8" fmla="*/ 2744242 h 4716395"/>
              <a:gd name="connsiteX9" fmla="*/ 9014774 w 9014774"/>
              <a:gd name="connsiteY9" fmla="*/ 0 h 4716395"/>
              <a:gd name="connsiteX0" fmla="*/ 0 w 9014774"/>
              <a:gd name="connsiteY0" fmla="*/ 4357188 h 4716395"/>
              <a:gd name="connsiteX1" fmla="*/ 1500727 w 9014774"/>
              <a:gd name="connsiteY1" fmla="*/ 4346684 h 4716395"/>
              <a:gd name="connsiteX2" fmla="*/ 2788036 w 9014774"/>
              <a:gd name="connsiteY2" fmla="*/ 3073851 h 4716395"/>
              <a:gd name="connsiteX3" fmla="*/ 4202166 w 9014774"/>
              <a:gd name="connsiteY3" fmla="*/ 2808037 h 4716395"/>
              <a:gd name="connsiteX4" fmla="*/ 5174824 w 9014774"/>
              <a:gd name="connsiteY4" fmla="*/ 3749573 h 4716395"/>
              <a:gd name="connsiteX5" fmla="*/ 4203274 w 9014774"/>
              <a:gd name="connsiteY5" fmla="*/ 4716360 h 4716395"/>
              <a:gd name="connsiteX6" fmla="*/ 3256644 w 9014774"/>
              <a:gd name="connsiteY6" fmla="*/ 3722437 h 4716395"/>
              <a:gd name="connsiteX7" fmla="*/ 4191533 w 9014774"/>
              <a:gd name="connsiteY7" fmla="*/ 2808037 h 4716395"/>
              <a:gd name="connsiteX8" fmla="*/ 5988436 w 9014774"/>
              <a:gd name="connsiteY8" fmla="*/ 2744242 h 4716395"/>
              <a:gd name="connsiteX9" fmla="*/ 9014774 w 9014774"/>
              <a:gd name="connsiteY9" fmla="*/ 0 h 4716395"/>
              <a:gd name="connsiteX0" fmla="*/ 0 w 9014774"/>
              <a:gd name="connsiteY0" fmla="*/ 4573900 h 4933107"/>
              <a:gd name="connsiteX1" fmla="*/ 1500727 w 9014774"/>
              <a:gd name="connsiteY1" fmla="*/ 4563396 h 4933107"/>
              <a:gd name="connsiteX2" fmla="*/ 2788036 w 9014774"/>
              <a:gd name="connsiteY2" fmla="*/ 3290563 h 4933107"/>
              <a:gd name="connsiteX3" fmla="*/ 4202166 w 9014774"/>
              <a:gd name="connsiteY3" fmla="*/ 3024749 h 4933107"/>
              <a:gd name="connsiteX4" fmla="*/ 5174824 w 9014774"/>
              <a:gd name="connsiteY4" fmla="*/ 3966285 h 4933107"/>
              <a:gd name="connsiteX5" fmla="*/ 4203274 w 9014774"/>
              <a:gd name="connsiteY5" fmla="*/ 4933072 h 4933107"/>
              <a:gd name="connsiteX6" fmla="*/ 3256644 w 9014774"/>
              <a:gd name="connsiteY6" fmla="*/ 3939149 h 4933107"/>
              <a:gd name="connsiteX7" fmla="*/ 4191533 w 9014774"/>
              <a:gd name="connsiteY7" fmla="*/ 3024749 h 4933107"/>
              <a:gd name="connsiteX8" fmla="*/ 5988436 w 9014774"/>
              <a:gd name="connsiteY8" fmla="*/ 2960954 h 4933107"/>
              <a:gd name="connsiteX9" fmla="*/ 9014774 w 9014774"/>
              <a:gd name="connsiteY9" fmla="*/ 0 h 4933107"/>
              <a:gd name="connsiteX0" fmla="*/ 0 w 8752859"/>
              <a:gd name="connsiteY0" fmla="*/ 3002407 h 3361614"/>
              <a:gd name="connsiteX1" fmla="*/ 1500727 w 8752859"/>
              <a:gd name="connsiteY1" fmla="*/ 2991903 h 3361614"/>
              <a:gd name="connsiteX2" fmla="*/ 2788036 w 8752859"/>
              <a:gd name="connsiteY2" fmla="*/ 1719070 h 3361614"/>
              <a:gd name="connsiteX3" fmla="*/ 4202166 w 8752859"/>
              <a:gd name="connsiteY3" fmla="*/ 1453256 h 3361614"/>
              <a:gd name="connsiteX4" fmla="*/ 5174824 w 8752859"/>
              <a:gd name="connsiteY4" fmla="*/ 2394792 h 3361614"/>
              <a:gd name="connsiteX5" fmla="*/ 4203274 w 8752859"/>
              <a:gd name="connsiteY5" fmla="*/ 3361579 h 3361614"/>
              <a:gd name="connsiteX6" fmla="*/ 3256644 w 8752859"/>
              <a:gd name="connsiteY6" fmla="*/ 2367656 h 3361614"/>
              <a:gd name="connsiteX7" fmla="*/ 4191533 w 8752859"/>
              <a:gd name="connsiteY7" fmla="*/ 1453256 h 3361614"/>
              <a:gd name="connsiteX8" fmla="*/ 5988436 w 8752859"/>
              <a:gd name="connsiteY8" fmla="*/ 1389461 h 3361614"/>
              <a:gd name="connsiteX9" fmla="*/ 8752859 w 8752859"/>
              <a:gd name="connsiteY9" fmla="*/ 0 h 3361614"/>
              <a:gd name="connsiteX0" fmla="*/ 0 w 8753217"/>
              <a:gd name="connsiteY0" fmla="*/ 3002407 h 3361614"/>
              <a:gd name="connsiteX1" fmla="*/ 1500727 w 8753217"/>
              <a:gd name="connsiteY1" fmla="*/ 2991903 h 3361614"/>
              <a:gd name="connsiteX2" fmla="*/ 2788036 w 8753217"/>
              <a:gd name="connsiteY2" fmla="*/ 1719070 h 3361614"/>
              <a:gd name="connsiteX3" fmla="*/ 4202166 w 8753217"/>
              <a:gd name="connsiteY3" fmla="*/ 1453256 h 3361614"/>
              <a:gd name="connsiteX4" fmla="*/ 5174824 w 8753217"/>
              <a:gd name="connsiteY4" fmla="*/ 2394792 h 3361614"/>
              <a:gd name="connsiteX5" fmla="*/ 4203274 w 8753217"/>
              <a:gd name="connsiteY5" fmla="*/ 3361579 h 3361614"/>
              <a:gd name="connsiteX6" fmla="*/ 3256644 w 8753217"/>
              <a:gd name="connsiteY6" fmla="*/ 2367656 h 3361614"/>
              <a:gd name="connsiteX7" fmla="*/ 4191533 w 8753217"/>
              <a:gd name="connsiteY7" fmla="*/ 1453256 h 3361614"/>
              <a:gd name="connsiteX8" fmla="*/ 5988436 w 8753217"/>
              <a:gd name="connsiteY8" fmla="*/ 1389461 h 3361614"/>
              <a:gd name="connsiteX9" fmla="*/ 8752859 w 8753217"/>
              <a:gd name="connsiteY9" fmla="*/ 0 h 3361614"/>
              <a:gd name="connsiteX0" fmla="*/ 0 w 7252490"/>
              <a:gd name="connsiteY0" fmla="*/ 2991903 h 3361614"/>
              <a:gd name="connsiteX1" fmla="*/ 1287309 w 7252490"/>
              <a:gd name="connsiteY1" fmla="*/ 1719070 h 3361614"/>
              <a:gd name="connsiteX2" fmla="*/ 2701439 w 7252490"/>
              <a:gd name="connsiteY2" fmla="*/ 1453256 h 3361614"/>
              <a:gd name="connsiteX3" fmla="*/ 3674097 w 7252490"/>
              <a:gd name="connsiteY3" fmla="*/ 2394792 h 3361614"/>
              <a:gd name="connsiteX4" fmla="*/ 2702547 w 7252490"/>
              <a:gd name="connsiteY4" fmla="*/ 3361579 h 3361614"/>
              <a:gd name="connsiteX5" fmla="*/ 1755917 w 7252490"/>
              <a:gd name="connsiteY5" fmla="*/ 2367656 h 3361614"/>
              <a:gd name="connsiteX6" fmla="*/ 2690806 w 7252490"/>
              <a:gd name="connsiteY6" fmla="*/ 1453256 h 3361614"/>
              <a:gd name="connsiteX7" fmla="*/ 4487709 w 7252490"/>
              <a:gd name="connsiteY7" fmla="*/ 1389461 h 3361614"/>
              <a:gd name="connsiteX8" fmla="*/ 7252132 w 7252490"/>
              <a:gd name="connsiteY8" fmla="*/ 0 h 3361614"/>
              <a:gd name="connsiteX0" fmla="*/ 0 w 5965181"/>
              <a:gd name="connsiteY0" fmla="*/ 1719070 h 3361614"/>
              <a:gd name="connsiteX1" fmla="*/ 1414130 w 5965181"/>
              <a:gd name="connsiteY1" fmla="*/ 1453256 h 3361614"/>
              <a:gd name="connsiteX2" fmla="*/ 2386788 w 5965181"/>
              <a:gd name="connsiteY2" fmla="*/ 2394792 h 3361614"/>
              <a:gd name="connsiteX3" fmla="*/ 1415238 w 5965181"/>
              <a:gd name="connsiteY3" fmla="*/ 3361579 h 3361614"/>
              <a:gd name="connsiteX4" fmla="*/ 468608 w 5965181"/>
              <a:gd name="connsiteY4" fmla="*/ 2367656 h 3361614"/>
              <a:gd name="connsiteX5" fmla="*/ 1403497 w 5965181"/>
              <a:gd name="connsiteY5" fmla="*/ 1453256 h 3361614"/>
              <a:gd name="connsiteX6" fmla="*/ 3200400 w 5965181"/>
              <a:gd name="connsiteY6" fmla="*/ 1389461 h 3361614"/>
              <a:gd name="connsiteX7" fmla="*/ 5964823 w 5965181"/>
              <a:gd name="connsiteY7" fmla="*/ 0 h 336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65181" h="3361614">
                <a:moveTo>
                  <a:pt x="0" y="1719070"/>
                </a:moveTo>
                <a:cubicBezTo>
                  <a:pt x="450240" y="1462629"/>
                  <a:pt x="911556" y="1345399"/>
                  <a:pt x="1414130" y="1453256"/>
                </a:cubicBezTo>
                <a:cubicBezTo>
                  <a:pt x="1916704" y="1561113"/>
                  <a:pt x="2391365" y="1757305"/>
                  <a:pt x="2386788" y="2394792"/>
                </a:cubicBezTo>
                <a:cubicBezTo>
                  <a:pt x="2382211" y="3032279"/>
                  <a:pt x="2015923" y="3356577"/>
                  <a:pt x="1415238" y="3361579"/>
                </a:cubicBezTo>
                <a:cubicBezTo>
                  <a:pt x="814553" y="3366581"/>
                  <a:pt x="470565" y="2842873"/>
                  <a:pt x="468608" y="2367656"/>
                </a:cubicBezTo>
                <a:cubicBezTo>
                  <a:pt x="466651" y="1892439"/>
                  <a:pt x="886285" y="1499923"/>
                  <a:pt x="1403497" y="1453256"/>
                </a:cubicBezTo>
                <a:cubicBezTo>
                  <a:pt x="1920709" y="1406589"/>
                  <a:pt x="2675156" y="1551319"/>
                  <a:pt x="3200400" y="1389461"/>
                </a:cubicBezTo>
                <a:cubicBezTo>
                  <a:pt x="3725644" y="1227603"/>
                  <a:pt x="5997929" y="837323"/>
                  <a:pt x="5964823" y="0"/>
                </a:cubicBezTo>
              </a:path>
            </a:pathLst>
          </a:custGeom>
          <a:noFill/>
          <a:ln w="101600">
            <a:solidFill>
              <a:srgbClr val="EA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FFFFFF"/>
              </a:solidFill>
              <a:effectLst/>
              <a:uLnTx/>
              <a:uFillTx/>
              <a:latin typeface="Apis" panose="020B0504010101010104" pitchFamily="34" charset="0"/>
              <a:ea typeface="+mn-ea"/>
              <a:cs typeface="+mn-cs"/>
            </a:endParaRPr>
          </a:p>
        </p:txBody>
      </p:sp>
      <p:sp>
        <p:nvSpPr>
          <p:cNvPr id="4" name="Title 3">
            <a:extLst>
              <a:ext uri="{FF2B5EF4-FFF2-40B4-BE49-F238E27FC236}">
                <a16:creationId xmlns:a16="http://schemas.microsoft.com/office/drawing/2014/main" id="{19428525-7664-4B9E-B7C7-83D6B24D1FED}"/>
              </a:ext>
            </a:extLst>
          </p:cNvPr>
          <p:cNvSpPr>
            <a:spLocks noGrp="1"/>
          </p:cNvSpPr>
          <p:nvPr>
            <p:ph type="title"/>
          </p:nvPr>
        </p:nvSpPr>
        <p:spPr>
          <a:xfrm>
            <a:off x="653034" y="650106"/>
            <a:ext cx="10896000" cy="1296000"/>
          </a:xfrm>
        </p:spPr>
        <p:txBody>
          <a:bodyPr/>
          <a:lstStyle/>
          <a:p>
            <a:r>
              <a:rPr lang="en-GB" sz="3200" dirty="0"/>
              <a:t>Alice Burckhardt</a:t>
            </a:r>
          </a:p>
        </p:txBody>
      </p:sp>
      <p:sp>
        <p:nvSpPr>
          <p:cNvPr id="5" name="Subtitle 4">
            <a:extLst>
              <a:ext uri="{FF2B5EF4-FFF2-40B4-BE49-F238E27FC236}">
                <a16:creationId xmlns:a16="http://schemas.microsoft.com/office/drawing/2014/main" id="{861595B9-F560-4224-AD11-EABBF28B8CD3}"/>
              </a:ext>
            </a:extLst>
          </p:cNvPr>
          <p:cNvSpPr>
            <a:spLocks noGrp="1"/>
          </p:cNvSpPr>
          <p:nvPr>
            <p:ph type="subTitle" idx="14"/>
          </p:nvPr>
        </p:nvSpPr>
        <p:spPr>
          <a:xfrm>
            <a:off x="642966" y="1184101"/>
            <a:ext cx="11347200" cy="266301"/>
          </a:xfrm>
        </p:spPr>
        <p:txBody>
          <a:bodyPr/>
          <a:lstStyle/>
          <a:p>
            <a:pPr>
              <a:spcBef>
                <a:spcPts val="0"/>
              </a:spcBef>
              <a:spcAft>
                <a:spcPts val="0"/>
              </a:spcAft>
              <a:defRPr/>
            </a:pPr>
            <a:r>
              <a:rPr lang="en-GB" sz="1600" spc="0" dirty="0">
                <a:solidFill>
                  <a:srgbClr val="001965"/>
                </a:solidFill>
              </a:rPr>
              <a:t>Global Business Processes Graduate</a:t>
            </a:r>
          </a:p>
        </p:txBody>
      </p:sp>
      <p:grpSp>
        <p:nvGrpSpPr>
          <p:cNvPr id="22" name="Group 21">
            <a:extLst>
              <a:ext uri="{FF2B5EF4-FFF2-40B4-BE49-F238E27FC236}">
                <a16:creationId xmlns:a16="http://schemas.microsoft.com/office/drawing/2014/main" id="{6A8DCEE9-35F2-42F7-822F-BF33ABFA56DA}"/>
              </a:ext>
            </a:extLst>
          </p:cNvPr>
          <p:cNvGrpSpPr/>
          <p:nvPr/>
        </p:nvGrpSpPr>
        <p:grpSpPr>
          <a:xfrm>
            <a:off x="3179335" y="1884610"/>
            <a:ext cx="3218641" cy="3218641"/>
            <a:chOff x="3131920" y="1884610"/>
            <a:chExt cx="3218641" cy="3218641"/>
          </a:xfrm>
        </p:grpSpPr>
        <p:grpSp>
          <p:nvGrpSpPr>
            <p:cNvPr id="14" name="Group 26"/>
            <p:cNvGrpSpPr>
              <a:grpSpLocks/>
            </p:cNvGrpSpPr>
            <p:nvPr/>
          </p:nvGrpSpPr>
          <p:grpSpPr bwMode="auto">
            <a:xfrm>
              <a:off x="3760251" y="3064282"/>
              <a:ext cx="1780683" cy="637406"/>
              <a:chOff x="2255508" y="606978"/>
              <a:chExt cx="1138326" cy="406670"/>
            </a:xfrm>
          </p:grpSpPr>
          <p:sp>
            <p:nvSpPr>
              <p:cNvPr id="15" name="Text Box 9"/>
              <p:cNvSpPr txBox="1">
                <a:spLocks noChangeAspect="1" noChangeArrowheads="1"/>
              </p:cNvSpPr>
              <p:nvPr/>
            </p:nvSpPr>
            <p:spPr bwMode="auto">
              <a:xfrm>
                <a:off x="2255508" y="606978"/>
                <a:ext cx="1055948" cy="183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rPr>
                  <a:t>Theme #2</a:t>
                </a:r>
              </a:p>
            </p:txBody>
          </p:sp>
          <p:sp>
            <p:nvSpPr>
              <p:cNvPr id="16" name="Text Box 11"/>
              <p:cNvSpPr txBox="1">
                <a:spLocks noChangeAspect="1" noChangeArrowheads="1"/>
              </p:cNvSpPr>
              <p:nvPr/>
            </p:nvSpPr>
            <p:spPr bwMode="auto">
              <a:xfrm>
                <a:off x="2255508" y="882779"/>
                <a:ext cx="1138326" cy="130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r>
                  <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rPr>
                  <a:t>Add text</a:t>
                </a:r>
              </a:p>
            </p:txBody>
          </p:sp>
        </p:grpSp>
        <p:sp>
          <p:nvSpPr>
            <p:cNvPr id="8" name="Freeform 6"/>
            <p:cNvSpPr>
              <a:spLocks/>
            </p:cNvSpPr>
            <p:nvPr/>
          </p:nvSpPr>
          <p:spPr bwMode="auto">
            <a:xfrm>
              <a:off x="3131920" y="1884610"/>
              <a:ext cx="3218641" cy="3218641"/>
            </a:xfrm>
            <a:custGeom>
              <a:avLst/>
              <a:gdLst>
                <a:gd name="T0" fmla="*/ 1296 w 1296"/>
                <a:gd name="T1" fmla="*/ 682 h 1296"/>
                <a:gd name="T2" fmla="*/ 1284 w 1296"/>
                <a:gd name="T3" fmla="*/ 780 h 1296"/>
                <a:gd name="T4" fmla="*/ 1257 w 1296"/>
                <a:gd name="T5" fmla="*/ 871 h 1296"/>
                <a:gd name="T6" fmla="*/ 1219 w 1296"/>
                <a:gd name="T7" fmla="*/ 957 h 1296"/>
                <a:gd name="T8" fmla="*/ 1168 w 1296"/>
                <a:gd name="T9" fmla="*/ 1037 h 1296"/>
                <a:gd name="T10" fmla="*/ 1107 w 1296"/>
                <a:gd name="T11" fmla="*/ 1107 h 1296"/>
                <a:gd name="T12" fmla="*/ 1037 w 1296"/>
                <a:gd name="T13" fmla="*/ 1169 h 1296"/>
                <a:gd name="T14" fmla="*/ 957 w 1296"/>
                <a:gd name="T15" fmla="*/ 1219 h 1296"/>
                <a:gd name="T16" fmla="*/ 871 w 1296"/>
                <a:gd name="T17" fmla="*/ 1257 h 1296"/>
                <a:gd name="T18" fmla="*/ 780 w 1296"/>
                <a:gd name="T19" fmla="*/ 1285 h 1296"/>
                <a:gd name="T20" fmla="*/ 682 w 1296"/>
                <a:gd name="T21" fmla="*/ 1296 h 1296"/>
                <a:gd name="T22" fmla="*/ 616 w 1296"/>
                <a:gd name="T23" fmla="*/ 1296 h 1296"/>
                <a:gd name="T24" fmla="*/ 518 w 1296"/>
                <a:gd name="T25" fmla="*/ 1285 h 1296"/>
                <a:gd name="T26" fmla="*/ 425 w 1296"/>
                <a:gd name="T27" fmla="*/ 1257 h 1296"/>
                <a:gd name="T28" fmla="*/ 341 w 1296"/>
                <a:gd name="T29" fmla="*/ 1219 h 1296"/>
                <a:gd name="T30" fmla="*/ 262 w 1296"/>
                <a:gd name="T31" fmla="*/ 1169 h 1296"/>
                <a:gd name="T32" fmla="*/ 191 w 1296"/>
                <a:gd name="T33" fmla="*/ 1107 h 1296"/>
                <a:gd name="T34" fmla="*/ 130 w 1296"/>
                <a:gd name="T35" fmla="*/ 1037 h 1296"/>
                <a:gd name="T36" fmla="*/ 80 w 1296"/>
                <a:gd name="T37" fmla="*/ 957 h 1296"/>
                <a:gd name="T38" fmla="*/ 41 w 1296"/>
                <a:gd name="T39" fmla="*/ 871 h 1296"/>
                <a:gd name="T40" fmla="*/ 14 w 1296"/>
                <a:gd name="T41" fmla="*/ 780 h 1296"/>
                <a:gd name="T42" fmla="*/ 2 w 1296"/>
                <a:gd name="T43" fmla="*/ 682 h 1296"/>
                <a:gd name="T44" fmla="*/ 2 w 1296"/>
                <a:gd name="T45" fmla="*/ 616 h 1296"/>
                <a:gd name="T46" fmla="*/ 14 w 1296"/>
                <a:gd name="T47" fmla="*/ 518 h 1296"/>
                <a:gd name="T48" fmla="*/ 41 w 1296"/>
                <a:gd name="T49" fmla="*/ 425 h 1296"/>
                <a:gd name="T50" fmla="*/ 80 w 1296"/>
                <a:gd name="T51" fmla="*/ 341 h 1296"/>
                <a:gd name="T52" fmla="*/ 130 w 1296"/>
                <a:gd name="T53" fmla="*/ 261 h 1296"/>
                <a:gd name="T54" fmla="*/ 191 w 1296"/>
                <a:gd name="T55" fmla="*/ 191 h 1296"/>
                <a:gd name="T56" fmla="*/ 262 w 1296"/>
                <a:gd name="T57" fmla="*/ 130 h 1296"/>
                <a:gd name="T58" fmla="*/ 341 w 1296"/>
                <a:gd name="T59" fmla="*/ 80 h 1296"/>
                <a:gd name="T60" fmla="*/ 425 w 1296"/>
                <a:gd name="T61" fmla="*/ 41 h 1296"/>
                <a:gd name="T62" fmla="*/ 518 w 1296"/>
                <a:gd name="T63" fmla="*/ 14 h 1296"/>
                <a:gd name="T64" fmla="*/ 616 w 1296"/>
                <a:gd name="T65" fmla="*/ 2 h 1296"/>
                <a:gd name="T66" fmla="*/ 682 w 1296"/>
                <a:gd name="T67" fmla="*/ 2 h 1296"/>
                <a:gd name="T68" fmla="*/ 780 w 1296"/>
                <a:gd name="T69" fmla="*/ 14 h 1296"/>
                <a:gd name="T70" fmla="*/ 871 w 1296"/>
                <a:gd name="T71" fmla="*/ 41 h 1296"/>
                <a:gd name="T72" fmla="*/ 957 w 1296"/>
                <a:gd name="T73" fmla="*/ 80 h 1296"/>
                <a:gd name="T74" fmla="*/ 1037 w 1296"/>
                <a:gd name="T75" fmla="*/ 130 h 1296"/>
                <a:gd name="T76" fmla="*/ 1107 w 1296"/>
                <a:gd name="T77" fmla="*/ 191 h 1296"/>
                <a:gd name="T78" fmla="*/ 1168 w 1296"/>
                <a:gd name="T79" fmla="*/ 261 h 1296"/>
                <a:gd name="T80" fmla="*/ 1219 w 1296"/>
                <a:gd name="T81" fmla="*/ 341 h 1296"/>
                <a:gd name="T82" fmla="*/ 1257 w 1296"/>
                <a:gd name="T83" fmla="*/ 425 h 1296"/>
                <a:gd name="T84" fmla="*/ 1284 w 1296"/>
                <a:gd name="T85" fmla="*/ 518 h 1296"/>
                <a:gd name="T86" fmla="*/ 1296 w 1296"/>
                <a:gd name="T87" fmla="*/ 616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96" h="1296">
                  <a:moveTo>
                    <a:pt x="1296" y="648"/>
                  </a:moveTo>
                  <a:lnTo>
                    <a:pt x="1296" y="648"/>
                  </a:lnTo>
                  <a:lnTo>
                    <a:pt x="1296" y="682"/>
                  </a:lnTo>
                  <a:lnTo>
                    <a:pt x="1294" y="716"/>
                  </a:lnTo>
                  <a:lnTo>
                    <a:pt x="1289" y="748"/>
                  </a:lnTo>
                  <a:lnTo>
                    <a:pt x="1284" y="780"/>
                  </a:lnTo>
                  <a:lnTo>
                    <a:pt x="1275" y="812"/>
                  </a:lnTo>
                  <a:lnTo>
                    <a:pt x="1269" y="841"/>
                  </a:lnTo>
                  <a:lnTo>
                    <a:pt x="1257" y="871"/>
                  </a:lnTo>
                  <a:lnTo>
                    <a:pt x="1246" y="900"/>
                  </a:lnTo>
                  <a:lnTo>
                    <a:pt x="1232" y="930"/>
                  </a:lnTo>
                  <a:lnTo>
                    <a:pt x="1219" y="957"/>
                  </a:lnTo>
                  <a:lnTo>
                    <a:pt x="1203" y="985"/>
                  </a:lnTo>
                  <a:lnTo>
                    <a:pt x="1187" y="1012"/>
                  </a:lnTo>
                  <a:lnTo>
                    <a:pt x="1168" y="1037"/>
                  </a:lnTo>
                  <a:lnTo>
                    <a:pt x="1148" y="1062"/>
                  </a:lnTo>
                  <a:lnTo>
                    <a:pt x="1128" y="1085"/>
                  </a:lnTo>
                  <a:lnTo>
                    <a:pt x="1107" y="1107"/>
                  </a:lnTo>
                  <a:lnTo>
                    <a:pt x="1084" y="1128"/>
                  </a:lnTo>
                  <a:lnTo>
                    <a:pt x="1062" y="1148"/>
                  </a:lnTo>
                  <a:lnTo>
                    <a:pt x="1037" y="1169"/>
                  </a:lnTo>
                  <a:lnTo>
                    <a:pt x="1012" y="1187"/>
                  </a:lnTo>
                  <a:lnTo>
                    <a:pt x="984" y="1203"/>
                  </a:lnTo>
                  <a:lnTo>
                    <a:pt x="957" y="1219"/>
                  </a:lnTo>
                  <a:lnTo>
                    <a:pt x="930" y="1232"/>
                  </a:lnTo>
                  <a:lnTo>
                    <a:pt x="900" y="1246"/>
                  </a:lnTo>
                  <a:lnTo>
                    <a:pt x="871" y="1257"/>
                  </a:lnTo>
                  <a:lnTo>
                    <a:pt x="841" y="1269"/>
                  </a:lnTo>
                  <a:lnTo>
                    <a:pt x="812" y="1276"/>
                  </a:lnTo>
                  <a:lnTo>
                    <a:pt x="780" y="1285"/>
                  </a:lnTo>
                  <a:lnTo>
                    <a:pt x="748" y="1289"/>
                  </a:lnTo>
                  <a:lnTo>
                    <a:pt x="716" y="1294"/>
                  </a:lnTo>
                  <a:lnTo>
                    <a:pt x="682" y="1296"/>
                  </a:lnTo>
                  <a:lnTo>
                    <a:pt x="648" y="1296"/>
                  </a:lnTo>
                  <a:lnTo>
                    <a:pt x="648" y="1296"/>
                  </a:lnTo>
                  <a:lnTo>
                    <a:pt x="616" y="1296"/>
                  </a:lnTo>
                  <a:lnTo>
                    <a:pt x="582" y="1294"/>
                  </a:lnTo>
                  <a:lnTo>
                    <a:pt x="550" y="1289"/>
                  </a:lnTo>
                  <a:lnTo>
                    <a:pt x="518" y="1285"/>
                  </a:lnTo>
                  <a:lnTo>
                    <a:pt x="487" y="1276"/>
                  </a:lnTo>
                  <a:lnTo>
                    <a:pt x="457" y="1269"/>
                  </a:lnTo>
                  <a:lnTo>
                    <a:pt x="425" y="1257"/>
                  </a:lnTo>
                  <a:lnTo>
                    <a:pt x="396" y="1246"/>
                  </a:lnTo>
                  <a:lnTo>
                    <a:pt x="368" y="1232"/>
                  </a:lnTo>
                  <a:lnTo>
                    <a:pt x="341" y="1219"/>
                  </a:lnTo>
                  <a:lnTo>
                    <a:pt x="314" y="1203"/>
                  </a:lnTo>
                  <a:lnTo>
                    <a:pt x="287" y="1187"/>
                  </a:lnTo>
                  <a:lnTo>
                    <a:pt x="262" y="1169"/>
                  </a:lnTo>
                  <a:lnTo>
                    <a:pt x="237" y="1148"/>
                  </a:lnTo>
                  <a:lnTo>
                    <a:pt x="214" y="1128"/>
                  </a:lnTo>
                  <a:lnTo>
                    <a:pt x="191" y="1107"/>
                  </a:lnTo>
                  <a:lnTo>
                    <a:pt x="168" y="1085"/>
                  </a:lnTo>
                  <a:lnTo>
                    <a:pt x="148" y="1062"/>
                  </a:lnTo>
                  <a:lnTo>
                    <a:pt x="130" y="1037"/>
                  </a:lnTo>
                  <a:lnTo>
                    <a:pt x="111" y="1012"/>
                  </a:lnTo>
                  <a:lnTo>
                    <a:pt x="96" y="985"/>
                  </a:lnTo>
                  <a:lnTo>
                    <a:pt x="80" y="957"/>
                  </a:lnTo>
                  <a:lnTo>
                    <a:pt x="64" y="930"/>
                  </a:lnTo>
                  <a:lnTo>
                    <a:pt x="52" y="900"/>
                  </a:lnTo>
                  <a:lnTo>
                    <a:pt x="41" y="871"/>
                  </a:lnTo>
                  <a:lnTo>
                    <a:pt x="30" y="841"/>
                  </a:lnTo>
                  <a:lnTo>
                    <a:pt x="21" y="812"/>
                  </a:lnTo>
                  <a:lnTo>
                    <a:pt x="14" y="780"/>
                  </a:lnTo>
                  <a:lnTo>
                    <a:pt x="9" y="748"/>
                  </a:lnTo>
                  <a:lnTo>
                    <a:pt x="5" y="716"/>
                  </a:lnTo>
                  <a:lnTo>
                    <a:pt x="2" y="682"/>
                  </a:lnTo>
                  <a:lnTo>
                    <a:pt x="0" y="648"/>
                  </a:lnTo>
                  <a:lnTo>
                    <a:pt x="0" y="648"/>
                  </a:lnTo>
                  <a:lnTo>
                    <a:pt x="2" y="616"/>
                  </a:lnTo>
                  <a:lnTo>
                    <a:pt x="5" y="582"/>
                  </a:lnTo>
                  <a:lnTo>
                    <a:pt x="9" y="550"/>
                  </a:lnTo>
                  <a:lnTo>
                    <a:pt x="14" y="518"/>
                  </a:lnTo>
                  <a:lnTo>
                    <a:pt x="21" y="487"/>
                  </a:lnTo>
                  <a:lnTo>
                    <a:pt x="30" y="457"/>
                  </a:lnTo>
                  <a:lnTo>
                    <a:pt x="41" y="425"/>
                  </a:lnTo>
                  <a:lnTo>
                    <a:pt x="52" y="396"/>
                  </a:lnTo>
                  <a:lnTo>
                    <a:pt x="64" y="368"/>
                  </a:lnTo>
                  <a:lnTo>
                    <a:pt x="80" y="341"/>
                  </a:lnTo>
                  <a:lnTo>
                    <a:pt x="96" y="314"/>
                  </a:lnTo>
                  <a:lnTo>
                    <a:pt x="111" y="286"/>
                  </a:lnTo>
                  <a:lnTo>
                    <a:pt x="130" y="261"/>
                  </a:lnTo>
                  <a:lnTo>
                    <a:pt x="148" y="236"/>
                  </a:lnTo>
                  <a:lnTo>
                    <a:pt x="168" y="214"/>
                  </a:lnTo>
                  <a:lnTo>
                    <a:pt x="191" y="191"/>
                  </a:lnTo>
                  <a:lnTo>
                    <a:pt x="214" y="168"/>
                  </a:lnTo>
                  <a:lnTo>
                    <a:pt x="237" y="148"/>
                  </a:lnTo>
                  <a:lnTo>
                    <a:pt x="262" y="130"/>
                  </a:lnTo>
                  <a:lnTo>
                    <a:pt x="287" y="111"/>
                  </a:lnTo>
                  <a:lnTo>
                    <a:pt x="314" y="95"/>
                  </a:lnTo>
                  <a:lnTo>
                    <a:pt x="341" y="80"/>
                  </a:lnTo>
                  <a:lnTo>
                    <a:pt x="368" y="64"/>
                  </a:lnTo>
                  <a:lnTo>
                    <a:pt x="396" y="52"/>
                  </a:lnTo>
                  <a:lnTo>
                    <a:pt x="425" y="41"/>
                  </a:lnTo>
                  <a:lnTo>
                    <a:pt x="457" y="30"/>
                  </a:lnTo>
                  <a:lnTo>
                    <a:pt x="487" y="20"/>
                  </a:lnTo>
                  <a:lnTo>
                    <a:pt x="518" y="14"/>
                  </a:lnTo>
                  <a:lnTo>
                    <a:pt x="550" y="9"/>
                  </a:lnTo>
                  <a:lnTo>
                    <a:pt x="582" y="5"/>
                  </a:lnTo>
                  <a:lnTo>
                    <a:pt x="616" y="2"/>
                  </a:lnTo>
                  <a:lnTo>
                    <a:pt x="648" y="0"/>
                  </a:lnTo>
                  <a:lnTo>
                    <a:pt x="648" y="0"/>
                  </a:lnTo>
                  <a:lnTo>
                    <a:pt x="682" y="2"/>
                  </a:lnTo>
                  <a:lnTo>
                    <a:pt x="716" y="5"/>
                  </a:lnTo>
                  <a:lnTo>
                    <a:pt x="748" y="9"/>
                  </a:lnTo>
                  <a:lnTo>
                    <a:pt x="780" y="14"/>
                  </a:lnTo>
                  <a:lnTo>
                    <a:pt x="812" y="20"/>
                  </a:lnTo>
                  <a:lnTo>
                    <a:pt x="841" y="30"/>
                  </a:lnTo>
                  <a:lnTo>
                    <a:pt x="871" y="41"/>
                  </a:lnTo>
                  <a:lnTo>
                    <a:pt x="900" y="52"/>
                  </a:lnTo>
                  <a:lnTo>
                    <a:pt x="930" y="64"/>
                  </a:lnTo>
                  <a:lnTo>
                    <a:pt x="957" y="80"/>
                  </a:lnTo>
                  <a:lnTo>
                    <a:pt x="984" y="95"/>
                  </a:lnTo>
                  <a:lnTo>
                    <a:pt x="1012" y="111"/>
                  </a:lnTo>
                  <a:lnTo>
                    <a:pt x="1037" y="130"/>
                  </a:lnTo>
                  <a:lnTo>
                    <a:pt x="1062" y="148"/>
                  </a:lnTo>
                  <a:lnTo>
                    <a:pt x="1084" y="168"/>
                  </a:lnTo>
                  <a:lnTo>
                    <a:pt x="1107" y="191"/>
                  </a:lnTo>
                  <a:lnTo>
                    <a:pt x="1128" y="214"/>
                  </a:lnTo>
                  <a:lnTo>
                    <a:pt x="1148" y="236"/>
                  </a:lnTo>
                  <a:lnTo>
                    <a:pt x="1168" y="261"/>
                  </a:lnTo>
                  <a:lnTo>
                    <a:pt x="1187" y="286"/>
                  </a:lnTo>
                  <a:lnTo>
                    <a:pt x="1203" y="314"/>
                  </a:lnTo>
                  <a:lnTo>
                    <a:pt x="1219" y="341"/>
                  </a:lnTo>
                  <a:lnTo>
                    <a:pt x="1232" y="368"/>
                  </a:lnTo>
                  <a:lnTo>
                    <a:pt x="1246" y="396"/>
                  </a:lnTo>
                  <a:lnTo>
                    <a:pt x="1257" y="425"/>
                  </a:lnTo>
                  <a:lnTo>
                    <a:pt x="1269" y="457"/>
                  </a:lnTo>
                  <a:lnTo>
                    <a:pt x="1275" y="487"/>
                  </a:lnTo>
                  <a:lnTo>
                    <a:pt x="1284" y="518"/>
                  </a:lnTo>
                  <a:lnTo>
                    <a:pt x="1289" y="550"/>
                  </a:lnTo>
                  <a:lnTo>
                    <a:pt x="1294" y="582"/>
                  </a:lnTo>
                  <a:lnTo>
                    <a:pt x="1296" y="616"/>
                  </a:lnTo>
                  <a:lnTo>
                    <a:pt x="1296" y="648"/>
                  </a:lnTo>
                  <a:lnTo>
                    <a:pt x="1296" y="648"/>
                  </a:lnTo>
                  <a:close/>
                </a:path>
              </a:pathLst>
            </a:custGeom>
            <a:solidFill>
              <a:schemeClr val="bg1"/>
            </a:solidFill>
            <a:ln w="38100">
              <a:solidFill>
                <a:schemeClr val="accent5"/>
              </a:solidFill>
            </a:ln>
          </p:spPr>
          <p:txBody>
            <a:bodyPr/>
            <a:lstStyle/>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n-ea"/>
                <a:cs typeface="+mn-cs"/>
              </a:endParaRPr>
            </a:p>
          </p:txBody>
        </p:sp>
        <p:grpSp>
          <p:nvGrpSpPr>
            <p:cNvPr id="29" name="Group 26">
              <a:extLst>
                <a:ext uri="{FF2B5EF4-FFF2-40B4-BE49-F238E27FC236}">
                  <a16:creationId xmlns:a16="http://schemas.microsoft.com/office/drawing/2014/main" id="{5F4BD933-A8B8-43C2-B6C4-73CDED3A2A44}"/>
                </a:ext>
              </a:extLst>
            </p:cNvPr>
            <p:cNvGrpSpPr>
              <a:grpSpLocks/>
            </p:cNvGrpSpPr>
            <p:nvPr/>
          </p:nvGrpSpPr>
          <p:grpSpPr bwMode="auto">
            <a:xfrm>
              <a:off x="3609103" y="2444944"/>
              <a:ext cx="2698579" cy="669625"/>
              <a:chOff x="2248267" y="612836"/>
              <a:chExt cx="1288721" cy="427225"/>
            </a:xfrm>
          </p:grpSpPr>
          <p:sp>
            <p:nvSpPr>
              <p:cNvPr id="30" name="Text Box 9">
                <a:extLst>
                  <a:ext uri="{FF2B5EF4-FFF2-40B4-BE49-F238E27FC236}">
                    <a16:creationId xmlns:a16="http://schemas.microsoft.com/office/drawing/2014/main" id="{F327F490-11CC-49B2-9A73-878305AFDC5A}"/>
                  </a:ext>
                </a:extLst>
              </p:cNvPr>
              <p:cNvSpPr txBox="1">
                <a:spLocks noChangeAspect="1" noChangeArrowheads="1"/>
              </p:cNvSpPr>
              <p:nvPr/>
            </p:nvSpPr>
            <p:spPr bwMode="auto">
              <a:xfrm>
                <a:off x="2328383" y="612836"/>
                <a:ext cx="1055948" cy="15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1965"/>
                    </a:solidFill>
                    <a:effectLst/>
                    <a:uLnTx/>
                    <a:uFillTx/>
                    <a:latin typeface="+mn-lt"/>
                    <a:ea typeface="MS PGothic" pitchFamily="34" charset="-128"/>
                    <a:cs typeface="Apis" panose="020B0504010101010104" pitchFamily="34" charset="0"/>
                  </a:rPr>
                  <a:t>Career &amp; </a:t>
                </a:r>
                <a:r>
                  <a:rPr lang="en-GB" sz="1600" b="1" noProof="0" dirty="0">
                    <a:solidFill>
                      <a:srgbClr val="001965"/>
                    </a:solidFill>
                    <a:latin typeface="+mn-lt"/>
                    <a:ea typeface="MS PGothic" pitchFamily="34" charset="-128"/>
                    <a:cs typeface="Apis" panose="020B0504010101010104" pitchFamily="34" charset="0"/>
                  </a:rPr>
                  <a:t>Education</a:t>
                </a:r>
                <a:endParaRPr kumimoji="0" lang="en-GB" sz="1600" b="1" i="0" u="none" strike="noStrike" kern="1200" cap="none" spc="0" normalizeH="0" baseline="0" dirty="0">
                  <a:ln>
                    <a:noFill/>
                  </a:ln>
                  <a:solidFill>
                    <a:srgbClr val="001965"/>
                  </a:solidFill>
                  <a:effectLst/>
                  <a:uLnTx/>
                  <a:uFillTx/>
                  <a:latin typeface="+mn-lt"/>
                  <a:ea typeface="MS PGothic" pitchFamily="34" charset="-128"/>
                  <a:cs typeface="Apis" panose="020B0504010101010104" pitchFamily="34" charset="0"/>
                </a:endParaRPr>
              </a:p>
            </p:txBody>
          </p:sp>
          <p:sp>
            <p:nvSpPr>
              <p:cNvPr id="31" name="Text Box 11">
                <a:extLst>
                  <a:ext uri="{FF2B5EF4-FFF2-40B4-BE49-F238E27FC236}">
                    <a16:creationId xmlns:a16="http://schemas.microsoft.com/office/drawing/2014/main" id="{5C4A4276-5DF1-4C91-8D30-D963621BB1B8}"/>
                  </a:ext>
                </a:extLst>
              </p:cNvPr>
              <p:cNvSpPr txBox="1">
                <a:spLocks noChangeAspect="1" noChangeArrowheads="1"/>
              </p:cNvSpPr>
              <p:nvPr/>
            </p:nvSpPr>
            <p:spPr bwMode="auto">
              <a:xfrm>
                <a:off x="2248267" y="888820"/>
                <a:ext cx="1288721" cy="151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228594" lvl="0" indent="-228594" defTabSz="1354633" eaLnBrk="1" hangingPunct="1">
                  <a:lnSpc>
                    <a:spcPts val="2133"/>
                  </a:lnSpc>
                  <a:buClr>
                    <a:srgbClr val="001965"/>
                  </a:buClr>
                  <a:buFont typeface="Arial" panose="020B0604020202020204" pitchFamily="34" charset="0"/>
                  <a:buChar char="•"/>
                  <a:defRPr/>
                </a:pPr>
                <a:endParaRPr lang="en-GB" sz="1200" dirty="0">
                  <a:solidFill>
                    <a:srgbClr val="001965"/>
                  </a:solidFill>
                  <a:latin typeface="Apis" panose="020B0504010101010104" pitchFamily="34" charset="0"/>
                  <a:ea typeface="MS PGothic" pitchFamily="34" charset="-128"/>
                  <a:cs typeface="Apis" panose="020B0504010101010104" pitchFamily="34" charset="0"/>
                </a:endParaRPr>
              </a:p>
            </p:txBody>
          </p:sp>
        </p:grpSp>
      </p:grpSp>
      <p:grpSp>
        <p:nvGrpSpPr>
          <p:cNvPr id="7" name="Group 6">
            <a:extLst>
              <a:ext uri="{FF2B5EF4-FFF2-40B4-BE49-F238E27FC236}">
                <a16:creationId xmlns:a16="http://schemas.microsoft.com/office/drawing/2014/main" id="{C2E3F557-8C5E-451C-979F-63C3AE0DF2F6}"/>
              </a:ext>
            </a:extLst>
          </p:cNvPr>
          <p:cNvGrpSpPr/>
          <p:nvPr/>
        </p:nvGrpSpPr>
        <p:grpSpPr>
          <a:xfrm>
            <a:off x="642966" y="5736305"/>
            <a:ext cx="3112317" cy="420741"/>
            <a:chOff x="1010829" y="5736305"/>
            <a:chExt cx="3112317" cy="420741"/>
          </a:xfrm>
        </p:grpSpPr>
        <p:sp>
          <p:nvSpPr>
            <p:cNvPr id="34" name="Title 11">
              <a:extLst>
                <a:ext uri="{FF2B5EF4-FFF2-40B4-BE49-F238E27FC236}">
                  <a16:creationId xmlns:a16="http://schemas.microsoft.com/office/drawing/2014/main" id="{44726059-9066-4460-B843-220E8ACEC0D9}"/>
                </a:ext>
              </a:extLst>
            </p:cNvPr>
            <p:cNvSpPr txBox="1">
              <a:spLocks/>
            </p:cNvSpPr>
            <p:nvPr/>
          </p:nvSpPr>
          <p:spPr>
            <a:xfrm>
              <a:off x="1010829" y="5972380"/>
              <a:ext cx="3112317" cy="184666"/>
            </a:xfrm>
            <a:prstGeom prst="rect">
              <a:avLst/>
            </a:prstGeom>
            <a:solidFill>
              <a:schemeClr val="bg1"/>
            </a:solidFill>
          </p:spPr>
          <p:txBody>
            <a:bodyPr vert="horz" wrap="square" lIns="0" tIns="0" rIns="0" bIns="0" rtlCol="0" anchor="ctr" anchorCtr="0">
              <a:spAutoFit/>
            </a:bodyPr>
            <a:lst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a:lstStyle>
            <a:p>
              <a:r>
                <a:rPr lang="en-GB" sz="1200" dirty="0"/>
                <a:t>Email: naeb@novonordisk.com</a:t>
              </a:r>
              <a:endParaRPr lang="en-US" sz="1200" dirty="0"/>
            </a:p>
          </p:txBody>
        </p:sp>
        <p:sp>
          <p:nvSpPr>
            <p:cNvPr id="38" name="Title 11">
              <a:extLst>
                <a:ext uri="{FF2B5EF4-FFF2-40B4-BE49-F238E27FC236}">
                  <a16:creationId xmlns:a16="http://schemas.microsoft.com/office/drawing/2014/main" id="{108F163B-A960-47A4-BC49-0A35AB0BA28A}"/>
                </a:ext>
              </a:extLst>
            </p:cNvPr>
            <p:cNvSpPr txBox="1">
              <a:spLocks/>
            </p:cNvSpPr>
            <p:nvPr/>
          </p:nvSpPr>
          <p:spPr>
            <a:xfrm>
              <a:off x="1010829" y="5736305"/>
              <a:ext cx="3112317" cy="184666"/>
            </a:xfrm>
            <a:prstGeom prst="rect">
              <a:avLst/>
            </a:prstGeom>
            <a:solidFill>
              <a:schemeClr val="bg1"/>
            </a:solidFill>
          </p:spPr>
          <p:txBody>
            <a:bodyPr vert="horz" wrap="square" lIns="0" tIns="0" rIns="0" bIns="0" rtlCol="0" anchor="ctr" anchorCtr="0">
              <a:spAutoFit/>
            </a:bodyPr>
            <a:lst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a:lstStyle>
            <a:p>
              <a:r>
                <a:rPr lang="en-GB" sz="1200" dirty="0"/>
                <a:t>LinkedIn: /in/alice-burckhardt-190a74a3/</a:t>
              </a:r>
              <a:endParaRPr lang="en-US" sz="1200" dirty="0"/>
            </a:p>
          </p:txBody>
        </p:sp>
      </p:grpSp>
      <p:grpSp>
        <p:nvGrpSpPr>
          <p:cNvPr id="21" name="Group 20">
            <a:extLst>
              <a:ext uri="{FF2B5EF4-FFF2-40B4-BE49-F238E27FC236}">
                <a16:creationId xmlns:a16="http://schemas.microsoft.com/office/drawing/2014/main" id="{B02EBF00-F320-425E-B593-285C755E9B5A}"/>
              </a:ext>
            </a:extLst>
          </p:cNvPr>
          <p:cNvGrpSpPr/>
          <p:nvPr/>
        </p:nvGrpSpPr>
        <p:grpSpPr>
          <a:xfrm>
            <a:off x="5905117" y="1884610"/>
            <a:ext cx="3218641" cy="3218641"/>
            <a:chOff x="5841441" y="1884610"/>
            <a:chExt cx="3218641" cy="3218641"/>
          </a:xfrm>
        </p:grpSpPr>
        <p:grpSp>
          <p:nvGrpSpPr>
            <p:cNvPr id="17" name="Group 29"/>
            <p:cNvGrpSpPr>
              <a:grpSpLocks/>
            </p:cNvGrpSpPr>
            <p:nvPr/>
          </p:nvGrpSpPr>
          <p:grpSpPr bwMode="auto">
            <a:xfrm>
              <a:off x="6559177" y="3064282"/>
              <a:ext cx="1783167" cy="637406"/>
              <a:chOff x="2255508" y="606978"/>
              <a:chExt cx="1138326" cy="406670"/>
            </a:xfrm>
          </p:grpSpPr>
          <p:sp>
            <p:nvSpPr>
              <p:cNvPr id="18" name="Text Box 9"/>
              <p:cNvSpPr txBox="1">
                <a:spLocks noChangeAspect="1" noChangeArrowheads="1"/>
              </p:cNvSpPr>
              <p:nvPr/>
            </p:nvSpPr>
            <p:spPr bwMode="auto">
              <a:xfrm>
                <a:off x="2255508" y="606978"/>
                <a:ext cx="1055948" cy="183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rPr>
                  <a:t>Theme #3</a:t>
                </a:r>
              </a:p>
            </p:txBody>
          </p:sp>
          <p:sp>
            <p:nvSpPr>
              <p:cNvPr id="19" name="Text Box 11"/>
              <p:cNvSpPr txBox="1">
                <a:spLocks noChangeAspect="1" noChangeArrowheads="1"/>
              </p:cNvSpPr>
              <p:nvPr/>
            </p:nvSpPr>
            <p:spPr bwMode="auto">
              <a:xfrm>
                <a:off x="2255508" y="882779"/>
                <a:ext cx="1138326" cy="130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r>
                  <a:rPr kumimoji="0" lang="en-GB" sz="1333"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rPr>
                  <a:t>Add text</a:t>
                </a:r>
              </a:p>
            </p:txBody>
          </p:sp>
        </p:grpSp>
        <p:sp>
          <p:nvSpPr>
            <p:cNvPr id="9" name="Freeform 7"/>
            <p:cNvSpPr>
              <a:spLocks/>
            </p:cNvSpPr>
            <p:nvPr/>
          </p:nvSpPr>
          <p:spPr bwMode="auto">
            <a:xfrm>
              <a:off x="5841441" y="1884610"/>
              <a:ext cx="3218641" cy="3218641"/>
            </a:xfrm>
            <a:custGeom>
              <a:avLst/>
              <a:gdLst>
                <a:gd name="T0" fmla="*/ 1296 w 1296"/>
                <a:gd name="T1" fmla="*/ 682 h 1296"/>
                <a:gd name="T2" fmla="*/ 1285 w 1296"/>
                <a:gd name="T3" fmla="*/ 780 h 1296"/>
                <a:gd name="T4" fmla="*/ 1257 w 1296"/>
                <a:gd name="T5" fmla="*/ 871 h 1296"/>
                <a:gd name="T6" fmla="*/ 1219 w 1296"/>
                <a:gd name="T7" fmla="*/ 957 h 1296"/>
                <a:gd name="T8" fmla="*/ 1169 w 1296"/>
                <a:gd name="T9" fmla="*/ 1037 h 1296"/>
                <a:gd name="T10" fmla="*/ 1107 w 1296"/>
                <a:gd name="T11" fmla="*/ 1107 h 1296"/>
                <a:gd name="T12" fmla="*/ 1037 w 1296"/>
                <a:gd name="T13" fmla="*/ 1169 h 1296"/>
                <a:gd name="T14" fmla="*/ 957 w 1296"/>
                <a:gd name="T15" fmla="*/ 1219 h 1296"/>
                <a:gd name="T16" fmla="*/ 871 w 1296"/>
                <a:gd name="T17" fmla="*/ 1257 h 1296"/>
                <a:gd name="T18" fmla="*/ 780 w 1296"/>
                <a:gd name="T19" fmla="*/ 1285 h 1296"/>
                <a:gd name="T20" fmla="*/ 682 w 1296"/>
                <a:gd name="T21" fmla="*/ 1296 h 1296"/>
                <a:gd name="T22" fmla="*/ 616 w 1296"/>
                <a:gd name="T23" fmla="*/ 1296 h 1296"/>
                <a:gd name="T24" fmla="*/ 518 w 1296"/>
                <a:gd name="T25" fmla="*/ 1285 h 1296"/>
                <a:gd name="T26" fmla="*/ 425 w 1296"/>
                <a:gd name="T27" fmla="*/ 1257 h 1296"/>
                <a:gd name="T28" fmla="*/ 341 w 1296"/>
                <a:gd name="T29" fmla="*/ 1219 h 1296"/>
                <a:gd name="T30" fmla="*/ 262 w 1296"/>
                <a:gd name="T31" fmla="*/ 1169 h 1296"/>
                <a:gd name="T32" fmla="*/ 191 w 1296"/>
                <a:gd name="T33" fmla="*/ 1107 h 1296"/>
                <a:gd name="T34" fmla="*/ 130 w 1296"/>
                <a:gd name="T35" fmla="*/ 1037 h 1296"/>
                <a:gd name="T36" fmla="*/ 80 w 1296"/>
                <a:gd name="T37" fmla="*/ 957 h 1296"/>
                <a:gd name="T38" fmla="*/ 41 w 1296"/>
                <a:gd name="T39" fmla="*/ 871 h 1296"/>
                <a:gd name="T40" fmla="*/ 14 w 1296"/>
                <a:gd name="T41" fmla="*/ 780 h 1296"/>
                <a:gd name="T42" fmla="*/ 2 w 1296"/>
                <a:gd name="T43" fmla="*/ 682 h 1296"/>
                <a:gd name="T44" fmla="*/ 2 w 1296"/>
                <a:gd name="T45" fmla="*/ 616 h 1296"/>
                <a:gd name="T46" fmla="*/ 14 w 1296"/>
                <a:gd name="T47" fmla="*/ 518 h 1296"/>
                <a:gd name="T48" fmla="*/ 41 w 1296"/>
                <a:gd name="T49" fmla="*/ 425 h 1296"/>
                <a:gd name="T50" fmla="*/ 80 w 1296"/>
                <a:gd name="T51" fmla="*/ 341 h 1296"/>
                <a:gd name="T52" fmla="*/ 130 w 1296"/>
                <a:gd name="T53" fmla="*/ 261 h 1296"/>
                <a:gd name="T54" fmla="*/ 191 w 1296"/>
                <a:gd name="T55" fmla="*/ 191 h 1296"/>
                <a:gd name="T56" fmla="*/ 262 w 1296"/>
                <a:gd name="T57" fmla="*/ 130 h 1296"/>
                <a:gd name="T58" fmla="*/ 341 w 1296"/>
                <a:gd name="T59" fmla="*/ 80 h 1296"/>
                <a:gd name="T60" fmla="*/ 425 w 1296"/>
                <a:gd name="T61" fmla="*/ 41 h 1296"/>
                <a:gd name="T62" fmla="*/ 518 w 1296"/>
                <a:gd name="T63" fmla="*/ 14 h 1296"/>
                <a:gd name="T64" fmla="*/ 616 w 1296"/>
                <a:gd name="T65" fmla="*/ 2 h 1296"/>
                <a:gd name="T66" fmla="*/ 682 w 1296"/>
                <a:gd name="T67" fmla="*/ 2 h 1296"/>
                <a:gd name="T68" fmla="*/ 780 w 1296"/>
                <a:gd name="T69" fmla="*/ 14 h 1296"/>
                <a:gd name="T70" fmla="*/ 871 w 1296"/>
                <a:gd name="T71" fmla="*/ 41 h 1296"/>
                <a:gd name="T72" fmla="*/ 957 w 1296"/>
                <a:gd name="T73" fmla="*/ 80 h 1296"/>
                <a:gd name="T74" fmla="*/ 1037 w 1296"/>
                <a:gd name="T75" fmla="*/ 130 h 1296"/>
                <a:gd name="T76" fmla="*/ 1107 w 1296"/>
                <a:gd name="T77" fmla="*/ 191 h 1296"/>
                <a:gd name="T78" fmla="*/ 1169 w 1296"/>
                <a:gd name="T79" fmla="*/ 261 h 1296"/>
                <a:gd name="T80" fmla="*/ 1219 w 1296"/>
                <a:gd name="T81" fmla="*/ 341 h 1296"/>
                <a:gd name="T82" fmla="*/ 1257 w 1296"/>
                <a:gd name="T83" fmla="*/ 425 h 1296"/>
                <a:gd name="T84" fmla="*/ 1285 w 1296"/>
                <a:gd name="T85" fmla="*/ 518 h 1296"/>
                <a:gd name="T86" fmla="*/ 1296 w 1296"/>
                <a:gd name="T87" fmla="*/ 616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96" h="1296">
                  <a:moveTo>
                    <a:pt x="1296" y="648"/>
                  </a:moveTo>
                  <a:lnTo>
                    <a:pt x="1296" y="648"/>
                  </a:lnTo>
                  <a:lnTo>
                    <a:pt x="1296" y="682"/>
                  </a:lnTo>
                  <a:lnTo>
                    <a:pt x="1294" y="716"/>
                  </a:lnTo>
                  <a:lnTo>
                    <a:pt x="1289" y="748"/>
                  </a:lnTo>
                  <a:lnTo>
                    <a:pt x="1285" y="780"/>
                  </a:lnTo>
                  <a:lnTo>
                    <a:pt x="1275" y="812"/>
                  </a:lnTo>
                  <a:lnTo>
                    <a:pt x="1269" y="841"/>
                  </a:lnTo>
                  <a:lnTo>
                    <a:pt x="1257" y="871"/>
                  </a:lnTo>
                  <a:lnTo>
                    <a:pt x="1246" y="900"/>
                  </a:lnTo>
                  <a:lnTo>
                    <a:pt x="1232" y="930"/>
                  </a:lnTo>
                  <a:lnTo>
                    <a:pt x="1219" y="957"/>
                  </a:lnTo>
                  <a:lnTo>
                    <a:pt x="1203" y="985"/>
                  </a:lnTo>
                  <a:lnTo>
                    <a:pt x="1187" y="1012"/>
                  </a:lnTo>
                  <a:lnTo>
                    <a:pt x="1169" y="1037"/>
                  </a:lnTo>
                  <a:lnTo>
                    <a:pt x="1148" y="1062"/>
                  </a:lnTo>
                  <a:lnTo>
                    <a:pt x="1128" y="1085"/>
                  </a:lnTo>
                  <a:lnTo>
                    <a:pt x="1107" y="1107"/>
                  </a:lnTo>
                  <a:lnTo>
                    <a:pt x="1084" y="1128"/>
                  </a:lnTo>
                  <a:lnTo>
                    <a:pt x="1062" y="1148"/>
                  </a:lnTo>
                  <a:lnTo>
                    <a:pt x="1037" y="1169"/>
                  </a:lnTo>
                  <a:lnTo>
                    <a:pt x="1012" y="1187"/>
                  </a:lnTo>
                  <a:lnTo>
                    <a:pt x="984" y="1203"/>
                  </a:lnTo>
                  <a:lnTo>
                    <a:pt x="957" y="1219"/>
                  </a:lnTo>
                  <a:lnTo>
                    <a:pt x="930" y="1232"/>
                  </a:lnTo>
                  <a:lnTo>
                    <a:pt x="900" y="1246"/>
                  </a:lnTo>
                  <a:lnTo>
                    <a:pt x="871" y="1257"/>
                  </a:lnTo>
                  <a:lnTo>
                    <a:pt x="841" y="1269"/>
                  </a:lnTo>
                  <a:lnTo>
                    <a:pt x="812" y="1276"/>
                  </a:lnTo>
                  <a:lnTo>
                    <a:pt x="780" y="1285"/>
                  </a:lnTo>
                  <a:lnTo>
                    <a:pt x="748" y="1289"/>
                  </a:lnTo>
                  <a:lnTo>
                    <a:pt x="716" y="1294"/>
                  </a:lnTo>
                  <a:lnTo>
                    <a:pt x="682" y="1296"/>
                  </a:lnTo>
                  <a:lnTo>
                    <a:pt x="648" y="1296"/>
                  </a:lnTo>
                  <a:lnTo>
                    <a:pt x="648" y="1296"/>
                  </a:lnTo>
                  <a:lnTo>
                    <a:pt x="616" y="1296"/>
                  </a:lnTo>
                  <a:lnTo>
                    <a:pt x="582" y="1294"/>
                  </a:lnTo>
                  <a:lnTo>
                    <a:pt x="550" y="1289"/>
                  </a:lnTo>
                  <a:lnTo>
                    <a:pt x="518" y="1285"/>
                  </a:lnTo>
                  <a:lnTo>
                    <a:pt x="487" y="1276"/>
                  </a:lnTo>
                  <a:lnTo>
                    <a:pt x="457" y="1269"/>
                  </a:lnTo>
                  <a:lnTo>
                    <a:pt x="425" y="1257"/>
                  </a:lnTo>
                  <a:lnTo>
                    <a:pt x="396" y="1246"/>
                  </a:lnTo>
                  <a:lnTo>
                    <a:pt x="368" y="1232"/>
                  </a:lnTo>
                  <a:lnTo>
                    <a:pt x="341" y="1219"/>
                  </a:lnTo>
                  <a:lnTo>
                    <a:pt x="314" y="1203"/>
                  </a:lnTo>
                  <a:lnTo>
                    <a:pt x="287" y="1187"/>
                  </a:lnTo>
                  <a:lnTo>
                    <a:pt x="262" y="1169"/>
                  </a:lnTo>
                  <a:lnTo>
                    <a:pt x="237" y="1148"/>
                  </a:lnTo>
                  <a:lnTo>
                    <a:pt x="214" y="1128"/>
                  </a:lnTo>
                  <a:lnTo>
                    <a:pt x="191" y="1107"/>
                  </a:lnTo>
                  <a:lnTo>
                    <a:pt x="168" y="1085"/>
                  </a:lnTo>
                  <a:lnTo>
                    <a:pt x="148" y="1062"/>
                  </a:lnTo>
                  <a:lnTo>
                    <a:pt x="130" y="1037"/>
                  </a:lnTo>
                  <a:lnTo>
                    <a:pt x="112" y="1012"/>
                  </a:lnTo>
                  <a:lnTo>
                    <a:pt x="96" y="985"/>
                  </a:lnTo>
                  <a:lnTo>
                    <a:pt x="80" y="957"/>
                  </a:lnTo>
                  <a:lnTo>
                    <a:pt x="64" y="930"/>
                  </a:lnTo>
                  <a:lnTo>
                    <a:pt x="52" y="900"/>
                  </a:lnTo>
                  <a:lnTo>
                    <a:pt x="41" y="871"/>
                  </a:lnTo>
                  <a:lnTo>
                    <a:pt x="30" y="841"/>
                  </a:lnTo>
                  <a:lnTo>
                    <a:pt x="21" y="812"/>
                  </a:lnTo>
                  <a:lnTo>
                    <a:pt x="14" y="780"/>
                  </a:lnTo>
                  <a:lnTo>
                    <a:pt x="9" y="748"/>
                  </a:lnTo>
                  <a:lnTo>
                    <a:pt x="5" y="716"/>
                  </a:lnTo>
                  <a:lnTo>
                    <a:pt x="2" y="682"/>
                  </a:lnTo>
                  <a:lnTo>
                    <a:pt x="0" y="648"/>
                  </a:lnTo>
                  <a:lnTo>
                    <a:pt x="0" y="648"/>
                  </a:lnTo>
                  <a:lnTo>
                    <a:pt x="2" y="616"/>
                  </a:lnTo>
                  <a:lnTo>
                    <a:pt x="5" y="582"/>
                  </a:lnTo>
                  <a:lnTo>
                    <a:pt x="9" y="550"/>
                  </a:lnTo>
                  <a:lnTo>
                    <a:pt x="14" y="518"/>
                  </a:lnTo>
                  <a:lnTo>
                    <a:pt x="21" y="487"/>
                  </a:lnTo>
                  <a:lnTo>
                    <a:pt x="30" y="457"/>
                  </a:lnTo>
                  <a:lnTo>
                    <a:pt x="41" y="425"/>
                  </a:lnTo>
                  <a:lnTo>
                    <a:pt x="52" y="396"/>
                  </a:lnTo>
                  <a:lnTo>
                    <a:pt x="64" y="368"/>
                  </a:lnTo>
                  <a:lnTo>
                    <a:pt x="80" y="341"/>
                  </a:lnTo>
                  <a:lnTo>
                    <a:pt x="96" y="314"/>
                  </a:lnTo>
                  <a:lnTo>
                    <a:pt x="112" y="286"/>
                  </a:lnTo>
                  <a:lnTo>
                    <a:pt x="130" y="261"/>
                  </a:lnTo>
                  <a:lnTo>
                    <a:pt x="148" y="236"/>
                  </a:lnTo>
                  <a:lnTo>
                    <a:pt x="168" y="214"/>
                  </a:lnTo>
                  <a:lnTo>
                    <a:pt x="191" y="191"/>
                  </a:lnTo>
                  <a:lnTo>
                    <a:pt x="214" y="168"/>
                  </a:lnTo>
                  <a:lnTo>
                    <a:pt x="237" y="148"/>
                  </a:lnTo>
                  <a:lnTo>
                    <a:pt x="262" y="130"/>
                  </a:lnTo>
                  <a:lnTo>
                    <a:pt x="287" y="111"/>
                  </a:lnTo>
                  <a:lnTo>
                    <a:pt x="314" y="95"/>
                  </a:lnTo>
                  <a:lnTo>
                    <a:pt x="341" y="80"/>
                  </a:lnTo>
                  <a:lnTo>
                    <a:pt x="368" y="64"/>
                  </a:lnTo>
                  <a:lnTo>
                    <a:pt x="396" y="52"/>
                  </a:lnTo>
                  <a:lnTo>
                    <a:pt x="425" y="41"/>
                  </a:lnTo>
                  <a:lnTo>
                    <a:pt x="457" y="30"/>
                  </a:lnTo>
                  <a:lnTo>
                    <a:pt x="487" y="20"/>
                  </a:lnTo>
                  <a:lnTo>
                    <a:pt x="518" y="14"/>
                  </a:lnTo>
                  <a:lnTo>
                    <a:pt x="550" y="9"/>
                  </a:lnTo>
                  <a:lnTo>
                    <a:pt x="582" y="5"/>
                  </a:lnTo>
                  <a:lnTo>
                    <a:pt x="616" y="2"/>
                  </a:lnTo>
                  <a:lnTo>
                    <a:pt x="648" y="0"/>
                  </a:lnTo>
                  <a:lnTo>
                    <a:pt x="648" y="0"/>
                  </a:lnTo>
                  <a:lnTo>
                    <a:pt x="682" y="2"/>
                  </a:lnTo>
                  <a:lnTo>
                    <a:pt x="716" y="5"/>
                  </a:lnTo>
                  <a:lnTo>
                    <a:pt x="748" y="9"/>
                  </a:lnTo>
                  <a:lnTo>
                    <a:pt x="780" y="14"/>
                  </a:lnTo>
                  <a:lnTo>
                    <a:pt x="812" y="20"/>
                  </a:lnTo>
                  <a:lnTo>
                    <a:pt x="841" y="30"/>
                  </a:lnTo>
                  <a:lnTo>
                    <a:pt x="871" y="41"/>
                  </a:lnTo>
                  <a:lnTo>
                    <a:pt x="900" y="52"/>
                  </a:lnTo>
                  <a:lnTo>
                    <a:pt x="930" y="64"/>
                  </a:lnTo>
                  <a:lnTo>
                    <a:pt x="957" y="80"/>
                  </a:lnTo>
                  <a:lnTo>
                    <a:pt x="984" y="95"/>
                  </a:lnTo>
                  <a:lnTo>
                    <a:pt x="1012" y="111"/>
                  </a:lnTo>
                  <a:lnTo>
                    <a:pt x="1037" y="130"/>
                  </a:lnTo>
                  <a:lnTo>
                    <a:pt x="1062" y="148"/>
                  </a:lnTo>
                  <a:lnTo>
                    <a:pt x="1084" y="168"/>
                  </a:lnTo>
                  <a:lnTo>
                    <a:pt x="1107" y="191"/>
                  </a:lnTo>
                  <a:lnTo>
                    <a:pt x="1128" y="214"/>
                  </a:lnTo>
                  <a:lnTo>
                    <a:pt x="1148" y="236"/>
                  </a:lnTo>
                  <a:lnTo>
                    <a:pt x="1169" y="261"/>
                  </a:lnTo>
                  <a:lnTo>
                    <a:pt x="1187" y="286"/>
                  </a:lnTo>
                  <a:lnTo>
                    <a:pt x="1203" y="314"/>
                  </a:lnTo>
                  <a:lnTo>
                    <a:pt x="1219" y="341"/>
                  </a:lnTo>
                  <a:lnTo>
                    <a:pt x="1232" y="368"/>
                  </a:lnTo>
                  <a:lnTo>
                    <a:pt x="1246" y="396"/>
                  </a:lnTo>
                  <a:lnTo>
                    <a:pt x="1257" y="425"/>
                  </a:lnTo>
                  <a:lnTo>
                    <a:pt x="1269" y="457"/>
                  </a:lnTo>
                  <a:lnTo>
                    <a:pt x="1275" y="487"/>
                  </a:lnTo>
                  <a:lnTo>
                    <a:pt x="1285" y="518"/>
                  </a:lnTo>
                  <a:lnTo>
                    <a:pt x="1289" y="550"/>
                  </a:lnTo>
                  <a:lnTo>
                    <a:pt x="1294" y="582"/>
                  </a:lnTo>
                  <a:lnTo>
                    <a:pt x="1296" y="616"/>
                  </a:lnTo>
                  <a:lnTo>
                    <a:pt x="1296" y="648"/>
                  </a:lnTo>
                  <a:lnTo>
                    <a:pt x="1296" y="648"/>
                  </a:lnTo>
                  <a:close/>
                </a:path>
              </a:pathLst>
            </a:custGeom>
            <a:solidFill>
              <a:schemeClr val="bg1"/>
            </a:solidFill>
            <a:ln w="38100">
              <a:solidFill>
                <a:schemeClr val="accent3"/>
              </a:solid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Apis" panose="020B0504010101010104" pitchFamily="34" charset="0"/>
                <a:ea typeface="+mn-ea"/>
                <a:cs typeface="+mn-cs"/>
              </a:endParaRPr>
            </a:p>
          </p:txBody>
        </p:sp>
        <p:grpSp>
          <p:nvGrpSpPr>
            <p:cNvPr id="26" name="Group 26">
              <a:extLst>
                <a:ext uri="{FF2B5EF4-FFF2-40B4-BE49-F238E27FC236}">
                  <a16:creationId xmlns:a16="http://schemas.microsoft.com/office/drawing/2014/main" id="{C17C4D5B-3667-437F-A6B4-2B0BAD12C933}"/>
                </a:ext>
              </a:extLst>
            </p:cNvPr>
            <p:cNvGrpSpPr>
              <a:grpSpLocks/>
            </p:cNvGrpSpPr>
            <p:nvPr/>
          </p:nvGrpSpPr>
          <p:grpSpPr bwMode="auto">
            <a:xfrm>
              <a:off x="6536627" y="2397492"/>
              <a:ext cx="2229540" cy="1008541"/>
              <a:chOff x="1949964" y="615271"/>
              <a:chExt cx="1425266" cy="643458"/>
            </a:xfrm>
          </p:grpSpPr>
          <p:sp>
            <p:nvSpPr>
              <p:cNvPr id="27" name="Text Box 9">
                <a:extLst>
                  <a:ext uri="{FF2B5EF4-FFF2-40B4-BE49-F238E27FC236}">
                    <a16:creationId xmlns:a16="http://schemas.microsoft.com/office/drawing/2014/main" id="{B86BDC32-7099-4856-94EC-3D066AFAE856}"/>
                  </a:ext>
                </a:extLst>
              </p:cNvPr>
              <p:cNvSpPr txBox="1">
                <a:spLocks noChangeAspect="1" noChangeArrowheads="1"/>
              </p:cNvSpPr>
              <p:nvPr/>
            </p:nvSpPr>
            <p:spPr bwMode="auto">
              <a:xfrm>
                <a:off x="2057661" y="615271"/>
                <a:ext cx="1165682" cy="157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rPr>
                  <a:t>My current role</a:t>
                </a:r>
              </a:p>
            </p:txBody>
          </p:sp>
          <p:sp>
            <p:nvSpPr>
              <p:cNvPr id="28" name="Text Box 11">
                <a:extLst>
                  <a:ext uri="{FF2B5EF4-FFF2-40B4-BE49-F238E27FC236}">
                    <a16:creationId xmlns:a16="http://schemas.microsoft.com/office/drawing/2014/main" id="{308CB737-EB7C-46AD-BCB6-3461D97A9B21}"/>
                  </a:ext>
                </a:extLst>
              </p:cNvPr>
              <p:cNvSpPr txBox="1">
                <a:spLocks noChangeAspect="1" noChangeArrowheads="1"/>
              </p:cNvSpPr>
              <p:nvPr/>
            </p:nvSpPr>
            <p:spPr bwMode="auto">
              <a:xfrm>
                <a:off x="1949964" y="905273"/>
                <a:ext cx="1425266" cy="353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p:txBody>
          </p:sp>
        </p:grpSp>
      </p:grpSp>
      <p:grpSp>
        <p:nvGrpSpPr>
          <p:cNvPr id="20" name="Group 19">
            <a:extLst>
              <a:ext uri="{FF2B5EF4-FFF2-40B4-BE49-F238E27FC236}">
                <a16:creationId xmlns:a16="http://schemas.microsoft.com/office/drawing/2014/main" id="{76844B87-08BD-4F19-8179-C47F228F87EA}"/>
              </a:ext>
            </a:extLst>
          </p:cNvPr>
          <p:cNvGrpSpPr/>
          <p:nvPr/>
        </p:nvGrpSpPr>
        <p:grpSpPr>
          <a:xfrm>
            <a:off x="8630900" y="1884610"/>
            <a:ext cx="3218641" cy="3218641"/>
            <a:chOff x="8550960" y="1884610"/>
            <a:chExt cx="3218641" cy="3218641"/>
          </a:xfrm>
        </p:grpSpPr>
        <p:grpSp>
          <p:nvGrpSpPr>
            <p:cNvPr id="11" name="Group 10">
              <a:extLst>
                <a:ext uri="{FF2B5EF4-FFF2-40B4-BE49-F238E27FC236}">
                  <a16:creationId xmlns:a16="http://schemas.microsoft.com/office/drawing/2014/main" id="{6B4A7E0C-4EF8-4B6F-BF76-3D6DD0C6279D}"/>
                </a:ext>
              </a:extLst>
            </p:cNvPr>
            <p:cNvGrpSpPr/>
            <p:nvPr/>
          </p:nvGrpSpPr>
          <p:grpSpPr>
            <a:xfrm>
              <a:off x="8550960" y="1884610"/>
              <a:ext cx="3218641" cy="3218641"/>
              <a:chOff x="8550960" y="1884610"/>
              <a:chExt cx="3218641" cy="3218641"/>
            </a:xfrm>
          </p:grpSpPr>
          <p:sp>
            <p:nvSpPr>
              <p:cNvPr id="56" name="Text Box 11">
                <a:extLst>
                  <a:ext uri="{FF2B5EF4-FFF2-40B4-BE49-F238E27FC236}">
                    <a16:creationId xmlns:a16="http://schemas.microsoft.com/office/drawing/2014/main" id="{2D4BFE01-D3FF-4AD0-95AE-8F38A0ADD5C7}"/>
                  </a:ext>
                </a:extLst>
              </p:cNvPr>
              <p:cNvSpPr txBox="1">
                <a:spLocks noChangeAspect="1" noChangeArrowheads="1"/>
              </p:cNvSpPr>
              <p:nvPr/>
            </p:nvSpPr>
            <p:spPr bwMode="auto">
              <a:xfrm>
                <a:off x="9148139" y="2848312"/>
                <a:ext cx="25334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p:txBody>
          </p:sp>
          <p:sp>
            <p:nvSpPr>
              <p:cNvPr id="10" name="Freeform 8"/>
              <p:cNvSpPr>
                <a:spLocks/>
              </p:cNvSpPr>
              <p:nvPr/>
            </p:nvSpPr>
            <p:spPr bwMode="auto">
              <a:xfrm>
                <a:off x="8550960" y="1884610"/>
                <a:ext cx="3218641" cy="3218641"/>
              </a:xfrm>
              <a:custGeom>
                <a:avLst/>
                <a:gdLst>
                  <a:gd name="T0" fmla="*/ 1296 w 1296"/>
                  <a:gd name="T1" fmla="*/ 682 h 1296"/>
                  <a:gd name="T2" fmla="*/ 1285 w 1296"/>
                  <a:gd name="T3" fmla="*/ 780 h 1296"/>
                  <a:gd name="T4" fmla="*/ 1257 w 1296"/>
                  <a:gd name="T5" fmla="*/ 871 h 1296"/>
                  <a:gd name="T6" fmla="*/ 1219 w 1296"/>
                  <a:gd name="T7" fmla="*/ 957 h 1296"/>
                  <a:gd name="T8" fmla="*/ 1169 w 1296"/>
                  <a:gd name="T9" fmla="*/ 1037 h 1296"/>
                  <a:gd name="T10" fmla="*/ 1107 w 1296"/>
                  <a:gd name="T11" fmla="*/ 1107 h 1296"/>
                  <a:gd name="T12" fmla="*/ 1037 w 1296"/>
                  <a:gd name="T13" fmla="*/ 1169 h 1296"/>
                  <a:gd name="T14" fmla="*/ 957 w 1296"/>
                  <a:gd name="T15" fmla="*/ 1219 h 1296"/>
                  <a:gd name="T16" fmla="*/ 871 w 1296"/>
                  <a:gd name="T17" fmla="*/ 1257 h 1296"/>
                  <a:gd name="T18" fmla="*/ 780 w 1296"/>
                  <a:gd name="T19" fmla="*/ 1285 h 1296"/>
                  <a:gd name="T20" fmla="*/ 682 w 1296"/>
                  <a:gd name="T21" fmla="*/ 1296 h 1296"/>
                  <a:gd name="T22" fmla="*/ 616 w 1296"/>
                  <a:gd name="T23" fmla="*/ 1296 h 1296"/>
                  <a:gd name="T24" fmla="*/ 519 w 1296"/>
                  <a:gd name="T25" fmla="*/ 1285 h 1296"/>
                  <a:gd name="T26" fmla="*/ 425 w 1296"/>
                  <a:gd name="T27" fmla="*/ 1257 h 1296"/>
                  <a:gd name="T28" fmla="*/ 341 w 1296"/>
                  <a:gd name="T29" fmla="*/ 1219 h 1296"/>
                  <a:gd name="T30" fmla="*/ 262 w 1296"/>
                  <a:gd name="T31" fmla="*/ 1169 h 1296"/>
                  <a:gd name="T32" fmla="*/ 191 w 1296"/>
                  <a:gd name="T33" fmla="*/ 1107 h 1296"/>
                  <a:gd name="T34" fmla="*/ 130 w 1296"/>
                  <a:gd name="T35" fmla="*/ 1037 h 1296"/>
                  <a:gd name="T36" fmla="*/ 80 w 1296"/>
                  <a:gd name="T37" fmla="*/ 957 h 1296"/>
                  <a:gd name="T38" fmla="*/ 41 w 1296"/>
                  <a:gd name="T39" fmla="*/ 871 h 1296"/>
                  <a:gd name="T40" fmla="*/ 14 w 1296"/>
                  <a:gd name="T41" fmla="*/ 780 h 1296"/>
                  <a:gd name="T42" fmla="*/ 3 w 1296"/>
                  <a:gd name="T43" fmla="*/ 682 h 1296"/>
                  <a:gd name="T44" fmla="*/ 3 w 1296"/>
                  <a:gd name="T45" fmla="*/ 616 h 1296"/>
                  <a:gd name="T46" fmla="*/ 14 w 1296"/>
                  <a:gd name="T47" fmla="*/ 518 h 1296"/>
                  <a:gd name="T48" fmla="*/ 41 w 1296"/>
                  <a:gd name="T49" fmla="*/ 425 h 1296"/>
                  <a:gd name="T50" fmla="*/ 80 w 1296"/>
                  <a:gd name="T51" fmla="*/ 341 h 1296"/>
                  <a:gd name="T52" fmla="*/ 130 w 1296"/>
                  <a:gd name="T53" fmla="*/ 261 h 1296"/>
                  <a:gd name="T54" fmla="*/ 191 w 1296"/>
                  <a:gd name="T55" fmla="*/ 191 h 1296"/>
                  <a:gd name="T56" fmla="*/ 262 w 1296"/>
                  <a:gd name="T57" fmla="*/ 130 h 1296"/>
                  <a:gd name="T58" fmla="*/ 341 w 1296"/>
                  <a:gd name="T59" fmla="*/ 80 h 1296"/>
                  <a:gd name="T60" fmla="*/ 425 w 1296"/>
                  <a:gd name="T61" fmla="*/ 41 h 1296"/>
                  <a:gd name="T62" fmla="*/ 519 w 1296"/>
                  <a:gd name="T63" fmla="*/ 14 h 1296"/>
                  <a:gd name="T64" fmla="*/ 616 w 1296"/>
                  <a:gd name="T65" fmla="*/ 2 h 1296"/>
                  <a:gd name="T66" fmla="*/ 682 w 1296"/>
                  <a:gd name="T67" fmla="*/ 2 h 1296"/>
                  <a:gd name="T68" fmla="*/ 780 w 1296"/>
                  <a:gd name="T69" fmla="*/ 14 h 1296"/>
                  <a:gd name="T70" fmla="*/ 871 w 1296"/>
                  <a:gd name="T71" fmla="*/ 41 h 1296"/>
                  <a:gd name="T72" fmla="*/ 957 w 1296"/>
                  <a:gd name="T73" fmla="*/ 80 h 1296"/>
                  <a:gd name="T74" fmla="*/ 1037 w 1296"/>
                  <a:gd name="T75" fmla="*/ 130 h 1296"/>
                  <a:gd name="T76" fmla="*/ 1107 w 1296"/>
                  <a:gd name="T77" fmla="*/ 191 h 1296"/>
                  <a:gd name="T78" fmla="*/ 1169 w 1296"/>
                  <a:gd name="T79" fmla="*/ 261 h 1296"/>
                  <a:gd name="T80" fmla="*/ 1219 w 1296"/>
                  <a:gd name="T81" fmla="*/ 341 h 1296"/>
                  <a:gd name="T82" fmla="*/ 1257 w 1296"/>
                  <a:gd name="T83" fmla="*/ 425 h 1296"/>
                  <a:gd name="T84" fmla="*/ 1285 w 1296"/>
                  <a:gd name="T85" fmla="*/ 518 h 1296"/>
                  <a:gd name="T86" fmla="*/ 1296 w 1296"/>
                  <a:gd name="T87" fmla="*/ 616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96" h="1296">
                    <a:moveTo>
                      <a:pt x="1296" y="648"/>
                    </a:moveTo>
                    <a:lnTo>
                      <a:pt x="1296" y="648"/>
                    </a:lnTo>
                    <a:lnTo>
                      <a:pt x="1296" y="682"/>
                    </a:lnTo>
                    <a:lnTo>
                      <a:pt x="1294" y="716"/>
                    </a:lnTo>
                    <a:lnTo>
                      <a:pt x="1289" y="748"/>
                    </a:lnTo>
                    <a:lnTo>
                      <a:pt x="1285" y="780"/>
                    </a:lnTo>
                    <a:lnTo>
                      <a:pt x="1276" y="812"/>
                    </a:lnTo>
                    <a:lnTo>
                      <a:pt x="1269" y="841"/>
                    </a:lnTo>
                    <a:lnTo>
                      <a:pt x="1257" y="871"/>
                    </a:lnTo>
                    <a:lnTo>
                      <a:pt x="1246" y="900"/>
                    </a:lnTo>
                    <a:lnTo>
                      <a:pt x="1232" y="930"/>
                    </a:lnTo>
                    <a:lnTo>
                      <a:pt x="1219" y="957"/>
                    </a:lnTo>
                    <a:lnTo>
                      <a:pt x="1203" y="985"/>
                    </a:lnTo>
                    <a:lnTo>
                      <a:pt x="1187" y="1012"/>
                    </a:lnTo>
                    <a:lnTo>
                      <a:pt x="1169" y="1037"/>
                    </a:lnTo>
                    <a:lnTo>
                      <a:pt x="1148" y="1062"/>
                    </a:lnTo>
                    <a:lnTo>
                      <a:pt x="1128" y="1085"/>
                    </a:lnTo>
                    <a:lnTo>
                      <a:pt x="1107" y="1107"/>
                    </a:lnTo>
                    <a:lnTo>
                      <a:pt x="1085" y="1128"/>
                    </a:lnTo>
                    <a:lnTo>
                      <a:pt x="1062" y="1148"/>
                    </a:lnTo>
                    <a:lnTo>
                      <a:pt x="1037" y="1169"/>
                    </a:lnTo>
                    <a:lnTo>
                      <a:pt x="1012" y="1187"/>
                    </a:lnTo>
                    <a:lnTo>
                      <a:pt x="985" y="1203"/>
                    </a:lnTo>
                    <a:lnTo>
                      <a:pt x="957" y="1219"/>
                    </a:lnTo>
                    <a:lnTo>
                      <a:pt x="930" y="1232"/>
                    </a:lnTo>
                    <a:lnTo>
                      <a:pt x="900" y="1246"/>
                    </a:lnTo>
                    <a:lnTo>
                      <a:pt x="871" y="1257"/>
                    </a:lnTo>
                    <a:lnTo>
                      <a:pt x="841" y="1269"/>
                    </a:lnTo>
                    <a:lnTo>
                      <a:pt x="812" y="1276"/>
                    </a:lnTo>
                    <a:lnTo>
                      <a:pt x="780" y="1285"/>
                    </a:lnTo>
                    <a:lnTo>
                      <a:pt x="748" y="1289"/>
                    </a:lnTo>
                    <a:lnTo>
                      <a:pt x="716" y="1294"/>
                    </a:lnTo>
                    <a:lnTo>
                      <a:pt x="682" y="1296"/>
                    </a:lnTo>
                    <a:lnTo>
                      <a:pt x="648" y="1296"/>
                    </a:lnTo>
                    <a:lnTo>
                      <a:pt x="648" y="1296"/>
                    </a:lnTo>
                    <a:lnTo>
                      <a:pt x="616" y="1296"/>
                    </a:lnTo>
                    <a:lnTo>
                      <a:pt x="582" y="1294"/>
                    </a:lnTo>
                    <a:lnTo>
                      <a:pt x="550" y="1289"/>
                    </a:lnTo>
                    <a:lnTo>
                      <a:pt x="519" y="1285"/>
                    </a:lnTo>
                    <a:lnTo>
                      <a:pt x="487" y="1276"/>
                    </a:lnTo>
                    <a:lnTo>
                      <a:pt x="457" y="1269"/>
                    </a:lnTo>
                    <a:lnTo>
                      <a:pt x="425" y="1257"/>
                    </a:lnTo>
                    <a:lnTo>
                      <a:pt x="396" y="1246"/>
                    </a:lnTo>
                    <a:lnTo>
                      <a:pt x="369" y="1232"/>
                    </a:lnTo>
                    <a:lnTo>
                      <a:pt x="341" y="1219"/>
                    </a:lnTo>
                    <a:lnTo>
                      <a:pt x="314" y="1203"/>
                    </a:lnTo>
                    <a:lnTo>
                      <a:pt x="287" y="1187"/>
                    </a:lnTo>
                    <a:lnTo>
                      <a:pt x="262" y="1169"/>
                    </a:lnTo>
                    <a:lnTo>
                      <a:pt x="237" y="1148"/>
                    </a:lnTo>
                    <a:lnTo>
                      <a:pt x="214" y="1128"/>
                    </a:lnTo>
                    <a:lnTo>
                      <a:pt x="191" y="1107"/>
                    </a:lnTo>
                    <a:lnTo>
                      <a:pt x="169" y="1085"/>
                    </a:lnTo>
                    <a:lnTo>
                      <a:pt x="148" y="1062"/>
                    </a:lnTo>
                    <a:lnTo>
                      <a:pt x="130" y="1037"/>
                    </a:lnTo>
                    <a:lnTo>
                      <a:pt x="112" y="1012"/>
                    </a:lnTo>
                    <a:lnTo>
                      <a:pt x="96" y="985"/>
                    </a:lnTo>
                    <a:lnTo>
                      <a:pt x="80" y="957"/>
                    </a:lnTo>
                    <a:lnTo>
                      <a:pt x="64" y="930"/>
                    </a:lnTo>
                    <a:lnTo>
                      <a:pt x="53" y="900"/>
                    </a:lnTo>
                    <a:lnTo>
                      <a:pt x="41" y="871"/>
                    </a:lnTo>
                    <a:lnTo>
                      <a:pt x="30" y="841"/>
                    </a:lnTo>
                    <a:lnTo>
                      <a:pt x="21" y="812"/>
                    </a:lnTo>
                    <a:lnTo>
                      <a:pt x="14" y="780"/>
                    </a:lnTo>
                    <a:lnTo>
                      <a:pt x="9" y="748"/>
                    </a:lnTo>
                    <a:lnTo>
                      <a:pt x="5" y="716"/>
                    </a:lnTo>
                    <a:lnTo>
                      <a:pt x="3" y="682"/>
                    </a:lnTo>
                    <a:lnTo>
                      <a:pt x="0" y="648"/>
                    </a:lnTo>
                    <a:lnTo>
                      <a:pt x="0" y="648"/>
                    </a:lnTo>
                    <a:lnTo>
                      <a:pt x="3" y="616"/>
                    </a:lnTo>
                    <a:lnTo>
                      <a:pt x="5" y="582"/>
                    </a:lnTo>
                    <a:lnTo>
                      <a:pt x="9" y="550"/>
                    </a:lnTo>
                    <a:lnTo>
                      <a:pt x="14" y="518"/>
                    </a:lnTo>
                    <a:lnTo>
                      <a:pt x="21" y="487"/>
                    </a:lnTo>
                    <a:lnTo>
                      <a:pt x="30" y="457"/>
                    </a:lnTo>
                    <a:lnTo>
                      <a:pt x="41" y="425"/>
                    </a:lnTo>
                    <a:lnTo>
                      <a:pt x="53" y="396"/>
                    </a:lnTo>
                    <a:lnTo>
                      <a:pt x="64" y="368"/>
                    </a:lnTo>
                    <a:lnTo>
                      <a:pt x="80" y="341"/>
                    </a:lnTo>
                    <a:lnTo>
                      <a:pt x="96" y="314"/>
                    </a:lnTo>
                    <a:lnTo>
                      <a:pt x="112" y="286"/>
                    </a:lnTo>
                    <a:lnTo>
                      <a:pt x="130" y="261"/>
                    </a:lnTo>
                    <a:lnTo>
                      <a:pt x="148" y="236"/>
                    </a:lnTo>
                    <a:lnTo>
                      <a:pt x="169" y="214"/>
                    </a:lnTo>
                    <a:lnTo>
                      <a:pt x="191" y="191"/>
                    </a:lnTo>
                    <a:lnTo>
                      <a:pt x="214" y="168"/>
                    </a:lnTo>
                    <a:lnTo>
                      <a:pt x="237" y="148"/>
                    </a:lnTo>
                    <a:lnTo>
                      <a:pt x="262" y="130"/>
                    </a:lnTo>
                    <a:lnTo>
                      <a:pt x="287" y="111"/>
                    </a:lnTo>
                    <a:lnTo>
                      <a:pt x="314" y="95"/>
                    </a:lnTo>
                    <a:lnTo>
                      <a:pt x="341" y="80"/>
                    </a:lnTo>
                    <a:lnTo>
                      <a:pt x="369" y="64"/>
                    </a:lnTo>
                    <a:lnTo>
                      <a:pt x="396" y="52"/>
                    </a:lnTo>
                    <a:lnTo>
                      <a:pt x="425" y="41"/>
                    </a:lnTo>
                    <a:lnTo>
                      <a:pt x="457" y="30"/>
                    </a:lnTo>
                    <a:lnTo>
                      <a:pt x="487" y="20"/>
                    </a:lnTo>
                    <a:lnTo>
                      <a:pt x="519" y="14"/>
                    </a:lnTo>
                    <a:lnTo>
                      <a:pt x="550" y="9"/>
                    </a:lnTo>
                    <a:lnTo>
                      <a:pt x="582" y="5"/>
                    </a:lnTo>
                    <a:lnTo>
                      <a:pt x="616" y="2"/>
                    </a:lnTo>
                    <a:lnTo>
                      <a:pt x="648" y="0"/>
                    </a:lnTo>
                    <a:lnTo>
                      <a:pt x="648" y="0"/>
                    </a:lnTo>
                    <a:lnTo>
                      <a:pt x="682" y="2"/>
                    </a:lnTo>
                    <a:lnTo>
                      <a:pt x="716" y="5"/>
                    </a:lnTo>
                    <a:lnTo>
                      <a:pt x="748" y="9"/>
                    </a:lnTo>
                    <a:lnTo>
                      <a:pt x="780" y="14"/>
                    </a:lnTo>
                    <a:lnTo>
                      <a:pt x="812" y="20"/>
                    </a:lnTo>
                    <a:lnTo>
                      <a:pt x="841" y="30"/>
                    </a:lnTo>
                    <a:lnTo>
                      <a:pt x="871" y="41"/>
                    </a:lnTo>
                    <a:lnTo>
                      <a:pt x="900" y="52"/>
                    </a:lnTo>
                    <a:lnTo>
                      <a:pt x="930" y="64"/>
                    </a:lnTo>
                    <a:lnTo>
                      <a:pt x="957" y="80"/>
                    </a:lnTo>
                    <a:lnTo>
                      <a:pt x="985" y="95"/>
                    </a:lnTo>
                    <a:lnTo>
                      <a:pt x="1012" y="111"/>
                    </a:lnTo>
                    <a:lnTo>
                      <a:pt x="1037" y="130"/>
                    </a:lnTo>
                    <a:lnTo>
                      <a:pt x="1062" y="148"/>
                    </a:lnTo>
                    <a:lnTo>
                      <a:pt x="1085" y="168"/>
                    </a:lnTo>
                    <a:lnTo>
                      <a:pt x="1107" y="191"/>
                    </a:lnTo>
                    <a:lnTo>
                      <a:pt x="1128" y="214"/>
                    </a:lnTo>
                    <a:lnTo>
                      <a:pt x="1148" y="236"/>
                    </a:lnTo>
                    <a:lnTo>
                      <a:pt x="1169" y="261"/>
                    </a:lnTo>
                    <a:lnTo>
                      <a:pt x="1187" y="286"/>
                    </a:lnTo>
                    <a:lnTo>
                      <a:pt x="1203" y="314"/>
                    </a:lnTo>
                    <a:lnTo>
                      <a:pt x="1219" y="341"/>
                    </a:lnTo>
                    <a:lnTo>
                      <a:pt x="1232" y="368"/>
                    </a:lnTo>
                    <a:lnTo>
                      <a:pt x="1246" y="396"/>
                    </a:lnTo>
                    <a:lnTo>
                      <a:pt x="1257" y="425"/>
                    </a:lnTo>
                    <a:lnTo>
                      <a:pt x="1269" y="457"/>
                    </a:lnTo>
                    <a:lnTo>
                      <a:pt x="1276" y="487"/>
                    </a:lnTo>
                    <a:lnTo>
                      <a:pt x="1285" y="518"/>
                    </a:lnTo>
                    <a:lnTo>
                      <a:pt x="1289" y="550"/>
                    </a:lnTo>
                    <a:lnTo>
                      <a:pt x="1294" y="582"/>
                    </a:lnTo>
                    <a:lnTo>
                      <a:pt x="1296" y="616"/>
                    </a:lnTo>
                    <a:lnTo>
                      <a:pt x="1296" y="648"/>
                    </a:lnTo>
                    <a:lnTo>
                      <a:pt x="1296" y="648"/>
                    </a:lnTo>
                    <a:close/>
                  </a:path>
                </a:pathLst>
              </a:custGeom>
              <a:solidFill>
                <a:schemeClr val="bg1"/>
              </a:solidFill>
              <a:ln w="38100">
                <a:solidFill>
                  <a:schemeClr val="accent4"/>
                </a:solidFill>
              </a:ln>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Apis" panose="020B0504010101010104" pitchFamily="34" charset="0"/>
                  <a:ea typeface="+mn-ea"/>
                  <a:cs typeface="+mn-cs"/>
                </a:endParaRPr>
              </a:p>
            </p:txBody>
          </p:sp>
        </p:grpSp>
        <p:grpSp>
          <p:nvGrpSpPr>
            <p:cNvPr id="6" name="Group 5">
              <a:extLst>
                <a:ext uri="{FF2B5EF4-FFF2-40B4-BE49-F238E27FC236}">
                  <a16:creationId xmlns:a16="http://schemas.microsoft.com/office/drawing/2014/main" id="{FE7773CA-E73F-42C9-A1A2-78C04F473E4A}"/>
                </a:ext>
              </a:extLst>
            </p:cNvPr>
            <p:cNvGrpSpPr/>
            <p:nvPr/>
          </p:nvGrpSpPr>
          <p:grpSpPr>
            <a:xfrm>
              <a:off x="9082472" y="2429818"/>
              <a:ext cx="2504253" cy="1829160"/>
              <a:chOff x="9246148" y="2429818"/>
              <a:chExt cx="2504253" cy="1829160"/>
            </a:xfrm>
          </p:grpSpPr>
          <p:sp>
            <p:nvSpPr>
              <p:cNvPr id="35" name="Text Box 9">
                <a:extLst>
                  <a:ext uri="{FF2B5EF4-FFF2-40B4-BE49-F238E27FC236}">
                    <a16:creationId xmlns:a16="http://schemas.microsoft.com/office/drawing/2014/main" id="{F8353169-F618-4770-B3BC-74B1729F7C02}"/>
                  </a:ext>
                </a:extLst>
              </p:cNvPr>
              <p:cNvSpPr txBox="1">
                <a:spLocks noChangeAspect="1" noChangeArrowheads="1"/>
              </p:cNvSpPr>
              <p:nvPr/>
            </p:nvSpPr>
            <p:spPr bwMode="auto">
              <a:xfrm>
                <a:off x="9291958" y="2429818"/>
                <a:ext cx="225707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0" marR="0" lvl="0" indent="0" algn="l" defTabSz="10160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1965"/>
                    </a:solidFill>
                    <a:effectLst/>
                    <a:uLnTx/>
                    <a:uFillTx/>
                    <a:latin typeface="+mn-lt"/>
                    <a:ea typeface="MS PGothic" pitchFamily="34" charset="-128"/>
                    <a:cs typeface="Apis" panose="020B0504010101010104" pitchFamily="34" charset="0"/>
                  </a:rPr>
                  <a:t>During quarantine</a:t>
                </a:r>
              </a:p>
              <a:p>
                <a:pPr marL="0" marR="0" lvl="0" indent="0" algn="l" defTabSz="1354633"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p:txBody>
          </p:sp>
          <p:sp>
            <p:nvSpPr>
              <p:cNvPr id="41" name="Text Box 11">
                <a:extLst>
                  <a:ext uri="{FF2B5EF4-FFF2-40B4-BE49-F238E27FC236}">
                    <a16:creationId xmlns:a16="http://schemas.microsoft.com/office/drawing/2014/main" id="{6BDD0C48-61C6-45EE-9DAE-69B4EC71A3A7}"/>
                  </a:ext>
                </a:extLst>
              </p:cNvPr>
              <p:cNvSpPr txBox="1">
                <a:spLocks noChangeAspect="1" noChangeArrowheads="1"/>
              </p:cNvSpPr>
              <p:nvPr/>
            </p:nvSpPr>
            <p:spPr bwMode="auto">
              <a:xfrm>
                <a:off x="9246148" y="2781650"/>
                <a:ext cx="2504253"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228594" marR="0" lvl="0" indent="-228594" algn="l" defTabSz="1354633" rtl="0" eaLnBrk="1" fontAlgn="auto" latinLnBrk="0" hangingPunct="1">
                  <a:lnSpc>
                    <a:spcPct val="200000"/>
                  </a:lnSpc>
                  <a:spcBef>
                    <a:spcPts val="0"/>
                  </a:spcBef>
                  <a:spcAft>
                    <a:spcPts val="0"/>
                  </a:spcAft>
                  <a:buClr>
                    <a:srgbClr val="001965"/>
                  </a:buClr>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228594" marR="0" lvl="0" indent="-228594" algn="l" defTabSz="1354633" rtl="0" eaLnBrk="1" fontAlgn="auto" latinLnBrk="0" hangingPunct="1">
                  <a:lnSpc>
                    <a:spcPct val="200000"/>
                  </a:lnSpc>
                  <a:spcBef>
                    <a:spcPts val="0"/>
                  </a:spcBef>
                  <a:spcAft>
                    <a:spcPts val="0"/>
                  </a:spcAft>
                  <a:buClr>
                    <a:srgbClr val="001965"/>
                  </a:buClr>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p:txBody>
          </p:sp>
        </p:grpSp>
      </p:grpSp>
      <p:sp>
        <p:nvSpPr>
          <p:cNvPr id="39" name="Slide Number Placeholder 4">
            <a:extLst>
              <a:ext uri="{FF2B5EF4-FFF2-40B4-BE49-F238E27FC236}">
                <a16:creationId xmlns:a16="http://schemas.microsoft.com/office/drawing/2014/main" id="{BF34EC69-6465-4ADE-900C-46FC50C26F78}"/>
              </a:ext>
            </a:extLst>
          </p:cNvPr>
          <p:cNvSpPr txBox="1">
            <a:spLocks/>
          </p:cNvSpPr>
          <p:nvPr/>
        </p:nvSpPr>
        <p:spPr>
          <a:xfrm>
            <a:off x="324000" y="324000"/>
            <a:ext cx="324000" cy="125850"/>
          </a:xfrm>
          <a:prstGeom prst="rect">
            <a:avLst/>
          </a:prstGeom>
        </p:spPr>
        <p:txBody>
          <a:bodyPr vert="horz" lIns="0" tIns="0" rIns="0" bIns="0" rtlCol="0" anchor="t"/>
          <a:lstStyle>
            <a:defPPr>
              <a:defRPr lang="en-US"/>
            </a:defPPr>
            <a:lvl1pPr marL="0" algn="l"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mtClean="0"/>
              <a:pPr/>
              <a:t>5</a:t>
            </a:fld>
            <a:endParaRPr lang="en-GB" dirty="0"/>
          </a:p>
        </p:txBody>
      </p:sp>
      <p:sp>
        <p:nvSpPr>
          <p:cNvPr id="40" name="Footer Placeholder 3">
            <a:extLst>
              <a:ext uri="{FF2B5EF4-FFF2-40B4-BE49-F238E27FC236}">
                <a16:creationId xmlns:a16="http://schemas.microsoft.com/office/drawing/2014/main" id="{7008D6B3-C826-43BA-9FDB-B893C34C51FD}"/>
              </a:ext>
            </a:extLst>
          </p:cNvPr>
          <p:cNvSpPr>
            <a:spLocks noGrp="1"/>
          </p:cNvSpPr>
          <p:nvPr>
            <p:ph type="ftr" sz="quarter" idx="11"/>
          </p:nvPr>
        </p:nvSpPr>
        <p:spPr>
          <a:xfrm>
            <a:off x="648000" y="323850"/>
            <a:ext cx="1919288" cy="126000"/>
          </a:xfrm>
        </p:spPr>
        <p:txBody>
          <a:bodyPr/>
          <a:lstStyle/>
          <a:p>
            <a:r>
              <a:rPr lang="en-GB">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rPr>
              <a:t>Graduate Programme Introduction</a:t>
            </a:r>
            <a:endParaRPr lang="en-GB" dirty="0">
              <a:solidFill>
                <a:srgbClr val="001965"/>
              </a:solidFill>
              <a:latin typeface="Apis For Office" panose="020B0504010101010104" pitchFamily="34" charset="0"/>
              <a:ea typeface="Apis For Office" panose="020B0504010101010104" pitchFamily="34" charset="0"/>
              <a:cs typeface="Apis For Office" panose="020B0504010101010104" pitchFamily="34" charset="0"/>
            </a:endParaRPr>
          </a:p>
        </p:txBody>
      </p:sp>
      <p:sp>
        <p:nvSpPr>
          <p:cNvPr id="42" name="Text Box 11">
            <a:extLst>
              <a:ext uri="{FF2B5EF4-FFF2-40B4-BE49-F238E27FC236}">
                <a16:creationId xmlns:a16="http://schemas.microsoft.com/office/drawing/2014/main" id="{95F7D375-5539-48A2-8BBC-16F2EF07C36D}"/>
              </a:ext>
            </a:extLst>
          </p:cNvPr>
          <p:cNvSpPr txBox="1">
            <a:spLocks noChangeAspect="1" noChangeArrowheads="1"/>
          </p:cNvSpPr>
          <p:nvPr/>
        </p:nvSpPr>
        <p:spPr bwMode="auto">
          <a:xfrm>
            <a:off x="3656519" y="2877517"/>
            <a:ext cx="2248598" cy="1314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228594" lvl="0" indent="-228594" defTabSz="1354633" eaLnBrk="1" hangingPunct="1">
              <a:lnSpc>
                <a:spcPts val="2133"/>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University of St. Gallen, International Affairs</a:t>
            </a:r>
          </a:p>
          <a:p>
            <a:pPr marL="228594" lvl="0" indent="-228594" defTabSz="1354633" eaLnBrk="1" hangingPunct="1">
              <a:lnSpc>
                <a:spcPts val="2133"/>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Internship at </a:t>
            </a:r>
            <a:r>
              <a:rPr lang="en-GB" sz="1200" dirty="0" err="1">
                <a:solidFill>
                  <a:srgbClr val="001965"/>
                </a:solidFill>
                <a:latin typeface="Apis" panose="020B0504010101010104" pitchFamily="34" charset="0"/>
                <a:ea typeface="MS PGothic" pitchFamily="34" charset="-128"/>
                <a:cs typeface="Apis" panose="020B0504010101010104" pitchFamily="34" charset="0"/>
              </a:rPr>
              <a:t>Neodent</a:t>
            </a:r>
            <a:r>
              <a:rPr lang="en-GB" sz="1200" dirty="0">
                <a:solidFill>
                  <a:srgbClr val="001965"/>
                </a:solidFill>
                <a:latin typeface="Apis" panose="020B0504010101010104" pitchFamily="34" charset="0"/>
                <a:ea typeface="MS PGothic" pitchFamily="34" charset="-128"/>
                <a:cs typeface="Apis" panose="020B0504010101010104" pitchFamily="34" charset="0"/>
              </a:rPr>
              <a:t>, Brazil</a:t>
            </a:r>
          </a:p>
          <a:p>
            <a:pPr marL="228594" lvl="0" indent="-228594" defTabSz="1354633" eaLnBrk="1" hangingPunct="1">
              <a:lnSpc>
                <a:spcPts val="2133"/>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LSE, MSc International Health Policy </a:t>
            </a:r>
          </a:p>
        </p:txBody>
      </p:sp>
      <p:sp>
        <p:nvSpPr>
          <p:cNvPr id="43" name="Text Box 11">
            <a:extLst>
              <a:ext uri="{FF2B5EF4-FFF2-40B4-BE49-F238E27FC236}">
                <a16:creationId xmlns:a16="http://schemas.microsoft.com/office/drawing/2014/main" id="{72BCC130-EDC5-464E-9F39-87CC4AEE80CD}"/>
              </a:ext>
            </a:extLst>
          </p:cNvPr>
          <p:cNvSpPr txBox="1">
            <a:spLocks noChangeAspect="1" noChangeArrowheads="1"/>
          </p:cNvSpPr>
          <p:nvPr/>
        </p:nvSpPr>
        <p:spPr bwMode="auto">
          <a:xfrm>
            <a:off x="6600303" y="2852034"/>
            <a:ext cx="2177866"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228594" lvl="0" indent="-228594" defTabSz="1354633" eaLnBrk="1" hangingPunct="1">
              <a:lnSpc>
                <a:spcPct val="150000"/>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Legal Department - Legal Operations</a:t>
            </a:r>
          </a:p>
          <a:p>
            <a:pPr marL="228594" lvl="0" indent="-228594" defTabSz="1354633" eaLnBrk="1" hangingPunct="1">
              <a:lnSpc>
                <a:spcPct val="150000"/>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External Legal Counsel Management </a:t>
            </a:r>
          </a:p>
          <a:p>
            <a:pPr marL="228594" lvl="0" indent="-228594" defTabSz="1354633" eaLnBrk="1" hangingPunct="1">
              <a:lnSpc>
                <a:spcPct val="150000"/>
              </a:lnSpc>
              <a:buClr>
                <a:srgbClr val="001965"/>
              </a:buClr>
              <a:buFont typeface="Arial" panose="020B0604020202020204" pitchFamily="34" charset="0"/>
              <a:buChar char="•"/>
              <a:defRPr/>
            </a:pPr>
            <a:r>
              <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rPr>
              <a:t>Creating a guide </a:t>
            </a:r>
            <a:r>
              <a:rPr lang="en-GB" sz="1200" dirty="0">
                <a:solidFill>
                  <a:srgbClr val="001965"/>
                </a:solidFill>
                <a:latin typeface="Apis" panose="020B0504010101010104" pitchFamily="34" charset="0"/>
                <a:ea typeface="MS PGothic" pitchFamily="34" charset="-128"/>
                <a:cs typeface="Apis" panose="020B0504010101010104" pitchFamily="34" charset="0"/>
              </a:rPr>
              <a:t>to optimize supplier selection and minimize legal spend</a:t>
            </a: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p:txBody>
      </p:sp>
      <p:sp>
        <p:nvSpPr>
          <p:cNvPr id="44" name="Text Box 11">
            <a:extLst>
              <a:ext uri="{FF2B5EF4-FFF2-40B4-BE49-F238E27FC236}">
                <a16:creationId xmlns:a16="http://schemas.microsoft.com/office/drawing/2014/main" id="{10C76E88-2309-4083-A70B-28DE1594B612}"/>
              </a:ext>
            </a:extLst>
          </p:cNvPr>
          <p:cNvSpPr txBox="1">
            <a:spLocks noChangeAspect="1" noChangeArrowheads="1"/>
          </p:cNvSpPr>
          <p:nvPr/>
        </p:nvSpPr>
        <p:spPr bwMode="auto">
          <a:xfrm>
            <a:off x="9162412" y="2781650"/>
            <a:ext cx="2504253" cy="2954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16000" eaLnBrk="0" hangingPunct="0">
              <a:defRPr>
                <a:solidFill>
                  <a:schemeClr val="tx1"/>
                </a:solidFill>
                <a:latin typeface="Verdana" pitchFamily="34" charset="0"/>
                <a:cs typeface="Arial" charset="0"/>
              </a:defRPr>
            </a:lvl1pPr>
            <a:lvl2pPr marL="742950" indent="-285750" defTabSz="1016000" eaLnBrk="0" hangingPunct="0">
              <a:defRPr>
                <a:solidFill>
                  <a:schemeClr val="tx1"/>
                </a:solidFill>
                <a:latin typeface="Verdana" pitchFamily="34" charset="0"/>
                <a:cs typeface="Arial" charset="0"/>
              </a:defRPr>
            </a:lvl2pPr>
            <a:lvl3pPr marL="1143000" indent="-228600" defTabSz="1016000" eaLnBrk="0" hangingPunct="0">
              <a:defRPr>
                <a:solidFill>
                  <a:schemeClr val="tx1"/>
                </a:solidFill>
                <a:latin typeface="Verdana" pitchFamily="34" charset="0"/>
                <a:cs typeface="Arial" charset="0"/>
              </a:defRPr>
            </a:lvl3pPr>
            <a:lvl4pPr marL="1600200" indent="-228600" defTabSz="1016000" eaLnBrk="0" hangingPunct="0">
              <a:defRPr>
                <a:solidFill>
                  <a:schemeClr val="tx1"/>
                </a:solidFill>
                <a:latin typeface="Verdana" pitchFamily="34" charset="0"/>
                <a:cs typeface="Arial" charset="0"/>
              </a:defRPr>
            </a:lvl4pPr>
            <a:lvl5pPr marL="2057400" indent="-228600" defTabSz="1016000" eaLnBrk="0" hangingPunct="0">
              <a:defRPr>
                <a:solidFill>
                  <a:schemeClr val="tx1"/>
                </a:solidFill>
                <a:latin typeface="Verdana" pitchFamily="34" charset="0"/>
                <a:cs typeface="Arial" charset="0"/>
              </a:defRPr>
            </a:lvl5pPr>
            <a:lvl6pPr marL="2514600" indent="-228600" defTabSz="1016000" eaLnBrk="0" fontAlgn="base" hangingPunct="0">
              <a:spcBef>
                <a:spcPct val="0"/>
              </a:spcBef>
              <a:spcAft>
                <a:spcPct val="0"/>
              </a:spcAft>
              <a:defRPr>
                <a:solidFill>
                  <a:schemeClr val="tx1"/>
                </a:solidFill>
                <a:latin typeface="Verdana" pitchFamily="34" charset="0"/>
                <a:cs typeface="Arial" charset="0"/>
              </a:defRPr>
            </a:lvl6pPr>
            <a:lvl7pPr marL="2971800" indent="-228600" defTabSz="1016000" eaLnBrk="0" fontAlgn="base" hangingPunct="0">
              <a:spcBef>
                <a:spcPct val="0"/>
              </a:spcBef>
              <a:spcAft>
                <a:spcPct val="0"/>
              </a:spcAft>
              <a:defRPr>
                <a:solidFill>
                  <a:schemeClr val="tx1"/>
                </a:solidFill>
                <a:latin typeface="Verdana" pitchFamily="34" charset="0"/>
                <a:cs typeface="Arial" charset="0"/>
              </a:defRPr>
            </a:lvl7pPr>
            <a:lvl8pPr marL="3429000" indent="-228600" defTabSz="1016000" eaLnBrk="0" fontAlgn="base" hangingPunct="0">
              <a:spcBef>
                <a:spcPct val="0"/>
              </a:spcBef>
              <a:spcAft>
                <a:spcPct val="0"/>
              </a:spcAft>
              <a:defRPr>
                <a:solidFill>
                  <a:schemeClr val="tx1"/>
                </a:solidFill>
                <a:latin typeface="Verdana" pitchFamily="34" charset="0"/>
                <a:cs typeface="Arial" charset="0"/>
              </a:defRPr>
            </a:lvl8pPr>
            <a:lvl9pPr marL="3886200" indent="-228600" defTabSz="1016000" eaLnBrk="0" fontAlgn="base" hangingPunct="0">
              <a:spcBef>
                <a:spcPct val="0"/>
              </a:spcBef>
              <a:spcAft>
                <a:spcPct val="0"/>
              </a:spcAft>
              <a:defRPr>
                <a:solidFill>
                  <a:schemeClr val="tx1"/>
                </a:solidFill>
                <a:latin typeface="Verdana" pitchFamily="34" charset="0"/>
                <a:cs typeface="Arial" charset="0"/>
              </a:defRPr>
            </a:lvl9pPr>
          </a:lstStyle>
          <a:p>
            <a:pPr marL="228594" lvl="0" indent="-228594" defTabSz="1354633" eaLnBrk="1" hangingPunct="1">
              <a:lnSpc>
                <a:spcPct val="200000"/>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Finished my Master’s thesis</a:t>
            </a:r>
          </a:p>
          <a:p>
            <a:pPr marL="228594" lvl="0" indent="-228594" defTabSz="1354633" eaLnBrk="1" hangingPunct="1">
              <a:lnSpc>
                <a:spcPct val="200000"/>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Hiking in Switzerland</a:t>
            </a:r>
          </a:p>
          <a:p>
            <a:pPr marL="228594" lvl="0" indent="-228594" defTabSz="1354633" eaLnBrk="1" hangingPunct="1">
              <a:lnSpc>
                <a:spcPct val="200000"/>
              </a:lnSpc>
              <a:buClr>
                <a:srgbClr val="001965"/>
              </a:buClr>
              <a:buFont typeface="Arial" panose="020B0604020202020204" pitchFamily="34" charset="0"/>
              <a:buChar char="•"/>
              <a:defRPr/>
            </a:pPr>
            <a:r>
              <a:rPr lang="en-GB" sz="1200" dirty="0">
                <a:solidFill>
                  <a:srgbClr val="001965"/>
                </a:solidFill>
                <a:latin typeface="Apis" panose="020B0504010101010104" pitchFamily="34" charset="0"/>
                <a:ea typeface="MS PGothic" pitchFamily="34" charset="-128"/>
                <a:cs typeface="Apis" panose="020B0504010101010104" pitchFamily="34" charset="0"/>
              </a:rPr>
              <a:t>Spending time </a:t>
            </a:r>
            <a:r>
              <a:rPr lang="en-GB" sz="1200">
                <a:solidFill>
                  <a:srgbClr val="001965"/>
                </a:solidFill>
                <a:latin typeface="Apis" panose="020B0504010101010104" pitchFamily="34" charset="0"/>
                <a:ea typeface="MS PGothic" pitchFamily="34" charset="-128"/>
                <a:cs typeface="Apis" panose="020B0504010101010104" pitchFamily="34" charset="0"/>
              </a:rPr>
              <a:t>with family</a:t>
            </a:r>
            <a:endParaRPr lang="en-GB" sz="1200" dirty="0">
              <a:solidFill>
                <a:srgbClr val="001965"/>
              </a:solidFill>
              <a:latin typeface="Apis" panose="020B0504010101010104" pitchFamily="34" charset="0"/>
              <a:ea typeface="MS PGothic" pitchFamily="34" charset="-128"/>
              <a:cs typeface="Apis" panose="020B0504010101010104" pitchFamily="34" charset="0"/>
            </a:endParaRPr>
          </a:p>
          <a:p>
            <a:pPr marL="228594" lvl="0" indent="-228594" defTabSz="1354633" eaLnBrk="1" hangingPunct="1">
              <a:lnSpc>
                <a:spcPct val="200000"/>
              </a:lnSpc>
              <a:buClr>
                <a:srgbClr val="001965"/>
              </a:buClr>
              <a:buFont typeface="Arial" panose="020B0604020202020204" pitchFamily="34" charset="0"/>
              <a:buChar char="•"/>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228594" marR="0" lvl="0" indent="-228594" algn="l" defTabSz="1354633" rtl="0" eaLnBrk="1" fontAlgn="auto" latinLnBrk="0" hangingPunct="1">
              <a:lnSpc>
                <a:spcPct val="200000"/>
              </a:lnSpc>
              <a:spcBef>
                <a:spcPts val="0"/>
              </a:spcBef>
              <a:spcAft>
                <a:spcPts val="0"/>
              </a:spcAft>
              <a:buClr>
                <a:srgbClr val="001965"/>
              </a:buClr>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228594" marR="0" lvl="0" indent="-228594" algn="l" defTabSz="1354633" rtl="0" eaLnBrk="1" fontAlgn="auto" latinLnBrk="0" hangingPunct="1">
              <a:lnSpc>
                <a:spcPct val="200000"/>
              </a:lnSpc>
              <a:spcBef>
                <a:spcPts val="0"/>
              </a:spcBef>
              <a:spcAft>
                <a:spcPts val="0"/>
              </a:spcAft>
              <a:buClr>
                <a:srgbClr val="001965"/>
              </a:buClr>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a:p>
            <a:pPr marL="0" marR="0" lvl="0" indent="0" algn="l" defTabSz="1354633" rtl="0" eaLnBrk="1" fontAlgn="auto" latinLnBrk="0" hangingPunct="1">
              <a:lnSpc>
                <a:spcPct val="100000"/>
              </a:lnSpc>
              <a:spcBef>
                <a:spcPts val="0"/>
              </a:spcBef>
              <a:spcAft>
                <a:spcPts val="0"/>
              </a:spcAft>
              <a:buClr>
                <a:srgbClr val="00B7FF"/>
              </a:buClr>
              <a:buSzTx/>
              <a:buFontTx/>
              <a:buNone/>
              <a:tabLst/>
              <a:defRPr/>
            </a:pPr>
            <a:endParaRPr kumimoji="0" lang="en-GB" sz="1200" b="0" i="0" u="none" strike="noStrike" kern="1200" cap="none" spc="0" normalizeH="0" baseline="0" noProof="0" dirty="0">
              <a:ln>
                <a:noFill/>
              </a:ln>
              <a:solidFill>
                <a:srgbClr val="001965"/>
              </a:solidFill>
              <a:effectLst/>
              <a:uLnTx/>
              <a:uFillTx/>
              <a:latin typeface="Apis" panose="020B0504010101010104" pitchFamily="34" charset="0"/>
              <a:ea typeface="MS PGothic" pitchFamily="34" charset="-128"/>
              <a:cs typeface="Apis" panose="020B0504010101010104" pitchFamily="34" charset="0"/>
            </a:endParaRPr>
          </a:p>
        </p:txBody>
      </p:sp>
    </p:spTree>
    <p:custDataLst>
      <p:tags r:id="rId2"/>
    </p:custDataLst>
    <p:extLst>
      <p:ext uri="{BB962C8B-B14F-4D97-AF65-F5344CB8AC3E}">
        <p14:creationId xmlns:p14="http://schemas.microsoft.com/office/powerpoint/2010/main" val="6725757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CE119C64-F918-FB4A-B0F6-5E6318035FF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49" y="890"/>
            <a:ext cx="12192001" cy="6856221"/>
          </a:xfrm>
          <a:prstGeom prst="rect">
            <a:avLst/>
          </a:prstGeom>
        </p:spPr>
      </p:pic>
      <p:sp>
        <p:nvSpPr>
          <p:cNvPr id="2" name="Footer Placeholder 1">
            <a:extLst>
              <a:ext uri="{FF2B5EF4-FFF2-40B4-BE49-F238E27FC236}">
                <a16:creationId xmlns:a16="http://schemas.microsoft.com/office/drawing/2014/main" id="{43E982C9-B5F9-4D3F-BA21-0969421F2DB6}"/>
              </a:ext>
            </a:extLst>
          </p:cNvPr>
          <p:cNvSpPr>
            <a:spLocks noGrp="1"/>
          </p:cNvSpPr>
          <p:nvPr>
            <p:ph type="ftr" sz="quarter" idx="11"/>
          </p:nvPr>
        </p:nvSpPr>
        <p:spPr/>
        <p:txBody>
          <a:bodyPr/>
          <a:lstStyle/>
          <a:p>
            <a:r>
              <a:rPr lang="en-GB" dirty="0">
                <a:solidFill>
                  <a:srgbClr val="FFFFFF"/>
                </a:solidFill>
              </a:rPr>
              <a:t>Novo Nordisk company presentation</a:t>
            </a:r>
          </a:p>
        </p:txBody>
      </p:sp>
      <p:sp>
        <p:nvSpPr>
          <p:cNvPr id="14" name="Slide Number Placeholder 2">
            <a:extLst>
              <a:ext uri="{FF2B5EF4-FFF2-40B4-BE49-F238E27FC236}">
                <a16:creationId xmlns:a16="http://schemas.microsoft.com/office/drawing/2014/main" id="{D1F2730B-E507-4FCE-82C0-228A075378A8}"/>
              </a:ext>
            </a:extLst>
          </p:cNvPr>
          <p:cNvSpPr>
            <a:spLocks noGrp="1"/>
          </p:cNvSpPr>
          <p:nvPr>
            <p:ph type="sldNum" sz="quarter" idx="12"/>
          </p:nvPr>
        </p:nvSpPr>
        <p:spPr/>
        <p:txBody>
          <a:bodyPr/>
          <a:lstStyle/>
          <a:p>
            <a:fld id="{23AA811B-2EBD-4900-905E-5BE206449611}" type="slidenum">
              <a:rPr lang="en-GB" smtClean="0">
                <a:solidFill>
                  <a:srgbClr val="FFFFFF"/>
                </a:solidFill>
              </a:rPr>
              <a:pPr/>
              <a:t>6</a:t>
            </a:fld>
            <a:endParaRPr lang="en-GB" dirty="0">
              <a:solidFill>
                <a:srgbClr val="FFFFFF"/>
              </a:solidFill>
            </a:endParaRPr>
          </a:p>
        </p:txBody>
      </p:sp>
      <p:sp>
        <p:nvSpPr>
          <p:cNvPr id="8" name="Tekstfelt 7">
            <a:extLst>
              <a:ext uri="{FF2B5EF4-FFF2-40B4-BE49-F238E27FC236}">
                <a16:creationId xmlns:a16="http://schemas.microsoft.com/office/drawing/2014/main" id="{9D2C98E6-649E-8048-BC5E-571C46A4564D}"/>
              </a:ext>
            </a:extLst>
          </p:cNvPr>
          <p:cNvSpPr txBox="1"/>
          <p:nvPr/>
        </p:nvSpPr>
        <p:spPr>
          <a:xfrm>
            <a:off x="572585" y="4718738"/>
            <a:ext cx="9193222" cy="1551194"/>
          </a:xfrm>
          <a:prstGeom prst="rect">
            <a:avLst/>
          </a:prstGeom>
          <a:noFill/>
        </p:spPr>
        <p:txBody>
          <a:bodyPr wrap="none" lIns="0" tIns="0" rIns="0" bIns="0" rtlCol="0" anchor="b" anchorCtr="0">
            <a:spAutoFit/>
          </a:bodyPr>
          <a:lstStyle/>
          <a:p>
            <a:pPr algn="l">
              <a:lnSpc>
                <a:spcPct val="90000"/>
              </a:lnSpc>
            </a:pPr>
            <a:r>
              <a:rPr lang="en-GB" sz="11200" dirty="0">
                <a:solidFill>
                  <a:schemeClr val="bg1"/>
                </a:solidFill>
              </a:rPr>
              <a:t>Novo Nordisk</a:t>
            </a:r>
          </a:p>
        </p:txBody>
      </p:sp>
      <p:sp>
        <p:nvSpPr>
          <p:cNvPr id="13" name="Rectangle 11">
            <a:extLst>
              <a:ext uri="{FF2B5EF4-FFF2-40B4-BE49-F238E27FC236}">
                <a16:creationId xmlns:a16="http://schemas.microsoft.com/office/drawing/2014/main" id="{332FE46E-435C-EB4B-B9A6-7F597DB6753E}"/>
              </a:ext>
            </a:extLst>
          </p:cNvPr>
          <p:cNvSpPr>
            <a:spLocks noChangeArrowheads="1"/>
          </p:cNvSpPr>
          <p:nvPr/>
        </p:nvSpPr>
        <p:spPr bwMode="auto">
          <a:xfrm>
            <a:off x="9823528" y="5775967"/>
            <a:ext cx="1702723" cy="432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square" lIns="0" tIns="0" rIns="0" bIns="0">
            <a:spAutoFit/>
          </a:bodyPr>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lvl="0" algn="r" eaLnBrk="1" hangingPunct="1">
              <a:lnSpc>
                <a:spcPct val="120000"/>
              </a:lnSpc>
              <a:spcBef>
                <a:spcPct val="0"/>
              </a:spcBef>
              <a:buClrTx/>
              <a:buNone/>
              <a:defRPr/>
            </a:pPr>
            <a:r>
              <a:rPr lang="en-GB" altLang="da-DK" sz="800" b="1" dirty="0">
                <a:solidFill>
                  <a:schemeClr val="bg1"/>
                </a:solidFill>
                <a:latin typeface="+mn-lt"/>
              </a:rPr>
              <a:t>Roshni</a:t>
            </a:r>
          </a:p>
          <a:p>
            <a:pPr lvl="0" algn="r" eaLnBrk="1" hangingPunct="1">
              <a:lnSpc>
                <a:spcPct val="120000"/>
              </a:lnSpc>
              <a:spcBef>
                <a:spcPct val="0"/>
              </a:spcBef>
              <a:buClrTx/>
              <a:buNone/>
              <a:defRPr/>
            </a:pPr>
            <a:r>
              <a:rPr lang="en-GB" altLang="da-DK" sz="800" dirty="0">
                <a:solidFill>
                  <a:schemeClr val="bg1"/>
                </a:solidFill>
                <a:latin typeface="+mn-lt"/>
              </a:rPr>
              <a:t>Roshni has type 1 diabetes</a:t>
            </a:r>
          </a:p>
          <a:p>
            <a:pPr lvl="0" algn="r" eaLnBrk="1" hangingPunct="1">
              <a:lnSpc>
                <a:spcPct val="120000"/>
              </a:lnSpc>
              <a:spcBef>
                <a:spcPct val="0"/>
              </a:spcBef>
              <a:buClrTx/>
              <a:buNone/>
              <a:defRPr/>
            </a:pPr>
            <a:r>
              <a:rPr lang="en-GB" altLang="da-DK" sz="800" dirty="0">
                <a:solidFill>
                  <a:schemeClr val="bg1"/>
                </a:solidFill>
                <a:latin typeface="+mn-lt"/>
              </a:rPr>
              <a:t>India</a:t>
            </a:r>
          </a:p>
        </p:txBody>
      </p:sp>
      <p:pic>
        <p:nvPicPr>
          <p:cNvPr id="15" name="Billede 12">
            <a:extLst>
              <a:ext uri="{FF2B5EF4-FFF2-40B4-BE49-F238E27FC236}">
                <a16:creationId xmlns:a16="http://schemas.microsoft.com/office/drawing/2014/main" id="{16B73661-60B9-A14F-8089-BE56D4A2095C}"/>
              </a:ext>
            </a:extLst>
          </p:cNvPr>
          <p:cNvPicPr>
            <a:picLocks noChangeAspect="1"/>
          </p:cNvPicPr>
          <p:nvPr/>
        </p:nvPicPr>
        <p:blipFill>
          <a:blip r:embed="rId5"/>
          <a:stretch>
            <a:fillRect/>
          </a:stretch>
        </p:blipFill>
        <p:spPr>
          <a:xfrm>
            <a:off x="11173345" y="320676"/>
            <a:ext cx="705811" cy="501651"/>
          </a:xfrm>
          <a:prstGeom prst="rect">
            <a:avLst/>
          </a:prstGeom>
        </p:spPr>
      </p:pic>
    </p:spTree>
    <p:custDataLst>
      <p:tags r:id="rId1"/>
    </p:custDataLst>
    <p:extLst>
      <p:ext uri="{BB962C8B-B14F-4D97-AF65-F5344CB8AC3E}">
        <p14:creationId xmlns:p14="http://schemas.microsoft.com/office/powerpoint/2010/main" val="31088870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tekst 3">
            <a:extLst>
              <a:ext uri="{FF2B5EF4-FFF2-40B4-BE49-F238E27FC236}">
                <a16:creationId xmlns:a16="http://schemas.microsoft.com/office/drawing/2014/main" id="{60755ADC-2829-174D-874B-3597847DA880}"/>
              </a:ext>
            </a:extLst>
          </p:cNvPr>
          <p:cNvSpPr>
            <a:spLocks noGrp="1"/>
          </p:cNvSpPr>
          <p:nvPr>
            <p:ph type="body" sz="quarter" idx="13"/>
          </p:nvPr>
        </p:nvSpPr>
        <p:spPr/>
        <p:txBody>
          <a:bodyPr/>
          <a:lstStyle/>
          <a:p>
            <a:endParaRPr lang="en-GB" dirty="0"/>
          </a:p>
        </p:txBody>
      </p:sp>
      <p:sp>
        <p:nvSpPr>
          <p:cNvPr id="5" name="Pladsholder til sidefod 4">
            <a:extLst>
              <a:ext uri="{FF2B5EF4-FFF2-40B4-BE49-F238E27FC236}">
                <a16:creationId xmlns:a16="http://schemas.microsoft.com/office/drawing/2014/main" id="{EAD7737D-1D56-3341-A022-A42BC11D2C5E}"/>
              </a:ext>
            </a:extLst>
          </p:cNvPr>
          <p:cNvSpPr>
            <a:spLocks noGrp="1"/>
          </p:cNvSpPr>
          <p:nvPr>
            <p:ph type="ftr" sz="quarter" idx="11"/>
          </p:nvPr>
        </p:nvSpPr>
        <p:spPr/>
        <p:txBody>
          <a:bodyPr/>
          <a:lstStyle/>
          <a:p>
            <a:r>
              <a:rPr lang="en-GB"/>
              <a:t>Novo Nordisk company presentation</a:t>
            </a:r>
          </a:p>
        </p:txBody>
      </p:sp>
      <p:sp>
        <p:nvSpPr>
          <p:cNvPr id="6" name="Pladsholder til slidenummer 5">
            <a:extLst>
              <a:ext uri="{FF2B5EF4-FFF2-40B4-BE49-F238E27FC236}">
                <a16:creationId xmlns:a16="http://schemas.microsoft.com/office/drawing/2014/main" id="{9D289B41-49FE-AA4F-8E81-1F4D00D9F5E0}"/>
              </a:ext>
            </a:extLst>
          </p:cNvPr>
          <p:cNvSpPr>
            <a:spLocks noGrp="1"/>
          </p:cNvSpPr>
          <p:nvPr>
            <p:ph type="sldNum" sz="quarter" idx="12"/>
          </p:nvPr>
        </p:nvSpPr>
        <p:spPr/>
        <p:txBody>
          <a:bodyPr/>
          <a:lstStyle/>
          <a:p>
            <a:fld id="{23AA811B-2EBD-4900-905E-5BE206449611}" type="slidenum">
              <a:rPr lang="en-GB" smtClean="0"/>
              <a:t>7</a:t>
            </a:fld>
            <a:endParaRPr lang="en-GB"/>
          </a:p>
        </p:txBody>
      </p:sp>
      <p:sp>
        <p:nvSpPr>
          <p:cNvPr id="7" name="Pladsholder til slidenummer 2">
            <a:extLst>
              <a:ext uri="{FF2B5EF4-FFF2-40B4-BE49-F238E27FC236}">
                <a16:creationId xmlns:a16="http://schemas.microsoft.com/office/drawing/2014/main" id="{24B52F78-E087-AD4D-B13A-95DCCC0F03C0}"/>
              </a:ext>
            </a:extLst>
          </p:cNvPr>
          <p:cNvSpPr txBox="1">
            <a:spLocks/>
          </p:cNvSpPr>
          <p:nvPr/>
        </p:nvSpPr>
        <p:spPr>
          <a:xfrm>
            <a:off x="324000" y="324000"/>
            <a:ext cx="324000" cy="125850"/>
          </a:xfrm>
          <a:prstGeom prst="rect">
            <a:avLst/>
          </a:prstGeom>
        </p:spPr>
        <p:txBody>
          <a:bodyPr vert="horz" lIns="0" tIns="0" rIns="0" bIns="0" rtlCol="0" anchor="t"/>
          <a:lstStyle>
            <a:defPPr>
              <a:defRPr lang="en-US"/>
            </a:defPPr>
            <a:lvl1pPr marL="0" algn="l" defTabSz="914400" rtl="0" eaLnBrk="1" latinLnBrk="0" hangingPunct="1">
              <a:defRPr sz="6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mtClean="0"/>
              <a:pPr/>
              <a:t>7</a:t>
            </a:fld>
            <a:endParaRPr lang="en-GB"/>
          </a:p>
        </p:txBody>
      </p:sp>
      <p:sp>
        <p:nvSpPr>
          <p:cNvPr id="9" name="Tekstfelt 8">
            <a:extLst>
              <a:ext uri="{FF2B5EF4-FFF2-40B4-BE49-F238E27FC236}">
                <a16:creationId xmlns:a16="http://schemas.microsoft.com/office/drawing/2014/main" id="{4C0A103A-7949-274A-A676-22D7B05EC38E}"/>
              </a:ext>
            </a:extLst>
          </p:cNvPr>
          <p:cNvSpPr txBox="1"/>
          <p:nvPr/>
        </p:nvSpPr>
        <p:spPr>
          <a:xfrm>
            <a:off x="10261802" y="5303755"/>
            <a:ext cx="1388817" cy="903645"/>
          </a:xfrm>
          <a:prstGeom prst="rect">
            <a:avLst/>
          </a:prstGeom>
          <a:solidFill>
            <a:schemeClr val="bg1"/>
          </a:solidFill>
        </p:spPr>
        <p:txBody>
          <a:bodyPr wrap="square" lIns="0" tIns="0" rIns="0" bIns="0" rtlCol="0">
            <a:spAutoFit/>
          </a:bodyPr>
          <a:lstStyle/>
          <a:p>
            <a:pPr>
              <a:lnSpc>
                <a:spcPct val="150000"/>
              </a:lnSpc>
            </a:pPr>
            <a:endParaRPr lang="en-GB" sz="800" dirty="0">
              <a:solidFill>
                <a:srgbClr val="001965"/>
              </a:solidFill>
            </a:endParaRPr>
          </a:p>
          <a:p>
            <a:pPr>
              <a:lnSpc>
                <a:spcPct val="150000"/>
              </a:lnSpc>
            </a:pPr>
            <a:r>
              <a:rPr lang="en-GB" sz="800" dirty="0">
                <a:solidFill>
                  <a:srgbClr val="001965"/>
                </a:solidFill>
              </a:rPr>
              <a:t>August and Marie Krogh obtained permission to produce insulin in Scandinavia in 1922</a:t>
            </a:r>
          </a:p>
        </p:txBody>
      </p:sp>
      <p:sp>
        <p:nvSpPr>
          <p:cNvPr id="10" name="Title 44">
            <a:extLst>
              <a:ext uri="{FF2B5EF4-FFF2-40B4-BE49-F238E27FC236}">
                <a16:creationId xmlns:a16="http://schemas.microsoft.com/office/drawing/2014/main" id="{98536C34-C46B-634F-B0AC-F40F11656F39}"/>
              </a:ext>
            </a:extLst>
          </p:cNvPr>
          <p:cNvSpPr txBox="1">
            <a:spLocks/>
          </p:cNvSpPr>
          <p:nvPr/>
        </p:nvSpPr>
        <p:spPr>
          <a:xfrm>
            <a:off x="516388" y="1461676"/>
            <a:ext cx="5370906" cy="3165482"/>
          </a:xfrm>
          <a:prstGeom prst="rect">
            <a:avLst/>
          </a:prstGeom>
        </p:spPr>
        <p:txBody>
          <a:bodyPr wrap="square" anchor="t">
            <a:spAutoFit/>
          </a:bodyPr>
          <a:lst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a:lstStyle>
          <a:p>
            <a:r>
              <a:rPr lang="en-GB" altLang="da-DK" sz="8200" dirty="0"/>
              <a:t>Founded </a:t>
            </a:r>
          </a:p>
          <a:p>
            <a:r>
              <a:rPr lang="en-GB" altLang="da-DK" sz="8200" dirty="0"/>
              <a:t>in 1923</a:t>
            </a:r>
            <a:endParaRPr lang="en-GB" sz="8200" dirty="0"/>
          </a:p>
        </p:txBody>
      </p:sp>
      <p:sp>
        <p:nvSpPr>
          <p:cNvPr id="11" name="Tekstfelt 10">
            <a:extLst>
              <a:ext uri="{FF2B5EF4-FFF2-40B4-BE49-F238E27FC236}">
                <a16:creationId xmlns:a16="http://schemas.microsoft.com/office/drawing/2014/main" id="{4B9CF260-CFEE-7E4B-92EE-AC5485A8D0C2}"/>
              </a:ext>
            </a:extLst>
          </p:cNvPr>
          <p:cNvSpPr txBox="1"/>
          <p:nvPr/>
        </p:nvSpPr>
        <p:spPr>
          <a:xfrm>
            <a:off x="665738" y="4347397"/>
            <a:ext cx="2077462" cy="1081706"/>
          </a:xfrm>
          <a:prstGeom prst="rect">
            <a:avLst/>
          </a:prstGeom>
          <a:noFill/>
        </p:spPr>
        <p:txBody>
          <a:bodyPr wrap="square" lIns="0" tIns="0" rIns="0" bIns="0" rtlCol="0">
            <a:spAutoFit/>
          </a:bodyPr>
          <a:lstStyle/>
          <a:p>
            <a:pPr>
              <a:lnSpc>
                <a:spcPct val="130000"/>
              </a:lnSpc>
            </a:pPr>
            <a:r>
              <a:rPr lang="en-GB" sz="1100">
                <a:solidFill>
                  <a:schemeClr val="tx2"/>
                </a:solidFill>
              </a:rPr>
              <a:t>Founded in Denmark in 1923 with a focus on diabetes, we have become one of the world’s leading healthcare companies. </a:t>
            </a:r>
          </a:p>
        </p:txBody>
      </p:sp>
      <p:sp>
        <p:nvSpPr>
          <p:cNvPr id="12" name="Tekstfelt 11">
            <a:extLst>
              <a:ext uri="{FF2B5EF4-FFF2-40B4-BE49-F238E27FC236}">
                <a16:creationId xmlns:a16="http://schemas.microsoft.com/office/drawing/2014/main" id="{333BD21A-FD1F-F040-9368-A95B3544BF06}"/>
              </a:ext>
            </a:extLst>
          </p:cNvPr>
          <p:cNvSpPr txBox="1"/>
          <p:nvPr/>
        </p:nvSpPr>
        <p:spPr>
          <a:xfrm>
            <a:off x="3046933" y="4347397"/>
            <a:ext cx="2077462" cy="1741887"/>
          </a:xfrm>
          <a:prstGeom prst="rect">
            <a:avLst/>
          </a:prstGeom>
          <a:noFill/>
        </p:spPr>
        <p:txBody>
          <a:bodyPr wrap="square" lIns="0" tIns="0" rIns="0" bIns="0" rtlCol="0">
            <a:spAutoFit/>
          </a:bodyPr>
          <a:lstStyle/>
          <a:p>
            <a:pPr>
              <a:lnSpc>
                <a:spcPct val="130000"/>
              </a:lnSpc>
            </a:pPr>
            <a:r>
              <a:rPr lang="en-GB" sz="1100">
                <a:solidFill>
                  <a:schemeClr val="tx2"/>
                </a:solidFill>
              </a:rPr>
              <a:t>Today, we are also using our capabilities to tackle unmet needs in serious metabolic diseases, such as obesity, and in rare blood and endocrine disorders.</a:t>
            </a:r>
          </a:p>
          <a:p>
            <a:pPr>
              <a:lnSpc>
                <a:spcPct val="130000"/>
              </a:lnSpc>
            </a:pPr>
            <a:br>
              <a:rPr lang="en-GB" sz="1100">
                <a:solidFill>
                  <a:schemeClr val="tx2"/>
                </a:solidFill>
              </a:rPr>
            </a:br>
            <a:endParaRPr lang="en-GB" sz="1100">
              <a:solidFill>
                <a:schemeClr val="tx2"/>
              </a:solidFill>
            </a:endParaRPr>
          </a:p>
        </p:txBody>
      </p:sp>
      <p:pic>
        <p:nvPicPr>
          <p:cNvPr id="13" name="Billede 12">
            <a:extLst>
              <a:ext uri="{FF2B5EF4-FFF2-40B4-BE49-F238E27FC236}">
                <a16:creationId xmlns:a16="http://schemas.microsoft.com/office/drawing/2014/main" id="{F548E06D-D1BD-D74E-8879-4521E0A00341}"/>
              </a:ext>
            </a:extLst>
          </p:cNvPr>
          <p:cNvPicPr>
            <a:picLocks noChangeAspect="1"/>
          </p:cNvPicPr>
          <p:nvPr/>
        </p:nvPicPr>
        <p:blipFill>
          <a:blip r:embed="rId4"/>
          <a:stretch>
            <a:fillRect/>
          </a:stretch>
        </p:blipFill>
        <p:spPr>
          <a:xfrm>
            <a:off x="5857845" y="679279"/>
            <a:ext cx="3946366" cy="5529434"/>
          </a:xfrm>
          <a:prstGeom prst="rect">
            <a:avLst/>
          </a:prstGeom>
        </p:spPr>
      </p:pic>
    </p:spTree>
    <p:custDataLst>
      <p:tags r:id="rId1"/>
    </p:custDataLst>
    <p:extLst>
      <p:ext uri="{BB962C8B-B14F-4D97-AF65-F5344CB8AC3E}">
        <p14:creationId xmlns:p14="http://schemas.microsoft.com/office/powerpoint/2010/main" val="24707083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F5A96E69-70A2-3C41-9892-12D4F59AFF7A}"/>
              </a:ext>
            </a:extLst>
          </p:cNvPr>
          <p:cNvSpPr>
            <a:spLocks noGrp="1"/>
          </p:cNvSpPr>
          <p:nvPr>
            <p:ph type="ftr" sz="quarter" idx="11"/>
          </p:nvPr>
        </p:nvSpPr>
        <p:spPr/>
        <p:txBody>
          <a:bodyPr/>
          <a:lstStyle/>
          <a:p>
            <a:r>
              <a:rPr lang="en-GB"/>
              <a:t>Novo Nordisk company presentation</a:t>
            </a:r>
            <a:endParaRPr lang="en-GB" dirty="0"/>
          </a:p>
        </p:txBody>
      </p:sp>
      <p:sp>
        <p:nvSpPr>
          <p:cNvPr id="4" name="Pladsholder til slidenummer 3">
            <a:extLst>
              <a:ext uri="{FF2B5EF4-FFF2-40B4-BE49-F238E27FC236}">
                <a16:creationId xmlns:a16="http://schemas.microsoft.com/office/drawing/2014/main" id="{E437B5AB-BBAC-8C49-99CC-B568E1B9BDA3}"/>
              </a:ext>
            </a:extLst>
          </p:cNvPr>
          <p:cNvSpPr>
            <a:spLocks noGrp="1"/>
          </p:cNvSpPr>
          <p:nvPr>
            <p:ph type="sldNum" sz="quarter" idx="12"/>
          </p:nvPr>
        </p:nvSpPr>
        <p:spPr/>
        <p:txBody>
          <a:bodyPr/>
          <a:lstStyle/>
          <a:p>
            <a:fld id="{23AA811B-2EBD-4900-905E-5BE206449611}" type="slidenum">
              <a:rPr lang="en-GB" smtClean="0"/>
              <a:pPr/>
              <a:t>8</a:t>
            </a:fld>
            <a:endParaRPr lang="en-GB" dirty="0"/>
          </a:p>
        </p:txBody>
      </p:sp>
      <p:sp>
        <p:nvSpPr>
          <p:cNvPr id="9" name="Titel 1">
            <a:extLst>
              <a:ext uri="{FF2B5EF4-FFF2-40B4-BE49-F238E27FC236}">
                <a16:creationId xmlns:a16="http://schemas.microsoft.com/office/drawing/2014/main" id="{D702BB9F-803A-CD40-BA9C-0BE301EC34EC}"/>
              </a:ext>
            </a:extLst>
          </p:cNvPr>
          <p:cNvSpPr txBox="1">
            <a:spLocks/>
          </p:cNvSpPr>
          <p:nvPr/>
        </p:nvSpPr>
        <p:spPr>
          <a:xfrm>
            <a:off x="652180" y="599904"/>
            <a:ext cx="4154040" cy="2781612"/>
          </a:xfrm>
          <a:prstGeom prst="rect">
            <a:avLst/>
          </a:prstGeom>
        </p:spPr>
        <p:txBody>
          <a:bodyPr vert="horz" lIns="0" tIns="0" rIns="0" bIns="0" rtlCol="0" anchor="t" anchorCtr="0">
            <a:noAutofit/>
          </a:bodyPr>
          <a:lstStyle>
            <a:lvl1pPr algn="l" defTabSz="914400" rtl="0" eaLnBrk="1" latinLnBrk="0" hangingPunct="1">
              <a:lnSpc>
                <a:spcPct val="120000"/>
              </a:lnSpc>
              <a:spcBef>
                <a:spcPct val="0"/>
              </a:spcBef>
              <a:buNone/>
              <a:defRPr sz="4400" kern="1200">
                <a:solidFill>
                  <a:schemeClr val="tx2"/>
                </a:solidFill>
                <a:latin typeface="+mj-lt"/>
                <a:ea typeface="+mj-ea"/>
                <a:cs typeface="+mj-cs"/>
              </a:defRPr>
            </a:lvl1pPr>
          </a:lstStyle>
          <a:p>
            <a:pPr>
              <a:lnSpc>
                <a:spcPct val="90000"/>
              </a:lnSpc>
            </a:pPr>
            <a:r>
              <a:rPr lang="en-GB" altLang="da-DK" sz="6600" spc="-150" dirty="0">
                <a:solidFill>
                  <a:schemeClr val="accent1"/>
                </a:solidFill>
              </a:rPr>
              <a:t>Novo </a:t>
            </a:r>
          </a:p>
          <a:p>
            <a:pPr>
              <a:lnSpc>
                <a:spcPct val="90000"/>
              </a:lnSpc>
            </a:pPr>
            <a:r>
              <a:rPr lang="en-GB" altLang="da-DK" sz="6600" spc="-150" dirty="0">
                <a:solidFill>
                  <a:schemeClr val="accent1"/>
                </a:solidFill>
              </a:rPr>
              <a:t>Nordisk </a:t>
            </a:r>
          </a:p>
          <a:p>
            <a:pPr>
              <a:lnSpc>
                <a:spcPct val="90000"/>
              </a:lnSpc>
            </a:pPr>
            <a:r>
              <a:rPr lang="en-GB" altLang="da-DK" sz="6600" spc="-150" dirty="0">
                <a:solidFill>
                  <a:schemeClr val="accent1"/>
                </a:solidFill>
              </a:rPr>
              <a:t>at a glance</a:t>
            </a:r>
            <a:endParaRPr lang="en-GB" sz="6600" spc="-150" dirty="0">
              <a:solidFill>
                <a:schemeClr val="accent1"/>
              </a:solidFill>
            </a:endParaRPr>
          </a:p>
        </p:txBody>
      </p:sp>
      <p:sp>
        <p:nvSpPr>
          <p:cNvPr id="10" name="Tekstfelt 7">
            <a:extLst>
              <a:ext uri="{FF2B5EF4-FFF2-40B4-BE49-F238E27FC236}">
                <a16:creationId xmlns:a16="http://schemas.microsoft.com/office/drawing/2014/main" id="{23725C6F-6F6B-D247-ABB5-0E23439AD38A}"/>
              </a:ext>
            </a:extLst>
          </p:cNvPr>
          <p:cNvSpPr txBox="1"/>
          <p:nvPr/>
        </p:nvSpPr>
        <p:spPr>
          <a:xfrm>
            <a:off x="725024" y="3626534"/>
            <a:ext cx="3859041" cy="1096647"/>
          </a:xfrm>
          <a:prstGeom prst="rect">
            <a:avLst/>
          </a:prstGeom>
          <a:noFill/>
        </p:spPr>
        <p:txBody>
          <a:bodyPr wrap="square" lIns="0" tIns="0" rIns="0" bIns="0" rtlCol="0">
            <a:spAutoFit/>
          </a:bodyPr>
          <a:lstStyle/>
          <a:p>
            <a:pPr>
              <a:lnSpc>
                <a:spcPct val="130000"/>
              </a:lnSpc>
            </a:pPr>
            <a:r>
              <a:rPr lang="en-GB" sz="1400">
                <a:solidFill>
                  <a:schemeClr val="accent1"/>
                </a:solidFill>
              </a:rPr>
              <a:t>Novo Nordisk is a leading global </a:t>
            </a:r>
            <a:br>
              <a:rPr lang="en-GB" sz="1400">
                <a:solidFill>
                  <a:schemeClr val="accent1"/>
                </a:solidFill>
              </a:rPr>
            </a:br>
            <a:r>
              <a:rPr lang="en-GB" sz="1400">
                <a:solidFill>
                  <a:schemeClr val="accent1"/>
                </a:solidFill>
              </a:rPr>
              <a:t>healthcare company, founded in 1923 </a:t>
            </a:r>
            <a:br>
              <a:rPr lang="en-GB" sz="1400">
                <a:solidFill>
                  <a:schemeClr val="accent1"/>
                </a:solidFill>
              </a:rPr>
            </a:br>
            <a:r>
              <a:rPr lang="en-GB" sz="1400">
                <a:solidFill>
                  <a:schemeClr val="accent1"/>
                </a:solidFill>
              </a:rPr>
              <a:t>and headquartered in Denmark. </a:t>
            </a:r>
            <a:br>
              <a:rPr lang="en-GB" sz="1400">
                <a:solidFill>
                  <a:schemeClr val="accent1"/>
                </a:solidFill>
              </a:rPr>
            </a:br>
            <a:endParaRPr lang="en-GB" sz="1400">
              <a:solidFill>
                <a:schemeClr val="accent1"/>
              </a:solidFill>
            </a:endParaRPr>
          </a:p>
        </p:txBody>
      </p:sp>
      <p:sp>
        <p:nvSpPr>
          <p:cNvPr id="11" name="TextBox 6">
            <a:extLst>
              <a:ext uri="{FF2B5EF4-FFF2-40B4-BE49-F238E27FC236}">
                <a16:creationId xmlns:a16="http://schemas.microsoft.com/office/drawing/2014/main" id="{9CB8815D-5E78-0449-82A0-3890861EDB67}"/>
              </a:ext>
            </a:extLst>
          </p:cNvPr>
          <p:cNvSpPr txBox="1"/>
          <p:nvPr/>
        </p:nvSpPr>
        <p:spPr>
          <a:xfrm>
            <a:off x="4441371" y="4825516"/>
            <a:ext cx="65" cy="343235"/>
          </a:xfrm>
          <a:prstGeom prst="rect">
            <a:avLst/>
          </a:prstGeom>
          <a:noFill/>
        </p:spPr>
        <p:txBody>
          <a:bodyPr wrap="none" lIns="0" tIns="0" rIns="0" bIns="0" rtlCol="0">
            <a:spAutoFit/>
          </a:bodyPr>
          <a:lstStyle/>
          <a:p>
            <a:pPr algn="l">
              <a:lnSpc>
                <a:spcPct val="120000"/>
              </a:lnSpc>
            </a:pPr>
            <a:endParaRPr lang="en-GB" sz="2000" dirty="0">
              <a:solidFill>
                <a:schemeClr val="tx2"/>
              </a:solidFill>
            </a:endParaRPr>
          </a:p>
        </p:txBody>
      </p:sp>
      <p:sp>
        <p:nvSpPr>
          <p:cNvPr id="12" name="TextBox 29">
            <a:extLst>
              <a:ext uri="{FF2B5EF4-FFF2-40B4-BE49-F238E27FC236}">
                <a16:creationId xmlns:a16="http://schemas.microsoft.com/office/drawing/2014/main" id="{CDFBED86-A618-0A4D-9190-E8EB9BE3CD52}"/>
              </a:ext>
            </a:extLst>
          </p:cNvPr>
          <p:cNvSpPr txBox="1"/>
          <p:nvPr/>
        </p:nvSpPr>
        <p:spPr>
          <a:xfrm>
            <a:off x="3902597" y="6784694"/>
            <a:ext cx="65" cy="343235"/>
          </a:xfrm>
          <a:prstGeom prst="rect">
            <a:avLst/>
          </a:prstGeom>
          <a:noFill/>
        </p:spPr>
        <p:txBody>
          <a:bodyPr wrap="none" lIns="0" tIns="0" rIns="0" bIns="0" rtlCol="0">
            <a:spAutoFit/>
          </a:bodyPr>
          <a:lstStyle/>
          <a:p>
            <a:pPr algn="l">
              <a:lnSpc>
                <a:spcPct val="120000"/>
              </a:lnSpc>
            </a:pPr>
            <a:endParaRPr lang="en-GB" sz="2000" dirty="0">
              <a:solidFill>
                <a:schemeClr val="tx2"/>
              </a:solidFill>
            </a:endParaRPr>
          </a:p>
        </p:txBody>
      </p:sp>
      <p:sp>
        <p:nvSpPr>
          <p:cNvPr id="13" name="TextBox 30">
            <a:extLst>
              <a:ext uri="{FF2B5EF4-FFF2-40B4-BE49-F238E27FC236}">
                <a16:creationId xmlns:a16="http://schemas.microsoft.com/office/drawing/2014/main" id="{77F75EE1-8B28-0B4D-9594-324C94F99291}"/>
              </a:ext>
            </a:extLst>
          </p:cNvPr>
          <p:cNvSpPr txBox="1"/>
          <p:nvPr/>
        </p:nvSpPr>
        <p:spPr>
          <a:xfrm>
            <a:off x="4250036" y="4003241"/>
            <a:ext cx="65" cy="343235"/>
          </a:xfrm>
          <a:prstGeom prst="rect">
            <a:avLst/>
          </a:prstGeom>
          <a:noFill/>
        </p:spPr>
        <p:txBody>
          <a:bodyPr wrap="none" lIns="0" tIns="0" rIns="0" bIns="0" rtlCol="0">
            <a:spAutoFit/>
          </a:bodyPr>
          <a:lstStyle/>
          <a:p>
            <a:pPr algn="l">
              <a:lnSpc>
                <a:spcPct val="120000"/>
              </a:lnSpc>
            </a:pPr>
            <a:endParaRPr lang="en-GB" sz="2000" dirty="0">
              <a:solidFill>
                <a:schemeClr val="tx2"/>
              </a:solidFill>
            </a:endParaRPr>
          </a:p>
        </p:txBody>
      </p:sp>
      <p:sp>
        <p:nvSpPr>
          <p:cNvPr id="14" name="TextBox 31">
            <a:extLst>
              <a:ext uri="{FF2B5EF4-FFF2-40B4-BE49-F238E27FC236}">
                <a16:creationId xmlns:a16="http://schemas.microsoft.com/office/drawing/2014/main" id="{FBAA2DCA-5EE8-984A-B4BE-58B0DD654636}"/>
              </a:ext>
            </a:extLst>
          </p:cNvPr>
          <p:cNvSpPr txBox="1"/>
          <p:nvPr/>
        </p:nvSpPr>
        <p:spPr>
          <a:xfrm>
            <a:off x="4712825" y="2015924"/>
            <a:ext cx="65" cy="343235"/>
          </a:xfrm>
          <a:prstGeom prst="rect">
            <a:avLst/>
          </a:prstGeom>
          <a:noFill/>
        </p:spPr>
        <p:txBody>
          <a:bodyPr wrap="none" lIns="0" tIns="0" rIns="0" bIns="0" rtlCol="0">
            <a:spAutoFit/>
          </a:bodyPr>
          <a:lstStyle/>
          <a:p>
            <a:pPr algn="l">
              <a:lnSpc>
                <a:spcPct val="120000"/>
              </a:lnSpc>
            </a:pPr>
            <a:endParaRPr lang="en-GB" sz="2000" dirty="0">
              <a:solidFill>
                <a:schemeClr val="tx2"/>
              </a:solidFill>
            </a:endParaRPr>
          </a:p>
        </p:txBody>
      </p:sp>
      <p:sp>
        <p:nvSpPr>
          <p:cNvPr id="37" name="TextBox 40">
            <a:extLst>
              <a:ext uri="{FF2B5EF4-FFF2-40B4-BE49-F238E27FC236}">
                <a16:creationId xmlns:a16="http://schemas.microsoft.com/office/drawing/2014/main" id="{BD6A16EB-F0F5-734D-93E4-9FFF01AA7E04}"/>
              </a:ext>
            </a:extLst>
          </p:cNvPr>
          <p:cNvSpPr txBox="1"/>
          <p:nvPr/>
        </p:nvSpPr>
        <p:spPr>
          <a:xfrm>
            <a:off x="4636851" y="4208834"/>
            <a:ext cx="65" cy="343235"/>
          </a:xfrm>
          <a:prstGeom prst="rect">
            <a:avLst/>
          </a:prstGeom>
          <a:noFill/>
        </p:spPr>
        <p:txBody>
          <a:bodyPr wrap="none" lIns="0" tIns="0" rIns="0" bIns="0" rtlCol="0">
            <a:spAutoFit/>
          </a:bodyPr>
          <a:lstStyle/>
          <a:p>
            <a:pPr algn="l">
              <a:lnSpc>
                <a:spcPct val="120000"/>
              </a:lnSpc>
            </a:pPr>
            <a:endParaRPr lang="en-GB" sz="2000" dirty="0">
              <a:solidFill>
                <a:schemeClr val="tx2"/>
              </a:solidFill>
            </a:endParaRPr>
          </a:p>
        </p:txBody>
      </p:sp>
      <p:sp>
        <p:nvSpPr>
          <p:cNvPr id="44" name="Tekstfelt 5">
            <a:extLst>
              <a:ext uri="{FF2B5EF4-FFF2-40B4-BE49-F238E27FC236}">
                <a16:creationId xmlns:a16="http://schemas.microsoft.com/office/drawing/2014/main" id="{6F21E6A2-E238-574C-8618-63B17E7D9190}"/>
              </a:ext>
            </a:extLst>
          </p:cNvPr>
          <p:cNvSpPr txBox="1"/>
          <p:nvPr/>
        </p:nvSpPr>
        <p:spPr>
          <a:xfrm>
            <a:off x="4904596" y="305471"/>
            <a:ext cx="2225203" cy="823687"/>
          </a:xfrm>
          <a:prstGeom prst="rect">
            <a:avLst/>
          </a:prstGeom>
          <a:noFill/>
        </p:spPr>
        <p:txBody>
          <a:bodyPr wrap="square" lIns="0" tIns="0" rIns="0" bIns="0" rtlCol="0">
            <a:spAutoFit/>
          </a:bodyPr>
          <a:lstStyle/>
          <a:p>
            <a:pPr algn="ctr">
              <a:lnSpc>
                <a:spcPct val="120000"/>
              </a:lnSpc>
            </a:pPr>
            <a:r>
              <a:rPr lang="en-GB" sz="4800" b="1">
                <a:solidFill>
                  <a:schemeClr val="bg1"/>
                </a:solidFill>
              </a:rPr>
              <a:t>170</a:t>
            </a:r>
            <a:endParaRPr lang="en-GB" sz="4800" b="1" dirty="0">
              <a:solidFill>
                <a:schemeClr val="bg1"/>
              </a:solidFill>
            </a:endParaRPr>
          </a:p>
        </p:txBody>
      </p:sp>
      <p:sp>
        <p:nvSpPr>
          <p:cNvPr id="117" name="Tekstfelt 11">
            <a:extLst>
              <a:ext uri="{FF2B5EF4-FFF2-40B4-BE49-F238E27FC236}">
                <a16:creationId xmlns:a16="http://schemas.microsoft.com/office/drawing/2014/main" id="{C945379B-6B27-924B-9AB5-962CACED2CFC}"/>
              </a:ext>
            </a:extLst>
          </p:cNvPr>
          <p:cNvSpPr txBox="1"/>
          <p:nvPr/>
        </p:nvSpPr>
        <p:spPr>
          <a:xfrm>
            <a:off x="2888800" y="4834843"/>
            <a:ext cx="2077462" cy="1301767"/>
          </a:xfrm>
          <a:prstGeom prst="rect">
            <a:avLst/>
          </a:prstGeom>
          <a:noFill/>
        </p:spPr>
        <p:txBody>
          <a:bodyPr wrap="square" lIns="0" tIns="0" rIns="0" bIns="0" rtlCol="0">
            <a:spAutoFit/>
          </a:bodyPr>
          <a:lstStyle/>
          <a:p>
            <a:pPr>
              <a:lnSpc>
                <a:spcPct val="130000"/>
              </a:lnSpc>
            </a:pPr>
            <a:r>
              <a:rPr lang="en-GB" sz="1100" dirty="0">
                <a:solidFill>
                  <a:schemeClr val="accent1"/>
                </a:solidFill>
              </a:rPr>
              <a:t>We do so by pioneering scientific breakthroughs, expanding access to our medicines and working to prevent and ultimately </a:t>
            </a:r>
            <a:br>
              <a:rPr lang="en-GB" sz="1100" dirty="0">
                <a:solidFill>
                  <a:schemeClr val="accent1"/>
                </a:solidFill>
              </a:rPr>
            </a:br>
            <a:r>
              <a:rPr lang="en-GB" sz="1100" dirty="0">
                <a:solidFill>
                  <a:schemeClr val="accent1"/>
                </a:solidFill>
              </a:rPr>
              <a:t>cure disease. </a:t>
            </a:r>
          </a:p>
        </p:txBody>
      </p:sp>
      <p:sp>
        <p:nvSpPr>
          <p:cNvPr id="64" name="Tekstfelt 11">
            <a:extLst>
              <a:ext uri="{FF2B5EF4-FFF2-40B4-BE49-F238E27FC236}">
                <a16:creationId xmlns:a16="http://schemas.microsoft.com/office/drawing/2014/main" id="{77831279-B78E-6D47-8369-582014BD4623}"/>
              </a:ext>
            </a:extLst>
          </p:cNvPr>
          <p:cNvSpPr txBox="1"/>
          <p:nvPr/>
        </p:nvSpPr>
        <p:spPr>
          <a:xfrm>
            <a:off x="663904" y="4834843"/>
            <a:ext cx="1903384" cy="1521827"/>
          </a:xfrm>
          <a:prstGeom prst="rect">
            <a:avLst/>
          </a:prstGeom>
          <a:noFill/>
        </p:spPr>
        <p:txBody>
          <a:bodyPr wrap="square" lIns="0" tIns="0" rIns="0" bIns="0" rtlCol="0">
            <a:spAutoFit/>
          </a:bodyPr>
          <a:lstStyle/>
          <a:p>
            <a:pPr>
              <a:lnSpc>
                <a:spcPct val="130000"/>
              </a:lnSpc>
            </a:pPr>
            <a:r>
              <a:rPr lang="en-GB" sz="1100">
                <a:solidFill>
                  <a:schemeClr val="accent1"/>
                </a:solidFill>
              </a:rPr>
              <a:t>Our purpose is to drive change to defeat diabetes and other serious chronic diseases such as obesity </a:t>
            </a:r>
            <a:br>
              <a:rPr lang="en-GB" sz="1100">
                <a:solidFill>
                  <a:schemeClr val="accent1"/>
                </a:solidFill>
              </a:rPr>
            </a:br>
            <a:r>
              <a:rPr lang="en-GB" sz="1100">
                <a:solidFill>
                  <a:schemeClr val="accent1"/>
                </a:solidFill>
              </a:rPr>
              <a:t>and rare blood and endocrine disorders.</a:t>
            </a:r>
            <a:br>
              <a:rPr lang="en-GB" sz="1100">
                <a:solidFill>
                  <a:schemeClr val="accent1"/>
                </a:solidFill>
              </a:rPr>
            </a:br>
            <a:endParaRPr lang="en-GB" sz="1100">
              <a:solidFill>
                <a:schemeClr val="accent1"/>
              </a:solidFill>
            </a:endParaRPr>
          </a:p>
        </p:txBody>
      </p:sp>
      <p:pic>
        <p:nvPicPr>
          <p:cNvPr id="79" name="Picture 78">
            <a:extLst>
              <a:ext uri="{FF2B5EF4-FFF2-40B4-BE49-F238E27FC236}">
                <a16:creationId xmlns:a16="http://schemas.microsoft.com/office/drawing/2014/main" id="{DA0363D7-D65E-4CB3-BB9F-E16C0FCDB110}"/>
              </a:ext>
            </a:extLst>
          </p:cNvPr>
          <p:cNvPicPr>
            <a:picLocks noChangeAspect="1"/>
          </p:cNvPicPr>
          <p:nvPr/>
        </p:nvPicPr>
        <p:blipFill>
          <a:blip r:embed="rId4">
            <a:grayscl/>
          </a:blip>
          <a:stretch>
            <a:fillRect/>
          </a:stretch>
        </p:blipFill>
        <p:spPr>
          <a:xfrm>
            <a:off x="6690506" y="1881182"/>
            <a:ext cx="1668699" cy="823687"/>
          </a:xfrm>
          <a:prstGeom prst="rect">
            <a:avLst/>
          </a:prstGeom>
        </p:spPr>
      </p:pic>
      <p:sp>
        <p:nvSpPr>
          <p:cNvPr id="108" name="Tekstfelt 5">
            <a:extLst>
              <a:ext uri="{FF2B5EF4-FFF2-40B4-BE49-F238E27FC236}">
                <a16:creationId xmlns:a16="http://schemas.microsoft.com/office/drawing/2014/main" id="{DB6DC41A-00F9-439A-9938-AFB56D7E54FE}"/>
              </a:ext>
            </a:extLst>
          </p:cNvPr>
          <p:cNvSpPr txBox="1"/>
          <p:nvPr/>
        </p:nvSpPr>
        <p:spPr>
          <a:xfrm>
            <a:off x="4904596" y="305471"/>
            <a:ext cx="2225203" cy="823687"/>
          </a:xfrm>
          <a:prstGeom prst="rect">
            <a:avLst/>
          </a:prstGeom>
          <a:noFill/>
        </p:spPr>
        <p:txBody>
          <a:bodyPr wrap="square" lIns="0" tIns="0" rIns="0" bIns="0" rtlCol="0">
            <a:spAutoFit/>
          </a:bodyPr>
          <a:lstStyle/>
          <a:p>
            <a:pPr algn="ctr">
              <a:lnSpc>
                <a:spcPct val="120000"/>
              </a:lnSpc>
            </a:pPr>
            <a:r>
              <a:rPr lang="en-GB" sz="4800" b="1">
                <a:solidFill>
                  <a:schemeClr val="bg1"/>
                </a:solidFill>
              </a:rPr>
              <a:t>170</a:t>
            </a:r>
            <a:endParaRPr lang="en-GB" sz="4800" b="1" dirty="0">
              <a:solidFill>
                <a:schemeClr val="bg1"/>
              </a:solidFill>
            </a:endParaRPr>
          </a:p>
        </p:txBody>
      </p:sp>
      <p:grpSp>
        <p:nvGrpSpPr>
          <p:cNvPr id="118" name="Group 117">
            <a:extLst>
              <a:ext uri="{FF2B5EF4-FFF2-40B4-BE49-F238E27FC236}">
                <a16:creationId xmlns:a16="http://schemas.microsoft.com/office/drawing/2014/main" id="{03963D93-FF56-468B-9097-7F77C5DD208E}"/>
              </a:ext>
            </a:extLst>
          </p:cNvPr>
          <p:cNvGrpSpPr>
            <a:grpSpLocks/>
          </p:cNvGrpSpPr>
          <p:nvPr/>
        </p:nvGrpSpPr>
        <p:grpSpPr>
          <a:xfrm>
            <a:off x="9822657" y="3042625"/>
            <a:ext cx="2044620" cy="3489937"/>
            <a:chOff x="10319408" y="2876444"/>
            <a:chExt cx="1724481" cy="3851810"/>
          </a:xfrm>
        </p:grpSpPr>
        <p:pic>
          <p:nvPicPr>
            <p:cNvPr id="119" name="Picture 58">
              <a:extLst>
                <a:ext uri="{FF2B5EF4-FFF2-40B4-BE49-F238E27FC236}">
                  <a16:creationId xmlns:a16="http://schemas.microsoft.com/office/drawing/2014/main" id="{EEAD8524-DA40-45CB-AEA0-B66DEC13DC11}"/>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10319408" y="2876444"/>
              <a:ext cx="1724481" cy="3851810"/>
            </a:xfrm>
            <a:prstGeom prst="rect">
              <a:avLst/>
            </a:prstGeom>
          </p:spPr>
        </p:pic>
        <p:sp>
          <p:nvSpPr>
            <p:cNvPr id="120" name="TextBox 61">
              <a:extLst>
                <a:ext uri="{FF2B5EF4-FFF2-40B4-BE49-F238E27FC236}">
                  <a16:creationId xmlns:a16="http://schemas.microsoft.com/office/drawing/2014/main" id="{03B87FA5-439C-4E36-8E38-B55BCED85E78}"/>
                </a:ext>
              </a:extLst>
            </p:cNvPr>
            <p:cNvSpPr txBox="1"/>
            <p:nvPr/>
          </p:nvSpPr>
          <p:spPr>
            <a:xfrm>
              <a:off x="10484637" y="2986875"/>
              <a:ext cx="742191" cy="240259"/>
            </a:xfrm>
            <a:prstGeom prst="rect">
              <a:avLst/>
            </a:prstGeom>
            <a:noFill/>
          </p:spPr>
          <p:txBody>
            <a:bodyPr wrap="none" lIns="0" tIns="0" rIns="0" bIns="0" rtlCol="0">
              <a:spAutoFit/>
            </a:bodyPr>
            <a:lstStyle/>
            <a:p>
              <a:pPr algn="l">
                <a:lnSpc>
                  <a:spcPct val="120000"/>
                </a:lnSpc>
              </a:pPr>
              <a:r>
                <a:rPr lang="en-GB" sz="1400" dirty="0">
                  <a:solidFill>
                    <a:schemeClr val="bg1"/>
                  </a:solidFill>
                </a:rPr>
                <a:t>Diabetes</a:t>
              </a:r>
            </a:p>
          </p:txBody>
        </p:sp>
      </p:grpSp>
      <p:grpSp>
        <p:nvGrpSpPr>
          <p:cNvPr id="121" name="Group 26">
            <a:extLst>
              <a:ext uri="{FF2B5EF4-FFF2-40B4-BE49-F238E27FC236}">
                <a16:creationId xmlns:a16="http://schemas.microsoft.com/office/drawing/2014/main" id="{BC569220-064B-4CD2-BECD-FCA30D77C9FE}"/>
              </a:ext>
            </a:extLst>
          </p:cNvPr>
          <p:cNvGrpSpPr>
            <a:grpSpLocks/>
          </p:cNvGrpSpPr>
          <p:nvPr/>
        </p:nvGrpSpPr>
        <p:grpSpPr>
          <a:xfrm>
            <a:off x="5141531" y="3042624"/>
            <a:ext cx="2697544" cy="1776353"/>
            <a:chOff x="5324293" y="2876446"/>
            <a:chExt cx="2314483" cy="2417932"/>
          </a:xfrm>
        </p:grpSpPr>
        <p:pic>
          <p:nvPicPr>
            <p:cNvPr id="122" name="Picture 57" descr="A picture containing dog, outdoor, small, person&#10;&#10;Description automatically generated">
              <a:extLst>
                <a:ext uri="{FF2B5EF4-FFF2-40B4-BE49-F238E27FC236}">
                  <a16:creationId xmlns:a16="http://schemas.microsoft.com/office/drawing/2014/main" id="{F47DCE53-FF2F-4114-BA26-7940C0DCAEEC}"/>
                </a:ext>
              </a:extLst>
            </p:cNvPr>
            <p:cNvPicPr>
              <a:picLocks noChangeAspect="1"/>
            </p:cNvPicPr>
            <p:nvPr/>
          </p:nvPicPr>
          <p:blipFill rotWithShape="1">
            <a:blip r:embed="rId6">
              <a:extLst>
                <a:ext uri="{28A0092B-C50C-407E-A947-70E740481C1C}">
                  <a14:useLocalDpi xmlns:a14="http://schemas.microsoft.com/office/drawing/2010/main"/>
                </a:ext>
              </a:extLst>
            </a:blip>
            <a:srcRect t="2570" b="2570"/>
            <a:stretch/>
          </p:blipFill>
          <p:spPr>
            <a:xfrm>
              <a:off x="5324293" y="2876446"/>
              <a:ext cx="2314483" cy="2417932"/>
            </a:xfrm>
            <a:prstGeom prst="rect">
              <a:avLst/>
            </a:prstGeom>
            <a:blipFill>
              <a:blip r:embed="rId7"/>
              <a:stretch>
                <a:fillRect/>
              </a:stretch>
            </a:blipFill>
          </p:spPr>
        </p:pic>
        <p:sp>
          <p:nvSpPr>
            <p:cNvPr id="123" name="TextBox 62">
              <a:extLst>
                <a:ext uri="{FF2B5EF4-FFF2-40B4-BE49-F238E27FC236}">
                  <a16:creationId xmlns:a16="http://schemas.microsoft.com/office/drawing/2014/main" id="{BDDC4E66-2ABD-479C-8C66-07D4F406E80C}"/>
                </a:ext>
              </a:extLst>
            </p:cNvPr>
            <p:cNvSpPr txBox="1"/>
            <p:nvPr/>
          </p:nvSpPr>
          <p:spPr>
            <a:xfrm>
              <a:off x="5464891" y="2986875"/>
              <a:ext cx="798295" cy="498791"/>
            </a:xfrm>
            <a:prstGeom prst="rect">
              <a:avLst/>
            </a:prstGeom>
            <a:noFill/>
          </p:spPr>
          <p:txBody>
            <a:bodyPr wrap="none" lIns="0" tIns="0" rIns="0" bIns="0" rtlCol="0">
              <a:spAutoFit/>
            </a:bodyPr>
            <a:lstStyle/>
            <a:p>
              <a:pPr>
                <a:lnSpc>
                  <a:spcPct val="120000"/>
                </a:lnSpc>
              </a:pPr>
              <a:r>
                <a:rPr lang="en-GB" sz="1400" dirty="0">
                  <a:solidFill>
                    <a:schemeClr val="bg1"/>
                  </a:solidFill>
                </a:rPr>
                <a:t>Growth </a:t>
              </a:r>
            </a:p>
            <a:p>
              <a:pPr>
                <a:lnSpc>
                  <a:spcPct val="120000"/>
                </a:lnSpc>
              </a:pPr>
              <a:r>
                <a:rPr lang="en-GB" sz="1400" dirty="0">
                  <a:solidFill>
                    <a:schemeClr val="bg1"/>
                  </a:solidFill>
                </a:rPr>
                <a:t>disorders</a:t>
              </a:r>
            </a:p>
          </p:txBody>
        </p:sp>
      </p:grpSp>
      <p:grpSp>
        <p:nvGrpSpPr>
          <p:cNvPr id="124" name="Group 28">
            <a:extLst>
              <a:ext uri="{FF2B5EF4-FFF2-40B4-BE49-F238E27FC236}">
                <a16:creationId xmlns:a16="http://schemas.microsoft.com/office/drawing/2014/main" id="{AA1EE429-0507-46DF-A5BD-34BF140FFFEE}"/>
              </a:ext>
            </a:extLst>
          </p:cNvPr>
          <p:cNvGrpSpPr>
            <a:grpSpLocks/>
          </p:cNvGrpSpPr>
          <p:nvPr/>
        </p:nvGrpSpPr>
        <p:grpSpPr>
          <a:xfrm>
            <a:off x="7910174" y="3042625"/>
            <a:ext cx="1843426" cy="1544192"/>
            <a:chOff x="8101943" y="2876445"/>
            <a:chExt cx="2197648" cy="1887103"/>
          </a:xfrm>
        </p:grpSpPr>
        <p:pic>
          <p:nvPicPr>
            <p:cNvPr id="125" name="Picture 63" descr="A picture containing person, indoor, boy, young&#10;&#10;Description automatically generated">
              <a:extLst>
                <a:ext uri="{FF2B5EF4-FFF2-40B4-BE49-F238E27FC236}">
                  <a16:creationId xmlns:a16="http://schemas.microsoft.com/office/drawing/2014/main" id="{2DAD4DE7-0BEF-43E1-96DB-C881E2BBA8B2}"/>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8101943" y="2876445"/>
              <a:ext cx="2197648" cy="1887103"/>
            </a:xfrm>
            <a:prstGeom prst="rect">
              <a:avLst/>
            </a:prstGeom>
          </p:spPr>
        </p:pic>
        <p:sp>
          <p:nvSpPr>
            <p:cNvPr id="126" name="TextBox 65">
              <a:extLst>
                <a:ext uri="{FF2B5EF4-FFF2-40B4-BE49-F238E27FC236}">
                  <a16:creationId xmlns:a16="http://schemas.microsoft.com/office/drawing/2014/main" id="{F16456EC-C6FD-45E4-9044-CD418C54BDB5}"/>
                </a:ext>
              </a:extLst>
            </p:cNvPr>
            <p:cNvSpPr txBox="1"/>
            <p:nvPr/>
          </p:nvSpPr>
          <p:spPr>
            <a:xfrm>
              <a:off x="8260283" y="4376973"/>
              <a:ext cx="1074012" cy="240259"/>
            </a:xfrm>
            <a:prstGeom prst="rect">
              <a:avLst/>
            </a:prstGeom>
            <a:noFill/>
          </p:spPr>
          <p:txBody>
            <a:bodyPr wrap="none" lIns="0" tIns="0" rIns="0" bIns="0" rtlCol="0">
              <a:spAutoFit/>
            </a:bodyPr>
            <a:lstStyle/>
            <a:p>
              <a:pPr algn="l">
                <a:lnSpc>
                  <a:spcPct val="120000"/>
                </a:lnSpc>
              </a:pPr>
              <a:r>
                <a:rPr lang="en-GB" sz="1400">
                  <a:solidFill>
                    <a:schemeClr val="bg1"/>
                  </a:solidFill>
                </a:rPr>
                <a:t>Haemophilia</a:t>
              </a:r>
              <a:endParaRPr lang="en-GB" sz="1400" dirty="0">
                <a:solidFill>
                  <a:schemeClr val="bg1"/>
                </a:solidFill>
              </a:endParaRPr>
            </a:p>
          </p:txBody>
        </p:sp>
      </p:grpSp>
      <p:pic>
        <p:nvPicPr>
          <p:cNvPr id="127" name="Picture 60" descr="A person standing next to a body of water&#10;&#10;Description automatically generated">
            <a:extLst>
              <a:ext uri="{FF2B5EF4-FFF2-40B4-BE49-F238E27FC236}">
                <a16:creationId xmlns:a16="http://schemas.microsoft.com/office/drawing/2014/main" id="{0CD4D365-0764-430D-8B4B-4006E5C092FA}"/>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143051" y="4890978"/>
            <a:ext cx="2695331" cy="1643172"/>
          </a:xfrm>
          <a:prstGeom prst="rect">
            <a:avLst/>
          </a:prstGeom>
        </p:spPr>
      </p:pic>
      <p:sp>
        <p:nvSpPr>
          <p:cNvPr id="128" name="TextBox 68">
            <a:extLst>
              <a:ext uri="{FF2B5EF4-FFF2-40B4-BE49-F238E27FC236}">
                <a16:creationId xmlns:a16="http://schemas.microsoft.com/office/drawing/2014/main" id="{9CCF2B5D-07CE-414E-9BBF-D59C21F6F782}"/>
              </a:ext>
            </a:extLst>
          </p:cNvPr>
          <p:cNvSpPr txBox="1"/>
          <p:nvPr/>
        </p:nvSpPr>
        <p:spPr>
          <a:xfrm>
            <a:off x="5301888" y="6208119"/>
            <a:ext cx="639599" cy="190843"/>
          </a:xfrm>
          <a:prstGeom prst="rect">
            <a:avLst/>
          </a:prstGeom>
          <a:noFill/>
        </p:spPr>
        <p:txBody>
          <a:bodyPr wrap="none" lIns="0" tIns="0" rIns="0" bIns="0" rtlCol="0">
            <a:spAutoFit/>
          </a:bodyPr>
          <a:lstStyle/>
          <a:p>
            <a:pPr algn="l">
              <a:lnSpc>
                <a:spcPct val="120000"/>
              </a:lnSpc>
            </a:pPr>
            <a:r>
              <a:rPr lang="en-GB" sz="1400">
                <a:solidFill>
                  <a:schemeClr val="bg1"/>
                </a:solidFill>
              </a:rPr>
              <a:t>Obesity</a:t>
            </a:r>
            <a:endParaRPr lang="en-GB" sz="1400" dirty="0">
              <a:solidFill>
                <a:schemeClr val="bg1"/>
              </a:solidFill>
            </a:endParaRPr>
          </a:p>
        </p:txBody>
      </p:sp>
      <p:grpSp>
        <p:nvGrpSpPr>
          <p:cNvPr id="129" name="Group 128">
            <a:extLst>
              <a:ext uri="{FF2B5EF4-FFF2-40B4-BE49-F238E27FC236}">
                <a16:creationId xmlns:a16="http://schemas.microsoft.com/office/drawing/2014/main" id="{147EDD1E-19C1-423E-AB20-0AC2CE686E94}"/>
              </a:ext>
            </a:extLst>
          </p:cNvPr>
          <p:cNvGrpSpPr/>
          <p:nvPr/>
        </p:nvGrpSpPr>
        <p:grpSpPr>
          <a:xfrm>
            <a:off x="7909063" y="4658816"/>
            <a:ext cx="1842913" cy="1874931"/>
            <a:chOff x="8420131" y="4853865"/>
            <a:chExt cx="1842913" cy="1874931"/>
          </a:xfrm>
        </p:grpSpPr>
        <p:sp>
          <p:nvSpPr>
            <p:cNvPr id="130" name="Rectangle 137">
              <a:extLst>
                <a:ext uri="{FF2B5EF4-FFF2-40B4-BE49-F238E27FC236}">
                  <a16:creationId xmlns:a16="http://schemas.microsoft.com/office/drawing/2014/main" id="{AB58C648-ADDC-4A5F-BF25-7393DDE0B2FA}"/>
                </a:ext>
              </a:extLst>
            </p:cNvPr>
            <p:cNvSpPr/>
            <p:nvPr/>
          </p:nvSpPr>
          <p:spPr>
            <a:xfrm>
              <a:off x="8420131" y="4853865"/>
              <a:ext cx="1842913" cy="1874931"/>
            </a:xfrm>
            <a:prstGeom prst="rect">
              <a:avLst/>
            </a:prstGeom>
            <a:solidFill>
              <a:srgbClr val="F7F6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1" name="Tekstfelt 5">
              <a:extLst>
                <a:ext uri="{FF2B5EF4-FFF2-40B4-BE49-F238E27FC236}">
                  <a16:creationId xmlns:a16="http://schemas.microsoft.com/office/drawing/2014/main" id="{8C719348-E880-4D6E-8B80-DEC971A5BBC5}"/>
                </a:ext>
              </a:extLst>
            </p:cNvPr>
            <p:cNvSpPr txBox="1"/>
            <p:nvPr/>
          </p:nvSpPr>
          <p:spPr>
            <a:xfrm>
              <a:off x="8696575" y="4981631"/>
              <a:ext cx="1290024" cy="1475789"/>
            </a:xfrm>
            <a:prstGeom prst="rect">
              <a:avLst/>
            </a:prstGeom>
            <a:noFill/>
          </p:spPr>
          <p:txBody>
            <a:bodyPr wrap="square" lIns="0" tIns="0" rIns="0" bIns="0" rtlCol="0">
              <a:spAutoFit/>
            </a:bodyPr>
            <a:lstStyle/>
            <a:p>
              <a:pPr algn="ctr">
                <a:lnSpc>
                  <a:spcPct val="120000"/>
                </a:lnSpc>
              </a:pPr>
              <a:r>
                <a:rPr lang="en-GB" sz="8600" b="1" spc="-300" dirty="0">
                  <a:solidFill>
                    <a:srgbClr val="001965"/>
                  </a:solidFill>
                </a:rPr>
                <a:t>10</a:t>
              </a:r>
            </a:p>
          </p:txBody>
        </p:sp>
        <p:sp>
          <p:nvSpPr>
            <p:cNvPr id="132" name="Rectangle 139">
              <a:extLst>
                <a:ext uri="{FF2B5EF4-FFF2-40B4-BE49-F238E27FC236}">
                  <a16:creationId xmlns:a16="http://schemas.microsoft.com/office/drawing/2014/main" id="{D024A149-4E84-4839-93A3-A3E4A96DA269}"/>
                </a:ext>
              </a:extLst>
            </p:cNvPr>
            <p:cNvSpPr>
              <a:spLocks/>
            </p:cNvSpPr>
            <p:nvPr/>
          </p:nvSpPr>
          <p:spPr>
            <a:xfrm>
              <a:off x="8786093" y="4991007"/>
              <a:ext cx="1110988" cy="229615"/>
            </a:xfrm>
            <a:prstGeom prst="rect">
              <a:avLst/>
            </a:prstGeom>
          </p:spPr>
          <p:txBody>
            <a:bodyPr wrap="square">
              <a:spAutoFit/>
            </a:bodyPr>
            <a:lstStyle/>
            <a:p>
              <a:pPr algn="ctr">
                <a:lnSpc>
                  <a:spcPct val="120000"/>
                </a:lnSpc>
              </a:pPr>
              <a:r>
                <a:rPr lang="en-GB" sz="800" b="1" noProof="1">
                  <a:solidFill>
                    <a:srgbClr val="001965"/>
                  </a:solidFill>
                </a:rPr>
                <a:t>Among the world’s</a:t>
              </a:r>
            </a:p>
          </p:txBody>
        </p:sp>
        <p:sp>
          <p:nvSpPr>
            <p:cNvPr id="133" name="Rectangle 140">
              <a:extLst>
                <a:ext uri="{FF2B5EF4-FFF2-40B4-BE49-F238E27FC236}">
                  <a16:creationId xmlns:a16="http://schemas.microsoft.com/office/drawing/2014/main" id="{187D522D-6324-4384-9806-9B80DF03A225}"/>
                </a:ext>
              </a:extLst>
            </p:cNvPr>
            <p:cNvSpPr/>
            <p:nvPr/>
          </p:nvSpPr>
          <p:spPr>
            <a:xfrm>
              <a:off x="8446018" y="6229456"/>
              <a:ext cx="1791138" cy="377347"/>
            </a:xfrm>
            <a:prstGeom prst="rect">
              <a:avLst/>
            </a:prstGeom>
          </p:spPr>
          <p:txBody>
            <a:bodyPr wrap="square">
              <a:spAutoFit/>
            </a:bodyPr>
            <a:lstStyle/>
            <a:p>
              <a:pPr algn="ctr">
                <a:lnSpc>
                  <a:spcPct val="120000"/>
                </a:lnSpc>
              </a:pPr>
              <a:r>
                <a:rPr lang="en-GB" sz="800" b="1" noProof="1">
                  <a:solidFill>
                    <a:srgbClr val="001965"/>
                  </a:solidFill>
                </a:rPr>
                <a:t>largest pharma companies measured by market value</a:t>
              </a:r>
              <a:r>
                <a:rPr lang="en-GB" sz="800" b="1" baseline="30000" noProof="1">
                  <a:solidFill>
                    <a:srgbClr val="001965"/>
                  </a:solidFill>
                </a:rPr>
                <a:t>1</a:t>
              </a:r>
            </a:p>
          </p:txBody>
        </p:sp>
      </p:grpSp>
      <p:sp>
        <p:nvSpPr>
          <p:cNvPr id="134" name="Tekstfelt 7">
            <a:extLst>
              <a:ext uri="{FF2B5EF4-FFF2-40B4-BE49-F238E27FC236}">
                <a16:creationId xmlns:a16="http://schemas.microsoft.com/office/drawing/2014/main" id="{5F13A6FD-A06B-4930-85F0-0B7793FA78B3}"/>
              </a:ext>
            </a:extLst>
          </p:cNvPr>
          <p:cNvSpPr txBox="1"/>
          <p:nvPr/>
        </p:nvSpPr>
        <p:spPr>
          <a:xfrm>
            <a:off x="8537489" y="2223934"/>
            <a:ext cx="1244139" cy="580480"/>
          </a:xfrm>
          <a:prstGeom prst="rect">
            <a:avLst/>
          </a:prstGeom>
          <a:noFill/>
        </p:spPr>
        <p:txBody>
          <a:bodyPr wrap="square" lIns="0" tIns="0" rIns="0" bIns="0" rtlCol="0">
            <a:spAutoFit/>
          </a:bodyPr>
          <a:lstStyle/>
          <a:p>
            <a:pPr>
              <a:lnSpc>
                <a:spcPct val="120000"/>
              </a:lnSpc>
            </a:pPr>
            <a:r>
              <a:rPr lang="en-GB" sz="800" b="1" dirty="0">
                <a:solidFill>
                  <a:schemeClr val="tx2"/>
                </a:solidFill>
              </a:rPr>
              <a:t>Strategic production </a:t>
            </a:r>
            <a:br>
              <a:rPr lang="en-GB" sz="800" b="1" dirty="0">
                <a:solidFill>
                  <a:schemeClr val="tx2"/>
                </a:solidFill>
              </a:rPr>
            </a:br>
            <a:r>
              <a:rPr lang="en-GB" sz="800" b="1" dirty="0">
                <a:solidFill>
                  <a:schemeClr val="tx2"/>
                </a:solidFill>
              </a:rPr>
              <a:t>sites </a:t>
            </a:r>
            <a:r>
              <a:rPr lang="en-GB" sz="800" dirty="0">
                <a:solidFill>
                  <a:schemeClr val="tx2"/>
                </a:solidFill>
              </a:rPr>
              <a:t>in Denmark, </a:t>
            </a:r>
            <a:br>
              <a:rPr lang="en-GB" sz="800" dirty="0">
                <a:solidFill>
                  <a:schemeClr val="tx2"/>
                </a:solidFill>
              </a:rPr>
            </a:br>
            <a:r>
              <a:rPr lang="en-GB" sz="800" dirty="0">
                <a:solidFill>
                  <a:schemeClr val="tx2"/>
                </a:solidFill>
              </a:rPr>
              <a:t>Brazil, China, France </a:t>
            </a:r>
            <a:br>
              <a:rPr lang="en-GB" sz="800" dirty="0">
                <a:solidFill>
                  <a:schemeClr val="tx2"/>
                </a:solidFill>
              </a:rPr>
            </a:br>
            <a:r>
              <a:rPr lang="en-GB" sz="800" dirty="0">
                <a:solidFill>
                  <a:schemeClr val="tx2"/>
                </a:solidFill>
              </a:rPr>
              <a:t>and US</a:t>
            </a:r>
          </a:p>
        </p:txBody>
      </p:sp>
      <p:sp>
        <p:nvSpPr>
          <p:cNvPr id="135" name="Tekstfelt 7">
            <a:extLst>
              <a:ext uri="{FF2B5EF4-FFF2-40B4-BE49-F238E27FC236}">
                <a16:creationId xmlns:a16="http://schemas.microsoft.com/office/drawing/2014/main" id="{44A376EA-7194-472F-8215-BE78156FD194}"/>
              </a:ext>
            </a:extLst>
          </p:cNvPr>
          <p:cNvSpPr txBox="1"/>
          <p:nvPr/>
        </p:nvSpPr>
        <p:spPr>
          <a:xfrm>
            <a:off x="8537489" y="1737515"/>
            <a:ext cx="1286078" cy="432747"/>
          </a:xfrm>
          <a:prstGeom prst="rect">
            <a:avLst/>
          </a:prstGeom>
          <a:noFill/>
        </p:spPr>
        <p:txBody>
          <a:bodyPr wrap="square" lIns="0" tIns="0" rIns="0" bIns="0" rtlCol="0">
            <a:spAutoFit/>
          </a:bodyPr>
          <a:lstStyle/>
          <a:p>
            <a:pPr>
              <a:lnSpc>
                <a:spcPct val="120000"/>
              </a:lnSpc>
            </a:pPr>
            <a:r>
              <a:rPr lang="en-GB" sz="800" b="1" dirty="0">
                <a:solidFill>
                  <a:srgbClr val="001965"/>
                </a:solidFill>
              </a:rPr>
              <a:t>R&amp;D centres </a:t>
            </a:r>
          </a:p>
          <a:p>
            <a:pPr>
              <a:lnSpc>
                <a:spcPct val="120000"/>
              </a:lnSpc>
            </a:pPr>
            <a:r>
              <a:rPr lang="en-GB" sz="800" dirty="0">
                <a:solidFill>
                  <a:srgbClr val="001965"/>
                </a:solidFill>
              </a:rPr>
              <a:t>in China, Denmark, </a:t>
            </a:r>
            <a:br>
              <a:rPr lang="en-GB" sz="800" dirty="0">
                <a:solidFill>
                  <a:srgbClr val="001965"/>
                </a:solidFill>
              </a:rPr>
            </a:br>
            <a:r>
              <a:rPr lang="en-GB" sz="800" dirty="0">
                <a:solidFill>
                  <a:srgbClr val="001965"/>
                </a:solidFill>
              </a:rPr>
              <a:t>India, UK and US </a:t>
            </a:r>
          </a:p>
        </p:txBody>
      </p:sp>
      <p:grpSp>
        <p:nvGrpSpPr>
          <p:cNvPr id="136" name="Group 135">
            <a:extLst>
              <a:ext uri="{FF2B5EF4-FFF2-40B4-BE49-F238E27FC236}">
                <a16:creationId xmlns:a16="http://schemas.microsoft.com/office/drawing/2014/main" id="{7B291FF6-56A9-48C6-A5F2-DC3A66557D57}"/>
              </a:ext>
            </a:extLst>
          </p:cNvPr>
          <p:cNvGrpSpPr/>
          <p:nvPr/>
        </p:nvGrpSpPr>
        <p:grpSpPr>
          <a:xfrm>
            <a:off x="9642946" y="1577093"/>
            <a:ext cx="2225204" cy="1401440"/>
            <a:chOff x="9818684" y="1725637"/>
            <a:chExt cx="2225204" cy="1401440"/>
          </a:xfrm>
        </p:grpSpPr>
        <p:sp>
          <p:nvSpPr>
            <p:cNvPr id="137" name="Rectangle 151">
              <a:extLst>
                <a:ext uri="{FF2B5EF4-FFF2-40B4-BE49-F238E27FC236}">
                  <a16:creationId xmlns:a16="http://schemas.microsoft.com/office/drawing/2014/main" id="{E71DB56A-E9A9-4764-8A56-325C1C394C2C}"/>
                </a:ext>
              </a:extLst>
            </p:cNvPr>
            <p:cNvSpPr/>
            <p:nvPr/>
          </p:nvSpPr>
          <p:spPr>
            <a:xfrm>
              <a:off x="9818684" y="1725637"/>
              <a:ext cx="2225204" cy="1401440"/>
            </a:xfrm>
            <a:prstGeom prst="rect">
              <a:avLst/>
            </a:prstGeom>
            <a:solidFill>
              <a:srgbClr val="FCF2F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8" name="Tekstfelt 5">
              <a:extLst>
                <a:ext uri="{FF2B5EF4-FFF2-40B4-BE49-F238E27FC236}">
                  <a16:creationId xmlns:a16="http://schemas.microsoft.com/office/drawing/2014/main" id="{57CE4AF0-5B63-4B02-99DC-B3BD9E0B7F5E}"/>
                </a:ext>
              </a:extLst>
            </p:cNvPr>
            <p:cNvSpPr txBox="1"/>
            <p:nvPr/>
          </p:nvSpPr>
          <p:spPr>
            <a:xfrm>
              <a:off x="9879814" y="1998530"/>
              <a:ext cx="2102946" cy="789383"/>
            </a:xfrm>
            <a:prstGeom prst="rect">
              <a:avLst/>
            </a:prstGeom>
            <a:noFill/>
          </p:spPr>
          <p:txBody>
            <a:bodyPr wrap="square" lIns="0" tIns="0" rIns="0" bIns="0" rtlCol="0">
              <a:spAutoFit/>
            </a:bodyPr>
            <a:lstStyle/>
            <a:p>
              <a:pPr algn="ctr">
                <a:lnSpc>
                  <a:spcPct val="120000"/>
                </a:lnSpc>
              </a:pPr>
              <a:r>
                <a:rPr lang="en-GB" sz="4600" b="1" dirty="0">
                  <a:solidFill>
                    <a:srgbClr val="001965"/>
                  </a:solidFill>
                </a:rPr>
                <a:t>43,500</a:t>
              </a:r>
            </a:p>
          </p:txBody>
        </p:sp>
        <p:sp>
          <p:nvSpPr>
            <p:cNvPr id="139" name="Rectangle 149">
              <a:extLst>
                <a:ext uri="{FF2B5EF4-FFF2-40B4-BE49-F238E27FC236}">
                  <a16:creationId xmlns:a16="http://schemas.microsoft.com/office/drawing/2014/main" id="{D6417A0E-B804-4826-9603-C07644FDE27F}"/>
                </a:ext>
              </a:extLst>
            </p:cNvPr>
            <p:cNvSpPr/>
            <p:nvPr/>
          </p:nvSpPr>
          <p:spPr>
            <a:xfrm>
              <a:off x="10657810" y="1826361"/>
              <a:ext cx="497252" cy="229615"/>
            </a:xfrm>
            <a:prstGeom prst="rect">
              <a:avLst/>
            </a:prstGeom>
          </p:spPr>
          <p:txBody>
            <a:bodyPr wrap="none">
              <a:spAutoFit/>
            </a:bodyPr>
            <a:lstStyle/>
            <a:p>
              <a:pPr algn="ctr">
                <a:lnSpc>
                  <a:spcPct val="120000"/>
                </a:lnSpc>
              </a:pPr>
              <a:r>
                <a:rPr lang="en-GB" sz="800" b="1" dirty="0">
                  <a:solidFill>
                    <a:srgbClr val="001965"/>
                  </a:solidFill>
                </a:rPr>
                <a:t>About</a:t>
              </a:r>
            </a:p>
          </p:txBody>
        </p:sp>
        <p:sp>
          <p:nvSpPr>
            <p:cNvPr id="140" name="Rectangle 150">
              <a:extLst>
                <a:ext uri="{FF2B5EF4-FFF2-40B4-BE49-F238E27FC236}">
                  <a16:creationId xmlns:a16="http://schemas.microsoft.com/office/drawing/2014/main" id="{2006879C-D525-41BA-AE0F-AD2802DD436B}"/>
                </a:ext>
              </a:extLst>
            </p:cNvPr>
            <p:cNvSpPr/>
            <p:nvPr/>
          </p:nvSpPr>
          <p:spPr>
            <a:xfrm>
              <a:off x="10536785" y="2751789"/>
              <a:ext cx="739306" cy="229615"/>
            </a:xfrm>
            <a:prstGeom prst="rect">
              <a:avLst/>
            </a:prstGeom>
          </p:spPr>
          <p:txBody>
            <a:bodyPr wrap="none">
              <a:spAutoFit/>
            </a:bodyPr>
            <a:lstStyle/>
            <a:p>
              <a:pPr algn="ctr">
                <a:lnSpc>
                  <a:spcPct val="120000"/>
                </a:lnSpc>
              </a:pPr>
              <a:r>
                <a:rPr lang="en-GB" sz="800" b="1">
                  <a:solidFill>
                    <a:srgbClr val="001965"/>
                  </a:solidFill>
                </a:rPr>
                <a:t>employees</a:t>
              </a:r>
            </a:p>
          </p:txBody>
        </p:sp>
      </p:grpSp>
      <p:grpSp>
        <p:nvGrpSpPr>
          <p:cNvPr id="141" name="Group 140">
            <a:extLst>
              <a:ext uri="{FF2B5EF4-FFF2-40B4-BE49-F238E27FC236}">
                <a16:creationId xmlns:a16="http://schemas.microsoft.com/office/drawing/2014/main" id="{B6FA32B1-E0A0-4D7A-B8FC-E389FC4CBDEA}"/>
              </a:ext>
            </a:extLst>
          </p:cNvPr>
          <p:cNvGrpSpPr>
            <a:grpSpLocks/>
          </p:cNvGrpSpPr>
          <p:nvPr/>
        </p:nvGrpSpPr>
        <p:grpSpPr>
          <a:xfrm>
            <a:off x="5139695" y="1587230"/>
            <a:ext cx="1372527" cy="1391303"/>
            <a:chOff x="5271673" y="1379309"/>
            <a:chExt cx="1372527" cy="1306532"/>
          </a:xfrm>
        </p:grpSpPr>
        <p:grpSp>
          <p:nvGrpSpPr>
            <p:cNvPr id="142" name="Group 141">
              <a:extLst>
                <a:ext uri="{FF2B5EF4-FFF2-40B4-BE49-F238E27FC236}">
                  <a16:creationId xmlns:a16="http://schemas.microsoft.com/office/drawing/2014/main" id="{67499E09-6B43-4E94-9E39-D1DC36068B4A}"/>
                </a:ext>
              </a:extLst>
            </p:cNvPr>
            <p:cNvGrpSpPr/>
            <p:nvPr/>
          </p:nvGrpSpPr>
          <p:grpSpPr>
            <a:xfrm>
              <a:off x="5271673" y="1379309"/>
              <a:ext cx="1372527" cy="1306532"/>
              <a:chOff x="5271673" y="1379309"/>
              <a:chExt cx="1372527" cy="1306532"/>
            </a:xfrm>
          </p:grpSpPr>
          <p:sp>
            <p:nvSpPr>
              <p:cNvPr id="145" name="Rectangle 152">
                <a:extLst>
                  <a:ext uri="{FF2B5EF4-FFF2-40B4-BE49-F238E27FC236}">
                    <a16:creationId xmlns:a16="http://schemas.microsoft.com/office/drawing/2014/main" id="{28D95EBF-E8E0-47A9-933D-4A8CD72CBF30}"/>
                  </a:ext>
                </a:extLst>
              </p:cNvPr>
              <p:cNvSpPr/>
              <p:nvPr/>
            </p:nvSpPr>
            <p:spPr>
              <a:xfrm>
                <a:off x="5271673" y="1379309"/>
                <a:ext cx="1372527" cy="13065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46" name="Tekstfelt 5">
                <a:extLst>
                  <a:ext uri="{FF2B5EF4-FFF2-40B4-BE49-F238E27FC236}">
                    <a16:creationId xmlns:a16="http://schemas.microsoft.com/office/drawing/2014/main" id="{005E928E-339D-4A9D-9716-8207D602ADF4}"/>
                  </a:ext>
                </a:extLst>
              </p:cNvPr>
              <p:cNvSpPr txBox="1"/>
              <p:nvPr/>
            </p:nvSpPr>
            <p:spPr>
              <a:xfrm>
                <a:off x="5348257" y="1627196"/>
                <a:ext cx="1165899" cy="789383"/>
              </a:xfrm>
              <a:prstGeom prst="rect">
                <a:avLst/>
              </a:prstGeom>
              <a:noFill/>
            </p:spPr>
            <p:txBody>
              <a:bodyPr wrap="square" lIns="0" tIns="0" rIns="0" bIns="0" rtlCol="0">
                <a:spAutoFit/>
              </a:bodyPr>
              <a:lstStyle/>
              <a:p>
                <a:pPr algn="ctr">
                  <a:lnSpc>
                    <a:spcPct val="120000"/>
                  </a:lnSpc>
                </a:pPr>
                <a:r>
                  <a:rPr lang="en-GB" sz="4600" b="1">
                    <a:solidFill>
                      <a:schemeClr val="bg1"/>
                    </a:solidFill>
                  </a:rPr>
                  <a:t>80</a:t>
                </a:r>
                <a:endParaRPr lang="en-GB" sz="4600" b="1" dirty="0">
                  <a:solidFill>
                    <a:schemeClr val="bg1"/>
                  </a:solidFill>
                </a:endParaRPr>
              </a:p>
            </p:txBody>
          </p:sp>
        </p:grpSp>
        <p:sp>
          <p:nvSpPr>
            <p:cNvPr id="143" name="Rectangle 154">
              <a:extLst>
                <a:ext uri="{FF2B5EF4-FFF2-40B4-BE49-F238E27FC236}">
                  <a16:creationId xmlns:a16="http://schemas.microsoft.com/office/drawing/2014/main" id="{6E8328C7-A39F-4A4B-B9AB-C389557A443B}"/>
                </a:ext>
              </a:extLst>
            </p:cNvPr>
            <p:cNvSpPr/>
            <p:nvPr/>
          </p:nvSpPr>
          <p:spPr>
            <a:xfrm>
              <a:off x="5463377" y="1483308"/>
              <a:ext cx="956509" cy="229615"/>
            </a:xfrm>
            <a:prstGeom prst="rect">
              <a:avLst/>
            </a:prstGeom>
          </p:spPr>
          <p:txBody>
            <a:bodyPr wrap="square">
              <a:spAutoFit/>
            </a:bodyPr>
            <a:lstStyle/>
            <a:p>
              <a:pPr algn="ctr">
                <a:lnSpc>
                  <a:spcPct val="120000"/>
                </a:lnSpc>
              </a:pPr>
              <a:r>
                <a:rPr lang="en-GB" sz="800" b="1">
                  <a:solidFill>
                    <a:schemeClr val="bg1"/>
                  </a:solidFill>
                </a:rPr>
                <a:t>Affiliates in</a:t>
              </a:r>
            </a:p>
          </p:txBody>
        </p:sp>
        <p:sp>
          <p:nvSpPr>
            <p:cNvPr id="144" name="Rectangle 155">
              <a:extLst>
                <a:ext uri="{FF2B5EF4-FFF2-40B4-BE49-F238E27FC236}">
                  <a16:creationId xmlns:a16="http://schemas.microsoft.com/office/drawing/2014/main" id="{06B9C80E-EBE7-4213-B4D2-EA9E529A93B8}"/>
                </a:ext>
              </a:extLst>
            </p:cNvPr>
            <p:cNvSpPr/>
            <p:nvPr/>
          </p:nvSpPr>
          <p:spPr>
            <a:xfrm>
              <a:off x="5552991" y="2301771"/>
              <a:ext cx="781820" cy="229615"/>
            </a:xfrm>
            <a:prstGeom prst="rect">
              <a:avLst/>
            </a:prstGeom>
          </p:spPr>
          <p:txBody>
            <a:bodyPr wrap="square">
              <a:spAutoFit/>
            </a:bodyPr>
            <a:lstStyle/>
            <a:p>
              <a:pPr algn="ctr">
                <a:lnSpc>
                  <a:spcPct val="120000"/>
                </a:lnSpc>
              </a:pPr>
              <a:r>
                <a:rPr lang="en-GB" sz="800" b="1" noProof="1">
                  <a:solidFill>
                    <a:schemeClr val="bg1"/>
                  </a:solidFill>
                </a:rPr>
                <a:t>countries</a:t>
              </a:r>
            </a:p>
          </p:txBody>
        </p:sp>
      </p:grpSp>
      <p:grpSp>
        <p:nvGrpSpPr>
          <p:cNvPr id="147" name="Group 146">
            <a:extLst>
              <a:ext uri="{FF2B5EF4-FFF2-40B4-BE49-F238E27FC236}">
                <a16:creationId xmlns:a16="http://schemas.microsoft.com/office/drawing/2014/main" id="{2270F003-1D55-44D6-85D6-A869B2A93424}"/>
              </a:ext>
            </a:extLst>
          </p:cNvPr>
          <p:cNvGrpSpPr>
            <a:grpSpLocks/>
          </p:cNvGrpSpPr>
          <p:nvPr/>
        </p:nvGrpSpPr>
        <p:grpSpPr>
          <a:xfrm>
            <a:off x="6846615" y="323850"/>
            <a:ext cx="1628629" cy="1191417"/>
            <a:chOff x="6808889" y="323850"/>
            <a:chExt cx="1596290" cy="1191417"/>
          </a:xfrm>
        </p:grpSpPr>
        <p:sp>
          <p:nvSpPr>
            <p:cNvPr id="148" name="Rectangle 170">
              <a:extLst>
                <a:ext uri="{FF2B5EF4-FFF2-40B4-BE49-F238E27FC236}">
                  <a16:creationId xmlns:a16="http://schemas.microsoft.com/office/drawing/2014/main" id="{DB18529B-46A2-4083-801A-A001B8390183}"/>
                </a:ext>
              </a:extLst>
            </p:cNvPr>
            <p:cNvSpPr/>
            <p:nvPr/>
          </p:nvSpPr>
          <p:spPr>
            <a:xfrm>
              <a:off x="6808889" y="323850"/>
              <a:ext cx="1596290" cy="1191417"/>
            </a:xfrm>
            <a:prstGeom prst="rect">
              <a:avLst/>
            </a:prstGeom>
            <a:solidFill>
              <a:srgbClr val="DFEF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49" name="Tekstfelt 5">
              <a:extLst>
                <a:ext uri="{FF2B5EF4-FFF2-40B4-BE49-F238E27FC236}">
                  <a16:creationId xmlns:a16="http://schemas.microsoft.com/office/drawing/2014/main" id="{D66B472C-541F-4A40-96EC-D854BA58F466}"/>
                </a:ext>
              </a:extLst>
            </p:cNvPr>
            <p:cNvSpPr txBox="1"/>
            <p:nvPr/>
          </p:nvSpPr>
          <p:spPr>
            <a:xfrm>
              <a:off x="7075256" y="522542"/>
              <a:ext cx="1063556" cy="789383"/>
            </a:xfrm>
            <a:prstGeom prst="rect">
              <a:avLst/>
            </a:prstGeom>
            <a:noFill/>
          </p:spPr>
          <p:txBody>
            <a:bodyPr wrap="square" lIns="0" tIns="0" rIns="0" bIns="0" rtlCol="0">
              <a:spAutoFit/>
            </a:bodyPr>
            <a:lstStyle/>
            <a:p>
              <a:pPr algn="ctr">
                <a:lnSpc>
                  <a:spcPct val="120000"/>
                </a:lnSpc>
              </a:pPr>
              <a:r>
                <a:rPr lang="en-GB" sz="4600" b="1" dirty="0">
                  <a:solidFill>
                    <a:srgbClr val="001965"/>
                  </a:solidFill>
                </a:rPr>
                <a:t>122</a:t>
              </a:r>
            </a:p>
          </p:txBody>
        </p:sp>
        <p:sp>
          <p:nvSpPr>
            <p:cNvPr id="150" name="Rectangle 172">
              <a:extLst>
                <a:ext uri="{FF2B5EF4-FFF2-40B4-BE49-F238E27FC236}">
                  <a16:creationId xmlns:a16="http://schemas.microsoft.com/office/drawing/2014/main" id="{A01739E2-911D-4CB4-85A6-F418D69B9911}"/>
                </a:ext>
              </a:extLst>
            </p:cNvPr>
            <p:cNvSpPr>
              <a:spLocks/>
            </p:cNvSpPr>
            <p:nvPr/>
          </p:nvSpPr>
          <p:spPr>
            <a:xfrm>
              <a:off x="7166048" y="404691"/>
              <a:ext cx="881973" cy="229615"/>
            </a:xfrm>
            <a:prstGeom prst="rect">
              <a:avLst/>
            </a:prstGeom>
          </p:spPr>
          <p:txBody>
            <a:bodyPr wrap="none">
              <a:spAutoFit/>
            </a:bodyPr>
            <a:lstStyle/>
            <a:p>
              <a:pPr algn="ctr">
                <a:lnSpc>
                  <a:spcPct val="120000"/>
                </a:lnSpc>
              </a:pPr>
              <a:r>
                <a:rPr lang="en-GB" sz="800" b="1" dirty="0">
                  <a:solidFill>
                    <a:srgbClr val="001965"/>
                  </a:solidFill>
                </a:rPr>
                <a:t>Total net sales</a:t>
              </a:r>
            </a:p>
          </p:txBody>
        </p:sp>
        <p:sp>
          <p:nvSpPr>
            <p:cNvPr id="151" name="Rectangle 173">
              <a:extLst>
                <a:ext uri="{FF2B5EF4-FFF2-40B4-BE49-F238E27FC236}">
                  <a16:creationId xmlns:a16="http://schemas.microsoft.com/office/drawing/2014/main" id="{7E1540C0-A124-4AB6-937F-214A839697DC}"/>
                </a:ext>
              </a:extLst>
            </p:cNvPr>
            <p:cNvSpPr>
              <a:spLocks/>
            </p:cNvSpPr>
            <p:nvPr/>
          </p:nvSpPr>
          <p:spPr>
            <a:xfrm>
              <a:off x="7250205" y="1209417"/>
              <a:ext cx="713657" cy="229615"/>
            </a:xfrm>
            <a:prstGeom prst="rect">
              <a:avLst/>
            </a:prstGeom>
          </p:spPr>
          <p:txBody>
            <a:bodyPr wrap="none">
              <a:spAutoFit/>
            </a:bodyPr>
            <a:lstStyle/>
            <a:p>
              <a:pPr algn="ctr">
                <a:lnSpc>
                  <a:spcPct val="120000"/>
                </a:lnSpc>
              </a:pPr>
              <a:r>
                <a:rPr lang="en-GB" sz="800" b="1">
                  <a:solidFill>
                    <a:srgbClr val="001965"/>
                  </a:solidFill>
                </a:rPr>
                <a:t>billion DKK</a:t>
              </a:r>
              <a:endParaRPr lang="en-GB" sz="800" b="1" dirty="0">
                <a:solidFill>
                  <a:srgbClr val="001965"/>
                </a:solidFill>
              </a:endParaRPr>
            </a:p>
          </p:txBody>
        </p:sp>
      </p:grpSp>
      <p:grpSp>
        <p:nvGrpSpPr>
          <p:cNvPr id="152" name="Group 151">
            <a:extLst>
              <a:ext uri="{FF2B5EF4-FFF2-40B4-BE49-F238E27FC236}">
                <a16:creationId xmlns:a16="http://schemas.microsoft.com/office/drawing/2014/main" id="{C664F548-FDDE-4984-9108-314D1C6ED2F5}"/>
              </a:ext>
            </a:extLst>
          </p:cNvPr>
          <p:cNvGrpSpPr>
            <a:grpSpLocks/>
          </p:cNvGrpSpPr>
          <p:nvPr/>
        </p:nvGrpSpPr>
        <p:grpSpPr>
          <a:xfrm>
            <a:off x="8547245" y="313842"/>
            <a:ext cx="1628629" cy="1191600"/>
            <a:chOff x="8664662" y="126052"/>
            <a:chExt cx="1634198" cy="1191600"/>
          </a:xfrm>
        </p:grpSpPr>
        <p:sp>
          <p:nvSpPr>
            <p:cNvPr id="153" name="Rectangle 175">
              <a:extLst>
                <a:ext uri="{FF2B5EF4-FFF2-40B4-BE49-F238E27FC236}">
                  <a16:creationId xmlns:a16="http://schemas.microsoft.com/office/drawing/2014/main" id="{4CE17A6D-6984-44CE-AD45-899B84550F28}"/>
                </a:ext>
              </a:extLst>
            </p:cNvPr>
            <p:cNvSpPr/>
            <p:nvPr/>
          </p:nvSpPr>
          <p:spPr>
            <a:xfrm>
              <a:off x="8664662" y="126052"/>
              <a:ext cx="1634198" cy="1191600"/>
            </a:xfrm>
            <a:prstGeom prst="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4" name="Tekstfelt 5">
              <a:extLst>
                <a:ext uri="{FF2B5EF4-FFF2-40B4-BE49-F238E27FC236}">
                  <a16:creationId xmlns:a16="http://schemas.microsoft.com/office/drawing/2014/main" id="{9F933058-6A0A-439E-87DA-1810DEC94B26}"/>
                </a:ext>
              </a:extLst>
            </p:cNvPr>
            <p:cNvSpPr txBox="1"/>
            <p:nvPr/>
          </p:nvSpPr>
          <p:spPr>
            <a:xfrm>
              <a:off x="8770080" y="292946"/>
              <a:ext cx="1423362" cy="789383"/>
            </a:xfrm>
            <a:prstGeom prst="rect">
              <a:avLst/>
            </a:prstGeom>
            <a:noFill/>
          </p:spPr>
          <p:txBody>
            <a:bodyPr wrap="square" lIns="0" tIns="0" rIns="0" bIns="0" rtlCol="0">
              <a:spAutoFit/>
            </a:bodyPr>
            <a:lstStyle/>
            <a:p>
              <a:pPr algn="ctr">
                <a:lnSpc>
                  <a:spcPct val="120000"/>
                </a:lnSpc>
              </a:pPr>
              <a:r>
                <a:rPr lang="en-GB" sz="4600" b="1" dirty="0">
                  <a:solidFill>
                    <a:srgbClr val="001965"/>
                  </a:solidFill>
                </a:rPr>
                <a:t>50%</a:t>
              </a:r>
            </a:p>
          </p:txBody>
        </p:sp>
        <p:sp>
          <p:nvSpPr>
            <p:cNvPr id="155" name="Rectangle 177">
              <a:extLst>
                <a:ext uri="{FF2B5EF4-FFF2-40B4-BE49-F238E27FC236}">
                  <a16:creationId xmlns:a16="http://schemas.microsoft.com/office/drawing/2014/main" id="{94ACEBA6-CC36-4F5F-A297-E6212AF1B0E2}"/>
                </a:ext>
              </a:extLst>
            </p:cNvPr>
            <p:cNvSpPr/>
            <p:nvPr/>
          </p:nvSpPr>
          <p:spPr>
            <a:xfrm>
              <a:off x="8963030" y="197955"/>
              <a:ext cx="1037463" cy="229615"/>
            </a:xfrm>
            <a:prstGeom prst="rect">
              <a:avLst/>
            </a:prstGeom>
          </p:spPr>
          <p:txBody>
            <a:bodyPr wrap="none">
              <a:spAutoFit/>
            </a:bodyPr>
            <a:lstStyle/>
            <a:p>
              <a:pPr algn="ctr">
                <a:lnSpc>
                  <a:spcPct val="120000"/>
                </a:lnSpc>
              </a:pPr>
              <a:r>
                <a:rPr lang="en-GB" sz="800" b="1" dirty="0">
                  <a:solidFill>
                    <a:srgbClr val="001965"/>
                  </a:solidFill>
                </a:rPr>
                <a:t>Supplier of nearly</a:t>
              </a:r>
            </a:p>
          </p:txBody>
        </p:sp>
        <p:sp>
          <p:nvSpPr>
            <p:cNvPr id="156" name="Rectangle 178">
              <a:extLst>
                <a:ext uri="{FF2B5EF4-FFF2-40B4-BE49-F238E27FC236}">
                  <a16:creationId xmlns:a16="http://schemas.microsoft.com/office/drawing/2014/main" id="{196CE198-3F7E-49BF-AF0B-F372C9165D90}"/>
                </a:ext>
              </a:extLst>
            </p:cNvPr>
            <p:cNvSpPr>
              <a:spLocks/>
            </p:cNvSpPr>
            <p:nvPr/>
          </p:nvSpPr>
          <p:spPr>
            <a:xfrm>
              <a:off x="8887688" y="979821"/>
              <a:ext cx="1188146" cy="229615"/>
            </a:xfrm>
            <a:prstGeom prst="rect">
              <a:avLst/>
            </a:prstGeom>
          </p:spPr>
          <p:txBody>
            <a:bodyPr wrap="none">
              <a:spAutoFit/>
            </a:bodyPr>
            <a:lstStyle/>
            <a:p>
              <a:pPr algn="ctr">
                <a:lnSpc>
                  <a:spcPct val="120000"/>
                </a:lnSpc>
              </a:pPr>
              <a:r>
                <a:rPr lang="en-GB" sz="800" b="1" noProof="1">
                  <a:solidFill>
                    <a:srgbClr val="001965"/>
                  </a:solidFill>
                </a:rPr>
                <a:t>of the world’s insulin</a:t>
              </a:r>
            </a:p>
          </p:txBody>
        </p:sp>
      </p:grpSp>
      <p:sp>
        <p:nvSpPr>
          <p:cNvPr id="157" name="Oval 51">
            <a:extLst>
              <a:ext uri="{FF2B5EF4-FFF2-40B4-BE49-F238E27FC236}">
                <a16:creationId xmlns:a16="http://schemas.microsoft.com/office/drawing/2014/main" id="{0460ADFE-2552-4364-873C-BB3CFC6D1752}"/>
              </a:ext>
            </a:extLst>
          </p:cNvPr>
          <p:cNvSpPr/>
          <p:nvPr/>
        </p:nvSpPr>
        <p:spPr>
          <a:xfrm>
            <a:off x="8003986" y="2147662"/>
            <a:ext cx="62969" cy="62969"/>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8" name="Oval 180">
            <a:extLst>
              <a:ext uri="{FF2B5EF4-FFF2-40B4-BE49-F238E27FC236}">
                <a16:creationId xmlns:a16="http://schemas.microsoft.com/office/drawing/2014/main" id="{ADF04211-B26B-4C4D-A593-03BA3F0715A8}"/>
              </a:ext>
            </a:extLst>
          </p:cNvPr>
          <p:cNvSpPr/>
          <p:nvPr/>
        </p:nvSpPr>
        <p:spPr>
          <a:xfrm>
            <a:off x="7211010" y="2453338"/>
            <a:ext cx="62969" cy="62969"/>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59" name="Oval 181">
            <a:extLst>
              <a:ext uri="{FF2B5EF4-FFF2-40B4-BE49-F238E27FC236}">
                <a16:creationId xmlns:a16="http://schemas.microsoft.com/office/drawing/2014/main" id="{4C3AA700-9B73-4D8B-9159-7DE564038559}"/>
              </a:ext>
            </a:extLst>
          </p:cNvPr>
          <p:cNvSpPr/>
          <p:nvPr/>
        </p:nvSpPr>
        <p:spPr>
          <a:xfrm>
            <a:off x="7492502" y="2130755"/>
            <a:ext cx="62969" cy="62969"/>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60" name="Oval 182">
            <a:extLst>
              <a:ext uri="{FF2B5EF4-FFF2-40B4-BE49-F238E27FC236}">
                <a16:creationId xmlns:a16="http://schemas.microsoft.com/office/drawing/2014/main" id="{3708C7F8-85A4-4379-BBEA-5A2B5E5B8E18}"/>
              </a:ext>
            </a:extLst>
          </p:cNvPr>
          <p:cNvSpPr/>
          <p:nvPr/>
        </p:nvSpPr>
        <p:spPr>
          <a:xfrm>
            <a:off x="7060020" y="2193299"/>
            <a:ext cx="62969" cy="62969"/>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61" name="Oval 183">
            <a:extLst>
              <a:ext uri="{FF2B5EF4-FFF2-40B4-BE49-F238E27FC236}">
                <a16:creationId xmlns:a16="http://schemas.microsoft.com/office/drawing/2014/main" id="{995B00C2-36E5-4459-A269-C090E8767E6A}"/>
              </a:ext>
            </a:extLst>
          </p:cNvPr>
          <p:cNvSpPr/>
          <p:nvPr/>
        </p:nvSpPr>
        <p:spPr>
          <a:xfrm>
            <a:off x="7972501" y="2145127"/>
            <a:ext cx="62969" cy="62969"/>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62" name="Oval 184">
            <a:extLst>
              <a:ext uri="{FF2B5EF4-FFF2-40B4-BE49-F238E27FC236}">
                <a16:creationId xmlns:a16="http://schemas.microsoft.com/office/drawing/2014/main" id="{189C5D92-8BA2-4560-988C-DB74F15A8C72}"/>
              </a:ext>
            </a:extLst>
          </p:cNvPr>
          <p:cNvSpPr/>
          <p:nvPr/>
        </p:nvSpPr>
        <p:spPr>
          <a:xfrm>
            <a:off x="7482993" y="2092179"/>
            <a:ext cx="62969" cy="62969"/>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63" name="Oval 185">
            <a:extLst>
              <a:ext uri="{FF2B5EF4-FFF2-40B4-BE49-F238E27FC236}">
                <a16:creationId xmlns:a16="http://schemas.microsoft.com/office/drawing/2014/main" id="{BF1D06B4-BD74-4620-B600-5D5143C30360}"/>
              </a:ext>
            </a:extLst>
          </p:cNvPr>
          <p:cNvSpPr/>
          <p:nvPr/>
        </p:nvSpPr>
        <p:spPr>
          <a:xfrm>
            <a:off x="7801165" y="2307788"/>
            <a:ext cx="62969" cy="62969"/>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64" name="Oval 186">
            <a:extLst>
              <a:ext uri="{FF2B5EF4-FFF2-40B4-BE49-F238E27FC236}">
                <a16:creationId xmlns:a16="http://schemas.microsoft.com/office/drawing/2014/main" id="{A674D130-D57E-43C3-A4D7-861DEFD0B41E}"/>
              </a:ext>
            </a:extLst>
          </p:cNvPr>
          <p:cNvSpPr/>
          <p:nvPr/>
        </p:nvSpPr>
        <p:spPr>
          <a:xfrm>
            <a:off x="6913058" y="2204768"/>
            <a:ext cx="62969" cy="62969"/>
          </a:xfrm>
          <a:prstGeom prst="ellipse">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grpSp>
        <p:nvGrpSpPr>
          <p:cNvPr id="165" name="Group 164">
            <a:extLst>
              <a:ext uri="{FF2B5EF4-FFF2-40B4-BE49-F238E27FC236}">
                <a16:creationId xmlns:a16="http://schemas.microsoft.com/office/drawing/2014/main" id="{FB5D4865-0955-4217-9777-F0D11A77F2EF}"/>
              </a:ext>
            </a:extLst>
          </p:cNvPr>
          <p:cNvGrpSpPr>
            <a:grpSpLocks/>
          </p:cNvGrpSpPr>
          <p:nvPr/>
        </p:nvGrpSpPr>
        <p:grpSpPr>
          <a:xfrm>
            <a:off x="10247874" y="313842"/>
            <a:ext cx="1628629" cy="1191600"/>
            <a:chOff x="8664662" y="126052"/>
            <a:chExt cx="1634198" cy="1191600"/>
          </a:xfrm>
        </p:grpSpPr>
        <p:sp>
          <p:nvSpPr>
            <p:cNvPr id="166" name="Rectangle 175">
              <a:extLst>
                <a:ext uri="{FF2B5EF4-FFF2-40B4-BE49-F238E27FC236}">
                  <a16:creationId xmlns:a16="http://schemas.microsoft.com/office/drawing/2014/main" id="{04AF9216-5536-486A-B818-5F5E98AAA8B1}"/>
                </a:ext>
              </a:extLst>
            </p:cNvPr>
            <p:cNvSpPr/>
            <p:nvPr/>
          </p:nvSpPr>
          <p:spPr>
            <a:xfrm>
              <a:off x="8664662" y="126052"/>
              <a:ext cx="1634198" cy="1191600"/>
            </a:xfrm>
            <a:prstGeom prst="rect">
              <a:avLst/>
            </a:prstGeom>
            <a:solidFill>
              <a:srgbClr val="E2F0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67" name="Tekstfelt 5">
              <a:extLst>
                <a:ext uri="{FF2B5EF4-FFF2-40B4-BE49-F238E27FC236}">
                  <a16:creationId xmlns:a16="http://schemas.microsoft.com/office/drawing/2014/main" id="{A5F6ABC8-0491-432B-ACD8-3DFE182ECA56}"/>
                </a:ext>
              </a:extLst>
            </p:cNvPr>
            <p:cNvSpPr txBox="1"/>
            <p:nvPr/>
          </p:nvSpPr>
          <p:spPr>
            <a:xfrm>
              <a:off x="8770080" y="240507"/>
              <a:ext cx="1423362" cy="789383"/>
            </a:xfrm>
            <a:prstGeom prst="rect">
              <a:avLst/>
            </a:prstGeom>
            <a:noFill/>
          </p:spPr>
          <p:txBody>
            <a:bodyPr wrap="square" lIns="0" tIns="0" rIns="0" bIns="0" rtlCol="0">
              <a:spAutoFit/>
            </a:bodyPr>
            <a:lstStyle/>
            <a:p>
              <a:pPr algn="ctr">
                <a:lnSpc>
                  <a:spcPct val="120000"/>
                </a:lnSpc>
              </a:pPr>
              <a:r>
                <a:rPr lang="en-GB" sz="4600" b="1" dirty="0">
                  <a:solidFill>
                    <a:srgbClr val="001965"/>
                  </a:solidFill>
                </a:rPr>
                <a:t>30</a:t>
              </a:r>
            </a:p>
          </p:txBody>
        </p:sp>
        <p:sp>
          <p:nvSpPr>
            <p:cNvPr id="168" name="Rectangle 178">
              <a:extLst>
                <a:ext uri="{FF2B5EF4-FFF2-40B4-BE49-F238E27FC236}">
                  <a16:creationId xmlns:a16="http://schemas.microsoft.com/office/drawing/2014/main" id="{05D950AE-98F1-4260-936B-BECC3D37C04B}"/>
                </a:ext>
              </a:extLst>
            </p:cNvPr>
            <p:cNvSpPr>
              <a:spLocks/>
            </p:cNvSpPr>
            <p:nvPr/>
          </p:nvSpPr>
          <p:spPr>
            <a:xfrm>
              <a:off x="8797189" y="927382"/>
              <a:ext cx="1369142" cy="377347"/>
            </a:xfrm>
            <a:prstGeom prst="rect">
              <a:avLst/>
            </a:prstGeom>
          </p:spPr>
          <p:txBody>
            <a:bodyPr wrap="none">
              <a:spAutoFit/>
            </a:bodyPr>
            <a:lstStyle/>
            <a:p>
              <a:pPr algn="ctr">
                <a:lnSpc>
                  <a:spcPct val="120000"/>
                </a:lnSpc>
              </a:pPr>
              <a:r>
                <a:rPr lang="en-GB" sz="800" b="1" noProof="1">
                  <a:solidFill>
                    <a:srgbClr val="001965"/>
                  </a:solidFill>
                </a:rPr>
                <a:t>million people use our </a:t>
              </a:r>
              <a:br>
                <a:rPr lang="en-GB" sz="800" b="1" noProof="1">
                  <a:solidFill>
                    <a:srgbClr val="001965"/>
                  </a:solidFill>
                </a:rPr>
              </a:br>
              <a:r>
                <a:rPr lang="en-GB" sz="800" b="1" noProof="1">
                  <a:solidFill>
                    <a:srgbClr val="001965"/>
                  </a:solidFill>
                </a:rPr>
                <a:t>diabetes care products</a:t>
              </a:r>
            </a:p>
          </p:txBody>
        </p:sp>
      </p:grpSp>
      <p:grpSp>
        <p:nvGrpSpPr>
          <p:cNvPr id="169" name="Group 168">
            <a:extLst>
              <a:ext uri="{FF2B5EF4-FFF2-40B4-BE49-F238E27FC236}">
                <a16:creationId xmlns:a16="http://schemas.microsoft.com/office/drawing/2014/main" id="{7AC333A9-1E44-42CF-B49E-65063FBC65C0}"/>
              </a:ext>
            </a:extLst>
          </p:cNvPr>
          <p:cNvGrpSpPr>
            <a:grpSpLocks/>
          </p:cNvGrpSpPr>
          <p:nvPr/>
        </p:nvGrpSpPr>
        <p:grpSpPr>
          <a:xfrm>
            <a:off x="5143341" y="323850"/>
            <a:ext cx="1628629" cy="1191417"/>
            <a:chOff x="6808889" y="323850"/>
            <a:chExt cx="1596290" cy="1191417"/>
          </a:xfrm>
        </p:grpSpPr>
        <p:sp>
          <p:nvSpPr>
            <p:cNvPr id="170" name="Rectangle 170">
              <a:extLst>
                <a:ext uri="{FF2B5EF4-FFF2-40B4-BE49-F238E27FC236}">
                  <a16:creationId xmlns:a16="http://schemas.microsoft.com/office/drawing/2014/main" id="{38D51592-5CB7-4721-86D6-02294E3FA93B}"/>
                </a:ext>
              </a:extLst>
            </p:cNvPr>
            <p:cNvSpPr/>
            <p:nvPr/>
          </p:nvSpPr>
          <p:spPr>
            <a:xfrm>
              <a:off x="6808889" y="323850"/>
              <a:ext cx="1596290" cy="1191417"/>
            </a:xfrm>
            <a:prstGeom prst="rect">
              <a:avLst/>
            </a:prstGeom>
            <a:solidFill>
              <a:srgbClr val="D9E6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71" name="Tekstfelt 5">
              <a:extLst>
                <a:ext uri="{FF2B5EF4-FFF2-40B4-BE49-F238E27FC236}">
                  <a16:creationId xmlns:a16="http://schemas.microsoft.com/office/drawing/2014/main" id="{904DDA1C-525D-4691-AF0A-9A0A806939FD}"/>
                </a:ext>
              </a:extLst>
            </p:cNvPr>
            <p:cNvSpPr txBox="1"/>
            <p:nvPr/>
          </p:nvSpPr>
          <p:spPr>
            <a:xfrm>
              <a:off x="7075256" y="522542"/>
              <a:ext cx="1063556" cy="789383"/>
            </a:xfrm>
            <a:prstGeom prst="rect">
              <a:avLst/>
            </a:prstGeom>
            <a:noFill/>
          </p:spPr>
          <p:txBody>
            <a:bodyPr wrap="square" lIns="0" tIns="0" rIns="0" bIns="0" rtlCol="0">
              <a:spAutoFit/>
            </a:bodyPr>
            <a:lstStyle/>
            <a:p>
              <a:pPr algn="ctr">
                <a:lnSpc>
                  <a:spcPct val="120000"/>
                </a:lnSpc>
              </a:pPr>
              <a:r>
                <a:rPr lang="en-GB" sz="4600" b="1" dirty="0">
                  <a:solidFill>
                    <a:srgbClr val="001965"/>
                  </a:solidFill>
                </a:rPr>
                <a:t>170</a:t>
              </a:r>
            </a:p>
          </p:txBody>
        </p:sp>
        <p:sp>
          <p:nvSpPr>
            <p:cNvPr id="172" name="Rectangle 172">
              <a:extLst>
                <a:ext uri="{FF2B5EF4-FFF2-40B4-BE49-F238E27FC236}">
                  <a16:creationId xmlns:a16="http://schemas.microsoft.com/office/drawing/2014/main" id="{06F13DDD-030B-4186-B67D-508D38FC62AB}"/>
                </a:ext>
              </a:extLst>
            </p:cNvPr>
            <p:cNvSpPr>
              <a:spLocks/>
            </p:cNvSpPr>
            <p:nvPr/>
          </p:nvSpPr>
          <p:spPr>
            <a:xfrm>
              <a:off x="6993334" y="404691"/>
              <a:ext cx="1227401" cy="229615"/>
            </a:xfrm>
            <a:prstGeom prst="rect">
              <a:avLst/>
            </a:prstGeom>
          </p:spPr>
          <p:txBody>
            <a:bodyPr wrap="none">
              <a:spAutoFit/>
            </a:bodyPr>
            <a:lstStyle/>
            <a:p>
              <a:pPr algn="ctr">
                <a:lnSpc>
                  <a:spcPct val="120000"/>
                </a:lnSpc>
              </a:pPr>
              <a:r>
                <a:rPr lang="en-GB" sz="800" b="1" dirty="0">
                  <a:solidFill>
                    <a:srgbClr val="001965"/>
                  </a:solidFill>
                </a:rPr>
                <a:t>Products marketed in </a:t>
              </a:r>
            </a:p>
          </p:txBody>
        </p:sp>
        <p:sp>
          <p:nvSpPr>
            <p:cNvPr id="173" name="Rectangle 173">
              <a:extLst>
                <a:ext uri="{FF2B5EF4-FFF2-40B4-BE49-F238E27FC236}">
                  <a16:creationId xmlns:a16="http://schemas.microsoft.com/office/drawing/2014/main" id="{BAD7D22D-D26F-4F3E-8DF3-D30BD4BFC183}"/>
                </a:ext>
              </a:extLst>
            </p:cNvPr>
            <p:cNvSpPr>
              <a:spLocks/>
            </p:cNvSpPr>
            <p:nvPr/>
          </p:nvSpPr>
          <p:spPr>
            <a:xfrm>
              <a:off x="7294213" y="1209417"/>
              <a:ext cx="625641" cy="229615"/>
            </a:xfrm>
            <a:prstGeom prst="rect">
              <a:avLst/>
            </a:prstGeom>
          </p:spPr>
          <p:txBody>
            <a:bodyPr wrap="none">
              <a:spAutoFit/>
            </a:bodyPr>
            <a:lstStyle/>
            <a:p>
              <a:pPr algn="ctr">
                <a:lnSpc>
                  <a:spcPct val="120000"/>
                </a:lnSpc>
              </a:pPr>
              <a:r>
                <a:rPr lang="en-GB" sz="800" b="1" dirty="0">
                  <a:solidFill>
                    <a:srgbClr val="001965"/>
                  </a:solidFill>
                </a:rPr>
                <a:t>countries</a:t>
              </a:r>
            </a:p>
          </p:txBody>
        </p:sp>
      </p:grpSp>
    </p:spTree>
    <p:custDataLst>
      <p:tags r:id="rId1"/>
    </p:custDataLst>
    <p:extLst>
      <p:ext uri="{BB962C8B-B14F-4D97-AF65-F5344CB8AC3E}">
        <p14:creationId xmlns:p14="http://schemas.microsoft.com/office/powerpoint/2010/main" val="1792214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tekst 3">
            <a:extLst>
              <a:ext uri="{FF2B5EF4-FFF2-40B4-BE49-F238E27FC236}">
                <a16:creationId xmlns:a16="http://schemas.microsoft.com/office/drawing/2014/main" id="{60755ADC-2829-174D-874B-3597847DA880}"/>
              </a:ext>
            </a:extLst>
          </p:cNvPr>
          <p:cNvSpPr>
            <a:spLocks noGrp="1"/>
          </p:cNvSpPr>
          <p:nvPr>
            <p:ph type="body" sz="quarter" idx="13"/>
          </p:nvPr>
        </p:nvSpPr>
        <p:spPr/>
        <p:txBody>
          <a:bodyPr/>
          <a:lstStyle/>
          <a:p>
            <a:endParaRPr lang="en-GB" dirty="0"/>
          </a:p>
        </p:txBody>
      </p:sp>
      <p:sp>
        <p:nvSpPr>
          <p:cNvPr id="5" name="Pladsholder til sidefod 4">
            <a:extLst>
              <a:ext uri="{FF2B5EF4-FFF2-40B4-BE49-F238E27FC236}">
                <a16:creationId xmlns:a16="http://schemas.microsoft.com/office/drawing/2014/main" id="{EAD7737D-1D56-3341-A022-A42BC11D2C5E}"/>
              </a:ext>
            </a:extLst>
          </p:cNvPr>
          <p:cNvSpPr>
            <a:spLocks noGrp="1"/>
          </p:cNvSpPr>
          <p:nvPr>
            <p:ph type="ftr" sz="quarter" idx="11"/>
          </p:nvPr>
        </p:nvSpPr>
        <p:spPr/>
        <p:txBody>
          <a:bodyPr/>
          <a:lstStyle/>
          <a:p>
            <a:r>
              <a:rPr lang="en-GB"/>
              <a:t>Novo Nordisk company presentation</a:t>
            </a:r>
          </a:p>
        </p:txBody>
      </p:sp>
      <p:sp>
        <p:nvSpPr>
          <p:cNvPr id="6" name="Pladsholder til slidenummer 5">
            <a:extLst>
              <a:ext uri="{FF2B5EF4-FFF2-40B4-BE49-F238E27FC236}">
                <a16:creationId xmlns:a16="http://schemas.microsoft.com/office/drawing/2014/main" id="{9D289B41-49FE-AA4F-8E81-1F4D00D9F5E0}"/>
              </a:ext>
            </a:extLst>
          </p:cNvPr>
          <p:cNvSpPr>
            <a:spLocks noGrp="1"/>
          </p:cNvSpPr>
          <p:nvPr>
            <p:ph type="sldNum" sz="quarter" idx="12"/>
          </p:nvPr>
        </p:nvSpPr>
        <p:spPr/>
        <p:txBody>
          <a:bodyPr/>
          <a:lstStyle/>
          <a:p>
            <a:fld id="{23AA811B-2EBD-4900-905E-5BE206449611}" type="slidenum">
              <a:rPr lang="en-GB" smtClean="0"/>
              <a:t>9</a:t>
            </a:fld>
            <a:endParaRPr lang="en-GB"/>
          </a:p>
        </p:txBody>
      </p:sp>
      <p:sp>
        <p:nvSpPr>
          <p:cNvPr id="66" name="Pladsholder til slidenummer 2">
            <a:extLst>
              <a:ext uri="{FF2B5EF4-FFF2-40B4-BE49-F238E27FC236}">
                <a16:creationId xmlns:a16="http://schemas.microsoft.com/office/drawing/2014/main" id="{4FDA85AD-391E-344C-9791-DC85D5BF4BFD}"/>
              </a:ext>
            </a:extLst>
          </p:cNvPr>
          <p:cNvSpPr txBox="1">
            <a:spLocks/>
          </p:cNvSpPr>
          <p:nvPr/>
        </p:nvSpPr>
        <p:spPr>
          <a:xfrm>
            <a:off x="324000" y="324000"/>
            <a:ext cx="324000" cy="125850"/>
          </a:xfrm>
          <a:prstGeom prst="rect">
            <a:avLst/>
          </a:prstGeom>
        </p:spPr>
        <p:txBody>
          <a:bodyPr vert="horz" lIns="0" tIns="0" rIns="0" bIns="0" rtlCol="0" anchor="t"/>
          <a:lstStyle>
            <a:defPPr>
              <a:defRPr lang="en-US"/>
            </a:defPPr>
            <a:lvl1pPr marL="0" algn="l" defTabSz="914400" rtl="0" eaLnBrk="1" latinLnBrk="0" hangingPunct="1">
              <a:defRPr sz="6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smtClean="0"/>
              <a:pPr/>
              <a:t>9</a:t>
            </a:fld>
            <a:endParaRPr lang="en-GB" dirty="0"/>
          </a:p>
        </p:txBody>
      </p:sp>
      <p:sp>
        <p:nvSpPr>
          <p:cNvPr id="67" name="Tekstfelt 66">
            <a:extLst>
              <a:ext uri="{FF2B5EF4-FFF2-40B4-BE49-F238E27FC236}">
                <a16:creationId xmlns:a16="http://schemas.microsoft.com/office/drawing/2014/main" id="{B638DF73-608C-7546-8606-32FD4F920DDD}"/>
              </a:ext>
            </a:extLst>
          </p:cNvPr>
          <p:cNvSpPr txBox="1">
            <a:spLocks/>
          </p:cNvSpPr>
          <p:nvPr/>
        </p:nvSpPr>
        <p:spPr>
          <a:xfrm>
            <a:off x="611220" y="4118996"/>
            <a:ext cx="5529149" cy="2215991"/>
          </a:xfrm>
          <a:prstGeom prst="rect">
            <a:avLst/>
          </a:prstGeom>
          <a:noFill/>
        </p:spPr>
        <p:txBody>
          <a:bodyPr wrap="square" lIns="0" tIns="0" rIns="0" bIns="0" rtlCol="0">
            <a:spAutoFit/>
          </a:bodyPr>
          <a:lstStyle/>
          <a:p>
            <a:pPr algn="l"/>
            <a:r>
              <a:rPr lang="en-GB" sz="7200" dirty="0">
                <a:solidFill>
                  <a:schemeClr val="tx2"/>
                </a:solidFill>
                <a:latin typeface="+mj-lt"/>
              </a:rPr>
              <a:t>Our global </a:t>
            </a:r>
            <a:br>
              <a:rPr lang="en-GB" sz="7200" dirty="0">
                <a:solidFill>
                  <a:schemeClr val="tx2"/>
                </a:solidFill>
                <a:latin typeface="+mj-lt"/>
              </a:rPr>
            </a:br>
            <a:r>
              <a:rPr lang="en-GB" sz="7200" dirty="0">
                <a:solidFill>
                  <a:schemeClr val="tx2"/>
                </a:solidFill>
                <a:latin typeface="+mj-lt"/>
              </a:rPr>
              <a:t>presence</a:t>
            </a:r>
          </a:p>
        </p:txBody>
      </p:sp>
      <p:sp>
        <p:nvSpPr>
          <p:cNvPr id="68" name="Tekstfelt 67">
            <a:extLst>
              <a:ext uri="{FF2B5EF4-FFF2-40B4-BE49-F238E27FC236}">
                <a16:creationId xmlns:a16="http://schemas.microsoft.com/office/drawing/2014/main" id="{5B52FA73-869B-E240-8539-5C77082BFBCB}"/>
              </a:ext>
            </a:extLst>
          </p:cNvPr>
          <p:cNvSpPr txBox="1"/>
          <p:nvPr/>
        </p:nvSpPr>
        <p:spPr>
          <a:xfrm>
            <a:off x="3215092" y="2310028"/>
            <a:ext cx="1365296" cy="1235531"/>
          </a:xfrm>
          <a:prstGeom prst="rect">
            <a:avLst/>
          </a:prstGeom>
          <a:noFill/>
        </p:spPr>
        <p:txBody>
          <a:bodyPr wrap="square" lIns="0" tIns="0" rIns="0" bIns="0" rtlCol="0">
            <a:spAutoFit/>
          </a:bodyPr>
          <a:lstStyle/>
          <a:p>
            <a:pPr algn="l">
              <a:lnSpc>
                <a:spcPct val="120000"/>
              </a:lnSpc>
            </a:pPr>
            <a:r>
              <a:rPr lang="en-GB" sz="7200">
                <a:solidFill>
                  <a:srgbClr val="939AA7"/>
                </a:solidFill>
              </a:rPr>
              <a:t>80</a:t>
            </a:r>
            <a:endParaRPr lang="en-GB" sz="7200" dirty="0">
              <a:solidFill>
                <a:srgbClr val="939AA7"/>
              </a:solidFill>
            </a:endParaRPr>
          </a:p>
        </p:txBody>
      </p:sp>
      <p:sp>
        <p:nvSpPr>
          <p:cNvPr id="69" name="Tekstfelt 68">
            <a:extLst>
              <a:ext uri="{FF2B5EF4-FFF2-40B4-BE49-F238E27FC236}">
                <a16:creationId xmlns:a16="http://schemas.microsoft.com/office/drawing/2014/main" id="{A7C1144F-3995-9941-B0A8-41338BC38576}"/>
              </a:ext>
            </a:extLst>
          </p:cNvPr>
          <p:cNvSpPr txBox="1">
            <a:spLocks/>
          </p:cNvSpPr>
          <p:nvPr/>
        </p:nvSpPr>
        <p:spPr>
          <a:xfrm>
            <a:off x="575496" y="2310028"/>
            <a:ext cx="1663891" cy="1235531"/>
          </a:xfrm>
          <a:prstGeom prst="rect">
            <a:avLst/>
          </a:prstGeom>
          <a:noFill/>
        </p:spPr>
        <p:txBody>
          <a:bodyPr wrap="square" lIns="0" tIns="0" rIns="0" bIns="0" rtlCol="0">
            <a:spAutoFit/>
          </a:bodyPr>
          <a:lstStyle/>
          <a:p>
            <a:pPr algn="l">
              <a:lnSpc>
                <a:spcPct val="120000"/>
              </a:lnSpc>
            </a:pPr>
            <a:r>
              <a:rPr lang="en-GB" sz="7200" spc="-300" dirty="0">
                <a:solidFill>
                  <a:srgbClr val="939AA7"/>
                </a:solidFill>
              </a:rPr>
              <a:t>170</a:t>
            </a:r>
          </a:p>
        </p:txBody>
      </p:sp>
      <p:sp>
        <p:nvSpPr>
          <p:cNvPr id="70" name="Tekstfelt 69">
            <a:extLst>
              <a:ext uri="{FF2B5EF4-FFF2-40B4-BE49-F238E27FC236}">
                <a16:creationId xmlns:a16="http://schemas.microsoft.com/office/drawing/2014/main" id="{E84FE80F-9FB4-CC4D-ABD4-ED6C936205A3}"/>
              </a:ext>
            </a:extLst>
          </p:cNvPr>
          <p:cNvSpPr txBox="1">
            <a:spLocks/>
          </p:cNvSpPr>
          <p:nvPr/>
        </p:nvSpPr>
        <p:spPr>
          <a:xfrm>
            <a:off x="8932049" y="4287448"/>
            <a:ext cx="2563265" cy="2314993"/>
          </a:xfrm>
          <a:prstGeom prst="rect">
            <a:avLst/>
          </a:prstGeom>
          <a:noFill/>
        </p:spPr>
        <p:txBody>
          <a:bodyPr wrap="square" lIns="0" tIns="0" rIns="0" bIns="0" rtlCol="0">
            <a:spAutoFit/>
          </a:bodyPr>
          <a:lstStyle/>
          <a:p>
            <a:pPr lvl="0">
              <a:lnSpc>
                <a:spcPct val="120000"/>
              </a:lnSpc>
              <a:defRPr/>
            </a:pPr>
            <a:r>
              <a:rPr lang="en-GB" sz="900" b="1" dirty="0">
                <a:solidFill>
                  <a:schemeClr val="tx2"/>
                </a:solidFill>
                <a:cs typeface="Verdana" charset="0"/>
              </a:rPr>
              <a:t>R&amp;D centres</a:t>
            </a:r>
          </a:p>
          <a:p>
            <a:pPr lvl="0">
              <a:lnSpc>
                <a:spcPct val="120000"/>
              </a:lnSpc>
              <a:defRPr/>
            </a:pPr>
            <a:r>
              <a:rPr lang="en-GB" sz="900" dirty="0">
                <a:solidFill>
                  <a:schemeClr val="tx2"/>
                </a:solidFill>
                <a:cs typeface="Verdana" charset="0"/>
              </a:rPr>
              <a:t>China, Denmark, India, UK, US</a:t>
            </a:r>
            <a:endParaRPr lang="en-GB" sz="900" b="1" dirty="0">
              <a:solidFill>
                <a:schemeClr val="tx2"/>
              </a:solidFill>
              <a:cs typeface="Verdana" charset="0"/>
            </a:endParaRPr>
          </a:p>
          <a:p>
            <a:pPr>
              <a:lnSpc>
                <a:spcPct val="120000"/>
              </a:lnSpc>
              <a:defRPr/>
            </a:pPr>
            <a:endParaRPr lang="en-GB" sz="900" b="1" dirty="0">
              <a:solidFill>
                <a:schemeClr val="tx2"/>
              </a:solidFill>
              <a:cs typeface="Verdana" charset="0"/>
            </a:endParaRPr>
          </a:p>
          <a:p>
            <a:pPr>
              <a:lnSpc>
                <a:spcPct val="120000"/>
              </a:lnSpc>
              <a:defRPr/>
            </a:pPr>
            <a:r>
              <a:rPr lang="en-GB" sz="900" b="1" dirty="0">
                <a:solidFill>
                  <a:schemeClr val="tx2"/>
                </a:solidFill>
                <a:cs typeface="Verdana" charset="0"/>
              </a:rPr>
              <a:t>Regional offices</a:t>
            </a:r>
            <a:endParaRPr lang="en-GB" sz="900" dirty="0">
              <a:solidFill>
                <a:schemeClr val="tx2"/>
              </a:solidFill>
              <a:cs typeface="Verdana" charset="0"/>
            </a:endParaRPr>
          </a:p>
          <a:p>
            <a:pPr marL="400050" lvl="1" indent="-171450">
              <a:lnSpc>
                <a:spcPct val="120000"/>
              </a:lnSpc>
              <a:buSzPct val="150000"/>
              <a:buFont typeface="Arial" panose="020B0604020202020204" pitchFamily="34" charset="0"/>
              <a:buChar char="•"/>
              <a:defRPr/>
            </a:pPr>
            <a:r>
              <a:rPr lang="en-GB" sz="900" dirty="0">
                <a:solidFill>
                  <a:schemeClr val="tx2"/>
                </a:solidFill>
                <a:cs typeface="Verdana" charset="0"/>
              </a:rPr>
              <a:t>Beijing (China)</a:t>
            </a:r>
          </a:p>
          <a:p>
            <a:pPr marL="400050" lvl="1" indent="-171450">
              <a:lnSpc>
                <a:spcPct val="120000"/>
              </a:lnSpc>
              <a:buSzPct val="150000"/>
              <a:buFont typeface="Arial" panose="020B0604020202020204" pitchFamily="34" charset="0"/>
              <a:buChar char="•"/>
              <a:defRPr/>
            </a:pPr>
            <a:r>
              <a:rPr lang="en-GB" sz="900" dirty="0">
                <a:solidFill>
                  <a:schemeClr val="tx2"/>
                </a:solidFill>
                <a:cs typeface="Verdana" charset="0"/>
              </a:rPr>
              <a:t>São Paolo (Latin America)</a:t>
            </a:r>
          </a:p>
          <a:p>
            <a:pPr marL="400050" lvl="1" indent="-171450">
              <a:lnSpc>
                <a:spcPct val="120000"/>
              </a:lnSpc>
              <a:buSzPct val="150000"/>
              <a:buFont typeface="Arial" panose="020B0604020202020204" pitchFamily="34" charset="0"/>
              <a:buChar char="•"/>
              <a:defRPr/>
            </a:pPr>
            <a:r>
              <a:rPr lang="en-GB" sz="900" dirty="0">
                <a:solidFill>
                  <a:schemeClr val="tx2"/>
                </a:solidFill>
                <a:cs typeface="Verdana" charset="0"/>
              </a:rPr>
              <a:t>Tokyo (Japan)</a:t>
            </a:r>
          </a:p>
          <a:p>
            <a:pPr marL="400050" lvl="1" indent="-171450">
              <a:lnSpc>
                <a:spcPct val="120000"/>
              </a:lnSpc>
              <a:buSzPct val="150000"/>
              <a:buFont typeface="Arial" panose="020B0604020202020204" pitchFamily="34" charset="0"/>
              <a:buChar char="•"/>
              <a:defRPr/>
            </a:pPr>
            <a:r>
              <a:rPr lang="en-GB" sz="900" dirty="0">
                <a:solidFill>
                  <a:schemeClr val="tx2"/>
                </a:solidFill>
                <a:cs typeface="Verdana" charset="0"/>
              </a:rPr>
              <a:t>Copenhagen (North West Europe)</a:t>
            </a:r>
          </a:p>
          <a:p>
            <a:pPr marL="400050" lvl="1" indent="-171450">
              <a:lnSpc>
                <a:spcPct val="120000"/>
              </a:lnSpc>
              <a:buSzPct val="150000"/>
              <a:buFont typeface="Arial" panose="020B0604020202020204" pitchFamily="34" charset="0"/>
              <a:buChar char="•"/>
              <a:defRPr/>
            </a:pPr>
            <a:r>
              <a:rPr lang="en-GB" sz="900" dirty="0">
                <a:solidFill>
                  <a:schemeClr val="tx2"/>
                </a:solidFill>
                <a:cs typeface="Verdana" charset="0"/>
              </a:rPr>
              <a:t>Mainz (Germany)</a:t>
            </a:r>
          </a:p>
          <a:p>
            <a:pPr marL="400050" lvl="1" indent="-171450">
              <a:lnSpc>
                <a:spcPct val="120000"/>
              </a:lnSpc>
              <a:buSzPct val="150000"/>
              <a:buFont typeface="Arial" panose="020B0604020202020204" pitchFamily="34" charset="0"/>
              <a:buChar char="•"/>
              <a:defRPr/>
            </a:pPr>
            <a:r>
              <a:rPr lang="en-GB" sz="900" dirty="0">
                <a:solidFill>
                  <a:schemeClr val="tx2"/>
                </a:solidFill>
                <a:cs typeface="Verdana" charset="0"/>
              </a:rPr>
              <a:t>Zurich (South East Europe, </a:t>
            </a:r>
            <a:br>
              <a:rPr lang="en-GB" sz="900" dirty="0">
                <a:solidFill>
                  <a:schemeClr val="tx2"/>
                </a:solidFill>
                <a:cs typeface="Verdana" charset="0"/>
              </a:rPr>
            </a:br>
            <a:r>
              <a:rPr lang="en-GB" sz="900" dirty="0">
                <a:solidFill>
                  <a:schemeClr val="tx2"/>
                </a:solidFill>
                <a:cs typeface="Verdana" charset="0"/>
              </a:rPr>
              <a:t>Middle East &amp; Africa</a:t>
            </a:r>
          </a:p>
          <a:p>
            <a:pPr marL="400050" lvl="1" indent="-171450">
              <a:lnSpc>
                <a:spcPct val="120000"/>
              </a:lnSpc>
              <a:buSzPct val="150000"/>
              <a:buFont typeface="Arial" panose="020B0604020202020204" pitchFamily="34" charset="0"/>
              <a:buChar char="•"/>
              <a:defRPr/>
            </a:pPr>
            <a:r>
              <a:rPr lang="en-GB" sz="900" dirty="0">
                <a:solidFill>
                  <a:schemeClr val="tx2"/>
                </a:solidFill>
                <a:cs typeface="Verdana" charset="0"/>
              </a:rPr>
              <a:t>Dubai (Asia &amp; Pacific)</a:t>
            </a:r>
            <a:endParaRPr lang="en-GB" sz="900" dirty="0">
              <a:solidFill>
                <a:schemeClr val="tx2"/>
              </a:solidFill>
            </a:endParaRPr>
          </a:p>
          <a:p>
            <a:pPr lvl="0">
              <a:lnSpc>
                <a:spcPct val="120000"/>
              </a:lnSpc>
              <a:defRPr/>
            </a:pPr>
            <a:endParaRPr lang="en-GB" sz="900" b="1" dirty="0">
              <a:solidFill>
                <a:schemeClr val="tx2"/>
              </a:solidFill>
              <a:cs typeface="Verdana" charset="0"/>
            </a:endParaRPr>
          </a:p>
          <a:p>
            <a:pPr lvl="0">
              <a:lnSpc>
                <a:spcPct val="120000"/>
              </a:lnSpc>
              <a:defRPr/>
            </a:pPr>
            <a:r>
              <a:rPr lang="en-GB" sz="900" dirty="0">
                <a:solidFill>
                  <a:schemeClr val="tx2"/>
                </a:solidFill>
                <a:cs typeface="Verdana" charset="0"/>
              </a:rPr>
              <a:t> </a:t>
            </a:r>
          </a:p>
        </p:txBody>
      </p:sp>
      <p:sp>
        <p:nvSpPr>
          <p:cNvPr id="71" name="Tekstfelt 70">
            <a:extLst>
              <a:ext uri="{FF2B5EF4-FFF2-40B4-BE49-F238E27FC236}">
                <a16:creationId xmlns:a16="http://schemas.microsoft.com/office/drawing/2014/main" id="{CCE2B59A-D98E-AF4D-92F0-9C4DD36355AA}"/>
              </a:ext>
            </a:extLst>
          </p:cNvPr>
          <p:cNvSpPr txBox="1">
            <a:spLocks/>
          </p:cNvSpPr>
          <p:nvPr/>
        </p:nvSpPr>
        <p:spPr>
          <a:xfrm>
            <a:off x="3257661" y="3550464"/>
            <a:ext cx="1392673" cy="320601"/>
          </a:xfrm>
          <a:prstGeom prst="rect">
            <a:avLst/>
          </a:prstGeom>
          <a:noFill/>
        </p:spPr>
        <p:txBody>
          <a:bodyPr wrap="square" lIns="0" tIns="0" rIns="0" bIns="0" rtlCol="0">
            <a:spAutoFit/>
          </a:bodyPr>
          <a:lstStyle/>
          <a:p>
            <a:pPr lvl="0">
              <a:lnSpc>
                <a:spcPct val="120000"/>
              </a:lnSpc>
              <a:defRPr/>
            </a:pPr>
            <a:r>
              <a:rPr lang="en-GB" sz="900" dirty="0">
                <a:solidFill>
                  <a:srgbClr val="939AA7"/>
                </a:solidFill>
              </a:rPr>
              <a:t>Novo Nordisk affiliates </a:t>
            </a:r>
          </a:p>
          <a:p>
            <a:pPr lvl="0">
              <a:lnSpc>
                <a:spcPct val="120000"/>
              </a:lnSpc>
              <a:defRPr/>
            </a:pPr>
            <a:r>
              <a:rPr lang="en-GB" sz="900" dirty="0">
                <a:solidFill>
                  <a:srgbClr val="939AA7"/>
                </a:solidFill>
              </a:rPr>
              <a:t>in 80 countries</a:t>
            </a:r>
          </a:p>
        </p:txBody>
      </p:sp>
      <p:sp>
        <p:nvSpPr>
          <p:cNvPr id="72" name="Tekstfelt 71">
            <a:extLst>
              <a:ext uri="{FF2B5EF4-FFF2-40B4-BE49-F238E27FC236}">
                <a16:creationId xmlns:a16="http://schemas.microsoft.com/office/drawing/2014/main" id="{48ED5E28-C009-474E-A2B4-383930F5ECD0}"/>
              </a:ext>
            </a:extLst>
          </p:cNvPr>
          <p:cNvSpPr txBox="1"/>
          <p:nvPr/>
        </p:nvSpPr>
        <p:spPr>
          <a:xfrm>
            <a:off x="641444" y="3550464"/>
            <a:ext cx="2188472" cy="320601"/>
          </a:xfrm>
          <a:prstGeom prst="rect">
            <a:avLst/>
          </a:prstGeom>
          <a:noFill/>
        </p:spPr>
        <p:txBody>
          <a:bodyPr wrap="square" lIns="0" tIns="0" rIns="0" bIns="0" rtlCol="0">
            <a:spAutoFit/>
          </a:bodyPr>
          <a:lstStyle/>
          <a:p>
            <a:pPr lvl="0">
              <a:lnSpc>
                <a:spcPct val="120000"/>
              </a:lnSpc>
              <a:defRPr/>
            </a:pPr>
            <a:r>
              <a:rPr lang="en-GB" sz="900" dirty="0">
                <a:solidFill>
                  <a:srgbClr val="939AA7"/>
                </a:solidFill>
              </a:rPr>
              <a:t>Novo Nordisk markets its products </a:t>
            </a:r>
          </a:p>
          <a:p>
            <a:pPr lvl="0">
              <a:lnSpc>
                <a:spcPct val="120000"/>
              </a:lnSpc>
              <a:defRPr/>
            </a:pPr>
            <a:r>
              <a:rPr lang="en-GB" sz="900" dirty="0">
                <a:solidFill>
                  <a:srgbClr val="939AA7"/>
                </a:solidFill>
              </a:rPr>
              <a:t>in 170 countries worldwide</a:t>
            </a:r>
          </a:p>
        </p:txBody>
      </p:sp>
      <p:sp>
        <p:nvSpPr>
          <p:cNvPr id="73" name="Tekstfelt 72">
            <a:extLst>
              <a:ext uri="{FF2B5EF4-FFF2-40B4-BE49-F238E27FC236}">
                <a16:creationId xmlns:a16="http://schemas.microsoft.com/office/drawing/2014/main" id="{0B781500-5879-A64A-8B33-4A66F5B3A10B}"/>
              </a:ext>
            </a:extLst>
          </p:cNvPr>
          <p:cNvSpPr txBox="1"/>
          <p:nvPr/>
        </p:nvSpPr>
        <p:spPr>
          <a:xfrm>
            <a:off x="6667821" y="4287448"/>
            <a:ext cx="2073408" cy="1982594"/>
          </a:xfrm>
          <a:prstGeom prst="rect">
            <a:avLst/>
          </a:prstGeom>
          <a:noFill/>
        </p:spPr>
        <p:txBody>
          <a:bodyPr wrap="square" lIns="0" tIns="0" rIns="0" bIns="0" rtlCol="0">
            <a:spAutoFit/>
          </a:bodyPr>
          <a:lstStyle/>
          <a:p>
            <a:pPr lvl="0">
              <a:lnSpc>
                <a:spcPct val="120000"/>
              </a:lnSpc>
              <a:defRPr/>
            </a:pPr>
            <a:r>
              <a:rPr lang="en-GB" sz="900" b="1" dirty="0">
                <a:solidFill>
                  <a:schemeClr val="tx2"/>
                </a:solidFill>
                <a:cs typeface="Verdana" charset="0"/>
              </a:rPr>
              <a:t>Corporate headquarters </a:t>
            </a:r>
          </a:p>
          <a:p>
            <a:pPr lvl="0">
              <a:lnSpc>
                <a:spcPct val="120000"/>
              </a:lnSpc>
              <a:defRPr/>
            </a:pPr>
            <a:r>
              <a:rPr lang="en-GB" sz="900" noProof="1">
                <a:solidFill>
                  <a:schemeClr val="tx2"/>
                </a:solidFill>
                <a:cs typeface="Verdana" charset="0"/>
              </a:rPr>
              <a:t>Bagsværd, </a:t>
            </a:r>
            <a:r>
              <a:rPr lang="en-GB" sz="900" dirty="0">
                <a:solidFill>
                  <a:schemeClr val="tx2"/>
                </a:solidFill>
                <a:cs typeface="Verdana" charset="0"/>
              </a:rPr>
              <a:t>Denmark</a:t>
            </a:r>
          </a:p>
          <a:p>
            <a:pPr lvl="0">
              <a:lnSpc>
                <a:spcPct val="120000"/>
              </a:lnSpc>
              <a:defRPr/>
            </a:pPr>
            <a:endParaRPr lang="en-GB" sz="900" b="1" dirty="0">
              <a:solidFill>
                <a:schemeClr val="tx2"/>
              </a:solidFill>
              <a:cs typeface="Verdana" charset="0"/>
            </a:endParaRPr>
          </a:p>
          <a:p>
            <a:pPr lvl="0">
              <a:lnSpc>
                <a:spcPct val="120000"/>
              </a:lnSpc>
              <a:defRPr/>
            </a:pPr>
            <a:r>
              <a:rPr lang="en-GB" sz="900" b="1" dirty="0">
                <a:solidFill>
                  <a:schemeClr val="tx2"/>
                </a:solidFill>
                <a:cs typeface="Verdana" charset="0"/>
              </a:rPr>
              <a:t>North America Operations HQ </a:t>
            </a:r>
          </a:p>
          <a:p>
            <a:pPr lvl="0">
              <a:lnSpc>
                <a:spcPct val="120000"/>
              </a:lnSpc>
              <a:defRPr/>
            </a:pPr>
            <a:r>
              <a:rPr lang="en-GB" sz="900" dirty="0">
                <a:solidFill>
                  <a:schemeClr val="tx2"/>
                </a:solidFill>
                <a:cs typeface="Verdana" charset="0"/>
              </a:rPr>
              <a:t>Plainsboro, NJ, US</a:t>
            </a:r>
            <a:br>
              <a:rPr lang="en-GB" sz="900" dirty="0">
                <a:solidFill>
                  <a:schemeClr val="tx2"/>
                </a:solidFill>
                <a:cs typeface="Verdana" charset="0"/>
              </a:rPr>
            </a:br>
            <a:endParaRPr lang="en-GB" sz="900" b="1" dirty="0">
              <a:solidFill>
                <a:schemeClr val="tx2"/>
              </a:solidFill>
              <a:cs typeface="Verdana" charset="0"/>
            </a:endParaRPr>
          </a:p>
          <a:p>
            <a:pPr lvl="0">
              <a:lnSpc>
                <a:spcPct val="120000"/>
              </a:lnSpc>
              <a:defRPr/>
            </a:pPr>
            <a:r>
              <a:rPr lang="en-GB" sz="900" b="1" dirty="0">
                <a:solidFill>
                  <a:schemeClr val="tx2"/>
                </a:solidFill>
                <a:cs typeface="Verdana" charset="0"/>
              </a:rPr>
              <a:t>International Operations HQ</a:t>
            </a:r>
          </a:p>
          <a:p>
            <a:pPr lvl="0">
              <a:lnSpc>
                <a:spcPct val="120000"/>
              </a:lnSpc>
              <a:defRPr/>
            </a:pPr>
            <a:r>
              <a:rPr lang="en-GB" sz="900" dirty="0">
                <a:solidFill>
                  <a:schemeClr val="tx2"/>
                </a:solidFill>
                <a:cs typeface="Verdana" charset="0"/>
              </a:rPr>
              <a:t>Zurich, Switzerland</a:t>
            </a:r>
          </a:p>
          <a:p>
            <a:pPr lvl="0">
              <a:lnSpc>
                <a:spcPct val="120000"/>
              </a:lnSpc>
              <a:defRPr/>
            </a:pPr>
            <a:endParaRPr lang="en-GB" sz="900" dirty="0">
              <a:solidFill>
                <a:schemeClr val="tx2"/>
              </a:solidFill>
              <a:cs typeface="Verdana" charset="0"/>
            </a:endParaRPr>
          </a:p>
          <a:p>
            <a:pPr lvl="0">
              <a:lnSpc>
                <a:spcPct val="120000"/>
              </a:lnSpc>
              <a:defRPr/>
            </a:pPr>
            <a:r>
              <a:rPr lang="en-GB" sz="900" b="1" dirty="0">
                <a:solidFill>
                  <a:schemeClr val="tx2"/>
                </a:solidFill>
                <a:cs typeface="Verdana" charset="0"/>
              </a:rPr>
              <a:t>Strategic</a:t>
            </a:r>
          </a:p>
          <a:p>
            <a:pPr lvl="0">
              <a:lnSpc>
                <a:spcPct val="120000"/>
              </a:lnSpc>
              <a:defRPr/>
            </a:pPr>
            <a:r>
              <a:rPr lang="en-GB" sz="900" b="1" dirty="0">
                <a:solidFill>
                  <a:schemeClr val="tx2"/>
                </a:solidFill>
                <a:cs typeface="Verdana" charset="0"/>
              </a:rPr>
              <a:t>production sites</a:t>
            </a:r>
            <a:br>
              <a:rPr lang="en-GB" sz="900" b="1" dirty="0">
                <a:solidFill>
                  <a:schemeClr val="tx2"/>
                </a:solidFill>
                <a:cs typeface="Verdana" charset="0"/>
              </a:rPr>
            </a:br>
            <a:r>
              <a:rPr lang="en-GB" sz="900" dirty="0">
                <a:solidFill>
                  <a:schemeClr val="tx2"/>
                </a:solidFill>
                <a:cs typeface="Verdana" charset="0"/>
              </a:rPr>
              <a:t>Brazil, China, Denmark, France, US</a:t>
            </a:r>
          </a:p>
        </p:txBody>
      </p:sp>
      <p:grpSp>
        <p:nvGrpSpPr>
          <p:cNvPr id="220" name="Group 219">
            <a:extLst>
              <a:ext uri="{FF2B5EF4-FFF2-40B4-BE49-F238E27FC236}">
                <a16:creationId xmlns:a16="http://schemas.microsoft.com/office/drawing/2014/main" id="{3446FD6C-2CEE-4234-AA67-AF71CC8B2502}"/>
              </a:ext>
            </a:extLst>
          </p:cNvPr>
          <p:cNvGrpSpPr>
            <a:grpSpLocks noChangeAspect="1"/>
          </p:cNvGrpSpPr>
          <p:nvPr/>
        </p:nvGrpSpPr>
        <p:grpSpPr>
          <a:xfrm>
            <a:off x="5126038" y="684829"/>
            <a:ext cx="6296684" cy="3100829"/>
            <a:chOff x="2299205" y="1519913"/>
            <a:chExt cx="4473929" cy="2203206"/>
          </a:xfrm>
        </p:grpSpPr>
        <p:sp>
          <p:nvSpPr>
            <p:cNvPr id="221" name="Freeform 11">
              <a:extLst>
                <a:ext uri="{FF2B5EF4-FFF2-40B4-BE49-F238E27FC236}">
                  <a16:creationId xmlns:a16="http://schemas.microsoft.com/office/drawing/2014/main" id="{3A9915B9-9824-43AF-A447-38F4DF37CBE5}"/>
                </a:ext>
              </a:extLst>
            </p:cNvPr>
            <p:cNvSpPr/>
            <p:nvPr/>
          </p:nvSpPr>
          <p:spPr>
            <a:xfrm>
              <a:off x="5368014" y="2476915"/>
              <a:ext cx="25718" cy="25718"/>
            </a:xfrm>
            <a:custGeom>
              <a:avLst/>
              <a:gdLst>
                <a:gd name="connsiteX0" fmla="*/ 14080 w 25717"/>
                <a:gd name="connsiteY0" fmla="*/ 0 h 25717"/>
                <a:gd name="connsiteX1" fmla="*/ 0 w 25717"/>
                <a:gd name="connsiteY1" fmla="*/ 8101 h 25717"/>
                <a:gd name="connsiteX2" fmla="*/ 2057 w 25717"/>
                <a:gd name="connsiteY2" fmla="*/ 11637 h 25717"/>
                <a:gd name="connsiteX3" fmla="*/ 9451 w 25717"/>
                <a:gd name="connsiteY3" fmla="*/ 19931 h 25717"/>
                <a:gd name="connsiteX4" fmla="*/ 10673 w 25717"/>
                <a:gd name="connsiteY4" fmla="*/ 27325 h 25717"/>
                <a:gd name="connsiteX5" fmla="*/ 16009 w 25717"/>
                <a:gd name="connsiteY5" fmla="*/ 26746 h 25717"/>
                <a:gd name="connsiteX6" fmla="*/ 28353 w 25717"/>
                <a:gd name="connsiteY6" fmla="*/ 11894 h 25717"/>
                <a:gd name="connsiteX7" fmla="*/ 14080 w 25717"/>
                <a:gd name="connsiteY7" fmla="*/ 0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 h="25717">
                  <a:moveTo>
                    <a:pt x="14080" y="0"/>
                  </a:moveTo>
                  <a:cubicBezTo>
                    <a:pt x="8345" y="238"/>
                    <a:pt x="3086" y="3260"/>
                    <a:pt x="0" y="8101"/>
                  </a:cubicBezTo>
                  <a:cubicBezTo>
                    <a:pt x="932" y="9117"/>
                    <a:pt x="1633" y="10325"/>
                    <a:pt x="2057" y="11637"/>
                  </a:cubicBezTo>
                  <a:cubicBezTo>
                    <a:pt x="3363" y="15251"/>
                    <a:pt x="6011" y="18221"/>
                    <a:pt x="9451" y="19931"/>
                  </a:cubicBezTo>
                  <a:cubicBezTo>
                    <a:pt x="11573" y="21153"/>
                    <a:pt x="11251" y="24432"/>
                    <a:pt x="10673" y="27325"/>
                  </a:cubicBezTo>
                  <a:cubicBezTo>
                    <a:pt x="12467" y="27293"/>
                    <a:pt x="14254" y="27100"/>
                    <a:pt x="16009" y="26746"/>
                  </a:cubicBezTo>
                  <a:cubicBezTo>
                    <a:pt x="19545" y="25910"/>
                    <a:pt x="27260" y="14916"/>
                    <a:pt x="28353" y="11894"/>
                  </a:cubicBezTo>
                  <a:cubicBezTo>
                    <a:pt x="29447" y="8873"/>
                    <a:pt x="18452" y="321"/>
                    <a:pt x="14080" y="0"/>
                  </a:cubicBezTo>
                  <a:close/>
                </a:path>
              </a:pathLst>
            </a:custGeom>
            <a:solidFill>
              <a:srgbClr val="CDC5BC"/>
            </a:solidFill>
            <a:ln w="6429" cap="flat">
              <a:noFill/>
              <a:prstDash val="solid"/>
              <a:miter/>
            </a:ln>
          </p:spPr>
          <p:txBody>
            <a:bodyPr rtlCol="0" anchor="ctr"/>
            <a:lstStyle/>
            <a:p>
              <a:endParaRPr lang="en-GB" sz="2400"/>
            </a:p>
          </p:txBody>
        </p:sp>
        <p:sp>
          <p:nvSpPr>
            <p:cNvPr id="222" name="Freeform 12">
              <a:extLst>
                <a:ext uri="{FF2B5EF4-FFF2-40B4-BE49-F238E27FC236}">
                  <a16:creationId xmlns:a16="http://schemas.microsoft.com/office/drawing/2014/main" id="{8B05DA81-CB20-4D44-94C6-301CE35A3BD8}"/>
                </a:ext>
              </a:extLst>
            </p:cNvPr>
            <p:cNvSpPr/>
            <p:nvPr/>
          </p:nvSpPr>
          <p:spPr>
            <a:xfrm>
              <a:off x="5928783" y="2373338"/>
              <a:ext cx="83582" cy="77153"/>
            </a:xfrm>
            <a:custGeom>
              <a:avLst/>
              <a:gdLst>
                <a:gd name="connsiteX0" fmla="*/ 81975 w 83581"/>
                <a:gd name="connsiteY0" fmla="*/ 3986 h 77152"/>
                <a:gd name="connsiteX1" fmla="*/ 71559 w 83581"/>
                <a:gd name="connsiteY1" fmla="*/ 0 h 77152"/>
                <a:gd name="connsiteX2" fmla="*/ 64358 w 83581"/>
                <a:gd name="connsiteY2" fmla="*/ 9644 h 77152"/>
                <a:gd name="connsiteX3" fmla="*/ 55550 w 83581"/>
                <a:gd name="connsiteY3" fmla="*/ 16073 h 77152"/>
                <a:gd name="connsiteX4" fmla="*/ 50727 w 83581"/>
                <a:gd name="connsiteY4" fmla="*/ 20895 h 77152"/>
                <a:gd name="connsiteX5" fmla="*/ 42755 w 83581"/>
                <a:gd name="connsiteY5" fmla="*/ 23274 h 77152"/>
                <a:gd name="connsiteX6" fmla="*/ 34718 w 83581"/>
                <a:gd name="connsiteY6" fmla="*/ 20060 h 77152"/>
                <a:gd name="connsiteX7" fmla="*/ 26746 w 83581"/>
                <a:gd name="connsiteY7" fmla="*/ 28868 h 77152"/>
                <a:gd name="connsiteX8" fmla="*/ 3536 w 83581"/>
                <a:gd name="connsiteY8" fmla="*/ 41727 h 77152"/>
                <a:gd name="connsiteX9" fmla="*/ 0 w 83581"/>
                <a:gd name="connsiteY9" fmla="*/ 47127 h 77152"/>
                <a:gd name="connsiteX10" fmla="*/ 14209 w 83581"/>
                <a:gd name="connsiteY10" fmla="*/ 54135 h 77152"/>
                <a:gd name="connsiteX11" fmla="*/ 6879 w 83581"/>
                <a:gd name="connsiteY11" fmla="*/ 67573 h 77152"/>
                <a:gd name="connsiteX12" fmla="*/ 9065 w 83581"/>
                <a:gd name="connsiteY12" fmla="*/ 75095 h 77152"/>
                <a:gd name="connsiteX13" fmla="*/ 15495 w 83581"/>
                <a:gd name="connsiteY13" fmla="*/ 78245 h 77152"/>
                <a:gd name="connsiteX14" fmla="*/ 25010 w 83581"/>
                <a:gd name="connsiteY14" fmla="*/ 76381 h 77152"/>
                <a:gd name="connsiteX15" fmla="*/ 27968 w 83581"/>
                <a:gd name="connsiteY15" fmla="*/ 78053 h 77152"/>
                <a:gd name="connsiteX16" fmla="*/ 35297 w 83581"/>
                <a:gd name="connsiteY16" fmla="*/ 72588 h 77152"/>
                <a:gd name="connsiteX17" fmla="*/ 46549 w 83581"/>
                <a:gd name="connsiteY17" fmla="*/ 70144 h 77152"/>
                <a:gd name="connsiteX18" fmla="*/ 52978 w 83581"/>
                <a:gd name="connsiteY18" fmla="*/ 67637 h 77152"/>
                <a:gd name="connsiteX19" fmla="*/ 41984 w 83581"/>
                <a:gd name="connsiteY19" fmla="*/ 57286 h 77152"/>
                <a:gd name="connsiteX20" fmla="*/ 45455 w 83581"/>
                <a:gd name="connsiteY20" fmla="*/ 46291 h 77152"/>
                <a:gd name="connsiteX21" fmla="*/ 67122 w 83581"/>
                <a:gd name="connsiteY21" fmla="*/ 33047 h 77152"/>
                <a:gd name="connsiteX22" fmla="*/ 71559 w 83581"/>
                <a:gd name="connsiteY22" fmla="*/ 18002 h 77152"/>
                <a:gd name="connsiteX23" fmla="*/ 85382 w 83581"/>
                <a:gd name="connsiteY23" fmla="*/ 4565 h 77152"/>
                <a:gd name="connsiteX24" fmla="*/ 81975 w 83581"/>
                <a:gd name="connsiteY24" fmla="*/ 3986 h 7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3581" h="77152">
                  <a:moveTo>
                    <a:pt x="81975" y="3986"/>
                  </a:moveTo>
                  <a:cubicBezTo>
                    <a:pt x="77153" y="5594"/>
                    <a:pt x="75545" y="0"/>
                    <a:pt x="71559" y="0"/>
                  </a:cubicBezTo>
                  <a:cubicBezTo>
                    <a:pt x="67572" y="0"/>
                    <a:pt x="68344" y="9644"/>
                    <a:pt x="64358" y="9644"/>
                  </a:cubicBezTo>
                  <a:cubicBezTo>
                    <a:pt x="60372" y="9644"/>
                    <a:pt x="61143" y="15238"/>
                    <a:pt x="55550" y="16073"/>
                  </a:cubicBezTo>
                  <a:cubicBezTo>
                    <a:pt x="49956" y="16909"/>
                    <a:pt x="48349" y="16909"/>
                    <a:pt x="50727" y="20895"/>
                  </a:cubicBezTo>
                  <a:cubicBezTo>
                    <a:pt x="53106" y="24882"/>
                    <a:pt x="47577" y="23274"/>
                    <a:pt x="42755" y="23274"/>
                  </a:cubicBezTo>
                  <a:cubicBezTo>
                    <a:pt x="37933" y="23274"/>
                    <a:pt x="37933" y="20060"/>
                    <a:pt x="34718" y="20060"/>
                  </a:cubicBezTo>
                  <a:cubicBezTo>
                    <a:pt x="31504" y="20060"/>
                    <a:pt x="29125" y="25718"/>
                    <a:pt x="26746" y="28868"/>
                  </a:cubicBezTo>
                  <a:cubicBezTo>
                    <a:pt x="19468" y="33928"/>
                    <a:pt x="11689" y="38242"/>
                    <a:pt x="3536" y="41727"/>
                  </a:cubicBezTo>
                  <a:cubicBezTo>
                    <a:pt x="1781" y="43077"/>
                    <a:pt x="540" y="44980"/>
                    <a:pt x="0" y="47127"/>
                  </a:cubicBezTo>
                  <a:cubicBezTo>
                    <a:pt x="5426" y="47661"/>
                    <a:pt x="10480" y="50156"/>
                    <a:pt x="14209" y="54135"/>
                  </a:cubicBezTo>
                  <a:cubicBezTo>
                    <a:pt x="17745" y="58572"/>
                    <a:pt x="10158" y="63522"/>
                    <a:pt x="6879" y="67573"/>
                  </a:cubicBezTo>
                  <a:cubicBezTo>
                    <a:pt x="3600" y="71623"/>
                    <a:pt x="8872" y="71816"/>
                    <a:pt x="9065" y="75095"/>
                  </a:cubicBezTo>
                  <a:cubicBezTo>
                    <a:pt x="9258" y="78374"/>
                    <a:pt x="13694" y="81139"/>
                    <a:pt x="15495" y="78245"/>
                  </a:cubicBezTo>
                  <a:cubicBezTo>
                    <a:pt x="17295" y="75352"/>
                    <a:pt x="19867" y="76381"/>
                    <a:pt x="25010" y="76381"/>
                  </a:cubicBezTo>
                  <a:cubicBezTo>
                    <a:pt x="26232" y="76329"/>
                    <a:pt x="27383" y="76979"/>
                    <a:pt x="27968" y="78053"/>
                  </a:cubicBezTo>
                  <a:cubicBezTo>
                    <a:pt x="30797" y="75738"/>
                    <a:pt x="34397" y="73681"/>
                    <a:pt x="35297" y="72588"/>
                  </a:cubicBezTo>
                  <a:cubicBezTo>
                    <a:pt x="38679" y="70562"/>
                    <a:pt x="42633" y="69707"/>
                    <a:pt x="46549" y="70144"/>
                  </a:cubicBezTo>
                  <a:cubicBezTo>
                    <a:pt x="48927" y="70125"/>
                    <a:pt x="51216" y="69231"/>
                    <a:pt x="52978" y="67637"/>
                  </a:cubicBezTo>
                  <a:cubicBezTo>
                    <a:pt x="49641" y="63856"/>
                    <a:pt x="45957" y="60391"/>
                    <a:pt x="41984" y="57286"/>
                  </a:cubicBezTo>
                  <a:cubicBezTo>
                    <a:pt x="37740" y="54714"/>
                    <a:pt x="40312" y="47577"/>
                    <a:pt x="45455" y="46291"/>
                  </a:cubicBezTo>
                  <a:cubicBezTo>
                    <a:pt x="53042" y="42498"/>
                    <a:pt x="60288" y="38068"/>
                    <a:pt x="67122" y="33047"/>
                  </a:cubicBezTo>
                  <a:cubicBezTo>
                    <a:pt x="70980" y="30861"/>
                    <a:pt x="68408" y="23660"/>
                    <a:pt x="71559" y="18002"/>
                  </a:cubicBezTo>
                  <a:cubicBezTo>
                    <a:pt x="75462" y="12852"/>
                    <a:pt x="80123" y="8319"/>
                    <a:pt x="85382" y="4565"/>
                  </a:cubicBezTo>
                  <a:cubicBezTo>
                    <a:pt x="84347" y="3992"/>
                    <a:pt x="83144" y="3787"/>
                    <a:pt x="81975" y="3986"/>
                  </a:cubicBezTo>
                  <a:close/>
                </a:path>
              </a:pathLst>
            </a:custGeom>
            <a:solidFill>
              <a:srgbClr val="FFFFFF">
                <a:alpha val="5000"/>
              </a:srgbClr>
            </a:solidFill>
            <a:ln w="6429" cap="flat">
              <a:noFill/>
              <a:prstDash val="solid"/>
              <a:miter/>
            </a:ln>
          </p:spPr>
          <p:txBody>
            <a:bodyPr rtlCol="0" anchor="ctr"/>
            <a:lstStyle/>
            <a:p>
              <a:endParaRPr lang="en-GB" sz="2400"/>
            </a:p>
          </p:txBody>
        </p:sp>
        <p:sp>
          <p:nvSpPr>
            <p:cNvPr id="223" name="Freeform 13">
              <a:extLst>
                <a:ext uri="{FF2B5EF4-FFF2-40B4-BE49-F238E27FC236}">
                  <a16:creationId xmlns:a16="http://schemas.microsoft.com/office/drawing/2014/main" id="{F0488E7E-CFC7-4D24-A3F9-491A2716E7CA}"/>
                </a:ext>
              </a:extLst>
            </p:cNvPr>
            <p:cNvSpPr/>
            <p:nvPr/>
          </p:nvSpPr>
          <p:spPr>
            <a:xfrm>
              <a:off x="4471031" y="2258123"/>
              <a:ext cx="6429" cy="6429"/>
            </a:xfrm>
            <a:custGeom>
              <a:avLst/>
              <a:gdLst>
                <a:gd name="connsiteX0" fmla="*/ 4523 w 6429"/>
                <a:gd name="connsiteY0" fmla="*/ 0 h 6429"/>
                <a:gd name="connsiteX1" fmla="*/ 215 w 6429"/>
                <a:gd name="connsiteY1" fmla="*/ 10608 h 6429"/>
                <a:gd name="connsiteX2" fmla="*/ 8381 w 6429"/>
                <a:gd name="connsiteY2" fmla="*/ 11509 h 6429"/>
                <a:gd name="connsiteX3" fmla="*/ 4459 w 6429"/>
                <a:gd name="connsiteY3" fmla="*/ 1222 h 6429"/>
                <a:gd name="connsiteX4" fmla="*/ 4523 w 6429"/>
                <a:gd name="connsiteY4" fmla="*/ 0 h 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9" h="6429">
                  <a:moveTo>
                    <a:pt x="4523" y="0"/>
                  </a:moveTo>
                  <a:cubicBezTo>
                    <a:pt x="1071" y="2334"/>
                    <a:pt x="-633" y="6526"/>
                    <a:pt x="215" y="10608"/>
                  </a:cubicBezTo>
                  <a:cubicBezTo>
                    <a:pt x="2967" y="10499"/>
                    <a:pt x="5719" y="10801"/>
                    <a:pt x="8381" y="11509"/>
                  </a:cubicBezTo>
                  <a:cubicBezTo>
                    <a:pt x="8182" y="7754"/>
                    <a:pt x="6812" y="4153"/>
                    <a:pt x="4459" y="1222"/>
                  </a:cubicBezTo>
                  <a:cubicBezTo>
                    <a:pt x="4285" y="829"/>
                    <a:pt x="4311" y="373"/>
                    <a:pt x="4523" y="0"/>
                  </a:cubicBezTo>
                  <a:close/>
                </a:path>
              </a:pathLst>
            </a:custGeom>
            <a:solidFill>
              <a:srgbClr val="FAA3C0"/>
            </a:solidFill>
            <a:ln w="6429" cap="flat">
              <a:noFill/>
              <a:prstDash val="solid"/>
              <a:miter/>
            </a:ln>
          </p:spPr>
          <p:txBody>
            <a:bodyPr rtlCol="0" anchor="ctr"/>
            <a:lstStyle/>
            <a:p>
              <a:endParaRPr lang="en-GB" sz="2400"/>
            </a:p>
          </p:txBody>
        </p:sp>
        <p:sp>
          <p:nvSpPr>
            <p:cNvPr id="224" name="Freeform 14">
              <a:extLst>
                <a:ext uri="{FF2B5EF4-FFF2-40B4-BE49-F238E27FC236}">
                  <a16:creationId xmlns:a16="http://schemas.microsoft.com/office/drawing/2014/main" id="{0FEED02F-4D1D-413B-916E-3907D52F9A78}"/>
                </a:ext>
              </a:extLst>
            </p:cNvPr>
            <p:cNvSpPr/>
            <p:nvPr/>
          </p:nvSpPr>
          <p:spPr>
            <a:xfrm>
              <a:off x="4474241" y="2179164"/>
              <a:ext cx="109299" cy="122158"/>
            </a:xfrm>
            <a:custGeom>
              <a:avLst/>
              <a:gdLst>
                <a:gd name="connsiteX0" fmla="*/ 14171 w 109299"/>
                <a:gd name="connsiteY0" fmla="*/ 32025 h 122158"/>
                <a:gd name="connsiteX1" fmla="*/ 7741 w 109299"/>
                <a:gd name="connsiteY1" fmla="*/ 37940 h 122158"/>
                <a:gd name="connsiteX2" fmla="*/ 11792 w 109299"/>
                <a:gd name="connsiteY2" fmla="*/ 44369 h 122158"/>
                <a:gd name="connsiteX3" fmla="*/ 9156 w 109299"/>
                <a:gd name="connsiteY3" fmla="*/ 48420 h 122158"/>
                <a:gd name="connsiteX4" fmla="*/ 2212 w 109299"/>
                <a:gd name="connsiteY4" fmla="*/ 51763 h 122158"/>
                <a:gd name="connsiteX5" fmla="*/ 1440 w 109299"/>
                <a:gd name="connsiteY5" fmla="*/ 57614 h 122158"/>
                <a:gd name="connsiteX6" fmla="*/ 26 w 109299"/>
                <a:gd name="connsiteY6" fmla="*/ 67580 h 122158"/>
                <a:gd name="connsiteX7" fmla="*/ 3305 w 109299"/>
                <a:gd name="connsiteY7" fmla="*/ 75295 h 122158"/>
                <a:gd name="connsiteX8" fmla="*/ 733 w 109299"/>
                <a:gd name="connsiteY8" fmla="*/ 80053 h 122158"/>
                <a:gd name="connsiteX9" fmla="*/ 4655 w 109299"/>
                <a:gd name="connsiteY9" fmla="*/ 90339 h 122158"/>
                <a:gd name="connsiteX10" fmla="*/ 7420 w 109299"/>
                <a:gd name="connsiteY10" fmla="*/ 91818 h 122158"/>
                <a:gd name="connsiteX11" fmla="*/ 15457 w 109299"/>
                <a:gd name="connsiteY11" fmla="*/ 95676 h 122158"/>
                <a:gd name="connsiteX12" fmla="*/ 21886 w 109299"/>
                <a:gd name="connsiteY12" fmla="*/ 97862 h 122158"/>
                <a:gd name="connsiteX13" fmla="*/ 24393 w 109299"/>
                <a:gd name="connsiteY13" fmla="*/ 101977 h 122158"/>
                <a:gd name="connsiteX14" fmla="*/ 19443 w 109299"/>
                <a:gd name="connsiteY14" fmla="*/ 112199 h 122158"/>
                <a:gd name="connsiteX15" fmla="*/ 18350 w 109299"/>
                <a:gd name="connsiteY15" fmla="*/ 119722 h 122158"/>
                <a:gd name="connsiteX16" fmla="*/ 28894 w 109299"/>
                <a:gd name="connsiteY16" fmla="*/ 119336 h 122158"/>
                <a:gd name="connsiteX17" fmla="*/ 37316 w 109299"/>
                <a:gd name="connsiteY17" fmla="*/ 119336 h 122158"/>
                <a:gd name="connsiteX18" fmla="*/ 44517 w 109299"/>
                <a:gd name="connsiteY18" fmla="*/ 122422 h 122158"/>
                <a:gd name="connsiteX19" fmla="*/ 45867 w 109299"/>
                <a:gd name="connsiteY19" fmla="*/ 121072 h 122158"/>
                <a:gd name="connsiteX20" fmla="*/ 53068 w 109299"/>
                <a:gd name="connsiteY20" fmla="*/ 123001 h 122158"/>
                <a:gd name="connsiteX21" fmla="*/ 60526 w 109299"/>
                <a:gd name="connsiteY21" fmla="*/ 121908 h 122158"/>
                <a:gd name="connsiteX22" fmla="*/ 67663 w 109299"/>
                <a:gd name="connsiteY22" fmla="*/ 121329 h 122158"/>
                <a:gd name="connsiteX23" fmla="*/ 80522 w 109299"/>
                <a:gd name="connsiteY23" fmla="*/ 118822 h 122158"/>
                <a:gd name="connsiteX24" fmla="*/ 85472 w 109299"/>
                <a:gd name="connsiteY24" fmla="*/ 115285 h 122158"/>
                <a:gd name="connsiteX25" fmla="*/ 90423 w 109299"/>
                <a:gd name="connsiteY25" fmla="*/ 107570 h 122158"/>
                <a:gd name="connsiteX26" fmla="*/ 97367 w 109299"/>
                <a:gd name="connsiteY26" fmla="*/ 102041 h 122158"/>
                <a:gd name="connsiteX27" fmla="*/ 84508 w 109299"/>
                <a:gd name="connsiteY27" fmla="*/ 92397 h 122158"/>
                <a:gd name="connsiteX28" fmla="*/ 80393 w 109299"/>
                <a:gd name="connsiteY28" fmla="*/ 81917 h 122158"/>
                <a:gd name="connsiteX29" fmla="*/ 79557 w 109299"/>
                <a:gd name="connsiteY29" fmla="*/ 75488 h 122158"/>
                <a:gd name="connsiteX30" fmla="*/ 92416 w 109299"/>
                <a:gd name="connsiteY30" fmla="*/ 70537 h 122158"/>
                <a:gd name="connsiteX31" fmla="*/ 102639 w 109299"/>
                <a:gd name="connsiteY31" fmla="*/ 65844 h 122158"/>
                <a:gd name="connsiteX32" fmla="*/ 109068 w 109299"/>
                <a:gd name="connsiteY32" fmla="*/ 65844 h 122158"/>
                <a:gd name="connsiteX33" fmla="*/ 109068 w 109299"/>
                <a:gd name="connsiteY33" fmla="*/ 58964 h 122158"/>
                <a:gd name="connsiteX34" fmla="*/ 106046 w 109299"/>
                <a:gd name="connsiteY34" fmla="*/ 48999 h 122158"/>
                <a:gd name="connsiteX35" fmla="*/ 104375 w 109299"/>
                <a:gd name="connsiteY35" fmla="*/ 42569 h 122158"/>
                <a:gd name="connsiteX36" fmla="*/ 101610 w 109299"/>
                <a:gd name="connsiteY36" fmla="*/ 36461 h 122158"/>
                <a:gd name="connsiteX37" fmla="*/ 100839 w 109299"/>
                <a:gd name="connsiteY37" fmla="*/ 31511 h 122158"/>
                <a:gd name="connsiteX38" fmla="*/ 100839 w 109299"/>
                <a:gd name="connsiteY38" fmla="*/ 18652 h 122158"/>
                <a:gd name="connsiteX39" fmla="*/ 100839 w 109299"/>
                <a:gd name="connsiteY39" fmla="*/ 17109 h 122158"/>
                <a:gd name="connsiteX40" fmla="*/ 99810 w 109299"/>
                <a:gd name="connsiteY40" fmla="*/ 15566 h 122158"/>
                <a:gd name="connsiteX41" fmla="*/ 92416 w 109299"/>
                <a:gd name="connsiteY41" fmla="*/ 11580 h 122158"/>
                <a:gd name="connsiteX42" fmla="*/ 93573 w 109299"/>
                <a:gd name="connsiteY42" fmla="*/ 4379 h 122158"/>
                <a:gd name="connsiteX43" fmla="*/ 82515 w 109299"/>
                <a:gd name="connsiteY43" fmla="*/ 7336 h 122158"/>
                <a:gd name="connsiteX44" fmla="*/ 68563 w 109299"/>
                <a:gd name="connsiteY44" fmla="*/ 15437 h 122158"/>
                <a:gd name="connsiteX45" fmla="*/ 62134 w 109299"/>
                <a:gd name="connsiteY45" fmla="*/ 10615 h 122158"/>
                <a:gd name="connsiteX46" fmla="*/ 57697 w 109299"/>
                <a:gd name="connsiteY46" fmla="*/ 8429 h 122158"/>
                <a:gd name="connsiteX47" fmla="*/ 48568 w 109299"/>
                <a:gd name="connsiteY47" fmla="*/ 4057 h 122158"/>
                <a:gd name="connsiteX48" fmla="*/ 47796 w 109299"/>
                <a:gd name="connsiteY48" fmla="*/ 1164 h 122158"/>
                <a:gd name="connsiteX49" fmla="*/ 43231 w 109299"/>
                <a:gd name="connsiteY49" fmla="*/ 1164 h 122158"/>
                <a:gd name="connsiteX50" fmla="*/ 31851 w 109299"/>
                <a:gd name="connsiteY50" fmla="*/ 7 h 122158"/>
                <a:gd name="connsiteX51" fmla="*/ 34037 w 109299"/>
                <a:gd name="connsiteY51" fmla="*/ 5922 h 122158"/>
                <a:gd name="connsiteX52" fmla="*/ 37316 w 109299"/>
                <a:gd name="connsiteY52" fmla="*/ 16595 h 122158"/>
                <a:gd name="connsiteX53" fmla="*/ 31980 w 109299"/>
                <a:gd name="connsiteY53" fmla="*/ 21545 h 122158"/>
                <a:gd name="connsiteX54" fmla="*/ 22850 w 109299"/>
                <a:gd name="connsiteY54" fmla="*/ 20259 h 122158"/>
                <a:gd name="connsiteX55" fmla="*/ 13464 w 109299"/>
                <a:gd name="connsiteY55" fmla="*/ 21738 h 122158"/>
                <a:gd name="connsiteX56" fmla="*/ 13078 w 109299"/>
                <a:gd name="connsiteY56" fmla="*/ 24310 h 122158"/>
                <a:gd name="connsiteX57" fmla="*/ 14171 w 109299"/>
                <a:gd name="connsiteY57" fmla="*/ 32025 h 12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09299" h="122158">
                  <a:moveTo>
                    <a:pt x="14171" y="32025"/>
                  </a:moveTo>
                  <a:cubicBezTo>
                    <a:pt x="11213" y="36461"/>
                    <a:pt x="7163" y="36783"/>
                    <a:pt x="7741" y="37940"/>
                  </a:cubicBezTo>
                  <a:cubicBezTo>
                    <a:pt x="8320" y="39097"/>
                    <a:pt x="12885" y="42698"/>
                    <a:pt x="11792" y="44369"/>
                  </a:cubicBezTo>
                  <a:cubicBezTo>
                    <a:pt x="10699" y="46041"/>
                    <a:pt x="9156" y="45141"/>
                    <a:pt x="9156" y="48420"/>
                  </a:cubicBezTo>
                  <a:cubicBezTo>
                    <a:pt x="9156" y="51699"/>
                    <a:pt x="4012" y="51763"/>
                    <a:pt x="2212" y="51763"/>
                  </a:cubicBezTo>
                  <a:cubicBezTo>
                    <a:pt x="412" y="51763"/>
                    <a:pt x="2598" y="55042"/>
                    <a:pt x="1440" y="57614"/>
                  </a:cubicBezTo>
                  <a:cubicBezTo>
                    <a:pt x="611" y="60874"/>
                    <a:pt x="142" y="64217"/>
                    <a:pt x="26" y="67580"/>
                  </a:cubicBezTo>
                  <a:cubicBezTo>
                    <a:pt x="-360" y="69766"/>
                    <a:pt x="3691" y="73430"/>
                    <a:pt x="3305" y="75295"/>
                  </a:cubicBezTo>
                  <a:cubicBezTo>
                    <a:pt x="2919" y="77159"/>
                    <a:pt x="26" y="78574"/>
                    <a:pt x="733" y="80053"/>
                  </a:cubicBezTo>
                  <a:cubicBezTo>
                    <a:pt x="3086" y="82984"/>
                    <a:pt x="4456" y="86585"/>
                    <a:pt x="4655" y="90339"/>
                  </a:cubicBezTo>
                  <a:cubicBezTo>
                    <a:pt x="5703" y="90539"/>
                    <a:pt x="6668" y="91060"/>
                    <a:pt x="7420" y="91818"/>
                  </a:cubicBezTo>
                  <a:cubicBezTo>
                    <a:pt x="9336" y="94306"/>
                    <a:pt x="12319" y="95740"/>
                    <a:pt x="15457" y="95676"/>
                  </a:cubicBezTo>
                  <a:cubicBezTo>
                    <a:pt x="18993" y="95676"/>
                    <a:pt x="20407" y="98119"/>
                    <a:pt x="21886" y="97862"/>
                  </a:cubicBezTo>
                  <a:cubicBezTo>
                    <a:pt x="23365" y="97605"/>
                    <a:pt x="28315" y="98955"/>
                    <a:pt x="24393" y="101977"/>
                  </a:cubicBezTo>
                  <a:cubicBezTo>
                    <a:pt x="21564" y="104677"/>
                    <a:pt x="19803" y="108303"/>
                    <a:pt x="19443" y="112199"/>
                  </a:cubicBezTo>
                  <a:cubicBezTo>
                    <a:pt x="18928" y="114514"/>
                    <a:pt x="18928" y="117729"/>
                    <a:pt x="18350" y="119722"/>
                  </a:cubicBezTo>
                  <a:cubicBezTo>
                    <a:pt x="21854" y="120275"/>
                    <a:pt x="25435" y="120146"/>
                    <a:pt x="28894" y="119336"/>
                  </a:cubicBezTo>
                  <a:cubicBezTo>
                    <a:pt x="31556" y="118063"/>
                    <a:pt x="34655" y="118063"/>
                    <a:pt x="37316" y="119336"/>
                  </a:cubicBezTo>
                  <a:cubicBezTo>
                    <a:pt x="39792" y="120178"/>
                    <a:pt x="42203" y="121207"/>
                    <a:pt x="44517" y="122422"/>
                  </a:cubicBezTo>
                  <a:cubicBezTo>
                    <a:pt x="44517" y="121715"/>
                    <a:pt x="45160" y="121136"/>
                    <a:pt x="45867" y="121072"/>
                  </a:cubicBezTo>
                  <a:cubicBezTo>
                    <a:pt x="48375" y="120750"/>
                    <a:pt x="51397" y="125765"/>
                    <a:pt x="53068" y="123001"/>
                  </a:cubicBezTo>
                  <a:cubicBezTo>
                    <a:pt x="54901" y="120763"/>
                    <a:pt x="58128" y="120294"/>
                    <a:pt x="60526" y="121908"/>
                  </a:cubicBezTo>
                  <a:cubicBezTo>
                    <a:pt x="62757" y="123361"/>
                    <a:pt x="65696" y="123123"/>
                    <a:pt x="67663" y="121329"/>
                  </a:cubicBezTo>
                  <a:cubicBezTo>
                    <a:pt x="71546" y="119072"/>
                    <a:pt x="76073" y="118192"/>
                    <a:pt x="80522" y="118822"/>
                  </a:cubicBezTo>
                  <a:cubicBezTo>
                    <a:pt x="82451" y="119657"/>
                    <a:pt x="87401" y="121908"/>
                    <a:pt x="85472" y="115285"/>
                  </a:cubicBezTo>
                  <a:cubicBezTo>
                    <a:pt x="83544" y="108663"/>
                    <a:pt x="89651" y="110013"/>
                    <a:pt x="90423" y="107570"/>
                  </a:cubicBezTo>
                  <a:cubicBezTo>
                    <a:pt x="91195" y="105127"/>
                    <a:pt x="98460" y="103970"/>
                    <a:pt x="97367" y="102041"/>
                  </a:cubicBezTo>
                  <a:cubicBezTo>
                    <a:pt x="93374" y="98453"/>
                    <a:pt x="89073" y="95226"/>
                    <a:pt x="84508" y="92397"/>
                  </a:cubicBezTo>
                  <a:cubicBezTo>
                    <a:pt x="81743" y="90468"/>
                    <a:pt x="81743" y="84425"/>
                    <a:pt x="80393" y="81917"/>
                  </a:cubicBezTo>
                  <a:cubicBezTo>
                    <a:pt x="79043" y="79410"/>
                    <a:pt x="75957" y="76131"/>
                    <a:pt x="79557" y="75488"/>
                  </a:cubicBezTo>
                  <a:cubicBezTo>
                    <a:pt x="84148" y="74787"/>
                    <a:pt x="88539" y="73096"/>
                    <a:pt x="92416" y="70537"/>
                  </a:cubicBezTo>
                  <a:cubicBezTo>
                    <a:pt x="95502" y="67772"/>
                    <a:pt x="100967" y="67515"/>
                    <a:pt x="102639" y="65844"/>
                  </a:cubicBezTo>
                  <a:cubicBezTo>
                    <a:pt x="104310" y="64172"/>
                    <a:pt x="108168" y="67258"/>
                    <a:pt x="109068" y="65844"/>
                  </a:cubicBezTo>
                  <a:cubicBezTo>
                    <a:pt x="110399" y="63741"/>
                    <a:pt x="110399" y="61067"/>
                    <a:pt x="109068" y="58964"/>
                  </a:cubicBezTo>
                  <a:cubicBezTo>
                    <a:pt x="107030" y="56045"/>
                    <a:pt x="105969" y="52554"/>
                    <a:pt x="106046" y="48999"/>
                  </a:cubicBezTo>
                  <a:cubicBezTo>
                    <a:pt x="106046" y="44369"/>
                    <a:pt x="104375" y="44627"/>
                    <a:pt x="104375" y="42569"/>
                  </a:cubicBezTo>
                  <a:cubicBezTo>
                    <a:pt x="104529" y="40203"/>
                    <a:pt x="103488" y="37908"/>
                    <a:pt x="101610" y="36461"/>
                  </a:cubicBezTo>
                  <a:cubicBezTo>
                    <a:pt x="99746" y="35368"/>
                    <a:pt x="98910" y="34533"/>
                    <a:pt x="100839" y="31511"/>
                  </a:cubicBezTo>
                  <a:cubicBezTo>
                    <a:pt x="102202" y="27332"/>
                    <a:pt x="102202" y="22831"/>
                    <a:pt x="100839" y="18652"/>
                  </a:cubicBezTo>
                  <a:cubicBezTo>
                    <a:pt x="100710" y="18144"/>
                    <a:pt x="100710" y="17617"/>
                    <a:pt x="100839" y="17109"/>
                  </a:cubicBezTo>
                  <a:cubicBezTo>
                    <a:pt x="100234" y="16826"/>
                    <a:pt x="99842" y="16228"/>
                    <a:pt x="99810" y="15566"/>
                  </a:cubicBezTo>
                  <a:cubicBezTo>
                    <a:pt x="99231" y="12673"/>
                    <a:pt x="97238" y="11580"/>
                    <a:pt x="92416" y="11580"/>
                  </a:cubicBezTo>
                  <a:cubicBezTo>
                    <a:pt x="87594" y="11580"/>
                    <a:pt x="95374" y="6758"/>
                    <a:pt x="93573" y="4379"/>
                  </a:cubicBezTo>
                  <a:cubicBezTo>
                    <a:pt x="91773" y="2000"/>
                    <a:pt x="87144" y="8815"/>
                    <a:pt x="82515" y="7336"/>
                  </a:cubicBezTo>
                  <a:cubicBezTo>
                    <a:pt x="77886" y="5858"/>
                    <a:pt x="72421" y="12480"/>
                    <a:pt x="68563" y="15437"/>
                  </a:cubicBezTo>
                  <a:cubicBezTo>
                    <a:pt x="64705" y="18395"/>
                    <a:pt x="59176" y="14859"/>
                    <a:pt x="62134" y="10615"/>
                  </a:cubicBezTo>
                  <a:cubicBezTo>
                    <a:pt x="65091" y="6372"/>
                    <a:pt x="62134" y="6758"/>
                    <a:pt x="57697" y="8429"/>
                  </a:cubicBezTo>
                  <a:cubicBezTo>
                    <a:pt x="53261" y="10101"/>
                    <a:pt x="47989" y="8044"/>
                    <a:pt x="48568" y="4057"/>
                  </a:cubicBezTo>
                  <a:cubicBezTo>
                    <a:pt x="48664" y="3029"/>
                    <a:pt x="48394" y="2006"/>
                    <a:pt x="47796" y="1164"/>
                  </a:cubicBezTo>
                  <a:cubicBezTo>
                    <a:pt x="46285" y="1447"/>
                    <a:pt x="44742" y="1447"/>
                    <a:pt x="43231" y="1164"/>
                  </a:cubicBezTo>
                  <a:cubicBezTo>
                    <a:pt x="39496" y="335"/>
                    <a:pt x="35677" y="-58"/>
                    <a:pt x="31851" y="7"/>
                  </a:cubicBezTo>
                  <a:cubicBezTo>
                    <a:pt x="33330" y="2193"/>
                    <a:pt x="34938" y="4250"/>
                    <a:pt x="34037" y="5922"/>
                  </a:cubicBezTo>
                  <a:cubicBezTo>
                    <a:pt x="32366" y="9072"/>
                    <a:pt x="34938" y="11965"/>
                    <a:pt x="37316" y="16595"/>
                  </a:cubicBezTo>
                  <a:cubicBezTo>
                    <a:pt x="39695" y="21224"/>
                    <a:pt x="32173" y="18588"/>
                    <a:pt x="31980" y="21545"/>
                  </a:cubicBezTo>
                  <a:cubicBezTo>
                    <a:pt x="31787" y="24503"/>
                    <a:pt x="25036" y="21545"/>
                    <a:pt x="22850" y="20259"/>
                  </a:cubicBezTo>
                  <a:cubicBezTo>
                    <a:pt x="20664" y="18974"/>
                    <a:pt x="13270" y="19874"/>
                    <a:pt x="13464" y="21738"/>
                  </a:cubicBezTo>
                  <a:cubicBezTo>
                    <a:pt x="13508" y="22612"/>
                    <a:pt x="13380" y="23487"/>
                    <a:pt x="13078" y="24310"/>
                  </a:cubicBezTo>
                  <a:cubicBezTo>
                    <a:pt x="14261" y="26695"/>
                    <a:pt x="14646" y="29402"/>
                    <a:pt x="14171" y="32025"/>
                  </a:cubicBezTo>
                  <a:close/>
                </a:path>
              </a:pathLst>
            </a:custGeom>
            <a:solidFill>
              <a:srgbClr val="FAA3C0"/>
            </a:solidFill>
            <a:ln w="6429" cap="flat">
              <a:noFill/>
              <a:prstDash val="solid"/>
              <a:miter/>
            </a:ln>
          </p:spPr>
          <p:txBody>
            <a:bodyPr rtlCol="0" anchor="ctr"/>
            <a:lstStyle/>
            <a:p>
              <a:endParaRPr lang="en-GB" sz="2400"/>
            </a:p>
          </p:txBody>
        </p:sp>
        <p:sp>
          <p:nvSpPr>
            <p:cNvPr id="225" name="Freeform 15">
              <a:extLst>
                <a:ext uri="{FF2B5EF4-FFF2-40B4-BE49-F238E27FC236}">
                  <a16:creationId xmlns:a16="http://schemas.microsoft.com/office/drawing/2014/main" id="{30123781-066F-4EE9-B10F-C2A29B18C0B4}"/>
                </a:ext>
              </a:extLst>
            </p:cNvPr>
            <p:cNvSpPr/>
            <p:nvPr/>
          </p:nvSpPr>
          <p:spPr>
            <a:xfrm>
              <a:off x="3685123" y="3613523"/>
              <a:ext cx="19288" cy="12859"/>
            </a:xfrm>
            <a:custGeom>
              <a:avLst/>
              <a:gdLst>
                <a:gd name="connsiteX0" fmla="*/ 4 w 19288"/>
                <a:gd name="connsiteY0" fmla="*/ 553 h 12858"/>
                <a:gd name="connsiteX1" fmla="*/ 9969 w 19288"/>
                <a:gd name="connsiteY1" fmla="*/ 6983 h 12858"/>
                <a:gd name="connsiteX2" fmla="*/ 22828 w 19288"/>
                <a:gd name="connsiteY2" fmla="*/ 11483 h 12858"/>
                <a:gd name="connsiteX3" fmla="*/ 4 w 19288"/>
                <a:gd name="connsiteY3" fmla="*/ 553 h 12858"/>
              </a:gdLst>
              <a:ahLst/>
              <a:cxnLst>
                <a:cxn ang="0">
                  <a:pos x="connsiteX0" y="connsiteY0"/>
                </a:cxn>
                <a:cxn ang="0">
                  <a:pos x="connsiteX1" y="connsiteY1"/>
                </a:cxn>
                <a:cxn ang="0">
                  <a:pos x="connsiteX2" y="connsiteY2"/>
                </a:cxn>
                <a:cxn ang="0">
                  <a:pos x="connsiteX3" y="connsiteY3"/>
                </a:cxn>
              </a:cxnLst>
              <a:rect l="l" t="t" r="r" b="b"/>
              <a:pathLst>
                <a:path w="19288" h="12858">
                  <a:moveTo>
                    <a:pt x="4" y="553"/>
                  </a:moveTo>
                  <a:cubicBezTo>
                    <a:pt x="968" y="5054"/>
                    <a:pt x="5469" y="3061"/>
                    <a:pt x="9969" y="6983"/>
                  </a:cubicBezTo>
                  <a:cubicBezTo>
                    <a:pt x="14470" y="10905"/>
                    <a:pt x="18456" y="18491"/>
                    <a:pt x="22828" y="11483"/>
                  </a:cubicBezTo>
                  <a:cubicBezTo>
                    <a:pt x="27200" y="4475"/>
                    <a:pt x="-382" y="-1954"/>
                    <a:pt x="4" y="553"/>
                  </a:cubicBezTo>
                  <a:close/>
                </a:path>
              </a:pathLst>
            </a:custGeom>
            <a:solidFill>
              <a:srgbClr val="FFFFFF"/>
            </a:solidFill>
            <a:ln w="6429" cap="flat">
              <a:noFill/>
              <a:prstDash val="solid"/>
              <a:miter/>
            </a:ln>
          </p:spPr>
          <p:txBody>
            <a:bodyPr rtlCol="0" anchor="ctr"/>
            <a:lstStyle/>
            <a:p>
              <a:endParaRPr lang="en-GB" sz="2400"/>
            </a:p>
          </p:txBody>
        </p:sp>
        <p:sp>
          <p:nvSpPr>
            <p:cNvPr id="226" name="Freeform 16">
              <a:extLst>
                <a:ext uri="{FF2B5EF4-FFF2-40B4-BE49-F238E27FC236}">
                  <a16:creationId xmlns:a16="http://schemas.microsoft.com/office/drawing/2014/main" id="{1101B724-E334-4D34-B22E-59B380F32FD7}"/>
                </a:ext>
              </a:extLst>
            </p:cNvPr>
            <p:cNvSpPr/>
            <p:nvPr/>
          </p:nvSpPr>
          <p:spPr>
            <a:xfrm>
              <a:off x="3383728" y="1792259"/>
              <a:ext cx="51435" cy="25718"/>
            </a:xfrm>
            <a:custGeom>
              <a:avLst/>
              <a:gdLst>
                <a:gd name="connsiteX0" fmla="*/ 634 w 51435"/>
                <a:gd name="connsiteY0" fmla="*/ 2628 h 25717"/>
                <a:gd name="connsiteX1" fmla="*/ 8349 w 51435"/>
                <a:gd name="connsiteY1" fmla="*/ 18059 h 25717"/>
                <a:gd name="connsiteX2" fmla="*/ 27123 w 51435"/>
                <a:gd name="connsiteY2" fmla="*/ 24102 h 25717"/>
                <a:gd name="connsiteX3" fmla="*/ 56891 w 51435"/>
                <a:gd name="connsiteY3" fmla="*/ 19151 h 25717"/>
                <a:gd name="connsiteX4" fmla="*/ 25451 w 51435"/>
                <a:gd name="connsiteY4" fmla="*/ 3721 h 25717"/>
                <a:gd name="connsiteX5" fmla="*/ 634 w 51435"/>
                <a:gd name="connsiteY5" fmla="*/ 2628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35" h="25717">
                  <a:moveTo>
                    <a:pt x="634" y="2628"/>
                  </a:moveTo>
                  <a:cubicBezTo>
                    <a:pt x="-2645" y="9829"/>
                    <a:pt x="7835" y="9829"/>
                    <a:pt x="8349" y="18059"/>
                  </a:cubicBezTo>
                  <a:cubicBezTo>
                    <a:pt x="8864" y="26288"/>
                    <a:pt x="19408" y="29117"/>
                    <a:pt x="27123" y="24102"/>
                  </a:cubicBezTo>
                  <a:cubicBezTo>
                    <a:pt x="34838" y="19087"/>
                    <a:pt x="56891" y="25581"/>
                    <a:pt x="56891" y="19151"/>
                  </a:cubicBezTo>
                  <a:cubicBezTo>
                    <a:pt x="56891" y="12722"/>
                    <a:pt x="33745" y="2114"/>
                    <a:pt x="25451" y="3721"/>
                  </a:cubicBezTo>
                  <a:cubicBezTo>
                    <a:pt x="17158" y="5328"/>
                    <a:pt x="3977" y="-4509"/>
                    <a:pt x="634" y="2628"/>
                  </a:cubicBezTo>
                  <a:close/>
                </a:path>
              </a:pathLst>
            </a:custGeom>
            <a:solidFill>
              <a:srgbClr val="001669"/>
            </a:solidFill>
            <a:ln w="6429" cap="flat">
              <a:noFill/>
              <a:prstDash val="solid"/>
              <a:miter/>
            </a:ln>
          </p:spPr>
          <p:txBody>
            <a:bodyPr rtlCol="0" anchor="ctr"/>
            <a:lstStyle/>
            <a:p>
              <a:endParaRPr lang="en-GB" sz="2400"/>
            </a:p>
          </p:txBody>
        </p:sp>
        <p:sp>
          <p:nvSpPr>
            <p:cNvPr id="227" name="Freeform 17">
              <a:extLst>
                <a:ext uri="{FF2B5EF4-FFF2-40B4-BE49-F238E27FC236}">
                  <a16:creationId xmlns:a16="http://schemas.microsoft.com/office/drawing/2014/main" id="{4B3D4319-9C06-403B-8347-4720F3EF0687}"/>
                </a:ext>
              </a:extLst>
            </p:cNvPr>
            <p:cNvSpPr/>
            <p:nvPr/>
          </p:nvSpPr>
          <p:spPr>
            <a:xfrm>
              <a:off x="3187728" y="1586787"/>
              <a:ext cx="141446" cy="90011"/>
            </a:xfrm>
            <a:custGeom>
              <a:avLst/>
              <a:gdLst>
                <a:gd name="connsiteX0" fmla="*/ 4845 w 141446"/>
                <a:gd name="connsiteY0" fmla="*/ 47751 h 90011"/>
                <a:gd name="connsiteX1" fmla="*/ 16997 w 141446"/>
                <a:gd name="connsiteY1" fmla="*/ 60610 h 90011"/>
                <a:gd name="connsiteX2" fmla="*/ 53387 w 141446"/>
                <a:gd name="connsiteY2" fmla="*/ 61703 h 90011"/>
                <a:gd name="connsiteX3" fmla="*/ 31335 w 141446"/>
                <a:gd name="connsiteY3" fmla="*/ 72183 h 90011"/>
                <a:gd name="connsiteX4" fmla="*/ 48951 w 141446"/>
                <a:gd name="connsiteY4" fmla="*/ 85427 h 90011"/>
                <a:gd name="connsiteX5" fmla="*/ 78140 w 141446"/>
                <a:gd name="connsiteY5" fmla="*/ 93721 h 90011"/>
                <a:gd name="connsiteX6" fmla="*/ 95821 w 141446"/>
                <a:gd name="connsiteY6" fmla="*/ 93142 h 90011"/>
                <a:gd name="connsiteX7" fmla="*/ 108680 w 141446"/>
                <a:gd name="connsiteY7" fmla="*/ 79384 h 90011"/>
                <a:gd name="connsiteX8" fmla="*/ 121539 w 141446"/>
                <a:gd name="connsiteY8" fmla="*/ 68904 h 90011"/>
                <a:gd name="connsiteX9" fmla="*/ 142498 w 141446"/>
                <a:gd name="connsiteY9" fmla="*/ 61703 h 90011"/>
                <a:gd name="connsiteX10" fmla="*/ 130347 w 141446"/>
                <a:gd name="connsiteY10" fmla="*/ 56238 h 90011"/>
                <a:gd name="connsiteX11" fmla="*/ 118195 w 141446"/>
                <a:gd name="connsiteY11" fmla="*/ 47944 h 90011"/>
                <a:gd name="connsiteX12" fmla="*/ 112730 w 141446"/>
                <a:gd name="connsiteY12" fmla="*/ 36371 h 90011"/>
                <a:gd name="connsiteX13" fmla="*/ 103922 w 141446"/>
                <a:gd name="connsiteY13" fmla="*/ 34185 h 90011"/>
                <a:gd name="connsiteX14" fmla="*/ 92349 w 141446"/>
                <a:gd name="connsiteY14" fmla="*/ 28656 h 90011"/>
                <a:gd name="connsiteX15" fmla="*/ 53194 w 141446"/>
                <a:gd name="connsiteY15" fmla="*/ 7182 h 90011"/>
                <a:gd name="connsiteX16" fmla="*/ 31720 w 141446"/>
                <a:gd name="connsiteY16" fmla="*/ 4417 h 90011"/>
                <a:gd name="connsiteX17" fmla="*/ 32813 w 141446"/>
                <a:gd name="connsiteY17" fmla="*/ 9946 h 90011"/>
                <a:gd name="connsiteX18" fmla="*/ 24519 w 141446"/>
                <a:gd name="connsiteY18" fmla="*/ 14897 h 90011"/>
                <a:gd name="connsiteX19" fmla="*/ 14040 w 141446"/>
                <a:gd name="connsiteY19" fmla="*/ 20941 h 90011"/>
                <a:gd name="connsiteX20" fmla="*/ 16290 w 141446"/>
                <a:gd name="connsiteY20" fmla="*/ 34699 h 90011"/>
                <a:gd name="connsiteX21" fmla="*/ 9860 w 141446"/>
                <a:gd name="connsiteY21" fmla="*/ 40807 h 90011"/>
                <a:gd name="connsiteX22" fmla="*/ 4845 w 141446"/>
                <a:gd name="connsiteY22" fmla="*/ 47751 h 9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1446" h="90011">
                  <a:moveTo>
                    <a:pt x="4845" y="47751"/>
                  </a:moveTo>
                  <a:cubicBezTo>
                    <a:pt x="13011" y="51802"/>
                    <a:pt x="8189" y="57074"/>
                    <a:pt x="16997" y="60610"/>
                  </a:cubicBezTo>
                  <a:cubicBezTo>
                    <a:pt x="25805" y="64146"/>
                    <a:pt x="51137" y="55659"/>
                    <a:pt x="53387" y="61703"/>
                  </a:cubicBezTo>
                  <a:cubicBezTo>
                    <a:pt x="55638" y="67746"/>
                    <a:pt x="27670" y="68132"/>
                    <a:pt x="31335" y="72183"/>
                  </a:cubicBezTo>
                  <a:cubicBezTo>
                    <a:pt x="34999" y="76233"/>
                    <a:pt x="51137" y="82148"/>
                    <a:pt x="48951" y="85427"/>
                  </a:cubicBezTo>
                  <a:cubicBezTo>
                    <a:pt x="46765" y="88706"/>
                    <a:pt x="75376" y="98286"/>
                    <a:pt x="78140" y="93721"/>
                  </a:cubicBezTo>
                  <a:cubicBezTo>
                    <a:pt x="80905" y="89156"/>
                    <a:pt x="88620" y="90378"/>
                    <a:pt x="95821" y="93142"/>
                  </a:cubicBezTo>
                  <a:cubicBezTo>
                    <a:pt x="103022" y="95907"/>
                    <a:pt x="103536" y="76040"/>
                    <a:pt x="108680" y="79384"/>
                  </a:cubicBezTo>
                  <a:cubicBezTo>
                    <a:pt x="113823" y="82727"/>
                    <a:pt x="113052" y="72183"/>
                    <a:pt x="121539" y="68904"/>
                  </a:cubicBezTo>
                  <a:cubicBezTo>
                    <a:pt x="130025" y="65625"/>
                    <a:pt x="141727" y="65560"/>
                    <a:pt x="142498" y="61703"/>
                  </a:cubicBezTo>
                  <a:cubicBezTo>
                    <a:pt x="143013" y="59002"/>
                    <a:pt x="140248" y="55273"/>
                    <a:pt x="130347" y="56238"/>
                  </a:cubicBezTo>
                  <a:cubicBezTo>
                    <a:pt x="120446" y="57202"/>
                    <a:pt x="113823" y="53473"/>
                    <a:pt x="118195" y="47944"/>
                  </a:cubicBezTo>
                  <a:cubicBezTo>
                    <a:pt x="122567" y="42415"/>
                    <a:pt x="107201" y="40807"/>
                    <a:pt x="112730" y="36371"/>
                  </a:cubicBezTo>
                  <a:cubicBezTo>
                    <a:pt x="118260" y="31935"/>
                    <a:pt x="102251" y="27563"/>
                    <a:pt x="103922" y="34185"/>
                  </a:cubicBezTo>
                  <a:cubicBezTo>
                    <a:pt x="105594" y="40807"/>
                    <a:pt x="93957" y="34699"/>
                    <a:pt x="92349" y="28656"/>
                  </a:cubicBezTo>
                  <a:cubicBezTo>
                    <a:pt x="90742" y="22612"/>
                    <a:pt x="68046" y="20426"/>
                    <a:pt x="53194" y="7182"/>
                  </a:cubicBezTo>
                  <a:cubicBezTo>
                    <a:pt x="38343" y="-6063"/>
                    <a:pt x="22848" y="2745"/>
                    <a:pt x="31720" y="4417"/>
                  </a:cubicBezTo>
                  <a:cubicBezTo>
                    <a:pt x="40593" y="6089"/>
                    <a:pt x="39950" y="10461"/>
                    <a:pt x="32813" y="9946"/>
                  </a:cubicBezTo>
                  <a:cubicBezTo>
                    <a:pt x="25677" y="9432"/>
                    <a:pt x="12947" y="10461"/>
                    <a:pt x="24519" y="14897"/>
                  </a:cubicBezTo>
                  <a:cubicBezTo>
                    <a:pt x="36092" y="19333"/>
                    <a:pt x="23426" y="20941"/>
                    <a:pt x="14040" y="20941"/>
                  </a:cubicBezTo>
                  <a:cubicBezTo>
                    <a:pt x="4653" y="20941"/>
                    <a:pt x="4138" y="33092"/>
                    <a:pt x="16290" y="34699"/>
                  </a:cubicBezTo>
                  <a:cubicBezTo>
                    <a:pt x="28441" y="36307"/>
                    <a:pt x="19569" y="43572"/>
                    <a:pt x="9860" y="40807"/>
                  </a:cubicBezTo>
                  <a:cubicBezTo>
                    <a:pt x="152" y="38043"/>
                    <a:pt x="-3963" y="43315"/>
                    <a:pt x="4845" y="47751"/>
                  </a:cubicBezTo>
                  <a:close/>
                </a:path>
              </a:pathLst>
            </a:custGeom>
            <a:solidFill>
              <a:srgbClr val="001669"/>
            </a:solidFill>
            <a:ln w="6429" cap="flat">
              <a:noFill/>
              <a:prstDash val="solid"/>
              <a:miter/>
            </a:ln>
          </p:spPr>
          <p:txBody>
            <a:bodyPr rtlCol="0" anchor="ctr"/>
            <a:lstStyle/>
            <a:p>
              <a:endParaRPr lang="en-GB" sz="2400"/>
            </a:p>
          </p:txBody>
        </p:sp>
        <p:sp>
          <p:nvSpPr>
            <p:cNvPr id="228" name="Freeform 18">
              <a:extLst>
                <a:ext uri="{FF2B5EF4-FFF2-40B4-BE49-F238E27FC236}">
                  <a16:creationId xmlns:a16="http://schemas.microsoft.com/office/drawing/2014/main" id="{FE381BC3-225E-4C87-AFE9-124B09250F2E}"/>
                </a:ext>
              </a:extLst>
            </p:cNvPr>
            <p:cNvSpPr/>
            <p:nvPr/>
          </p:nvSpPr>
          <p:spPr>
            <a:xfrm>
              <a:off x="3255999" y="1694958"/>
              <a:ext cx="19288" cy="6429"/>
            </a:xfrm>
            <a:custGeom>
              <a:avLst/>
              <a:gdLst>
                <a:gd name="connsiteX0" fmla="*/ 15977 w 19288"/>
                <a:gd name="connsiteY0" fmla="*/ 1303 h 6429"/>
                <a:gd name="connsiteX1" fmla="*/ 3826 w 19288"/>
                <a:gd name="connsiteY1" fmla="*/ 10626 h 6429"/>
                <a:gd name="connsiteX2" fmla="*/ 15977 w 19288"/>
                <a:gd name="connsiteY2" fmla="*/ 1303 h 6429"/>
              </a:gdLst>
              <a:ahLst/>
              <a:cxnLst>
                <a:cxn ang="0">
                  <a:pos x="connsiteX0" y="connsiteY0"/>
                </a:cxn>
                <a:cxn ang="0">
                  <a:pos x="connsiteX1" y="connsiteY1"/>
                </a:cxn>
                <a:cxn ang="0">
                  <a:pos x="connsiteX2" y="connsiteY2"/>
                </a:cxn>
              </a:cxnLst>
              <a:rect l="l" t="t" r="r" b="b"/>
              <a:pathLst>
                <a:path w="19288" h="6429">
                  <a:moveTo>
                    <a:pt x="15977" y="1303"/>
                  </a:moveTo>
                  <a:cubicBezTo>
                    <a:pt x="6012" y="-3647"/>
                    <a:pt x="-6397" y="6833"/>
                    <a:pt x="3826" y="10626"/>
                  </a:cubicBezTo>
                  <a:cubicBezTo>
                    <a:pt x="12634" y="13969"/>
                    <a:pt x="25879" y="6254"/>
                    <a:pt x="15977" y="1303"/>
                  </a:cubicBezTo>
                  <a:close/>
                </a:path>
              </a:pathLst>
            </a:custGeom>
            <a:solidFill>
              <a:srgbClr val="001669"/>
            </a:solidFill>
            <a:ln w="6429" cap="flat">
              <a:noFill/>
              <a:prstDash val="solid"/>
              <a:miter/>
            </a:ln>
          </p:spPr>
          <p:txBody>
            <a:bodyPr rtlCol="0" anchor="ctr"/>
            <a:lstStyle/>
            <a:p>
              <a:endParaRPr lang="en-GB" sz="2400"/>
            </a:p>
          </p:txBody>
        </p:sp>
        <p:sp>
          <p:nvSpPr>
            <p:cNvPr id="229" name="Freeform 19">
              <a:extLst>
                <a:ext uri="{FF2B5EF4-FFF2-40B4-BE49-F238E27FC236}">
                  <a16:creationId xmlns:a16="http://schemas.microsoft.com/office/drawing/2014/main" id="{9DB9FD0F-99AB-4F56-B951-54E08AA7FEF1}"/>
                </a:ext>
              </a:extLst>
            </p:cNvPr>
            <p:cNvSpPr/>
            <p:nvPr/>
          </p:nvSpPr>
          <p:spPr>
            <a:xfrm>
              <a:off x="3193559" y="1690772"/>
              <a:ext cx="32147" cy="6429"/>
            </a:xfrm>
            <a:custGeom>
              <a:avLst/>
              <a:gdLst>
                <a:gd name="connsiteX0" fmla="*/ 37076 w 32146"/>
                <a:gd name="connsiteY0" fmla="*/ 1052 h 6429"/>
                <a:gd name="connsiteX1" fmla="*/ 686 w 32146"/>
                <a:gd name="connsiteY1" fmla="*/ 7481 h 6429"/>
                <a:gd name="connsiteX2" fmla="*/ 37076 w 32146"/>
                <a:gd name="connsiteY2" fmla="*/ 1052 h 6429"/>
              </a:gdLst>
              <a:ahLst/>
              <a:cxnLst>
                <a:cxn ang="0">
                  <a:pos x="connsiteX0" y="connsiteY0"/>
                </a:cxn>
                <a:cxn ang="0">
                  <a:pos x="connsiteX1" y="connsiteY1"/>
                </a:cxn>
                <a:cxn ang="0">
                  <a:pos x="connsiteX2" y="connsiteY2"/>
                </a:cxn>
              </a:cxnLst>
              <a:rect l="l" t="t" r="r" b="b"/>
              <a:pathLst>
                <a:path w="32146" h="6429">
                  <a:moveTo>
                    <a:pt x="37076" y="1052"/>
                  </a:moveTo>
                  <a:cubicBezTo>
                    <a:pt x="35919" y="-2227"/>
                    <a:pt x="-5808" y="2788"/>
                    <a:pt x="686" y="7481"/>
                  </a:cubicBezTo>
                  <a:cubicBezTo>
                    <a:pt x="11680" y="15968"/>
                    <a:pt x="38169" y="4395"/>
                    <a:pt x="37076" y="1052"/>
                  </a:cubicBezTo>
                  <a:close/>
                </a:path>
              </a:pathLst>
            </a:custGeom>
            <a:solidFill>
              <a:srgbClr val="001669"/>
            </a:solidFill>
            <a:ln w="6429" cap="flat">
              <a:noFill/>
              <a:prstDash val="solid"/>
              <a:miter/>
            </a:ln>
          </p:spPr>
          <p:txBody>
            <a:bodyPr rtlCol="0" anchor="ctr"/>
            <a:lstStyle/>
            <a:p>
              <a:endParaRPr lang="en-GB" sz="2400"/>
            </a:p>
          </p:txBody>
        </p:sp>
        <p:sp>
          <p:nvSpPr>
            <p:cNvPr id="230" name="Freeform 20">
              <a:extLst>
                <a:ext uri="{FF2B5EF4-FFF2-40B4-BE49-F238E27FC236}">
                  <a16:creationId xmlns:a16="http://schemas.microsoft.com/office/drawing/2014/main" id="{B2B68CE6-2AF2-4776-BCA2-8F17F577E1E9}"/>
                </a:ext>
              </a:extLst>
            </p:cNvPr>
            <p:cNvSpPr/>
            <p:nvPr/>
          </p:nvSpPr>
          <p:spPr>
            <a:xfrm>
              <a:off x="3145215" y="1626575"/>
              <a:ext cx="12859" cy="6429"/>
            </a:xfrm>
            <a:custGeom>
              <a:avLst/>
              <a:gdLst>
                <a:gd name="connsiteX0" fmla="*/ 17591 w 12858"/>
                <a:gd name="connsiteY0" fmla="*/ 8477 h 6429"/>
                <a:gd name="connsiteX1" fmla="*/ 1067 w 12858"/>
                <a:gd name="connsiteY1" fmla="*/ 2433 h 6429"/>
                <a:gd name="connsiteX2" fmla="*/ 17591 w 12858"/>
                <a:gd name="connsiteY2" fmla="*/ 8477 h 6429"/>
              </a:gdLst>
              <a:ahLst/>
              <a:cxnLst>
                <a:cxn ang="0">
                  <a:pos x="connsiteX0" y="connsiteY0"/>
                </a:cxn>
                <a:cxn ang="0">
                  <a:pos x="connsiteX1" y="connsiteY1"/>
                </a:cxn>
                <a:cxn ang="0">
                  <a:pos x="connsiteX2" y="connsiteY2"/>
                </a:cxn>
              </a:cxnLst>
              <a:rect l="l" t="t" r="r" b="b"/>
              <a:pathLst>
                <a:path w="12858" h="6429">
                  <a:moveTo>
                    <a:pt x="17591" y="8477"/>
                  </a:moveTo>
                  <a:cubicBezTo>
                    <a:pt x="21449" y="2047"/>
                    <a:pt x="-5619" y="-3289"/>
                    <a:pt x="1067" y="2433"/>
                  </a:cubicBezTo>
                  <a:cubicBezTo>
                    <a:pt x="4925" y="5712"/>
                    <a:pt x="13733" y="15099"/>
                    <a:pt x="17591" y="8477"/>
                  </a:cubicBezTo>
                  <a:close/>
                </a:path>
              </a:pathLst>
            </a:custGeom>
            <a:solidFill>
              <a:srgbClr val="001669"/>
            </a:solidFill>
            <a:ln w="6429" cap="flat">
              <a:noFill/>
              <a:prstDash val="solid"/>
              <a:miter/>
            </a:ln>
          </p:spPr>
          <p:txBody>
            <a:bodyPr rtlCol="0" anchor="ctr"/>
            <a:lstStyle/>
            <a:p>
              <a:endParaRPr lang="en-GB" sz="2400"/>
            </a:p>
          </p:txBody>
        </p:sp>
        <p:sp>
          <p:nvSpPr>
            <p:cNvPr id="231" name="Freeform 21">
              <a:extLst>
                <a:ext uri="{FF2B5EF4-FFF2-40B4-BE49-F238E27FC236}">
                  <a16:creationId xmlns:a16="http://schemas.microsoft.com/office/drawing/2014/main" id="{E745872C-FC9B-48B5-9BFA-626CCEA6C4AA}"/>
                </a:ext>
              </a:extLst>
            </p:cNvPr>
            <p:cNvSpPr/>
            <p:nvPr/>
          </p:nvSpPr>
          <p:spPr>
            <a:xfrm>
              <a:off x="3076351" y="1646166"/>
              <a:ext cx="77153" cy="38576"/>
            </a:xfrm>
            <a:custGeom>
              <a:avLst/>
              <a:gdLst>
                <a:gd name="connsiteX0" fmla="*/ 10973 w 77152"/>
                <a:gd name="connsiteY0" fmla="*/ 14797 h 38576"/>
                <a:gd name="connsiteX1" fmla="*/ 27497 w 77152"/>
                <a:gd name="connsiteY1" fmla="*/ 22512 h 38576"/>
                <a:gd name="connsiteX2" fmla="*/ 7630 w 77152"/>
                <a:gd name="connsiteY2" fmla="*/ 25855 h 38576"/>
                <a:gd name="connsiteX3" fmla="*/ 23639 w 77152"/>
                <a:gd name="connsiteY3" fmla="*/ 30227 h 38576"/>
                <a:gd name="connsiteX4" fmla="*/ 56686 w 77152"/>
                <a:gd name="connsiteY4" fmla="*/ 36271 h 38576"/>
                <a:gd name="connsiteX5" fmla="*/ 79832 w 77152"/>
                <a:gd name="connsiteY5" fmla="*/ 39035 h 38576"/>
                <a:gd name="connsiteX6" fmla="*/ 74881 w 77152"/>
                <a:gd name="connsiteY6" fmla="*/ 25277 h 38576"/>
                <a:gd name="connsiteX7" fmla="*/ 60030 w 77152"/>
                <a:gd name="connsiteY7" fmla="*/ 16468 h 38576"/>
                <a:gd name="connsiteX8" fmla="*/ 46785 w 77152"/>
                <a:gd name="connsiteY8" fmla="*/ 7660 h 38576"/>
                <a:gd name="connsiteX9" fmla="*/ 38491 w 77152"/>
                <a:gd name="connsiteY9" fmla="*/ 6503 h 38576"/>
                <a:gd name="connsiteX10" fmla="*/ 2679 w 77152"/>
                <a:gd name="connsiteY10" fmla="*/ 1552 h 38576"/>
                <a:gd name="connsiteX11" fmla="*/ 10973 w 77152"/>
                <a:gd name="connsiteY11" fmla="*/ 14797 h 3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152" h="38576">
                  <a:moveTo>
                    <a:pt x="10973" y="14797"/>
                  </a:moveTo>
                  <a:cubicBezTo>
                    <a:pt x="17403" y="10360"/>
                    <a:pt x="29683" y="17561"/>
                    <a:pt x="27497" y="22512"/>
                  </a:cubicBezTo>
                  <a:cubicBezTo>
                    <a:pt x="25311" y="27463"/>
                    <a:pt x="6216" y="21548"/>
                    <a:pt x="7630" y="25855"/>
                  </a:cubicBezTo>
                  <a:cubicBezTo>
                    <a:pt x="8209" y="27463"/>
                    <a:pt x="10395" y="34085"/>
                    <a:pt x="23639" y="30227"/>
                  </a:cubicBezTo>
                  <a:cubicBezTo>
                    <a:pt x="34955" y="26370"/>
                    <a:pt x="47467" y="28658"/>
                    <a:pt x="56686" y="36271"/>
                  </a:cubicBezTo>
                  <a:cubicBezTo>
                    <a:pt x="65495" y="43472"/>
                    <a:pt x="73788" y="46236"/>
                    <a:pt x="79832" y="39035"/>
                  </a:cubicBezTo>
                  <a:cubicBezTo>
                    <a:pt x="85876" y="31834"/>
                    <a:pt x="72117" y="30806"/>
                    <a:pt x="74881" y="25277"/>
                  </a:cubicBezTo>
                  <a:cubicBezTo>
                    <a:pt x="77646" y="19747"/>
                    <a:pt x="66073" y="16468"/>
                    <a:pt x="60030" y="16468"/>
                  </a:cubicBezTo>
                  <a:cubicBezTo>
                    <a:pt x="53986" y="16468"/>
                    <a:pt x="51736" y="5410"/>
                    <a:pt x="46785" y="7660"/>
                  </a:cubicBezTo>
                  <a:cubicBezTo>
                    <a:pt x="41834" y="9910"/>
                    <a:pt x="38491" y="13704"/>
                    <a:pt x="38491" y="6503"/>
                  </a:cubicBezTo>
                  <a:cubicBezTo>
                    <a:pt x="38491" y="-698"/>
                    <a:pt x="9880" y="-1212"/>
                    <a:pt x="2679" y="1552"/>
                  </a:cubicBezTo>
                  <a:cubicBezTo>
                    <a:pt x="-4521" y="4317"/>
                    <a:pt x="4351" y="19040"/>
                    <a:pt x="10973" y="14797"/>
                  </a:cubicBezTo>
                  <a:close/>
                </a:path>
              </a:pathLst>
            </a:custGeom>
            <a:solidFill>
              <a:srgbClr val="001669"/>
            </a:solidFill>
            <a:ln w="6429" cap="flat">
              <a:noFill/>
              <a:prstDash val="solid"/>
              <a:miter/>
            </a:ln>
          </p:spPr>
          <p:txBody>
            <a:bodyPr rtlCol="0" anchor="ctr"/>
            <a:lstStyle/>
            <a:p>
              <a:endParaRPr lang="en-GB" sz="2400"/>
            </a:p>
          </p:txBody>
        </p:sp>
        <p:sp>
          <p:nvSpPr>
            <p:cNvPr id="232" name="Freeform 22">
              <a:extLst>
                <a:ext uri="{FF2B5EF4-FFF2-40B4-BE49-F238E27FC236}">
                  <a16:creationId xmlns:a16="http://schemas.microsoft.com/office/drawing/2014/main" id="{8E8389D8-0526-4A61-9E49-2D0B9AEFDE32}"/>
                </a:ext>
              </a:extLst>
            </p:cNvPr>
            <p:cNvSpPr/>
            <p:nvPr/>
          </p:nvSpPr>
          <p:spPr>
            <a:xfrm>
              <a:off x="3169652" y="1661647"/>
              <a:ext cx="38576" cy="25718"/>
            </a:xfrm>
            <a:custGeom>
              <a:avLst/>
              <a:gdLst>
                <a:gd name="connsiteX0" fmla="*/ 16299 w 38576"/>
                <a:gd name="connsiteY0" fmla="*/ 27413 h 25717"/>
                <a:gd name="connsiteX1" fmla="*/ 38352 w 38576"/>
                <a:gd name="connsiteY1" fmla="*/ 23556 h 25717"/>
                <a:gd name="connsiteX2" fmla="*/ 39445 w 38576"/>
                <a:gd name="connsiteY2" fmla="*/ 14233 h 25717"/>
                <a:gd name="connsiteX3" fmla="*/ 26265 w 38576"/>
                <a:gd name="connsiteY3" fmla="*/ 9218 h 25717"/>
                <a:gd name="connsiteX4" fmla="*/ 547 w 38576"/>
                <a:gd name="connsiteY4" fmla="*/ 989 h 25717"/>
                <a:gd name="connsiteX5" fmla="*/ 16299 w 38576"/>
                <a:gd name="connsiteY5" fmla="*/ 27413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76" h="25717">
                  <a:moveTo>
                    <a:pt x="16299" y="27413"/>
                  </a:moveTo>
                  <a:cubicBezTo>
                    <a:pt x="23828" y="27574"/>
                    <a:pt x="31325" y="26262"/>
                    <a:pt x="38352" y="23556"/>
                  </a:cubicBezTo>
                  <a:cubicBezTo>
                    <a:pt x="45553" y="20791"/>
                    <a:pt x="34494" y="20791"/>
                    <a:pt x="39445" y="14233"/>
                  </a:cubicBezTo>
                  <a:cubicBezTo>
                    <a:pt x="44396" y="7675"/>
                    <a:pt x="27358" y="7032"/>
                    <a:pt x="26265" y="9218"/>
                  </a:cubicBezTo>
                  <a:cubicBezTo>
                    <a:pt x="25172" y="11404"/>
                    <a:pt x="3633" y="-3962"/>
                    <a:pt x="547" y="989"/>
                  </a:cubicBezTo>
                  <a:cubicBezTo>
                    <a:pt x="-2539" y="5939"/>
                    <a:pt x="8070" y="27413"/>
                    <a:pt x="16299" y="27413"/>
                  </a:cubicBezTo>
                  <a:close/>
                </a:path>
              </a:pathLst>
            </a:custGeom>
            <a:solidFill>
              <a:srgbClr val="001669"/>
            </a:solidFill>
            <a:ln w="6429" cap="flat">
              <a:noFill/>
              <a:prstDash val="solid"/>
              <a:miter/>
            </a:ln>
          </p:spPr>
          <p:txBody>
            <a:bodyPr rtlCol="0" anchor="ctr"/>
            <a:lstStyle/>
            <a:p>
              <a:endParaRPr lang="en-GB" sz="2400"/>
            </a:p>
          </p:txBody>
        </p:sp>
        <p:sp>
          <p:nvSpPr>
            <p:cNvPr id="233" name="Freeform 23">
              <a:extLst>
                <a:ext uri="{FF2B5EF4-FFF2-40B4-BE49-F238E27FC236}">
                  <a16:creationId xmlns:a16="http://schemas.microsoft.com/office/drawing/2014/main" id="{AF776A73-31D5-405F-9E85-5081ED06D1DB}"/>
                </a:ext>
              </a:extLst>
            </p:cNvPr>
            <p:cNvSpPr/>
            <p:nvPr/>
          </p:nvSpPr>
          <p:spPr>
            <a:xfrm>
              <a:off x="3186533" y="1749180"/>
              <a:ext cx="38576" cy="19288"/>
            </a:xfrm>
            <a:custGeom>
              <a:avLst/>
              <a:gdLst>
                <a:gd name="connsiteX0" fmla="*/ 37994 w 38576"/>
                <a:gd name="connsiteY0" fmla="*/ 23139 h 19288"/>
                <a:gd name="connsiteX1" fmla="*/ 31951 w 38576"/>
                <a:gd name="connsiteY1" fmla="*/ 2180 h 19288"/>
                <a:gd name="connsiteX2" fmla="*/ 511 w 38576"/>
                <a:gd name="connsiteY2" fmla="*/ 14267 h 19288"/>
                <a:gd name="connsiteX3" fmla="*/ 37994 w 38576"/>
                <a:gd name="connsiteY3" fmla="*/ 23139 h 19288"/>
              </a:gdLst>
              <a:ahLst/>
              <a:cxnLst>
                <a:cxn ang="0">
                  <a:pos x="connsiteX0" y="connsiteY0"/>
                </a:cxn>
                <a:cxn ang="0">
                  <a:pos x="connsiteX1" y="connsiteY1"/>
                </a:cxn>
                <a:cxn ang="0">
                  <a:pos x="connsiteX2" y="connsiteY2"/>
                </a:cxn>
                <a:cxn ang="0">
                  <a:pos x="connsiteX3" y="connsiteY3"/>
                </a:cxn>
              </a:cxnLst>
              <a:rect l="l" t="t" r="r" b="b"/>
              <a:pathLst>
                <a:path w="38576" h="19288">
                  <a:moveTo>
                    <a:pt x="37994" y="23139"/>
                  </a:moveTo>
                  <a:cubicBezTo>
                    <a:pt x="47960" y="22561"/>
                    <a:pt x="42945" y="10281"/>
                    <a:pt x="31951" y="2180"/>
                  </a:cubicBezTo>
                  <a:cubicBezTo>
                    <a:pt x="20956" y="-5921"/>
                    <a:pt x="-3861" y="10924"/>
                    <a:pt x="511" y="14267"/>
                  </a:cubicBezTo>
                  <a:cubicBezTo>
                    <a:pt x="12232" y="19854"/>
                    <a:pt x="25013" y="22876"/>
                    <a:pt x="37994" y="23139"/>
                  </a:cubicBezTo>
                  <a:close/>
                </a:path>
              </a:pathLst>
            </a:custGeom>
            <a:solidFill>
              <a:srgbClr val="001669"/>
            </a:solidFill>
            <a:ln w="6429" cap="flat">
              <a:noFill/>
              <a:prstDash val="solid"/>
              <a:miter/>
            </a:ln>
          </p:spPr>
          <p:txBody>
            <a:bodyPr rtlCol="0" anchor="ctr"/>
            <a:lstStyle/>
            <a:p>
              <a:endParaRPr lang="en-GB" sz="2400"/>
            </a:p>
          </p:txBody>
        </p:sp>
        <p:sp>
          <p:nvSpPr>
            <p:cNvPr id="234" name="Freeform 24">
              <a:extLst>
                <a:ext uri="{FF2B5EF4-FFF2-40B4-BE49-F238E27FC236}">
                  <a16:creationId xmlns:a16="http://schemas.microsoft.com/office/drawing/2014/main" id="{128FC70E-E4CA-4CF6-BF98-DA57DA59DB18}"/>
                </a:ext>
              </a:extLst>
            </p:cNvPr>
            <p:cNvSpPr/>
            <p:nvPr/>
          </p:nvSpPr>
          <p:spPr>
            <a:xfrm>
              <a:off x="3090331" y="1715872"/>
              <a:ext cx="83582" cy="45006"/>
            </a:xfrm>
            <a:custGeom>
              <a:avLst/>
              <a:gdLst>
                <a:gd name="connsiteX0" fmla="*/ 72475 w 83581"/>
                <a:gd name="connsiteY0" fmla="*/ 5720 h 45005"/>
                <a:gd name="connsiteX1" fmla="*/ 49329 w 83581"/>
                <a:gd name="connsiteY1" fmla="*/ 769 h 45005"/>
                <a:gd name="connsiteX2" fmla="*/ 53187 w 83581"/>
                <a:gd name="connsiteY2" fmla="*/ 15107 h 45005"/>
                <a:gd name="connsiteX3" fmla="*/ 38849 w 83581"/>
                <a:gd name="connsiteY3" fmla="*/ 11249 h 45005"/>
                <a:gd name="connsiteX4" fmla="*/ 34477 w 83581"/>
                <a:gd name="connsiteY4" fmla="*/ 20057 h 45005"/>
                <a:gd name="connsiteX5" fmla="*/ 26762 w 83581"/>
                <a:gd name="connsiteY5" fmla="*/ 20571 h 45005"/>
                <a:gd name="connsiteX6" fmla="*/ 6317 w 83581"/>
                <a:gd name="connsiteY6" fmla="*/ 1862 h 45005"/>
                <a:gd name="connsiteX7" fmla="*/ 4709 w 83581"/>
                <a:gd name="connsiteY7" fmla="*/ 17293 h 45005"/>
                <a:gd name="connsiteX8" fmla="*/ 24512 w 83581"/>
                <a:gd name="connsiteY8" fmla="*/ 31051 h 45005"/>
                <a:gd name="connsiteX9" fmla="*/ 54280 w 83581"/>
                <a:gd name="connsiteY9" fmla="*/ 30537 h 45005"/>
                <a:gd name="connsiteX10" fmla="*/ 51515 w 83581"/>
                <a:gd name="connsiteY10" fmla="*/ 45968 h 45005"/>
                <a:gd name="connsiteX11" fmla="*/ 77233 w 83581"/>
                <a:gd name="connsiteY11" fmla="*/ 47061 h 45005"/>
                <a:gd name="connsiteX12" fmla="*/ 87713 w 83581"/>
                <a:gd name="connsiteY12" fmla="*/ 37159 h 45005"/>
                <a:gd name="connsiteX13" fmla="*/ 86620 w 83581"/>
                <a:gd name="connsiteY13" fmla="*/ 24301 h 45005"/>
                <a:gd name="connsiteX14" fmla="*/ 72475 w 83581"/>
                <a:gd name="connsiteY14" fmla="*/ 5720 h 4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3581" h="45005">
                  <a:moveTo>
                    <a:pt x="72475" y="5720"/>
                  </a:moveTo>
                  <a:cubicBezTo>
                    <a:pt x="71961" y="11249"/>
                    <a:pt x="59231" y="4627"/>
                    <a:pt x="49329" y="769"/>
                  </a:cubicBezTo>
                  <a:cubicBezTo>
                    <a:pt x="39428" y="-3089"/>
                    <a:pt x="45472" y="8484"/>
                    <a:pt x="53187" y="15107"/>
                  </a:cubicBezTo>
                  <a:cubicBezTo>
                    <a:pt x="60902" y="21729"/>
                    <a:pt x="49329" y="18385"/>
                    <a:pt x="38849" y="11249"/>
                  </a:cubicBezTo>
                  <a:cubicBezTo>
                    <a:pt x="28370" y="4112"/>
                    <a:pt x="29527" y="16200"/>
                    <a:pt x="34477" y="20057"/>
                  </a:cubicBezTo>
                  <a:cubicBezTo>
                    <a:pt x="39428" y="23915"/>
                    <a:pt x="33384" y="29444"/>
                    <a:pt x="26762" y="20571"/>
                  </a:cubicBezTo>
                  <a:cubicBezTo>
                    <a:pt x="20140" y="11699"/>
                    <a:pt x="16797" y="2441"/>
                    <a:pt x="6317" y="1862"/>
                  </a:cubicBezTo>
                  <a:cubicBezTo>
                    <a:pt x="-4163" y="1283"/>
                    <a:pt x="659" y="12020"/>
                    <a:pt x="4709" y="17293"/>
                  </a:cubicBezTo>
                  <a:cubicBezTo>
                    <a:pt x="10239" y="24429"/>
                    <a:pt x="15704" y="26101"/>
                    <a:pt x="24512" y="31051"/>
                  </a:cubicBezTo>
                  <a:cubicBezTo>
                    <a:pt x="33320" y="36002"/>
                    <a:pt x="47658" y="28865"/>
                    <a:pt x="54280" y="30537"/>
                  </a:cubicBezTo>
                  <a:cubicBezTo>
                    <a:pt x="60902" y="32209"/>
                    <a:pt x="47143" y="40438"/>
                    <a:pt x="51515" y="45968"/>
                  </a:cubicBezTo>
                  <a:cubicBezTo>
                    <a:pt x="55887" y="51497"/>
                    <a:pt x="68103" y="47575"/>
                    <a:pt x="77233" y="47061"/>
                  </a:cubicBezTo>
                  <a:cubicBezTo>
                    <a:pt x="86362" y="46546"/>
                    <a:pt x="82248" y="41017"/>
                    <a:pt x="87713" y="37159"/>
                  </a:cubicBezTo>
                  <a:cubicBezTo>
                    <a:pt x="93178" y="33302"/>
                    <a:pt x="82248" y="33816"/>
                    <a:pt x="86620" y="24301"/>
                  </a:cubicBezTo>
                  <a:cubicBezTo>
                    <a:pt x="90992" y="14785"/>
                    <a:pt x="73054" y="190"/>
                    <a:pt x="72475" y="5720"/>
                  </a:cubicBezTo>
                  <a:close/>
                </a:path>
              </a:pathLst>
            </a:custGeom>
            <a:solidFill>
              <a:srgbClr val="001669"/>
            </a:solidFill>
            <a:ln w="6429" cap="flat">
              <a:noFill/>
              <a:prstDash val="solid"/>
              <a:miter/>
            </a:ln>
          </p:spPr>
          <p:txBody>
            <a:bodyPr rtlCol="0" anchor="ctr"/>
            <a:lstStyle/>
            <a:p>
              <a:endParaRPr lang="en-GB" sz="2400"/>
            </a:p>
          </p:txBody>
        </p:sp>
        <p:sp>
          <p:nvSpPr>
            <p:cNvPr id="235" name="Freeform 25">
              <a:extLst>
                <a:ext uri="{FF2B5EF4-FFF2-40B4-BE49-F238E27FC236}">
                  <a16:creationId xmlns:a16="http://schemas.microsoft.com/office/drawing/2014/main" id="{B693A7D5-EC04-44D1-8533-D165371E1D21}"/>
                </a:ext>
              </a:extLst>
            </p:cNvPr>
            <p:cNvSpPr/>
            <p:nvPr/>
          </p:nvSpPr>
          <p:spPr>
            <a:xfrm>
              <a:off x="3392982" y="2041821"/>
              <a:ext cx="6429" cy="12859"/>
            </a:xfrm>
            <a:custGeom>
              <a:avLst/>
              <a:gdLst>
                <a:gd name="connsiteX0" fmla="*/ 5203 w 6429"/>
                <a:gd name="connsiteY0" fmla="*/ 13777 h 12858"/>
                <a:gd name="connsiteX1" fmla="*/ 6810 w 6429"/>
                <a:gd name="connsiteY1" fmla="*/ 18 h 12858"/>
                <a:gd name="connsiteX2" fmla="*/ 5203 w 6429"/>
                <a:gd name="connsiteY2" fmla="*/ 13777 h 12858"/>
              </a:gdLst>
              <a:ahLst/>
              <a:cxnLst>
                <a:cxn ang="0">
                  <a:pos x="connsiteX0" y="connsiteY0"/>
                </a:cxn>
                <a:cxn ang="0">
                  <a:pos x="connsiteX1" y="connsiteY1"/>
                </a:cxn>
                <a:cxn ang="0">
                  <a:pos x="connsiteX2" y="connsiteY2"/>
                </a:cxn>
              </a:cxnLst>
              <a:rect l="l" t="t" r="r" b="b"/>
              <a:pathLst>
                <a:path w="6429" h="12858">
                  <a:moveTo>
                    <a:pt x="5203" y="13777"/>
                  </a:moveTo>
                  <a:cubicBezTo>
                    <a:pt x="9060" y="13198"/>
                    <a:pt x="16776" y="-561"/>
                    <a:pt x="6810" y="18"/>
                  </a:cubicBezTo>
                  <a:cubicBezTo>
                    <a:pt x="-3155" y="597"/>
                    <a:pt x="-841" y="14613"/>
                    <a:pt x="5203" y="13777"/>
                  </a:cubicBezTo>
                  <a:close/>
                </a:path>
              </a:pathLst>
            </a:custGeom>
            <a:solidFill>
              <a:srgbClr val="001669"/>
            </a:solidFill>
            <a:ln w="6429" cap="flat">
              <a:noFill/>
              <a:prstDash val="solid"/>
              <a:miter/>
            </a:ln>
          </p:spPr>
          <p:txBody>
            <a:bodyPr rtlCol="0" anchor="ctr"/>
            <a:lstStyle/>
            <a:p>
              <a:endParaRPr lang="en-GB" sz="2400"/>
            </a:p>
          </p:txBody>
        </p:sp>
        <p:sp>
          <p:nvSpPr>
            <p:cNvPr id="236" name="Freeform 26">
              <a:extLst>
                <a:ext uri="{FF2B5EF4-FFF2-40B4-BE49-F238E27FC236}">
                  <a16:creationId xmlns:a16="http://schemas.microsoft.com/office/drawing/2014/main" id="{92916756-B2D3-42D9-9B63-FA1C42C09059}"/>
                </a:ext>
              </a:extLst>
            </p:cNvPr>
            <p:cNvSpPr/>
            <p:nvPr/>
          </p:nvSpPr>
          <p:spPr>
            <a:xfrm>
              <a:off x="3426392" y="1917625"/>
              <a:ext cx="25718" cy="19288"/>
            </a:xfrm>
            <a:custGeom>
              <a:avLst/>
              <a:gdLst>
                <a:gd name="connsiteX0" fmla="*/ 26892 w 25717"/>
                <a:gd name="connsiteY0" fmla="*/ 20573 h 19288"/>
                <a:gd name="connsiteX1" fmla="*/ 28564 w 25717"/>
                <a:gd name="connsiteY1" fmla="*/ 4049 h 19288"/>
                <a:gd name="connsiteX2" fmla="*/ 12554 w 25717"/>
                <a:gd name="connsiteY2" fmla="*/ 192 h 19288"/>
                <a:gd name="connsiteX3" fmla="*/ 1560 w 25717"/>
                <a:gd name="connsiteY3" fmla="*/ 19480 h 19288"/>
                <a:gd name="connsiteX4" fmla="*/ 26892 w 25717"/>
                <a:gd name="connsiteY4" fmla="*/ 20573 h 1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 h="19288">
                  <a:moveTo>
                    <a:pt x="26892" y="20573"/>
                  </a:moveTo>
                  <a:cubicBezTo>
                    <a:pt x="33321" y="19480"/>
                    <a:pt x="32293" y="9257"/>
                    <a:pt x="28564" y="4049"/>
                  </a:cubicBezTo>
                  <a:cubicBezTo>
                    <a:pt x="25799" y="192"/>
                    <a:pt x="18598" y="-387"/>
                    <a:pt x="12554" y="192"/>
                  </a:cubicBezTo>
                  <a:cubicBezTo>
                    <a:pt x="6511" y="770"/>
                    <a:pt x="-3969" y="10093"/>
                    <a:pt x="1560" y="19480"/>
                  </a:cubicBezTo>
                  <a:cubicBezTo>
                    <a:pt x="7089" y="28867"/>
                    <a:pt x="20463" y="21666"/>
                    <a:pt x="26892" y="20573"/>
                  </a:cubicBezTo>
                  <a:close/>
                </a:path>
              </a:pathLst>
            </a:custGeom>
            <a:solidFill>
              <a:srgbClr val="001669"/>
            </a:solidFill>
            <a:ln w="6429" cap="flat">
              <a:noFill/>
              <a:prstDash val="solid"/>
              <a:miter/>
            </a:ln>
          </p:spPr>
          <p:txBody>
            <a:bodyPr rtlCol="0" anchor="ctr"/>
            <a:lstStyle/>
            <a:p>
              <a:endParaRPr lang="en-GB" sz="2400"/>
            </a:p>
          </p:txBody>
        </p:sp>
        <p:sp>
          <p:nvSpPr>
            <p:cNvPr id="237" name="Freeform 27">
              <a:extLst>
                <a:ext uri="{FF2B5EF4-FFF2-40B4-BE49-F238E27FC236}">
                  <a16:creationId xmlns:a16="http://schemas.microsoft.com/office/drawing/2014/main" id="{5ECAE194-1102-4AD9-A9DA-50C674B6624D}"/>
                </a:ext>
              </a:extLst>
            </p:cNvPr>
            <p:cNvSpPr/>
            <p:nvPr/>
          </p:nvSpPr>
          <p:spPr>
            <a:xfrm>
              <a:off x="3271334" y="1791611"/>
              <a:ext cx="360045" cy="257175"/>
            </a:xfrm>
            <a:custGeom>
              <a:avLst/>
              <a:gdLst>
                <a:gd name="connsiteX0" fmla="*/ 298258 w 360045"/>
                <a:gd name="connsiteY0" fmla="*/ 173011 h 257175"/>
                <a:gd name="connsiteX1" fmla="*/ 316453 w 360045"/>
                <a:gd name="connsiteY1" fmla="*/ 190692 h 257175"/>
                <a:gd name="connsiteX2" fmla="*/ 329633 w 360045"/>
                <a:gd name="connsiteY2" fmla="*/ 187349 h 257175"/>
                <a:gd name="connsiteX3" fmla="*/ 342492 w 360045"/>
                <a:gd name="connsiteY3" fmla="*/ 180212 h 257175"/>
                <a:gd name="connsiteX4" fmla="*/ 358501 w 360045"/>
                <a:gd name="connsiteY4" fmla="*/ 164203 h 257175"/>
                <a:gd name="connsiteX5" fmla="*/ 344163 w 360045"/>
                <a:gd name="connsiteY5" fmla="*/ 155395 h 257175"/>
                <a:gd name="connsiteX6" fmla="*/ 333825 w 360045"/>
                <a:gd name="connsiteY6" fmla="*/ 148605 h 257175"/>
                <a:gd name="connsiteX7" fmla="*/ 333684 w 360045"/>
                <a:gd name="connsiteY7" fmla="*/ 146008 h 257175"/>
                <a:gd name="connsiteX8" fmla="*/ 311631 w 360045"/>
                <a:gd name="connsiteY8" fmla="*/ 134435 h 257175"/>
                <a:gd name="connsiteX9" fmla="*/ 289642 w 360045"/>
                <a:gd name="connsiteY9" fmla="*/ 126720 h 257175"/>
                <a:gd name="connsiteX10" fmla="*/ 273055 w 360045"/>
                <a:gd name="connsiteY10" fmla="*/ 112961 h 257175"/>
                <a:gd name="connsiteX11" fmla="*/ 290157 w 360045"/>
                <a:gd name="connsiteY11" fmla="*/ 109103 h 257175"/>
                <a:gd name="connsiteX12" fmla="*/ 275819 w 360045"/>
                <a:gd name="connsiteY12" fmla="*/ 101967 h 257175"/>
                <a:gd name="connsiteX13" fmla="*/ 283020 w 360045"/>
                <a:gd name="connsiteY13" fmla="*/ 96437 h 257175"/>
                <a:gd name="connsiteX14" fmla="*/ 276591 w 360045"/>
                <a:gd name="connsiteY14" fmla="*/ 85958 h 257175"/>
                <a:gd name="connsiteX15" fmla="*/ 267783 w 360045"/>
                <a:gd name="connsiteY15" fmla="*/ 90394 h 257175"/>
                <a:gd name="connsiteX16" fmla="*/ 269969 w 360045"/>
                <a:gd name="connsiteY16" fmla="*/ 80428 h 257175"/>
                <a:gd name="connsiteX17" fmla="*/ 250680 w 360045"/>
                <a:gd name="connsiteY17" fmla="*/ 74385 h 257175"/>
                <a:gd name="connsiteX18" fmla="*/ 241872 w 360045"/>
                <a:gd name="connsiteY18" fmla="*/ 68341 h 257175"/>
                <a:gd name="connsiteX19" fmla="*/ 225863 w 360045"/>
                <a:gd name="connsiteY19" fmla="*/ 71620 h 257175"/>
                <a:gd name="connsiteX20" fmla="*/ 221491 w 360045"/>
                <a:gd name="connsiteY20" fmla="*/ 67763 h 257175"/>
                <a:gd name="connsiteX21" fmla="*/ 231907 w 360045"/>
                <a:gd name="connsiteY21" fmla="*/ 57861 h 257175"/>
                <a:gd name="connsiteX22" fmla="*/ 213197 w 360045"/>
                <a:gd name="connsiteY22" fmla="*/ 58375 h 257175"/>
                <a:gd name="connsiteX23" fmla="*/ 198860 w 360045"/>
                <a:gd name="connsiteY23" fmla="*/ 46803 h 257175"/>
                <a:gd name="connsiteX24" fmla="*/ 183429 w 360045"/>
                <a:gd name="connsiteY24" fmla="*/ 37994 h 257175"/>
                <a:gd name="connsiteX25" fmla="*/ 157004 w 360045"/>
                <a:gd name="connsiteY25" fmla="*/ 27515 h 257175"/>
                <a:gd name="connsiteX26" fmla="*/ 143181 w 360045"/>
                <a:gd name="connsiteY26" fmla="*/ 37994 h 257175"/>
                <a:gd name="connsiteX27" fmla="*/ 135466 w 360045"/>
                <a:gd name="connsiteY27" fmla="*/ 35230 h 257175"/>
                <a:gd name="connsiteX28" fmla="*/ 115085 w 360045"/>
                <a:gd name="connsiteY28" fmla="*/ 41659 h 257175"/>
                <a:gd name="connsiteX29" fmla="*/ 115663 w 360045"/>
                <a:gd name="connsiteY29" fmla="*/ 20699 h 257175"/>
                <a:gd name="connsiteX30" fmla="*/ 106791 w 360045"/>
                <a:gd name="connsiteY30" fmla="*/ 5848 h 257175"/>
                <a:gd name="connsiteX31" fmla="*/ 82552 w 360045"/>
                <a:gd name="connsiteY31" fmla="*/ 5848 h 257175"/>
                <a:gd name="connsiteX32" fmla="*/ 56127 w 360045"/>
                <a:gd name="connsiteY32" fmla="*/ 16328 h 257175"/>
                <a:gd name="connsiteX33" fmla="*/ 59985 w 360045"/>
                <a:gd name="connsiteY33" fmla="*/ 34523 h 257175"/>
                <a:gd name="connsiteX34" fmla="*/ 53556 w 360045"/>
                <a:gd name="connsiteY34" fmla="*/ 46095 h 257175"/>
                <a:gd name="connsiteX35" fmla="*/ 66800 w 360045"/>
                <a:gd name="connsiteY35" fmla="*/ 55482 h 257175"/>
                <a:gd name="connsiteX36" fmla="*/ 45840 w 360045"/>
                <a:gd name="connsiteY36" fmla="*/ 47188 h 257175"/>
                <a:gd name="connsiteX37" fmla="*/ 43076 w 360045"/>
                <a:gd name="connsiteY37" fmla="*/ 31179 h 257175"/>
                <a:gd name="connsiteX38" fmla="*/ 49505 w 360045"/>
                <a:gd name="connsiteY38" fmla="*/ 13563 h 257175"/>
                <a:gd name="connsiteX39" fmla="*/ 62364 w 360045"/>
                <a:gd name="connsiteY39" fmla="*/ 2569 h 257175"/>
                <a:gd name="connsiteX40" fmla="*/ 13308 w 360045"/>
                <a:gd name="connsiteY40" fmla="*/ 14656 h 257175"/>
                <a:gd name="connsiteX41" fmla="*/ 1735 w 360045"/>
                <a:gd name="connsiteY41" fmla="*/ 57668 h 257175"/>
                <a:gd name="connsiteX42" fmla="*/ 28224 w 360045"/>
                <a:gd name="connsiteY42" fmla="*/ 62619 h 257175"/>
                <a:gd name="connsiteX43" fmla="*/ 25459 w 360045"/>
                <a:gd name="connsiteY43" fmla="*/ 68148 h 257175"/>
                <a:gd name="connsiteX44" fmla="*/ 6686 w 360045"/>
                <a:gd name="connsiteY44" fmla="*/ 69756 h 257175"/>
                <a:gd name="connsiteX45" fmla="*/ 30924 w 360045"/>
                <a:gd name="connsiteY45" fmla="*/ 81907 h 257175"/>
                <a:gd name="connsiteX46" fmla="*/ 43783 w 360045"/>
                <a:gd name="connsiteY46" fmla="*/ 84672 h 257175"/>
                <a:gd name="connsiteX47" fmla="*/ 68536 w 360045"/>
                <a:gd name="connsiteY47" fmla="*/ 88529 h 257175"/>
                <a:gd name="connsiteX48" fmla="*/ 96118 w 360045"/>
                <a:gd name="connsiteY48" fmla="*/ 93480 h 257175"/>
                <a:gd name="connsiteX49" fmla="*/ 108977 w 360045"/>
                <a:gd name="connsiteY49" fmla="*/ 87951 h 257175"/>
                <a:gd name="connsiteX50" fmla="*/ 137073 w 360045"/>
                <a:gd name="connsiteY50" fmla="*/ 91808 h 257175"/>
                <a:gd name="connsiteX51" fmla="*/ 135466 w 360045"/>
                <a:gd name="connsiteY51" fmla="*/ 84093 h 257175"/>
                <a:gd name="connsiteX52" fmla="*/ 138231 w 360045"/>
                <a:gd name="connsiteY52" fmla="*/ 78049 h 257175"/>
                <a:gd name="connsiteX53" fmla="*/ 153082 w 360045"/>
                <a:gd name="connsiteY53" fmla="*/ 87436 h 257175"/>
                <a:gd name="connsiteX54" fmla="*/ 159512 w 360045"/>
                <a:gd name="connsiteY54" fmla="*/ 93480 h 257175"/>
                <a:gd name="connsiteX55" fmla="*/ 178221 w 360045"/>
                <a:gd name="connsiteY55" fmla="*/ 106339 h 257175"/>
                <a:gd name="connsiteX56" fmla="*/ 166134 w 360045"/>
                <a:gd name="connsiteY56" fmla="*/ 116818 h 257175"/>
                <a:gd name="connsiteX57" fmla="*/ 185422 w 360045"/>
                <a:gd name="connsiteY57" fmla="*/ 111289 h 257175"/>
                <a:gd name="connsiteX58" fmla="*/ 196995 w 360045"/>
                <a:gd name="connsiteY58" fmla="*/ 123441 h 257175"/>
                <a:gd name="connsiteX59" fmla="*/ 215705 w 360045"/>
                <a:gd name="connsiteY59" fmla="*/ 135528 h 257175"/>
                <a:gd name="connsiteX60" fmla="*/ 215705 w 360045"/>
                <a:gd name="connsiteY60" fmla="*/ 157066 h 257175"/>
                <a:gd name="connsiteX61" fmla="*/ 236086 w 360045"/>
                <a:gd name="connsiteY61" fmla="*/ 155395 h 257175"/>
                <a:gd name="connsiteX62" fmla="*/ 255374 w 360045"/>
                <a:gd name="connsiteY62" fmla="*/ 164782 h 257175"/>
                <a:gd name="connsiteX63" fmla="*/ 237243 w 360045"/>
                <a:gd name="connsiteY63" fmla="*/ 173590 h 257175"/>
                <a:gd name="connsiteX64" fmla="*/ 205803 w 360045"/>
                <a:gd name="connsiteY64" fmla="*/ 162017 h 257175"/>
                <a:gd name="connsiteX65" fmla="*/ 202524 w 360045"/>
                <a:gd name="connsiteY65" fmla="*/ 182977 h 257175"/>
                <a:gd name="connsiteX66" fmla="*/ 173271 w 360045"/>
                <a:gd name="connsiteY66" fmla="*/ 189020 h 257175"/>
                <a:gd name="connsiteX67" fmla="*/ 156747 w 360045"/>
                <a:gd name="connsiteY67" fmla="*/ 192299 h 257175"/>
                <a:gd name="connsiteX68" fmla="*/ 149611 w 360045"/>
                <a:gd name="connsiteY68" fmla="*/ 207730 h 257175"/>
                <a:gd name="connsiteX69" fmla="*/ 177128 w 360045"/>
                <a:gd name="connsiteY69" fmla="*/ 208887 h 257175"/>
                <a:gd name="connsiteX70" fmla="*/ 189280 w 360045"/>
                <a:gd name="connsiteY70" fmla="*/ 206637 h 257175"/>
                <a:gd name="connsiteX71" fmla="*/ 207989 w 360045"/>
                <a:gd name="connsiteY71" fmla="*/ 205544 h 257175"/>
                <a:gd name="connsiteX72" fmla="*/ 222327 w 360045"/>
                <a:gd name="connsiteY72" fmla="*/ 218403 h 257175"/>
                <a:gd name="connsiteX73" fmla="*/ 229528 w 360045"/>
                <a:gd name="connsiteY73" fmla="*/ 234412 h 257175"/>
                <a:gd name="connsiteX74" fmla="*/ 259231 w 360045"/>
                <a:gd name="connsiteY74" fmla="*/ 243799 h 257175"/>
                <a:gd name="connsiteX75" fmla="*/ 297808 w 360045"/>
                <a:gd name="connsiteY75" fmla="*/ 258651 h 257175"/>
                <a:gd name="connsiteX76" fmla="*/ 265275 w 360045"/>
                <a:gd name="connsiteY76" fmla="*/ 225604 h 257175"/>
                <a:gd name="connsiteX77" fmla="*/ 283984 w 360045"/>
                <a:gd name="connsiteY77" fmla="*/ 228883 h 257175"/>
                <a:gd name="connsiteX78" fmla="*/ 317610 w 360045"/>
                <a:gd name="connsiteY78" fmla="*/ 231133 h 257175"/>
                <a:gd name="connsiteX79" fmla="*/ 311181 w 360045"/>
                <a:gd name="connsiteY79" fmla="*/ 216795 h 257175"/>
                <a:gd name="connsiteX80" fmla="*/ 298322 w 360045"/>
                <a:gd name="connsiteY80" fmla="*/ 199693 h 257175"/>
                <a:gd name="connsiteX81" fmla="*/ 277941 w 360045"/>
                <a:gd name="connsiteY81" fmla="*/ 180919 h 257175"/>
                <a:gd name="connsiteX82" fmla="*/ 281220 w 360045"/>
                <a:gd name="connsiteY82" fmla="*/ 167161 h 257175"/>
                <a:gd name="connsiteX83" fmla="*/ 298258 w 360045"/>
                <a:gd name="connsiteY83" fmla="*/ 173011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0045" h="257175">
                  <a:moveTo>
                    <a:pt x="298258" y="173011"/>
                  </a:moveTo>
                  <a:cubicBezTo>
                    <a:pt x="304687" y="173590"/>
                    <a:pt x="305973" y="181884"/>
                    <a:pt x="316453" y="190692"/>
                  </a:cubicBezTo>
                  <a:cubicBezTo>
                    <a:pt x="326933" y="199500"/>
                    <a:pt x="328026" y="193457"/>
                    <a:pt x="329633" y="187349"/>
                  </a:cubicBezTo>
                  <a:cubicBezTo>
                    <a:pt x="331240" y="181241"/>
                    <a:pt x="342878" y="186256"/>
                    <a:pt x="342492" y="180212"/>
                  </a:cubicBezTo>
                  <a:cubicBezTo>
                    <a:pt x="342106" y="174169"/>
                    <a:pt x="351879" y="166968"/>
                    <a:pt x="358501" y="164203"/>
                  </a:cubicBezTo>
                  <a:cubicBezTo>
                    <a:pt x="365123" y="161438"/>
                    <a:pt x="352972" y="154880"/>
                    <a:pt x="344163" y="155395"/>
                  </a:cubicBezTo>
                  <a:cubicBezTo>
                    <a:pt x="339438" y="156372"/>
                    <a:pt x="334809" y="153337"/>
                    <a:pt x="333825" y="148605"/>
                  </a:cubicBezTo>
                  <a:cubicBezTo>
                    <a:pt x="333651" y="147750"/>
                    <a:pt x="333600" y="146876"/>
                    <a:pt x="333684" y="146008"/>
                  </a:cubicBezTo>
                  <a:cubicBezTo>
                    <a:pt x="333684" y="142150"/>
                    <a:pt x="317160" y="132828"/>
                    <a:pt x="311631" y="134435"/>
                  </a:cubicBezTo>
                  <a:cubicBezTo>
                    <a:pt x="306102" y="136042"/>
                    <a:pt x="296779" y="127298"/>
                    <a:pt x="289642" y="126720"/>
                  </a:cubicBezTo>
                  <a:cubicBezTo>
                    <a:pt x="282506" y="126141"/>
                    <a:pt x="271962" y="120676"/>
                    <a:pt x="273055" y="112961"/>
                  </a:cubicBezTo>
                  <a:cubicBezTo>
                    <a:pt x="274148" y="105246"/>
                    <a:pt x="287392" y="115147"/>
                    <a:pt x="290157" y="109103"/>
                  </a:cubicBezTo>
                  <a:cubicBezTo>
                    <a:pt x="292921" y="103060"/>
                    <a:pt x="276398" y="106339"/>
                    <a:pt x="275819" y="101967"/>
                  </a:cubicBezTo>
                  <a:cubicBezTo>
                    <a:pt x="275241" y="97595"/>
                    <a:pt x="279677" y="99202"/>
                    <a:pt x="283020" y="96437"/>
                  </a:cubicBezTo>
                  <a:cubicBezTo>
                    <a:pt x="286363" y="93673"/>
                    <a:pt x="280255" y="88144"/>
                    <a:pt x="276591" y="85958"/>
                  </a:cubicBezTo>
                  <a:cubicBezTo>
                    <a:pt x="272926" y="83772"/>
                    <a:pt x="271640" y="90394"/>
                    <a:pt x="267783" y="90394"/>
                  </a:cubicBezTo>
                  <a:cubicBezTo>
                    <a:pt x="263925" y="90394"/>
                    <a:pt x="267204" y="83964"/>
                    <a:pt x="269969" y="80428"/>
                  </a:cubicBezTo>
                  <a:cubicBezTo>
                    <a:pt x="272733" y="76892"/>
                    <a:pt x="257110" y="72199"/>
                    <a:pt x="250680" y="74385"/>
                  </a:cubicBezTo>
                  <a:cubicBezTo>
                    <a:pt x="244251" y="76571"/>
                    <a:pt x="241872" y="72713"/>
                    <a:pt x="241872" y="68341"/>
                  </a:cubicBezTo>
                  <a:cubicBezTo>
                    <a:pt x="241872" y="63969"/>
                    <a:pt x="230299" y="68341"/>
                    <a:pt x="225863" y="71620"/>
                  </a:cubicBezTo>
                  <a:cubicBezTo>
                    <a:pt x="221427" y="74899"/>
                    <a:pt x="215962" y="68341"/>
                    <a:pt x="221491" y="67763"/>
                  </a:cubicBezTo>
                  <a:cubicBezTo>
                    <a:pt x="227020" y="67184"/>
                    <a:pt x="233578" y="62812"/>
                    <a:pt x="231907" y="57861"/>
                  </a:cubicBezTo>
                  <a:cubicBezTo>
                    <a:pt x="230235" y="52911"/>
                    <a:pt x="215962" y="52332"/>
                    <a:pt x="213197" y="58375"/>
                  </a:cubicBezTo>
                  <a:cubicBezTo>
                    <a:pt x="210432" y="64419"/>
                    <a:pt x="198860" y="51946"/>
                    <a:pt x="198860" y="46803"/>
                  </a:cubicBezTo>
                  <a:cubicBezTo>
                    <a:pt x="198860" y="41659"/>
                    <a:pt x="181243" y="46288"/>
                    <a:pt x="183429" y="37994"/>
                  </a:cubicBezTo>
                  <a:cubicBezTo>
                    <a:pt x="185615" y="29701"/>
                    <a:pt x="163048" y="27515"/>
                    <a:pt x="157004" y="27515"/>
                  </a:cubicBezTo>
                  <a:cubicBezTo>
                    <a:pt x="150961" y="27515"/>
                    <a:pt x="142088" y="32465"/>
                    <a:pt x="143181" y="37994"/>
                  </a:cubicBezTo>
                  <a:cubicBezTo>
                    <a:pt x="144274" y="43524"/>
                    <a:pt x="136752" y="41338"/>
                    <a:pt x="135466" y="35230"/>
                  </a:cubicBezTo>
                  <a:cubicBezTo>
                    <a:pt x="134180" y="29122"/>
                    <a:pt x="119521" y="41659"/>
                    <a:pt x="115085" y="41659"/>
                  </a:cubicBezTo>
                  <a:cubicBezTo>
                    <a:pt x="110649" y="41659"/>
                    <a:pt x="117849" y="25714"/>
                    <a:pt x="115663" y="20699"/>
                  </a:cubicBezTo>
                  <a:cubicBezTo>
                    <a:pt x="112372" y="15961"/>
                    <a:pt x="109401" y="10998"/>
                    <a:pt x="106791" y="5848"/>
                  </a:cubicBezTo>
                  <a:cubicBezTo>
                    <a:pt x="103512" y="-2446"/>
                    <a:pt x="86988" y="897"/>
                    <a:pt x="82552" y="5848"/>
                  </a:cubicBezTo>
                  <a:cubicBezTo>
                    <a:pt x="78116" y="10798"/>
                    <a:pt x="63843" y="8612"/>
                    <a:pt x="56127" y="16328"/>
                  </a:cubicBezTo>
                  <a:cubicBezTo>
                    <a:pt x="48412" y="24043"/>
                    <a:pt x="56642" y="31758"/>
                    <a:pt x="59985" y="34523"/>
                  </a:cubicBezTo>
                  <a:cubicBezTo>
                    <a:pt x="63328" y="37287"/>
                    <a:pt x="48412" y="41659"/>
                    <a:pt x="53556" y="46095"/>
                  </a:cubicBezTo>
                  <a:cubicBezTo>
                    <a:pt x="58699" y="50532"/>
                    <a:pt x="66414" y="48282"/>
                    <a:pt x="66800" y="55482"/>
                  </a:cubicBezTo>
                  <a:cubicBezTo>
                    <a:pt x="67186" y="62683"/>
                    <a:pt x="48605" y="53232"/>
                    <a:pt x="45840" y="47188"/>
                  </a:cubicBezTo>
                  <a:cubicBezTo>
                    <a:pt x="43076" y="41145"/>
                    <a:pt x="46933" y="35616"/>
                    <a:pt x="43076" y="31179"/>
                  </a:cubicBezTo>
                  <a:cubicBezTo>
                    <a:pt x="39218" y="26743"/>
                    <a:pt x="42497" y="21278"/>
                    <a:pt x="49505" y="13563"/>
                  </a:cubicBezTo>
                  <a:cubicBezTo>
                    <a:pt x="56513" y="5848"/>
                    <a:pt x="62364" y="7133"/>
                    <a:pt x="62364" y="2569"/>
                  </a:cubicBezTo>
                  <a:cubicBezTo>
                    <a:pt x="62364" y="-1996"/>
                    <a:pt x="31503" y="-1868"/>
                    <a:pt x="13308" y="14656"/>
                  </a:cubicBezTo>
                  <a:cubicBezTo>
                    <a:pt x="1684" y="25682"/>
                    <a:pt x="-2785" y="42296"/>
                    <a:pt x="1735" y="57668"/>
                  </a:cubicBezTo>
                  <a:cubicBezTo>
                    <a:pt x="2828" y="62040"/>
                    <a:pt x="18837" y="59854"/>
                    <a:pt x="28224" y="62619"/>
                  </a:cubicBezTo>
                  <a:cubicBezTo>
                    <a:pt x="37611" y="65383"/>
                    <a:pt x="32596" y="69048"/>
                    <a:pt x="25459" y="68148"/>
                  </a:cubicBezTo>
                  <a:cubicBezTo>
                    <a:pt x="18323" y="67248"/>
                    <a:pt x="6171" y="64805"/>
                    <a:pt x="6686" y="69756"/>
                  </a:cubicBezTo>
                  <a:cubicBezTo>
                    <a:pt x="7200" y="74706"/>
                    <a:pt x="22116" y="84093"/>
                    <a:pt x="30924" y="81907"/>
                  </a:cubicBezTo>
                  <a:cubicBezTo>
                    <a:pt x="39733" y="79721"/>
                    <a:pt x="39797" y="79721"/>
                    <a:pt x="43783" y="84672"/>
                  </a:cubicBezTo>
                  <a:cubicBezTo>
                    <a:pt x="47769" y="89622"/>
                    <a:pt x="58121" y="87951"/>
                    <a:pt x="68536" y="88529"/>
                  </a:cubicBezTo>
                  <a:cubicBezTo>
                    <a:pt x="77814" y="89655"/>
                    <a:pt x="87027" y="91307"/>
                    <a:pt x="96118" y="93480"/>
                  </a:cubicBezTo>
                  <a:cubicBezTo>
                    <a:pt x="101050" y="93834"/>
                    <a:pt x="105839" y="91770"/>
                    <a:pt x="108977" y="87951"/>
                  </a:cubicBezTo>
                  <a:cubicBezTo>
                    <a:pt x="110649" y="85186"/>
                    <a:pt x="131030" y="92387"/>
                    <a:pt x="137073" y="91808"/>
                  </a:cubicBezTo>
                  <a:cubicBezTo>
                    <a:pt x="143117" y="91230"/>
                    <a:pt x="139324" y="85765"/>
                    <a:pt x="135466" y="84093"/>
                  </a:cubicBezTo>
                  <a:cubicBezTo>
                    <a:pt x="131608" y="82421"/>
                    <a:pt x="133216" y="75285"/>
                    <a:pt x="138231" y="78049"/>
                  </a:cubicBezTo>
                  <a:cubicBezTo>
                    <a:pt x="143245" y="80814"/>
                    <a:pt x="151411" y="82486"/>
                    <a:pt x="153082" y="87436"/>
                  </a:cubicBezTo>
                  <a:cubicBezTo>
                    <a:pt x="154754" y="92387"/>
                    <a:pt x="159126" y="89622"/>
                    <a:pt x="159512" y="93480"/>
                  </a:cubicBezTo>
                  <a:cubicBezTo>
                    <a:pt x="159898" y="97337"/>
                    <a:pt x="177707" y="101774"/>
                    <a:pt x="178221" y="106339"/>
                  </a:cubicBezTo>
                  <a:cubicBezTo>
                    <a:pt x="178736" y="110904"/>
                    <a:pt x="161183" y="112768"/>
                    <a:pt x="166134" y="116818"/>
                  </a:cubicBezTo>
                  <a:cubicBezTo>
                    <a:pt x="171085" y="120869"/>
                    <a:pt x="178993" y="111868"/>
                    <a:pt x="185422" y="111289"/>
                  </a:cubicBezTo>
                  <a:cubicBezTo>
                    <a:pt x="191852" y="110711"/>
                    <a:pt x="191852" y="125627"/>
                    <a:pt x="196995" y="123441"/>
                  </a:cubicBezTo>
                  <a:cubicBezTo>
                    <a:pt x="203746" y="120419"/>
                    <a:pt x="209082" y="126206"/>
                    <a:pt x="215705" y="135528"/>
                  </a:cubicBezTo>
                  <a:cubicBezTo>
                    <a:pt x="222327" y="144851"/>
                    <a:pt x="215190" y="153723"/>
                    <a:pt x="215705" y="157066"/>
                  </a:cubicBezTo>
                  <a:cubicBezTo>
                    <a:pt x="216219" y="160410"/>
                    <a:pt x="228949" y="159252"/>
                    <a:pt x="236086" y="155395"/>
                  </a:cubicBezTo>
                  <a:cubicBezTo>
                    <a:pt x="243222" y="151537"/>
                    <a:pt x="249909" y="159831"/>
                    <a:pt x="255374" y="164782"/>
                  </a:cubicBezTo>
                  <a:cubicBezTo>
                    <a:pt x="260839" y="169732"/>
                    <a:pt x="234993" y="178026"/>
                    <a:pt x="237243" y="173590"/>
                  </a:cubicBezTo>
                  <a:cubicBezTo>
                    <a:pt x="239493" y="169154"/>
                    <a:pt x="221812" y="155974"/>
                    <a:pt x="205803" y="162017"/>
                  </a:cubicBezTo>
                  <a:cubicBezTo>
                    <a:pt x="189794" y="168061"/>
                    <a:pt x="200853" y="177448"/>
                    <a:pt x="202524" y="182977"/>
                  </a:cubicBezTo>
                  <a:cubicBezTo>
                    <a:pt x="204196" y="188506"/>
                    <a:pt x="188187" y="193971"/>
                    <a:pt x="173271" y="189020"/>
                  </a:cubicBezTo>
                  <a:cubicBezTo>
                    <a:pt x="158355" y="184070"/>
                    <a:pt x="162791" y="192299"/>
                    <a:pt x="156747" y="192299"/>
                  </a:cubicBezTo>
                  <a:cubicBezTo>
                    <a:pt x="150704" y="192299"/>
                    <a:pt x="143888" y="201686"/>
                    <a:pt x="149611" y="207730"/>
                  </a:cubicBezTo>
                  <a:cubicBezTo>
                    <a:pt x="155333" y="213774"/>
                    <a:pt x="167227" y="208309"/>
                    <a:pt x="177128" y="208887"/>
                  </a:cubicBezTo>
                  <a:cubicBezTo>
                    <a:pt x="187029" y="209466"/>
                    <a:pt x="188187" y="212166"/>
                    <a:pt x="189280" y="206637"/>
                  </a:cubicBezTo>
                  <a:cubicBezTo>
                    <a:pt x="190373" y="201108"/>
                    <a:pt x="200853" y="203872"/>
                    <a:pt x="207989" y="205544"/>
                  </a:cubicBezTo>
                  <a:cubicBezTo>
                    <a:pt x="215126" y="207216"/>
                    <a:pt x="213519" y="217117"/>
                    <a:pt x="222327" y="218403"/>
                  </a:cubicBezTo>
                  <a:cubicBezTo>
                    <a:pt x="231135" y="219688"/>
                    <a:pt x="223998" y="228368"/>
                    <a:pt x="229528" y="234412"/>
                  </a:cubicBezTo>
                  <a:cubicBezTo>
                    <a:pt x="235057" y="240455"/>
                    <a:pt x="252673" y="237176"/>
                    <a:pt x="259231" y="243799"/>
                  </a:cubicBezTo>
                  <a:cubicBezTo>
                    <a:pt x="265789" y="250421"/>
                    <a:pt x="293886" y="263537"/>
                    <a:pt x="297808" y="258651"/>
                  </a:cubicBezTo>
                  <a:cubicBezTo>
                    <a:pt x="301730" y="253764"/>
                    <a:pt x="273505" y="227790"/>
                    <a:pt x="265275" y="225604"/>
                  </a:cubicBezTo>
                  <a:cubicBezTo>
                    <a:pt x="257045" y="223418"/>
                    <a:pt x="273505" y="220653"/>
                    <a:pt x="283984" y="228883"/>
                  </a:cubicBezTo>
                  <a:cubicBezTo>
                    <a:pt x="294464" y="237112"/>
                    <a:pt x="309702" y="241034"/>
                    <a:pt x="317610" y="231133"/>
                  </a:cubicBezTo>
                  <a:cubicBezTo>
                    <a:pt x="325518" y="221232"/>
                    <a:pt x="311181" y="223932"/>
                    <a:pt x="311181" y="216795"/>
                  </a:cubicBezTo>
                  <a:cubicBezTo>
                    <a:pt x="311181" y="209659"/>
                    <a:pt x="306230" y="199693"/>
                    <a:pt x="298322" y="199693"/>
                  </a:cubicBezTo>
                  <a:cubicBezTo>
                    <a:pt x="290414" y="199693"/>
                    <a:pt x="270740" y="184263"/>
                    <a:pt x="277941" y="180919"/>
                  </a:cubicBezTo>
                  <a:cubicBezTo>
                    <a:pt x="285142" y="177576"/>
                    <a:pt x="275755" y="173204"/>
                    <a:pt x="281220" y="167161"/>
                  </a:cubicBezTo>
                  <a:cubicBezTo>
                    <a:pt x="286685" y="161117"/>
                    <a:pt x="291635" y="172497"/>
                    <a:pt x="298258" y="173011"/>
                  </a:cubicBezTo>
                  <a:close/>
                </a:path>
              </a:pathLst>
            </a:custGeom>
            <a:solidFill>
              <a:srgbClr val="001669"/>
            </a:solidFill>
            <a:ln w="6429" cap="flat">
              <a:noFill/>
              <a:prstDash val="solid"/>
              <a:miter/>
            </a:ln>
          </p:spPr>
          <p:txBody>
            <a:bodyPr rtlCol="0" anchor="ctr"/>
            <a:lstStyle/>
            <a:p>
              <a:endParaRPr lang="en-GB" sz="2400"/>
            </a:p>
          </p:txBody>
        </p:sp>
        <p:sp>
          <p:nvSpPr>
            <p:cNvPr id="238" name="Freeform 28">
              <a:extLst>
                <a:ext uri="{FF2B5EF4-FFF2-40B4-BE49-F238E27FC236}">
                  <a16:creationId xmlns:a16="http://schemas.microsoft.com/office/drawing/2014/main" id="{90DE5A05-A11E-41D9-8137-0FAEC5439DD6}"/>
                </a:ext>
              </a:extLst>
            </p:cNvPr>
            <p:cNvSpPr/>
            <p:nvPr/>
          </p:nvSpPr>
          <p:spPr>
            <a:xfrm>
              <a:off x="3072353" y="1690219"/>
              <a:ext cx="19288" cy="12859"/>
            </a:xfrm>
            <a:custGeom>
              <a:avLst/>
              <a:gdLst>
                <a:gd name="connsiteX0" fmla="*/ 18829 w 19288"/>
                <a:gd name="connsiteY0" fmla="*/ 17035 h 12858"/>
                <a:gd name="connsiteX1" fmla="*/ 55 w 19288"/>
                <a:gd name="connsiteY1" fmla="*/ 2183 h 12858"/>
                <a:gd name="connsiteX2" fmla="*/ 18829 w 19288"/>
                <a:gd name="connsiteY2" fmla="*/ 17035 h 12858"/>
              </a:gdLst>
              <a:ahLst/>
              <a:cxnLst>
                <a:cxn ang="0">
                  <a:pos x="connsiteX0" y="connsiteY0"/>
                </a:cxn>
                <a:cxn ang="0">
                  <a:pos x="connsiteX1" y="connsiteY1"/>
                </a:cxn>
                <a:cxn ang="0">
                  <a:pos x="connsiteX2" y="connsiteY2"/>
                </a:cxn>
              </a:cxnLst>
              <a:rect l="l" t="t" r="r" b="b"/>
              <a:pathLst>
                <a:path w="19288" h="12858">
                  <a:moveTo>
                    <a:pt x="18829" y="17035"/>
                  </a:moveTo>
                  <a:cubicBezTo>
                    <a:pt x="23201" y="11506"/>
                    <a:pt x="1148" y="-6111"/>
                    <a:pt x="55" y="2183"/>
                  </a:cubicBezTo>
                  <a:cubicBezTo>
                    <a:pt x="-1038" y="10477"/>
                    <a:pt x="14457" y="22886"/>
                    <a:pt x="18829" y="17035"/>
                  </a:cubicBezTo>
                  <a:close/>
                </a:path>
              </a:pathLst>
            </a:custGeom>
            <a:solidFill>
              <a:srgbClr val="001669"/>
            </a:solidFill>
            <a:ln w="6429" cap="flat">
              <a:noFill/>
              <a:prstDash val="solid"/>
              <a:miter/>
            </a:ln>
          </p:spPr>
          <p:txBody>
            <a:bodyPr rtlCol="0" anchor="ctr"/>
            <a:lstStyle/>
            <a:p>
              <a:endParaRPr lang="en-GB" sz="2400"/>
            </a:p>
          </p:txBody>
        </p:sp>
        <p:sp>
          <p:nvSpPr>
            <p:cNvPr id="239" name="Freeform 29">
              <a:extLst>
                <a:ext uri="{FF2B5EF4-FFF2-40B4-BE49-F238E27FC236}">
                  <a16:creationId xmlns:a16="http://schemas.microsoft.com/office/drawing/2014/main" id="{EF7DBD09-B61A-4C1E-BA36-1F44D81C2B54}"/>
                </a:ext>
              </a:extLst>
            </p:cNvPr>
            <p:cNvSpPr/>
            <p:nvPr/>
          </p:nvSpPr>
          <p:spPr>
            <a:xfrm>
              <a:off x="3245464" y="1533769"/>
              <a:ext cx="385763" cy="192881"/>
            </a:xfrm>
            <a:custGeom>
              <a:avLst/>
              <a:gdLst>
                <a:gd name="connsiteX0" fmla="*/ 13782 w 385762"/>
                <a:gd name="connsiteY0" fmla="*/ 46185 h 192881"/>
                <a:gd name="connsiteX1" fmla="*/ 20983 w 385762"/>
                <a:gd name="connsiteY1" fmla="*/ 47856 h 192881"/>
                <a:gd name="connsiteX2" fmla="*/ 25934 w 385762"/>
                <a:gd name="connsiteY2" fmla="*/ 52807 h 192881"/>
                <a:gd name="connsiteX3" fmla="*/ 22076 w 385762"/>
                <a:gd name="connsiteY3" fmla="*/ 61037 h 192881"/>
                <a:gd name="connsiteX4" fmla="*/ 33649 w 385762"/>
                <a:gd name="connsiteY4" fmla="*/ 68752 h 192881"/>
                <a:gd name="connsiteX5" fmla="*/ 65088 w 385762"/>
                <a:gd name="connsiteY5" fmla="*/ 69909 h 192881"/>
                <a:gd name="connsiteX6" fmla="*/ 68946 w 385762"/>
                <a:gd name="connsiteY6" fmla="*/ 75953 h 192881"/>
                <a:gd name="connsiteX7" fmla="*/ 104179 w 385762"/>
                <a:gd name="connsiteY7" fmla="*/ 78717 h 192881"/>
                <a:gd name="connsiteX8" fmla="*/ 117424 w 385762"/>
                <a:gd name="connsiteY8" fmla="*/ 77046 h 192881"/>
                <a:gd name="connsiteX9" fmla="*/ 157093 w 385762"/>
                <a:gd name="connsiteY9" fmla="*/ 64187 h 192881"/>
                <a:gd name="connsiteX10" fmla="*/ 157093 w 385762"/>
                <a:gd name="connsiteY10" fmla="*/ 74667 h 192881"/>
                <a:gd name="connsiteX11" fmla="*/ 116331 w 385762"/>
                <a:gd name="connsiteY11" fmla="*/ 83475 h 192881"/>
                <a:gd name="connsiteX12" fmla="*/ 131761 w 385762"/>
                <a:gd name="connsiteY12" fmla="*/ 99999 h 192881"/>
                <a:gd name="connsiteX13" fmla="*/ 110801 w 385762"/>
                <a:gd name="connsiteY13" fmla="*/ 93955 h 192881"/>
                <a:gd name="connsiteX14" fmla="*/ 71646 w 385762"/>
                <a:gd name="connsiteY14" fmla="*/ 85147 h 192881"/>
                <a:gd name="connsiteX15" fmla="*/ 72225 w 385762"/>
                <a:gd name="connsiteY15" fmla="*/ 104949 h 192881"/>
                <a:gd name="connsiteX16" fmla="*/ 95371 w 385762"/>
                <a:gd name="connsiteY16" fmla="*/ 119865 h 192881"/>
                <a:gd name="connsiteX17" fmla="*/ 119610 w 385762"/>
                <a:gd name="connsiteY17" fmla="*/ 134717 h 192881"/>
                <a:gd name="connsiteX18" fmla="*/ 85984 w 385762"/>
                <a:gd name="connsiteY18" fmla="*/ 128288 h 192881"/>
                <a:gd name="connsiteX19" fmla="*/ 53837 w 385762"/>
                <a:gd name="connsiteY19" fmla="*/ 142625 h 192881"/>
                <a:gd name="connsiteX20" fmla="*/ 83605 w 385762"/>
                <a:gd name="connsiteY20" fmla="*/ 143204 h 192881"/>
                <a:gd name="connsiteX21" fmla="*/ 80840 w 385762"/>
                <a:gd name="connsiteY21" fmla="*/ 150919 h 192881"/>
                <a:gd name="connsiteX22" fmla="*/ 95178 w 385762"/>
                <a:gd name="connsiteY22" fmla="*/ 167443 h 192881"/>
                <a:gd name="connsiteX23" fmla="*/ 78654 w 385762"/>
                <a:gd name="connsiteY23" fmla="*/ 165771 h 192881"/>
                <a:gd name="connsiteX24" fmla="*/ 57180 w 385762"/>
                <a:gd name="connsiteY24" fmla="*/ 154777 h 192881"/>
                <a:gd name="connsiteX25" fmla="*/ 55509 w 385762"/>
                <a:gd name="connsiteY25" fmla="*/ 166864 h 192881"/>
                <a:gd name="connsiteX26" fmla="*/ 54930 w 385762"/>
                <a:gd name="connsiteY26" fmla="*/ 174579 h 192881"/>
                <a:gd name="connsiteX27" fmla="*/ 29598 w 385762"/>
                <a:gd name="connsiteY27" fmla="*/ 187438 h 192881"/>
                <a:gd name="connsiteX28" fmla="*/ 70361 w 385762"/>
                <a:gd name="connsiteY28" fmla="*/ 191874 h 192881"/>
                <a:gd name="connsiteX29" fmla="*/ 92413 w 385762"/>
                <a:gd name="connsiteY29" fmla="*/ 192967 h 192881"/>
                <a:gd name="connsiteX30" fmla="*/ 117809 w 385762"/>
                <a:gd name="connsiteY30" fmla="*/ 190203 h 192881"/>
                <a:gd name="connsiteX31" fmla="*/ 136519 w 385762"/>
                <a:gd name="connsiteY31" fmla="*/ 196311 h 192881"/>
                <a:gd name="connsiteX32" fmla="*/ 156386 w 385762"/>
                <a:gd name="connsiteY32" fmla="*/ 194639 h 192881"/>
                <a:gd name="connsiteX33" fmla="*/ 170144 w 385762"/>
                <a:gd name="connsiteY33" fmla="*/ 190203 h 192881"/>
                <a:gd name="connsiteX34" fmla="*/ 175674 w 385762"/>
                <a:gd name="connsiteY34" fmla="*/ 179208 h 192881"/>
                <a:gd name="connsiteX35" fmla="*/ 160758 w 385762"/>
                <a:gd name="connsiteY35" fmla="*/ 179208 h 192881"/>
                <a:gd name="connsiteX36" fmla="*/ 135040 w 385762"/>
                <a:gd name="connsiteY36" fmla="*/ 174258 h 192881"/>
                <a:gd name="connsiteX37" fmla="*/ 135619 w 385762"/>
                <a:gd name="connsiteY37" fmla="*/ 167057 h 192881"/>
                <a:gd name="connsiteX38" fmla="*/ 168151 w 385762"/>
                <a:gd name="connsiteY38" fmla="*/ 165964 h 192881"/>
                <a:gd name="connsiteX39" fmla="*/ 170337 w 385762"/>
                <a:gd name="connsiteY39" fmla="*/ 153877 h 192881"/>
                <a:gd name="connsiteX40" fmla="*/ 193483 w 385762"/>
                <a:gd name="connsiteY40" fmla="*/ 152205 h 192881"/>
                <a:gd name="connsiteX41" fmla="*/ 218301 w 385762"/>
                <a:gd name="connsiteY41" fmla="*/ 126809 h 192881"/>
                <a:gd name="connsiteX42" fmla="*/ 185189 w 385762"/>
                <a:gd name="connsiteY42" fmla="*/ 119673 h 192881"/>
                <a:gd name="connsiteX43" fmla="*/ 213350 w 385762"/>
                <a:gd name="connsiteY43" fmla="*/ 112536 h 192881"/>
                <a:gd name="connsiteX44" fmla="*/ 228780 w 385762"/>
                <a:gd name="connsiteY44" fmla="*/ 100963 h 192881"/>
                <a:gd name="connsiteX45" fmla="*/ 253019 w 385762"/>
                <a:gd name="connsiteY45" fmla="*/ 102570 h 192881"/>
                <a:gd name="connsiteX46" fmla="*/ 263499 w 385762"/>
                <a:gd name="connsiteY46" fmla="*/ 91576 h 192881"/>
                <a:gd name="connsiteX47" fmla="*/ 302590 w 385762"/>
                <a:gd name="connsiteY47" fmla="*/ 71195 h 192881"/>
                <a:gd name="connsiteX48" fmla="*/ 343930 w 385762"/>
                <a:gd name="connsiteY48" fmla="*/ 53514 h 192881"/>
                <a:gd name="connsiteX49" fmla="*/ 307026 w 385762"/>
                <a:gd name="connsiteY49" fmla="*/ 51328 h 192881"/>
                <a:gd name="connsiteX50" fmla="*/ 336215 w 385762"/>
                <a:gd name="connsiteY50" fmla="*/ 44899 h 192881"/>
                <a:gd name="connsiteX51" fmla="*/ 374277 w 385762"/>
                <a:gd name="connsiteY51" fmla="*/ 33905 h 192881"/>
                <a:gd name="connsiteX52" fmla="*/ 377556 w 385762"/>
                <a:gd name="connsiteY52" fmla="*/ 21753 h 192881"/>
                <a:gd name="connsiteX53" fmla="*/ 358268 w 385762"/>
                <a:gd name="connsiteY53" fmla="*/ 14038 h 192881"/>
                <a:gd name="connsiteX54" fmla="*/ 343930 w 385762"/>
                <a:gd name="connsiteY54" fmla="*/ 10180 h 192881"/>
                <a:gd name="connsiteX55" fmla="*/ 315834 w 385762"/>
                <a:gd name="connsiteY55" fmla="*/ 14038 h 192881"/>
                <a:gd name="connsiteX56" fmla="*/ 320785 w 385762"/>
                <a:gd name="connsiteY56" fmla="*/ 6323 h 192881"/>
                <a:gd name="connsiteX57" fmla="*/ 277258 w 385762"/>
                <a:gd name="connsiteY57" fmla="*/ 1372 h 192881"/>
                <a:gd name="connsiteX58" fmla="*/ 255205 w 385762"/>
                <a:gd name="connsiteY58" fmla="*/ 3044 h 192881"/>
                <a:gd name="connsiteX59" fmla="*/ 233731 w 385762"/>
                <a:gd name="connsiteY59" fmla="*/ 6901 h 192881"/>
                <a:gd name="connsiteX60" fmla="*/ 224344 w 385762"/>
                <a:gd name="connsiteY60" fmla="*/ 6323 h 192881"/>
                <a:gd name="connsiteX61" fmla="*/ 193483 w 385762"/>
                <a:gd name="connsiteY61" fmla="*/ 5230 h 192881"/>
                <a:gd name="connsiteX62" fmla="*/ 174195 w 385762"/>
                <a:gd name="connsiteY62" fmla="*/ 9087 h 192881"/>
                <a:gd name="connsiteX63" fmla="*/ 151564 w 385762"/>
                <a:gd name="connsiteY63" fmla="*/ 7994 h 192881"/>
                <a:gd name="connsiteX64" fmla="*/ 145134 w 385762"/>
                <a:gd name="connsiteY64" fmla="*/ 11273 h 192881"/>
                <a:gd name="connsiteX65" fmla="*/ 137419 w 385762"/>
                <a:gd name="connsiteY65" fmla="*/ 17381 h 192881"/>
                <a:gd name="connsiteX66" fmla="*/ 116974 w 385762"/>
                <a:gd name="connsiteY66" fmla="*/ 21753 h 192881"/>
                <a:gd name="connsiteX67" fmla="*/ 102122 w 385762"/>
                <a:gd name="connsiteY67" fmla="*/ 25611 h 192881"/>
                <a:gd name="connsiteX68" fmla="*/ 80648 w 385762"/>
                <a:gd name="connsiteY68" fmla="*/ 23425 h 192881"/>
                <a:gd name="connsiteX69" fmla="*/ 68496 w 385762"/>
                <a:gd name="connsiteY69" fmla="*/ 30561 h 192881"/>
                <a:gd name="connsiteX70" fmla="*/ 60202 w 385762"/>
                <a:gd name="connsiteY70" fmla="*/ 36669 h 192881"/>
                <a:gd name="connsiteX71" fmla="*/ 40914 w 385762"/>
                <a:gd name="connsiteY71" fmla="*/ 33905 h 192881"/>
                <a:gd name="connsiteX72" fmla="*/ 31013 w 385762"/>
                <a:gd name="connsiteY72" fmla="*/ 41620 h 192881"/>
                <a:gd name="connsiteX73" fmla="*/ 4588 w 385762"/>
                <a:gd name="connsiteY73" fmla="*/ 43806 h 192881"/>
                <a:gd name="connsiteX74" fmla="*/ 13782 w 385762"/>
                <a:gd name="connsiteY74" fmla="*/ 46185 h 19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85762" h="192881">
                  <a:moveTo>
                    <a:pt x="13782" y="46185"/>
                  </a:moveTo>
                  <a:cubicBezTo>
                    <a:pt x="21497" y="41234"/>
                    <a:pt x="27605" y="44513"/>
                    <a:pt x="20983" y="47856"/>
                  </a:cubicBezTo>
                  <a:cubicBezTo>
                    <a:pt x="14361" y="51200"/>
                    <a:pt x="16547" y="53321"/>
                    <a:pt x="25934" y="52807"/>
                  </a:cubicBezTo>
                  <a:cubicBezTo>
                    <a:pt x="35320" y="52293"/>
                    <a:pt x="22076" y="55572"/>
                    <a:pt x="22076" y="61037"/>
                  </a:cubicBezTo>
                  <a:cubicBezTo>
                    <a:pt x="22076" y="66502"/>
                    <a:pt x="33070" y="63287"/>
                    <a:pt x="33649" y="68752"/>
                  </a:cubicBezTo>
                  <a:cubicBezTo>
                    <a:pt x="34227" y="74217"/>
                    <a:pt x="57888" y="76467"/>
                    <a:pt x="65088" y="69909"/>
                  </a:cubicBezTo>
                  <a:cubicBezTo>
                    <a:pt x="72289" y="63351"/>
                    <a:pt x="69460" y="71516"/>
                    <a:pt x="68946" y="75953"/>
                  </a:cubicBezTo>
                  <a:cubicBezTo>
                    <a:pt x="68432" y="80389"/>
                    <a:pt x="102572" y="84182"/>
                    <a:pt x="104179" y="78717"/>
                  </a:cubicBezTo>
                  <a:cubicBezTo>
                    <a:pt x="105786" y="73252"/>
                    <a:pt x="110608" y="75374"/>
                    <a:pt x="117424" y="77046"/>
                  </a:cubicBezTo>
                  <a:cubicBezTo>
                    <a:pt x="124239" y="78717"/>
                    <a:pt x="156578" y="71002"/>
                    <a:pt x="157093" y="64187"/>
                  </a:cubicBezTo>
                  <a:cubicBezTo>
                    <a:pt x="157607" y="57372"/>
                    <a:pt x="167573" y="67466"/>
                    <a:pt x="157093" y="74667"/>
                  </a:cubicBezTo>
                  <a:cubicBezTo>
                    <a:pt x="146613" y="81868"/>
                    <a:pt x="125717" y="80710"/>
                    <a:pt x="116331" y="83475"/>
                  </a:cubicBezTo>
                  <a:cubicBezTo>
                    <a:pt x="106944" y="86240"/>
                    <a:pt x="122374" y="92862"/>
                    <a:pt x="131761" y="99999"/>
                  </a:cubicBezTo>
                  <a:cubicBezTo>
                    <a:pt x="141148" y="107135"/>
                    <a:pt x="119610" y="103278"/>
                    <a:pt x="110801" y="93955"/>
                  </a:cubicBezTo>
                  <a:cubicBezTo>
                    <a:pt x="101993" y="84632"/>
                    <a:pt x="82126" y="84568"/>
                    <a:pt x="71646" y="85147"/>
                  </a:cubicBezTo>
                  <a:cubicBezTo>
                    <a:pt x="61167" y="85725"/>
                    <a:pt x="64510" y="104949"/>
                    <a:pt x="72225" y="104949"/>
                  </a:cubicBezTo>
                  <a:cubicBezTo>
                    <a:pt x="79940" y="104949"/>
                    <a:pt x="87656" y="107714"/>
                    <a:pt x="95371" y="119865"/>
                  </a:cubicBezTo>
                  <a:cubicBezTo>
                    <a:pt x="103086" y="132017"/>
                    <a:pt x="119610" y="129188"/>
                    <a:pt x="119610" y="134717"/>
                  </a:cubicBezTo>
                  <a:cubicBezTo>
                    <a:pt x="119610" y="140246"/>
                    <a:pt x="98135" y="130281"/>
                    <a:pt x="85984" y="128288"/>
                  </a:cubicBezTo>
                  <a:cubicBezTo>
                    <a:pt x="73832" y="126295"/>
                    <a:pt x="54609" y="133817"/>
                    <a:pt x="53837" y="142625"/>
                  </a:cubicBezTo>
                  <a:cubicBezTo>
                    <a:pt x="53065" y="151434"/>
                    <a:pt x="71454" y="150341"/>
                    <a:pt x="83605" y="143204"/>
                  </a:cubicBezTo>
                  <a:cubicBezTo>
                    <a:pt x="95757" y="136067"/>
                    <a:pt x="86948" y="145390"/>
                    <a:pt x="80840" y="150919"/>
                  </a:cubicBezTo>
                  <a:cubicBezTo>
                    <a:pt x="74733" y="156449"/>
                    <a:pt x="95178" y="160821"/>
                    <a:pt x="95178" y="167443"/>
                  </a:cubicBezTo>
                  <a:cubicBezTo>
                    <a:pt x="95178" y="174065"/>
                    <a:pt x="80326" y="171815"/>
                    <a:pt x="78654" y="165771"/>
                  </a:cubicBezTo>
                  <a:cubicBezTo>
                    <a:pt x="76983" y="159727"/>
                    <a:pt x="71454" y="153684"/>
                    <a:pt x="57180" y="154777"/>
                  </a:cubicBezTo>
                  <a:cubicBezTo>
                    <a:pt x="42907" y="155870"/>
                    <a:pt x="46700" y="165771"/>
                    <a:pt x="55509" y="166864"/>
                  </a:cubicBezTo>
                  <a:cubicBezTo>
                    <a:pt x="64317" y="167957"/>
                    <a:pt x="64896" y="174579"/>
                    <a:pt x="54930" y="174579"/>
                  </a:cubicBezTo>
                  <a:cubicBezTo>
                    <a:pt x="44965" y="174579"/>
                    <a:pt x="22783" y="181009"/>
                    <a:pt x="29598" y="187438"/>
                  </a:cubicBezTo>
                  <a:cubicBezTo>
                    <a:pt x="36413" y="193867"/>
                    <a:pt x="65410" y="187438"/>
                    <a:pt x="70361" y="191874"/>
                  </a:cubicBezTo>
                  <a:cubicBezTo>
                    <a:pt x="75311" y="196311"/>
                    <a:pt x="89134" y="197918"/>
                    <a:pt x="92413" y="192967"/>
                  </a:cubicBezTo>
                  <a:cubicBezTo>
                    <a:pt x="95692" y="188017"/>
                    <a:pt x="106751" y="190203"/>
                    <a:pt x="117809" y="190203"/>
                  </a:cubicBezTo>
                  <a:cubicBezTo>
                    <a:pt x="128868" y="190203"/>
                    <a:pt x="131568" y="191874"/>
                    <a:pt x="136519" y="196311"/>
                  </a:cubicBezTo>
                  <a:cubicBezTo>
                    <a:pt x="141469" y="200747"/>
                    <a:pt x="150278" y="199011"/>
                    <a:pt x="156386" y="194639"/>
                  </a:cubicBezTo>
                  <a:cubicBezTo>
                    <a:pt x="159973" y="191000"/>
                    <a:pt x="165110" y="189341"/>
                    <a:pt x="170144" y="190203"/>
                  </a:cubicBezTo>
                  <a:cubicBezTo>
                    <a:pt x="177860" y="190203"/>
                    <a:pt x="179531" y="185252"/>
                    <a:pt x="175674" y="179208"/>
                  </a:cubicBezTo>
                  <a:cubicBezTo>
                    <a:pt x="171816" y="173165"/>
                    <a:pt x="161851" y="183580"/>
                    <a:pt x="160758" y="179208"/>
                  </a:cubicBezTo>
                  <a:cubicBezTo>
                    <a:pt x="159407" y="173743"/>
                    <a:pt x="150278" y="172008"/>
                    <a:pt x="135040" y="174258"/>
                  </a:cubicBezTo>
                  <a:cubicBezTo>
                    <a:pt x="119802" y="176508"/>
                    <a:pt x="126232" y="164292"/>
                    <a:pt x="135619" y="167057"/>
                  </a:cubicBezTo>
                  <a:cubicBezTo>
                    <a:pt x="146382" y="169442"/>
                    <a:pt x="157575" y="169069"/>
                    <a:pt x="168151" y="165964"/>
                  </a:cubicBezTo>
                  <a:cubicBezTo>
                    <a:pt x="178631" y="163199"/>
                    <a:pt x="170337" y="158249"/>
                    <a:pt x="170337" y="153877"/>
                  </a:cubicBezTo>
                  <a:cubicBezTo>
                    <a:pt x="170337" y="149505"/>
                    <a:pt x="183582" y="152205"/>
                    <a:pt x="193483" y="152205"/>
                  </a:cubicBezTo>
                  <a:cubicBezTo>
                    <a:pt x="203384" y="152205"/>
                    <a:pt x="217722" y="136196"/>
                    <a:pt x="218301" y="126809"/>
                  </a:cubicBezTo>
                  <a:cubicBezTo>
                    <a:pt x="218879" y="117422"/>
                    <a:pt x="196248" y="119673"/>
                    <a:pt x="185189" y="119673"/>
                  </a:cubicBezTo>
                  <a:cubicBezTo>
                    <a:pt x="174131" y="119673"/>
                    <a:pt x="192390" y="111379"/>
                    <a:pt x="213350" y="112536"/>
                  </a:cubicBezTo>
                  <a:cubicBezTo>
                    <a:pt x="234310" y="113693"/>
                    <a:pt x="224923" y="104242"/>
                    <a:pt x="228780" y="100963"/>
                  </a:cubicBezTo>
                  <a:cubicBezTo>
                    <a:pt x="232638" y="97684"/>
                    <a:pt x="242539" y="104821"/>
                    <a:pt x="253019" y="102570"/>
                  </a:cubicBezTo>
                  <a:cubicBezTo>
                    <a:pt x="263499" y="100320"/>
                    <a:pt x="256298" y="91576"/>
                    <a:pt x="263499" y="91576"/>
                  </a:cubicBezTo>
                  <a:cubicBezTo>
                    <a:pt x="268578" y="91576"/>
                    <a:pt x="280022" y="83861"/>
                    <a:pt x="302590" y="71195"/>
                  </a:cubicBezTo>
                  <a:cubicBezTo>
                    <a:pt x="325157" y="58529"/>
                    <a:pt x="342837" y="60715"/>
                    <a:pt x="343930" y="53514"/>
                  </a:cubicBezTo>
                  <a:cubicBezTo>
                    <a:pt x="345023" y="46313"/>
                    <a:pt x="312555" y="53514"/>
                    <a:pt x="307026" y="51328"/>
                  </a:cubicBezTo>
                  <a:cubicBezTo>
                    <a:pt x="301497" y="49142"/>
                    <a:pt x="329593" y="43034"/>
                    <a:pt x="336215" y="44899"/>
                  </a:cubicBezTo>
                  <a:cubicBezTo>
                    <a:pt x="342837" y="46763"/>
                    <a:pt x="351646" y="44899"/>
                    <a:pt x="374277" y="33905"/>
                  </a:cubicBezTo>
                  <a:cubicBezTo>
                    <a:pt x="396909" y="22910"/>
                    <a:pt x="387136" y="20081"/>
                    <a:pt x="377556" y="21753"/>
                  </a:cubicBezTo>
                  <a:cubicBezTo>
                    <a:pt x="367976" y="23425"/>
                    <a:pt x="357754" y="20081"/>
                    <a:pt x="358268" y="14038"/>
                  </a:cubicBezTo>
                  <a:cubicBezTo>
                    <a:pt x="358782" y="7994"/>
                    <a:pt x="344509" y="13524"/>
                    <a:pt x="343930" y="10180"/>
                  </a:cubicBezTo>
                  <a:cubicBezTo>
                    <a:pt x="343352" y="6837"/>
                    <a:pt x="330172" y="8509"/>
                    <a:pt x="315834" y="14038"/>
                  </a:cubicBezTo>
                  <a:cubicBezTo>
                    <a:pt x="301497" y="19567"/>
                    <a:pt x="314741" y="8509"/>
                    <a:pt x="320785" y="6323"/>
                  </a:cubicBezTo>
                  <a:cubicBezTo>
                    <a:pt x="326828" y="4137"/>
                    <a:pt x="284394" y="6323"/>
                    <a:pt x="277258" y="1372"/>
                  </a:cubicBezTo>
                  <a:cubicBezTo>
                    <a:pt x="270121" y="-3579"/>
                    <a:pt x="261827" y="9666"/>
                    <a:pt x="255205" y="3044"/>
                  </a:cubicBezTo>
                  <a:cubicBezTo>
                    <a:pt x="248583" y="-3579"/>
                    <a:pt x="231545" y="1951"/>
                    <a:pt x="233731" y="6901"/>
                  </a:cubicBezTo>
                  <a:cubicBezTo>
                    <a:pt x="235917" y="11852"/>
                    <a:pt x="230966" y="11852"/>
                    <a:pt x="224344" y="6323"/>
                  </a:cubicBezTo>
                  <a:cubicBezTo>
                    <a:pt x="217722" y="793"/>
                    <a:pt x="205056" y="6901"/>
                    <a:pt x="193483" y="5230"/>
                  </a:cubicBezTo>
                  <a:cubicBezTo>
                    <a:pt x="181910" y="3558"/>
                    <a:pt x="187054" y="14617"/>
                    <a:pt x="174195" y="9087"/>
                  </a:cubicBezTo>
                  <a:cubicBezTo>
                    <a:pt x="161336" y="3558"/>
                    <a:pt x="147770" y="6323"/>
                    <a:pt x="151564" y="7994"/>
                  </a:cubicBezTo>
                  <a:cubicBezTo>
                    <a:pt x="155357" y="9666"/>
                    <a:pt x="150471" y="12945"/>
                    <a:pt x="145134" y="11273"/>
                  </a:cubicBezTo>
                  <a:cubicBezTo>
                    <a:pt x="139798" y="9602"/>
                    <a:pt x="134654" y="11852"/>
                    <a:pt x="137419" y="17381"/>
                  </a:cubicBezTo>
                  <a:cubicBezTo>
                    <a:pt x="140184" y="22910"/>
                    <a:pt x="116974" y="15709"/>
                    <a:pt x="116974" y="21753"/>
                  </a:cubicBezTo>
                  <a:cubicBezTo>
                    <a:pt x="116974" y="27797"/>
                    <a:pt x="108744" y="31140"/>
                    <a:pt x="102122" y="25611"/>
                  </a:cubicBezTo>
                  <a:cubicBezTo>
                    <a:pt x="95499" y="20081"/>
                    <a:pt x="74540" y="18474"/>
                    <a:pt x="80648" y="23425"/>
                  </a:cubicBezTo>
                  <a:cubicBezTo>
                    <a:pt x="86755" y="28375"/>
                    <a:pt x="61874" y="25611"/>
                    <a:pt x="68496" y="30561"/>
                  </a:cubicBezTo>
                  <a:cubicBezTo>
                    <a:pt x="75118" y="35512"/>
                    <a:pt x="60202" y="39370"/>
                    <a:pt x="60202" y="36669"/>
                  </a:cubicBezTo>
                  <a:cubicBezTo>
                    <a:pt x="60202" y="33969"/>
                    <a:pt x="46443" y="28954"/>
                    <a:pt x="40914" y="33905"/>
                  </a:cubicBezTo>
                  <a:cubicBezTo>
                    <a:pt x="35385" y="38855"/>
                    <a:pt x="33777" y="44899"/>
                    <a:pt x="31013" y="41620"/>
                  </a:cubicBezTo>
                  <a:cubicBezTo>
                    <a:pt x="28248" y="38341"/>
                    <a:pt x="16161" y="39370"/>
                    <a:pt x="4588" y="43806"/>
                  </a:cubicBezTo>
                  <a:cubicBezTo>
                    <a:pt x="-6985" y="48242"/>
                    <a:pt x="6067" y="51135"/>
                    <a:pt x="13782" y="46185"/>
                  </a:cubicBezTo>
                  <a:close/>
                </a:path>
              </a:pathLst>
            </a:custGeom>
            <a:solidFill>
              <a:srgbClr val="001669"/>
            </a:solidFill>
            <a:ln w="6429" cap="flat">
              <a:noFill/>
              <a:prstDash val="solid"/>
              <a:miter/>
            </a:ln>
          </p:spPr>
          <p:txBody>
            <a:bodyPr rtlCol="0" anchor="ctr"/>
            <a:lstStyle/>
            <a:p>
              <a:endParaRPr lang="en-GB" sz="2400"/>
            </a:p>
          </p:txBody>
        </p:sp>
        <p:sp>
          <p:nvSpPr>
            <p:cNvPr id="240" name="Freeform 30">
              <a:extLst>
                <a:ext uri="{FF2B5EF4-FFF2-40B4-BE49-F238E27FC236}">
                  <a16:creationId xmlns:a16="http://schemas.microsoft.com/office/drawing/2014/main" id="{B759D0A5-018D-42A5-999A-95871411ABBD}"/>
                </a:ext>
              </a:extLst>
            </p:cNvPr>
            <p:cNvSpPr/>
            <p:nvPr/>
          </p:nvSpPr>
          <p:spPr>
            <a:xfrm>
              <a:off x="3088388" y="1751179"/>
              <a:ext cx="12859" cy="6429"/>
            </a:xfrm>
            <a:custGeom>
              <a:avLst/>
              <a:gdLst>
                <a:gd name="connsiteX0" fmla="*/ 12181 w 12858"/>
                <a:gd name="connsiteY0" fmla="*/ 8989 h 6429"/>
                <a:gd name="connsiteX1" fmla="*/ 608 w 12858"/>
                <a:gd name="connsiteY1" fmla="*/ 2945 h 6429"/>
                <a:gd name="connsiteX2" fmla="*/ 12181 w 12858"/>
                <a:gd name="connsiteY2" fmla="*/ 8989 h 6429"/>
              </a:gdLst>
              <a:ahLst/>
              <a:cxnLst>
                <a:cxn ang="0">
                  <a:pos x="connsiteX0" y="connsiteY0"/>
                </a:cxn>
                <a:cxn ang="0">
                  <a:pos x="connsiteX1" y="connsiteY1"/>
                </a:cxn>
                <a:cxn ang="0">
                  <a:pos x="connsiteX2" y="connsiteY2"/>
                </a:cxn>
              </a:cxnLst>
              <a:rect l="l" t="t" r="r" b="b"/>
              <a:pathLst>
                <a:path w="12858" h="6429">
                  <a:moveTo>
                    <a:pt x="12181" y="8989"/>
                  </a:moveTo>
                  <a:cubicBezTo>
                    <a:pt x="16039" y="4617"/>
                    <a:pt x="3887" y="-4770"/>
                    <a:pt x="608" y="2945"/>
                  </a:cubicBezTo>
                  <a:cubicBezTo>
                    <a:pt x="-2671" y="10660"/>
                    <a:pt x="8195" y="13489"/>
                    <a:pt x="12181" y="8989"/>
                  </a:cubicBezTo>
                  <a:close/>
                </a:path>
              </a:pathLst>
            </a:custGeom>
            <a:solidFill>
              <a:srgbClr val="001669"/>
            </a:solidFill>
            <a:ln w="6429" cap="flat">
              <a:noFill/>
              <a:prstDash val="solid"/>
              <a:miter/>
            </a:ln>
          </p:spPr>
          <p:txBody>
            <a:bodyPr rtlCol="0" anchor="ctr"/>
            <a:lstStyle/>
            <a:p>
              <a:endParaRPr lang="en-GB" sz="2400"/>
            </a:p>
          </p:txBody>
        </p:sp>
        <p:sp>
          <p:nvSpPr>
            <p:cNvPr id="241" name="Freeform 31">
              <a:extLst>
                <a:ext uri="{FF2B5EF4-FFF2-40B4-BE49-F238E27FC236}">
                  <a16:creationId xmlns:a16="http://schemas.microsoft.com/office/drawing/2014/main" id="{84AE1D10-811C-47EA-BF0B-54B6C585F320}"/>
                </a:ext>
              </a:extLst>
            </p:cNvPr>
            <p:cNvSpPr/>
            <p:nvPr/>
          </p:nvSpPr>
          <p:spPr>
            <a:xfrm>
              <a:off x="2908724" y="1793248"/>
              <a:ext cx="225028" cy="115729"/>
            </a:xfrm>
            <a:custGeom>
              <a:avLst/>
              <a:gdLst>
                <a:gd name="connsiteX0" fmla="*/ 208369 w 225028"/>
                <a:gd name="connsiteY0" fmla="*/ 91457 h 115728"/>
                <a:gd name="connsiteX1" fmla="*/ 225986 w 225028"/>
                <a:gd name="connsiteY1" fmla="*/ 90942 h 115728"/>
                <a:gd name="connsiteX2" fmla="*/ 203933 w 225028"/>
                <a:gd name="connsiteY2" fmla="*/ 74419 h 115728"/>
                <a:gd name="connsiteX3" fmla="*/ 184130 w 225028"/>
                <a:gd name="connsiteY3" fmla="*/ 64453 h 115728"/>
                <a:gd name="connsiteX4" fmla="*/ 179116 w 225028"/>
                <a:gd name="connsiteY4" fmla="*/ 46837 h 115728"/>
                <a:gd name="connsiteX5" fmla="*/ 174165 w 225028"/>
                <a:gd name="connsiteY5" fmla="*/ 18740 h 115728"/>
                <a:gd name="connsiteX6" fmla="*/ 175837 w 225028"/>
                <a:gd name="connsiteY6" fmla="*/ 1124 h 115728"/>
                <a:gd name="connsiteX7" fmla="*/ 151598 w 225028"/>
                <a:gd name="connsiteY7" fmla="*/ 6589 h 115728"/>
                <a:gd name="connsiteX8" fmla="*/ 167028 w 225028"/>
                <a:gd name="connsiteY8" fmla="*/ 19833 h 115728"/>
                <a:gd name="connsiteX9" fmla="*/ 149926 w 225028"/>
                <a:gd name="connsiteY9" fmla="*/ 13404 h 115728"/>
                <a:gd name="connsiteX10" fmla="*/ 136682 w 225028"/>
                <a:gd name="connsiteY10" fmla="*/ 13404 h 115728"/>
                <a:gd name="connsiteX11" fmla="*/ 144976 w 225028"/>
                <a:gd name="connsiteY11" fmla="*/ 43751 h 115728"/>
                <a:gd name="connsiteX12" fmla="*/ 137260 w 225028"/>
                <a:gd name="connsiteY12" fmla="*/ 50180 h 115728"/>
                <a:gd name="connsiteX13" fmla="*/ 127873 w 225028"/>
                <a:gd name="connsiteY13" fmla="*/ 28706 h 115728"/>
                <a:gd name="connsiteX14" fmla="*/ 104728 w 225028"/>
                <a:gd name="connsiteY14" fmla="*/ 19898 h 115728"/>
                <a:gd name="connsiteX15" fmla="*/ 114115 w 225028"/>
                <a:gd name="connsiteY15" fmla="*/ 30378 h 115728"/>
                <a:gd name="connsiteX16" fmla="*/ 99777 w 225028"/>
                <a:gd name="connsiteY16" fmla="*/ 31470 h 115728"/>
                <a:gd name="connsiteX17" fmla="*/ 95919 w 225028"/>
                <a:gd name="connsiteY17" fmla="*/ 28191 h 115728"/>
                <a:gd name="connsiteX18" fmla="*/ 76053 w 225028"/>
                <a:gd name="connsiteY18" fmla="*/ 18805 h 115728"/>
                <a:gd name="connsiteX19" fmla="*/ 67823 w 225028"/>
                <a:gd name="connsiteY19" fmla="*/ 30378 h 115728"/>
                <a:gd name="connsiteX20" fmla="*/ 58436 w 225028"/>
                <a:gd name="connsiteY20" fmla="*/ 26520 h 115728"/>
                <a:gd name="connsiteX21" fmla="*/ 60622 w 225028"/>
                <a:gd name="connsiteY21" fmla="*/ 12182 h 115728"/>
                <a:gd name="connsiteX22" fmla="*/ 29247 w 225028"/>
                <a:gd name="connsiteY22" fmla="*/ 19319 h 115728"/>
                <a:gd name="connsiteX23" fmla="*/ 6615 w 225028"/>
                <a:gd name="connsiteY23" fmla="*/ 32563 h 115728"/>
                <a:gd name="connsiteX24" fmla="*/ 2758 w 225028"/>
                <a:gd name="connsiteY24" fmla="*/ 41372 h 115728"/>
                <a:gd name="connsiteX25" fmla="*/ 8801 w 225028"/>
                <a:gd name="connsiteY25" fmla="*/ 51852 h 115728"/>
                <a:gd name="connsiteX26" fmla="*/ 13816 w 225028"/>
                <a:gd name="connsiteY26" fmla="*/ 57959 h 115728"/>
                <a:gd name="connsiteX27" fmla="*/ 43006 w 225028"/>
                <a:gd name="connsiteY27" fmla="*/ 54102 h 115728"/>
                <a:gd name="connsiteX28" fmla="*/ 10473 w 225028"/>
                <a:gd name="connsiteY28" fmla="*/ 66960 h 115728"/>
                <a:gd name="connsiteX29" fmla="*/ 46863 w 225028"/>
                <a:gd name="connsiteY29" fmla="*/ 74676 h 115728"/>
                <a:gd name="connsiteX30" fmla="*/ 89297 w 225028"/>
                <a:gd name="connsiteY30" fmla="*/ 80719 h 115728"/>
                <a:gd name="connsiteX31" fmla="*/ 57150 w 225028"/>
                <a:gd name="connsiteY31" fmla="*/ 82905 h 115728"/>
                <a:gd name="connsiteX32" fmla="*/ 20760 w 225028"/>
                <a:gd name="connsiteY32" fmla="*/ 91199 h 115728"/>
                <a:gd name="connsiteX33" fmla="*/ 37862 w 225028"/>
                <a:gd name="connsiteY33" fmla="*/ 102772 h 115728"/>
                <a:gd name="connsiteX34" fmla="*/ 66537 w 225028"/>
                <a:gd name="connsiteY34" fmla="*/ 108816 h 115728"/>
                <a:gd name="connsiteX35" fmla="*/ 93541 w 225028"/>
                <a:gd name="connsiteY35" fmla="*/ 120967 h 115728"/>
                <a:gd name="connsiteX36" fmla="*/ 131024 w 225028"/>
                <a:gd name="connsiteY36" fmla="*/ 112673 h 115728"/>
                <a:gd name="connsiteX37" fmla="*/ 149155 w 225028"/>
                <a:gd name="connsiteY37" fmla="*/ 104958 h 115728"/>
                <a:gd name="connsiteX38" fmla="*/ 158542 w 225028"/>
                <a:gd name="connsiteY38" fmla="*/ 105537 h 115728"/>
                <a:gd name="connsiteX39" fmla="*/ 174551 w 225028"/>
                <a:gd name="connsiteY39" fmla="*/ 111002 h 115728"/>
                <a:gd name="connsiteX40" fmla="*/ 213641 w 225028"/>
                <a:gd name="connsiteY40" fmla="*/ 111580 h 115728"/>
                <a:gd name="connsiteX41" fmla="*/ 205412 w 225028"/>
                <a:gd name="connsiteY41" fmla="*/ 100586 h 115728"/>
                <a:gd name="connsiteX42" fmla="*/ 196025 w 225028"/>
                <a:gd name="connsiteY42" fmla="*/ 100008 h 115728"/>
                <a:gd name="connsiteX43" fmla="*/ 208369 w 225028"/>
                <a:gd name="connsiteY43" fmla="*/ 91457 h 11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25028" h="115728">
                  <a:moveTo>
                    <a:pt x="208369" y="91457"/>
                  </a:moveTo>
                  <a:cubicBezTo>
                    <a:pt x="211648" y="87599"/>
                    <a:pt x="225407" y="99172"/>
                    <a:pt x="225986" y="90942"/>
                  </a:cubicBezTo>
                  <a:cubicBezTo>
                    <a:pt x="226564" y="82713"/>
                    <a:pt x="210555" y="78791"/>
                    <a:pt x="203933" y="74419"/>
                  </a:cubicBezTo>
                  <a:cubicBezTo>
                    <a:pt x="197311" y="70047"/>
                    <a:pt x="194546" y="72168"/>
                    <a:pt x="184130" y="64453"/>
                  </a:cubicBezTo>
                  <a:cubicBezTo>
                    <a:pt x="173715" y="56738"/>
                    <a:pt x="186831" y="52880"/>
                    <a:pt x="179116" y="46837"/>
                  </a:cubicBezTo>
                  <a:cubicBezTo>
                    <a:pt x="171400" y="40793"/>
                    <a:pt x="168700" y="24270"/>
                    <a:pt x="174165" y="18740"/>
                  </a:cubicBezTo>
                  <a:cubicBezTo>
                    <a:pt x="179630" y="13211"/>
                    <a:pt x="185738" y="4981"/>
                    <a:pt x="175837" y="1124"/>
                  </a:cubicBezTo>
                  <a:cubicBezTo>
                    <a:pt x="165935" y="-2734"/>
                    <a:pt x="150119" y="4403"/>
                    <a:pt x="151598" y="6589"/>
                  </a:cubicBezTo>
                  <a:cubicBezTo>
                    <a:pt x="153077" y="8775"/>
                    <a:pt x="167028" y="16554"/>
                    <a:pt x="167028" y="19833"/>
                  </a:cubicBezTo>
                  <a:cubicBezTo>
                    <a:pt x="167028" y="23112"/>
                    <a:pt x="154170" y="10446"/>
                    <a:pt x="149926" y="13404"/>
                  </a:cubicBezTo>
                  <a:cubicBezTo>
                    <a:pt x="145683" y="16361"/>
                    <a:pt x="140539" y="7875"/>
                    <a:pt x="136682" y="13404"/>
                  </a:cubicBezTo>
                  <a:cubicBezTo>
                    <a:pt x="132824" y="18933"/>
                    <a:pt x="141632" y="38221"/>
                    <a:pt x="144976" y="43751"/>
                  </a:cubicBezTo>
                  <a:cubicBezTo>
                    <a:pt x="148319" y="49280"/>
                    <a:pt x="141632" y="49216"/>
                    <a:pt x="137260" y="50180"/>
                  </a:cubicBezTo>
                  <a:cubicBezTo>
                    <a:pt x="132888" y="51144"/>
                    <a:pt x="132310" y="34749"/>
                    <a:pt x="127873" y="28706"/>
                  </a:cubicBezTo>
                  <a:cubicBezTo>
                    <a:pt x="123437" y="22662"/>
                    <a:pt x="105821" y="15461"/>
                    <a:pt x="104728" y="19898"/>
                  </a:cubicBezTo>
                  <a:cubicBezTo>
                    <a:pt x="103635" y="24334"/>
                    <a:pt x="115786" y="24334"/>
                    <a:pt x="114115" y="30378"/>
                  </a:cubicBezTo>
                  <a:cubicBezTo>
                    <a:pt x="112443" y="36421"/>
                    <a:pt x="105821" y="26520"/>
                    <a:pt x="99777" y="31470"/>
                  </a:cubicBezTo>
                  <a:cubicBezTo>
                    <a:pt x="93733" y="36421"/>
                    <a:pt x="94826" y="33142"/>
                    <a:pt x="95919" y="28191"/>
                  </a:cubicBezTo>
                  <a:cubicBezTo>
                    <a:pt x="97012" y="23241"/>
                    <a:pt x="87111" y="17712"/>
                    <a:pt x="76053" y="18805"/>
                  </a:cubicBezTo>
                  <a:cubicBezTo>
                    <a:pt x="64994" y="19898"/>
                    <a:pt x="71102" y="27613"/>
                    <a:pt x="67823" y="30378"/>
                  </a:cubicBezTo>
                  <a:cubicBezTo>
                    <a:pt x="64544" y="33142"/>
                    <a:pt x="47956" y="28706"/>
                    <a:pt x="58436" y="26520"/>
                  </a:cubicBezTo>
                  <a:cubicBezTo>
                    <a:pt x="68916" y="24334"/>
                    <a:pt x="64480" y="18226"/>
                    <a:pt x="60622" y="12182"/>
                  </a:cubicBezTo>
                  <a:cubicBezTo>
                    <a:pt x="56765" y="6139"/>
                    <a:pt x="46285" y="13275"/>
                    <a:pt x="29247" y="19319"/>
                  </a:cubicBezTo>
                  <a:cubicBezTo>
                    <a:pt x="12209" y="25362"/>
                    <a:pt x="4429" y="32178"/>
                    <a:pt x="6615" y="32563"/>
                  </a:cubicBezTo>
                  <a:cubicBezTo>
                    <a:pt x="8801" y="32949"/>
                    <a:pt x="9380" y="35907"/>
                    <a:pt x="2758" y="41372"/>
                  </a:cubicBezTo>
                  <a:cubicBezTo>
                    <a:pt x="-3864" y="46837"/>
                    <a:pt x="2758" y="51852"/>
                    <a:pt x="8801" y="51852"/>
                  </a:cubicBezTo>
                  <a:cubicBezTo>
                    <a:pt x="14845" y="51852"/>
                    <a:pt x="9573" y="56738"/>
                    <a:pt x="13816" y="57959"/>
                  </a:cubicBezTo>
                  <a:cubicBezTo>
                    <a:pt x="18060" y="59181"/>
                    <a:pt x="37476" y="50180"/>
                    <a:pt x="43006" y="54102"/>
                  </a:cubicBezTo>
                  <a:cubicBezTo>
                    <a:pt x="48535" y="58024"/>
                    <a:pt x="10473" y="60145"/>
                    <a:pt x="10473" y="66960"/>
                  </a:cubicBezTo>
                  <a:cubicBezTo>
                    <a:pt x="10473" y="73776"/>
                    <a:pt x="31433" y="77440"/>
                    <a:pt x="46863" y="74676"/>
                  </a:cubicBezTo>
                  <a:cubicBezTo>
                    <a:pt x="62294" y="71911"/>
                    <a:pt x="89297" y="76862"/>
                    <a:pt x="89297" y="80719"/>
                  </a:cubicBezTo>
                  <a:cubicBezTo>
                    <a:pt x="89297" y="84577"/>
                    <a:pt x="71102" y="83484"/>
                    <a:pt x="57150" y="82905"/>
                  </a:cubicBezTo>
                  <a:cubicBezTo>
                    <a:pt x="43199" y="82327"/>
                    <a:pt x="19667" y="86763"/>
                    <a:pt x="20760" y="91199"/>
                  </a:cubicBezTo>
                  <a:cubicBezTo>
                    <a:pt x="21853" y="95636"/>
                    <a:pt x="23525" y="96150"/>
                    <a:pt x="37862" y="102772"/>
                  </a:cubicBezTo>
                  <a:cubicBezTo>
                    <a:pt x="52200" y="109394"/>
                    <a:pt x="67052" y="99429"/>
                    <a:pt x="66537" y="108816"/>
                  </a:cubicBezTo>
                  <a:cubicBezTo>
                    <a:pt x="66023" y="118203"/>
                    <a:pt x="74252" y="120389"/>
                    <a:pt x="93541" y="120967"/>
                  </a:cubicBezTo>
                  <a:cubicBezTo>
                    <a:pt x="112829" y="121546"/>
                    <a:pt x="121637" y="112159"/>
                    <a:pt x="131024" y="112673"/>
                  </a:cubicBezTo>
                  <a:cubicBezTo>
                    <a:pt x="140411" y="113188"/>
                    <a:pt x="144783" y="111580"/>
                    <a:pt x="149155" y="104958"/>
                  </a:cubicBezTo>
                  <a:cubicBezTo>
                    <a:pt x="153527" y="98336"/>
                    <a:pt x="157449" y="102194"/>
                    <a:pt x="158542" y="105537"/>
                  </a:cubicBezTo>
                  <a:cubicBezTo>
                    <a:pt x="159635" y="108880"/>
                    <a:pt x="171786" y="108302"/>
                    <a:pt x="174551" y="111002"/>
                  </a:cubicBezTo>
                  <a:cubicBezTo>
                    <a:pt x="181559" y="118074"/>
                    <a:pt x="204833" y="116017"/>
                    <a:pt x="213641" y="111580"/>
                  </a:cubicBezTo>
                  <a:cubicBezTo>
                    <a:pt x="222450" y="107144"/>
                    <a:pt x="209784" y="95057"/>
                    <a:pt x="205412" y="100586"/>
                  </a:cubicBezTo>
                  <a:cubicBezTo>
                    <a:pt x="201040" y="106116"/>
                    <a:pt x="197118" y="102772"/>
                    <a:pt x="196025" y="100008"/>
                  </a:cubicBezTo>
                  <a:cubicBezTo>
                    <a:pt x="194932" y="97243"/>
                    <a:pt x="205026" y="95314"/>
                    <a:pt x="208369" y="91457"/>
                  </a:cubicBezTo>
                  <a:close/>
                </a:path>
              </a:pathLst>
            </a:custGeom>
            <a:solidFill>
              <a:srgbClr val="001669"/>
            </a:solidFill>
            <a:ln w="6429" cap="flat">
              <a:noFill/>
              <a:prstDash val="solid"/>
              <a:miter/>
            </a:ln>
          </p:spPr>
          <p:txBody>
            <a:bodyPr rtlCol="0" anchor="ctr"/>
            <a:lstStyle/>
            <a:p>
              <a:endParaRPr lang="en-GB" sz="2400"/>
            </a:p>
          </p:txBody>
        </p:sp>
        <p:sp>
          <p:nvSpPr>
            <p:cNvPr id="242" name="Freeform 32">
              <a:extLst>
                <a:ext uri="{FF2B5EF4-FFF2-40B4-BE49-F238E27FC236}">
                  <a16:creationId xmlns:a16="http://schemas.microsoft.com/office/drawing/2014/main" id="{306BC507-095C-4480-A3A5-4C60F9F18096}"/>
                </a:ext>
              </a:extLst>
            </p:cNvPr>
            <p:cNvSpPr/>
            <p:nvPr/>
          </p:nvSpPr>
          <p:spPr>
            <a:xfrm>
              <a:off x="3113960" y="1782951"/>
              <a:ext cx="77153" cy="64294"/>
            </a:xfrm>
            <a:custGeom>
              <a:avLst/>
              <a:gdLst>
                <a:gd name="connsiteX0" fmla="*/ 40037 w 77152"/>
                <a:gd name="connsiteY0" fmla="*/ 66521 h 64293"/>
                <a:gd name="connsiteX1" fmla="*/ 62090 w 77152"/>
                <a:gd name="connsiteY1" fmla="*/ 60092 h 64293"/>
                <a:gd name="connsiteX2" fmla="*/ 78613 w 77152"/>
                <a:gd name="connsiteY2" fmla="*/ 29809 h 64293"/>
                <a:gd name="connsiteX3" fmla="*/ 70898 w 77152"/>
                <a:gd name="connsiteY3" fmla="*/ 28138 h 64293"/>
                <a:gd name="connsiteX4" fmla="*/ 69227 w 77152"/>
                <a:gd name="connsiteY4" fmla="*/ 33088 h 64293"/>
                <a:gd name="connsiteX5" fmla="*/ 53796 w 77152"/>
                <a:gd name="connsiteY5" fmla="*/ 27045 h 64293"/>
                <a:gd name="connsiteX6" fmla="*/ 69805 w 77152"/>
                <a:gd name="connsiteY6" fmla="*/ 13800 h 64293"/>
                <a:gd name="connsiteX7" fmla="*/ 60997 w 77152"/>
                <a:gd name="connsiteY7" fmla="*/ 2227 h 64293"/>
                <a:gd name="connsiteX8" fmla="*/ 44988 w 77152"/>
                <a:gd name="connsiteY8" fmla="*/ 6085 h 64293"/>
                <a:gd name="connsiteX9" fmla="*/ 37851 w 77152"/>
                <a:gd name="connsiteY9" fmla="*/ 8335 h 64293"/>
                <a:gd name="connsiteX10" fmla="*/ 16313 w 77152"/>
                <a:gd name="connsiteY10" fmla="*/ 18236 h 64293"/>
                <a:gd name="connsiteX11" fmla="*/ 30136 w 77152"/>
                <a:gd name="connsiteY11" fmla="*/ 29231 h 64293"/>
                <a:gd name="connsiteX12" fmla="*/ 5319 w 77152"/>
                <a:gd name="connsiteY12" fmla="*/ 27045 h 64293"/>
                <a:gd name="connsiteX13" fmla="*/ 14705 w 77152"/>
                <a:gd name="connsiteY13" fmla="*/ 45240 h 64293"/>
                <a:gd name="connsiteX14" fmla="*/ 40037 w 77152"/>
                <a:gd name="connsiteY14" fmla="*/ 66521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152" h="64293">
                  <a:moveTo>
                    <a:pt x="40037" y="66521"/>
                  </a:moveTo>
                  <a:cubicBezTo>
                    <a:pt x="52189" y="74751"/>
                    <a:pt x="48331" y="60092"/>
                    <a:pt x="62090" y="60092"/>
                  </a:cubicBezTo>
                  <a:cubicBezTo>
                    <a:pt x="75849" y="60092"/>
                    <a:pt x="76427" y="38103"/>
                    <a:pt x="78613" y="29809"/>
                  </a:cubicBezTo>
                  <a:cubicBezTo>
                    <a:pt x="80799" y="21515"/>
                    <a:pt x="67619" y="22094"/>
                    <a:pt x="70898" y="28138"/>
                  </a:cubicBezTo>
                  <a:cubicBezTo>
                    <a:pt x="74177" y="34181"/>
                    <a:pt x="70384" y="40289"/>
                    <a:pt x="69227" y="33088"/>
                  </a:cubicBezTo>
                  <a:cubicBezTo>
                    <a:pt x="68069" y="25887"/>
                    <a:pt x="57654" y="32574"/>
                    <a:pt x="53796" y="27045"/>
                  </a:cubicBezTo>
                  <a:cubicBezTo>
                    <a:pt x="49938" y="21515"/>
                    <a:pt x="65948" y="21001"/>
                    <a:pt x="69805" y="13800"/>
                  </a:cubicBezTo>
                  <a:cubicBezTo>
                    <a:pt x="73663" y="6599"/>
                    <a:pt x="56946" y="7756"/>
                    <a:pt x="60997" y="2227"/>
                  </a:cubicBezTo>
                  <a:cubicBezTo>
                    <a:pt x="65047" y="-3302"/>
                    <a:pt x="36758" y="2806"/>
                    <a:pt x="44988" y="6085"/>
                  </a:cubicBezTo>
                  <a:cubicBezTo>
                    <a:pt x="53217" y="9364"/>
                    <a:pt x="45566" y="13800"/>
                    <a:pt x="37851" y="8335"/>
                  </a:cubicBezTo>
                  <a:cubicBezTo>
                    <a:pt x="30136" y="2870"/>
                    <a:pt x="8726" y="12000"/>
                    <a:pt x="16313" y="18236"/>
                  </a:cubicBezTo>
                  <a:cubicBezTo>
                    <a:pt x="22742" y="23187"/>
                    <a:pt x="40616" y="14957"/>
                    <a:pt x="30136" y="29231"/>
                  </a:cubicBezTo>
                  <a:cubicBezTo>
                    <a:pt x="19656" y="43504"/>
                    <a:pt x="15220" y="25373"/>
                    <a:pt x="5319" y="27045"/>
                  </a:cubicBezTo>
                  <a:cubicBezTo>
                    <a:pt x="-4583" y="28716"/>
                    <a:pt x="-211" y="40804"/>
                    <a:pt x="14705" y="45240"/>
                  </a:cubicBezTo>
                  <a:cubicBezTo>
                    <a:pt x="29622" y="49676"/>
                    <a:pt x="27886" y="58227"/>
                    <a:pt x="40037" y="66521"/>
                  </a:cubicBezTo>
                  <a:close/>
                </a:path>
              </a:pathLst>
            </a:custGeom>
            <a:solidFill>
              <a:srgbClr val="001669"/>
            </a:solidFill>
            <a:ln w="6429" cap="flat">
              <a:noFill/>
              <a:prstDash val="solid"/>
              <a:miter/>
            </a:ln>
          </p:spPr>
          <p:txBody>
            <a:bodyPr rtlCol="0" anchor="ctr"/>
            <a:lstStyle/>
            <a:p>
              <a:endParaRPr lang="en-GB" sz="2400"/>
            </a:p>
          </p:txBody>
        </p:sp>
        <p:sp>
          <p:nvSpPr>
            <p:cNvPr id="243" name="Freeform 33">
              <a:extLst>
                <a:ext uri="{FF2B5EF4-FFF2-40B4-BE49-F238E27FC236}">
                  <a16:creationId xmlns:a16="http://schemas.microsoft.com/office/drawing/2014/main" id="{95439840-771C-48CE-B536-94ED9E2E7A2C}"/>
                </a:ext>
              </a:extLst>
            </p:cNvPr>
            <p:cNvSpPr/>
            <p:nvPr/>
          </p:nvSpPr>
          <p:spPr>
            <a:xfrm>
              <a:off x="3347403" y="2028722"/>
              <a:ext cx="19288" cy="12859"/>
            </a:xfrm>
            <a:custGeom>
              <a:avLst/>
              <a:gdLst>
                <a:gd name="connsiteX0" fmla="*/ 2239 w 19288"/>
                <a:gd name="connsiteY0" fmla="*/ 14725 h 12858"/>
                <a:gd name="connsiteX1" fmla="*/ 23199 w 19288"/>
                <a:gd name="connsiteY1" fmla="*/ 966 h 12858"/>
                <a:gd name="connsiteX2" fmla="*/ 2239 w 19288"/>
                <a:gd name="connsiteY2" fmla="*/ 14725 h 12858"/>
              </a:gdLst>
              <a:ahLst/>
              <a:cxnLst>
                <a:cxn ang="0">
                  <a:pos x="connsiteX0" y="connsiteY0"/>
                </a:cxn>
                <a:cxn ang="0">
                  <a:pos x="connsiteX1" y="connsiteY1"/>
                </a:cxn>
                <a:cxn ang="0">
                  <a:pos x="connsiteX2" y="connsiteY2"/>
                </a:cxn>
              </a:cxnLst>
              <a:rect l="l" t="t" r="r" b="b"/>
              <a:pathLst>
                <a:path w="19288" h="12858">
                  <a:moveTo>
                    <a:pt x="2239" y="14725"/>
                  </a:moveTo>
                  <a:cubicBezTo>
                    <a:pt x="11047" y="20254"/>
                    <a:pt x="24292" y="5338"/>
                    <a:pt x="23199" y="966"/>
                  </a:cubicBezTo>
                  <a:cubicBezTo>
                    <a:pt x="22106" y="-3406"/>
                    <a:pt x="-8370" y="8102"/>
                    <a:pt x="2239" y="14725"/>
                  </a:cubicBezTo>
                  <a:close/>
                </a:path>
              </a:pathLst>
            </a:custGeom>
            <a:solidFill>
              <a:srgbClr val="001669"/>
            </a:solidFill>
            <a:ln w="6429" cap="flat">
              <a:noFill/>
              <a:prstDash val="solid"/>
              <a:miter/>
            </a:ln>
          </p:spPr>
          <p:txBody>
            <a:bodyPr rtlCol="0" anchor="ctr"/>
            <a:lstStyle/>
            <a:p>
              <a:endParaRPr lang="en-GB" sz="2400"/>
            </a:p>
          </p:txBody>
        </p:sp>
        <p:sp>
          <p:nvSpPr>
            <p:cNvPr id="244" name="Freeform 34">
              <a:extLst>
                <a:ext uri="{FF2B5EF4-FFF2-40B4-BE49-F238E27FC236}">
                  <a16:creationId xmlns:a16="http://schemas.microsoft.com/office/drawing/2014/main" id="{031AA7E4-7FA3-4973-BAF5-DF262402A885}"/>
                </a:ext>
              </a:extLst>
            </p:cNvPr>
            <p:cNvSpPr/>
            <p:nvPr/>
          </p:nvSpPr>
          <p:spPr>
            <a:xfrm>
              <a:off x="3186900" y="1710892"/>
              <a:ext cx="212169" cy="64294"/>
            </a:xfrm>
            <a:custGeom>
              <a:avLst/>
              <a:gdLst>
                <a:gd name="connsiteX0" fmla="*/ 56915 w 212169"/>
                <a:gd name="connsiteY0" fmla="*/ 50369 h 64293"/>
                <a:gd name="connsiteX1" fmla="*/ 71253 w 212169"/>
                <a:gd name="connsiteY1" fmla="*/ 58085 h 64293"/>
                <a:gd name="connsiteX2" fmla="*/ 91634 w 212169"/>
                <a:gd name="connsiteY2" fmla="*/ 60849 h 64293"/>
                <a:gd name="connsiteX3" fmla="*/ 100507 w 212169"/>
                <a:gd name="connsiteY3" fmla="*/ 56992 h 64293"/>
                <a:gd name="connsiteX4" fmla="*/ 141848 w 212169"/>
                <a:gd name="connsiteY4" fmla="*/ 64707 h 64293"/>
                <a:gd name="connsiteX5" fmla="*/ 169365 w 212169"/>
                <a:gd name="connsiteY5" fmla="*/ 58278 h 64293"/>
                <a:gd name="connsiteX6" fmla="*/ 202412 w 212169"/>
                <a:gd name="connsiteY6" fmla="*/ 61042 h 64293"/>
                <a:gd name="connsiteX7" fmla="*/ 213471 w 212169"/>
                <a:gd name="connsiteY7" fmla="*/ 41240 h 64293"/>
                <a:gd name="connsiteX8" fmla="*/ 143455 w 212169"/>
                <a:gd name="connsiteY8" fmla="*/ 36225 h 64293"/>
                <a:gd name="connsiteX9" fmla="*/ 108222 w 212169"/>
                <a:gd name="connsiteY9" fmla="*/ 37896 h 64293"/>
                <a:gd name="connsiteX10" fmla="*/ 87776 w 212169"/>
                <a:gd name="connsiteY10" fmla="*/ 31853 h 64293"/>
                <a:gd name="connsiteX11" fmla="*/ 91634 w 212169"/>
                <a:gd name="connsiteY11" fmla="*/ 20280 h 64293"/>
                <a:gd name="connsiteX12" fmla="*/ 58587 w 212169"/>
                <a:gd name="connsiteY12" fmla="*/ 10314 h 64293"/>
                <a:gd name="connsiteX13" fmla="*/ 32162 w 212169"/>
                <a:gd name="connsiteY13" fmla="*/ 2599 h 64293"/>
                <a:gd name="connsiteX14" fmla="*/ 723 w 212169"/>
                <a:gd name="connsiteY14" fmla="*/ 7035 h 64293"/>
                <a:gd name="connsiteX15" fmla="*/ 39878 w 212169"/>
                <a:gd name="connsiteY15" fmla="*/ 18608 h 64293"/>
                <a:gd name="connsiteX16" fmla="*/ 56401 w 212169"/>
                <a:gd name="connsiteY16" fmla="*/ 31467 h 64293"/>
                <a:gd name="connsiteX17" fmla="*/ 56915 w 212169"/>
                <a:gd name="connsiteY17" fmla="*/ 50369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2169" h="64293">
                  <a:moveTo>
                    <a:pt x="56915" y="50369"/>
                  </a:moveTo>
                  <a:cubicBezTo>
                    <a:pt x="60773" y="61428"/>
                    <a:pt x="65209" y="53713"/>
                    <a:pt x="71253" y="58085"/>
                  </a:cubicBezTo>
                  <a:cubicBezTo>
                    <a:pt x="77297" y="62457"/>
                    <a:pt x="86684" y="65286"/>
                    <a:pt x="91634" y="60849"/>
                  </a:cubicBezTo>
                  <a:cubicBezTo>
                    <a:pt x="96585" y="56413"/>
                    <a:pt x="98835" y="53134"/>
                    <a:pt x="100507" y="56992"/>
                  </a:cubicBezTo>
                  <a:cubicBezTo>
                    <a:pt x="103143" y="63421"/>
                    <a:pt x="115358" y="64192"/>
                    <a:pt x="141848" y="64707"/>
                  </a:cubicBezTo>
                  <a:cubicBezTo>
                    <a:pt x="168337" y="65221"/>
                    <a:pt x="161650" y="53713"/>
                    <a:pt x="169365" y="58278"/>
                  </a:cubicBezTo>
                  <a:cubicBezTo>
                    <a:pt x="177081" y="62842"/>
                    <a:pt x="194697" y="62714"/>
                    <a:pt x="202412" y="61042"/>
                  </a:cubicBezTo>
                  <a:cubicBezTo>
                    <a:pt x="210127" y="59370"/>
                    <a:pt x="213985" y="47283"/>
                    <a:pt x="213471" y="41240"/>
                  </a:cubicBezTo>
                  <a:cubicBezTo>
                    <a:pt x="212956" y="35196"/>
                    <a:pt x="153935" y="30181"/>
                    <a:pt x="143455" y="36225"/>
                  </a:cubicBezTo>
                  <a:cubicBezTo>
                    <a:pt x="132975" y="42268"/>
                    <a:pt x="116451" y="33460"/>
                    <a:pt x="108222" y="37896"/>
                  </a:cubicBezTo>
                  <a:cubicBezTo>
                    <a:pt x="99992" y="42333"/>
                    <a:pt x="102693" y="32367"/>
                    <a:pt x="87776" y="31853"/>
                  </a:cubicBezTo>
                  <a:cubicBezTo>
                    <a:pt x="72860" y="31338"/>
                    <a:pt x="88934" y="23559"/>
                    <a:pt x="91634" y="20280"/>
                  </a:cubicBezTo>
                  <a:cubicBezTo>
                    <a:pt x="94334" y="17001"/>
                    <a:pt x="69067" y="8128"/>
                    <a:pt x="58587" y="10314"/>
                  </a:cubicBezTo>
                  <a:cubicBezTo>
                    <a:pt x="48107" y="12500"/>
                    <a:pt x="42064" y="7035"/>
                    <a:pt x="32162" y="2599"/>
                  </a:cubicBezTo>
                  <a:cubicBezTo>
                    <a:pt x="22261" y="-1837"/>
                    <a:pt x="-4742" y="-744"/>
                    <a:pt x="723" y="7035"/>
                  </a:cubicBezTo>
                  <a:cubicBezTo>
                    <a:pt x="4580" y="12565"/>
                    <a:pt x="36534" y="24137"/>
                    <a:pt x="39878" y="18608"/>
                  </a:cubicBezTo>
                  <a:cubicBezTo>
                    <a:pt x="43221" y="13079"/>
                    <a:pt x="51451" y="25038"/>
                    <a:pt x="56401" y="31467"/>
                  </a:cubicBezTo>
                  <a:cubicBezTo>
                    <a:pt x="61352" y="37896"/>
                    <a:pt x="53058" y="39375"/>
                    <a:pt x="56915" y="50369"/>
                  </a:cubicBezTo>
                  <a:close/>
                </a:path>
              </a:pathLst>
            </a:custGeom>
            <a:solidFill>
              <a:srgbClr val="001669"/>
            </a:solidFill>
            <a:ln w="6429" cap="flat">
              <a:noFill/>
              <a:prstDash val="solid"/>
              <a:miter/>
            </a:ln>
          </p:spPr>
          <p:txBody>
            <a:bodyPr rtlCol="0" anchor="ctr"/>
            <a:lstStyle/>
            <a:p>
              <a:endParaRPr lang="en-GB" sz="2400"/>
            </a:p>
          </p:txBody>
        </p:sp>
        <p:sp>
          <p:nvSpPr>
            <p:cNvPr id="245" name="Freeform 35">
              <a:extLst>
                <a:ext uri="{FF2B5EF4-FFF2-40B4-BE49-F238E27FC236}">
                  <a16:creationId xmlns:a16="http://schemas.microsoft.com/office/drawing/2014/main" id="{308F8C8E-57DB-429F-A23A-CB272A4DA801}"/>
                </a:ext>
              </a:extLst>
            </p:cNvPr>
            <p:cNvSpPr/>
            <p:nvPr/>
          </p:nvSpPr>
          <p:spPr>
            <a:xfrm>
              <a:off x="3304892" y="1970503"/>
              <a:ext cx="83582" cy="51435"/>
            </a:xfrm>
            <a:custGeom>
              <a:avLst/>
              <a:gdLst>
                <a:gd name="connsiteX0" fmla="*/ 84420 w 83581"/>
                <a:gd name="connsiteY0" fmla="*/ 42661 h 51435"/>
                <a:gd name="connsiteX1" fmla="*/ 67382 w 83581"/>
                <a:gd name="connsiteY1" fmla="*/ 28838 h 51435"/>
                <a:gd name="connsiteX2" fmla="*/ 43144 w 83581"/>
                <a:gd name="connsiteY2" fmla="*/ 14564 h 51435"/>
                <a:gd name="connsiteX3" fmla="*/ 27713 w 83581"/>
                <a:gd name="connsiteY3" fmla="*/ 2992 h 51435"/>
                <a:gd name="connsiteX4" fmla="*/ 13890 w 83581"/>
                <a:gd name="connsiteY4" fmla="*/ 11221 h 51435"/>
                <a:gd name="connsiteX5" fmla="*/ 10611 w 83581"/>
                <a:gd name="connsiteY5" fmla="*/ 28323 h 51435"/>
                <a:gd name="connsiteX6" fmla="*/ 131 w 83581"/>
                <a:gd name="connsiteY6" fmla="*/ 44847 h 51435"/>
                <a:gd name="connsiteX7" fmla="*/ 15562 w 83581"/>
                <a:gd name="connsiteY7" fmla="*/ 44332 h 51435"/>
                <a:gd name="connsiteX8" fmla="*/ 21991 w 83581"/>
                <a:gd name="connsiteY8" fmla="*/ 54234 h 51435"/>
                <a:gd name="connsiteX9" fmla="*/ 42951 w 83581"/>
                <a:gd name="connsiteY9" fmla="*/ 42661 h 51435"/>
                <a:gd name="connsiteX10" fmla="*/ 58896 w 83581"/>
                <a:gd name="connsiteY10" fmla="*/ 42082 h 51435"/>
                <a:gd name="connsiteX11" fmla="*/ 84420 w 83581"/>
                <a:gd name="connsiteY11" fmla="*/ 42661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581" h="51435">
                  <a:moveTo>
                    <a:pt x="84420" y="42661"/>
                  </a:moveTo>
                  <a:cubicBezTo>
                    <a:pt x="85577" y="37132"/>
                    <a:pt x="66289" y="34946"/>
                    <a:pt x="67382" y="28838"/>
                  </a:cubicBezTo>
                  <a:cubicBezTo>
                    <a:pt x="68475" y="22730"/>
                    <a:pt x="49187" y="17843"/>
                    <a:pt x="43144" y="14564"/>
                  </a:cubicBezTo>
                  <a:cubicBezTo>
                    <a:pt x="37100" y="11285"/>
                    <a:pt x="27713" y="9550"/>
                    <a:pt x="27713" y="2992"/>
                  </a:cubicBezTo>
                  <a:cubicBezTo>
                    <a:pt x="27713" y="-3566"/>
                    <a:pt x="14469" y="1320"/>
                    <a:pt x="13890" y="11221"/>
                  </a:cubicBezTo>
                  <a:cubicBezTo>
                    <a:pt x="13311" y="21122"/>
                    <a:pt x="7846" y="18936"/>
                    <a:pt x="10611" y="28323"/>
                  </a:cubicBezTo>
                  <a:cubicBezTo>
                    <a:pt x="13376" y="37710"/>
                    <a:pt x="-1541" y="39896"/>
                    <a:pt x="131" y="44847"/>
                  </a:cubicBezTo>
                  <a:cubicBezTo>
                    <a:pt x="1803" y="49797"/>
                    <a:pt x="8939" y="44332"/>
                    <a:pt x="15562" y="44332"/>
                  </a:cubicBezTo>
                  <a:cubicBezTo>
                    <a:pt x="22184" y="44332"/>
                    <a:pt x="13761" y="53526"/>
                    <a:pt x="21991" y="54234"/>
                  </a:cubicBezTo>
                  <a:cubicBezTo>
                    <a:pt x="30208" y="53218"/>
                    <a:pt x="37717" y="49071"/>
                    <a:pt x="42951" y="42661"/>
                  </a:cubicBezTo>
                  <a:cubicBezTo>
                    <a:pt x="45651" y="38224"/>
                    <a:pt x="51180" y="36553"/>
                    <a:pt x="58896" y="42082"/>
                  </a:cubicBezTo>
                  <a:cubicBezTo>
                    <a:pt x="66611" y="47612"/>
                    <a:pt x="83327" y="48319"/>
                    <a:pt x="84420" y="42661"/>
                  </a:cubicBezTo>
                  <a:close/>
                </a:path>
              </a:pathLst>
            </a:custGeom>
            <a:solidFill>
              <a:srgbClr val="001669"/>
            </a:solidFill>
            <a:ln w="6429" cap="flat">
              <a:noFill/>
              <a:prstDash val="solid"/>
              <a:miter/>
            </a:ln>
          </p:spPr>
          <p:txBody>
            <a:bodyPr rtlCol="0" anchor="ctr"/>
            <a:lstStyle/>
            <a:p>
              <a:endParaRPr lang="en-GB" sz="2400"/>
            </a:p>
          </p:txBody>
        </p:sp>
        <p:sp>
          <p:nvSpPr>
            <p:cNvPr id="246" name="Freeform 36">
              <a:extLst>
                <a:ext uri="{FF2B5EF4-FFF2-40B4-BE49-F238E27FC236}">
                  <a16:creationId xmlns:a16="http://schemas.microsoft.com/office/drawing/2014/main" id="{9D83CAF2-553A-4A16-BC27-9C40A607B49F}"/>
                </a:ext>
              </a:extLst>
            </p:cNvPr>
            <p:cNvSpPr/>
            <p:nvPr/>
          </p:nvSpPr>
          <p:spPr>
            <a:xfrm>
              <a:off x="2823723" y="1773393"/>
              <a:ext cx="128588" cy="83582"/>
            </a:xfrm>
            <a:custGeom>
              <a:avLst/>
              <a:gdLst>
                <a:gd name="connsiteX0" fmla="*/ 17743 w 128587"/>
                <a:gd name="connsiteY0" fmla="*/ 66178 h 83581"/>
                <a:gd name="connsiteX1" fmla="*/ 35424 w 128587"/>
                <a:gd name="connsiteY1" fmla="*/ 85980 h 83581"/>
                <a:gd name="connsiteX2" fmla="*/ 43654 w 128587"/>
                <a:gd name="connsiteY2" fmla="*/ 80451 h 83581"/>
                <a:gd name="connsiteX3" fmla="*/ 55805 w 128587"/>
                <a:gd name="connsiteY3" fmla="*/ 77172 h 83581"/>
                <a:gd name="connsiteX4" fmla="*/ 67957 w 128587"/>
                <a:gd name="connsiteY4" fmla="*/ 67785 h 83581"/>
                <a:gd name="connsiteX5" fmla="*/ 79529 w 128587"/>
                <a:gd name="connsiteY5" fmla="*/ 55698 h 83581"/>
                <a:gd name="connsiteX6" fmla="*/ 89431 w 128587"/>
                <a:gd name="connsiteY6" fmla="*/ 43546 h 83581"/>
                <a:gd name="connsiteX7" fmla="*/ 129100 w 128587"/>
                <a:gd name="connsiteY7" fmla="*/ 27023 h 83581"/>
                <a:gd name="connsiteX8" fmla="*/ 113669 w 128587"/>
                <a:gd name="connsiteY8" fmla="*/ 13264 h 83581"/>
                <a:gd name="connsiteX9" fmla="*/ 88338 w 128587"/>
                <a:gd name="connsiteY9" fmla="*/ 10499 h 83581"/>
                <a:gd name="connsiteX10" fmla="*/ 80622 w 128587"/>
                <a:gd name="connsiteY10" fmla="*/ 7735 h 83581"/>
                <a:gd name="connsiteX11" fmla="*/ 55805 w 128587"/>
                <a:gd name="connsiteY11" fmla="*/ 534 h 83581"/>
                <a:gd name="connsiteX12" fmla="*/ 16650 w 128587"/>
                <a:gd name="connsiteY12" fmla="*/ 6642 h 83581"/>
                <a:gd name="connsiteX13" fmla="*/ 22179 w 128587"/>
                <a:gd name="connsiteY13" fmla="*/ 18215 h 83581"/>
                <a:gd name="connsiteX14" fmla="*/ 13371 w 128587"/>
                <a:gd name="connsiteY14" fmla="*/ 36924 h 83581"/>
                <a:gd name="connsiteX15" fmla="*/ 2313 w 128587"/>
                <a:gd name="connsiteY15" fmla="*/ 55698 h 83581"/>
                <a:gd name="connsiteX16" fmla="*/ 17743 w 128587"/>
                <a:gd name="connsiteY16" fmla="*/ 66178 h 8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587" h="83581">
                  <a:moveTo>
                    <a:pt x="17743" y="66178"/>
                  </a:moveTo>
                  <a:cubicBezTo>
                    <a:pt x="27709" y="68364"/>
                    <a:pt x="28802" y="85980"/>
                    <a:pt x="35424" y="85980"/>
                  </a:cubicBezTo>
                  <a:cubicBezTo>
                    <a:pt x="39796" y="85980"/>
                    <a:pt x="36517" y="80451"/>
                    <a:pt x="43654" y="80451"/>
                  </a:cubicBezTo>
                  <a:cubicBezTo>
                    <a:pt x="50790" y="80451"/>
                    <a:pt x="49183" y="76593"/>
                    <a:pt x="55805" y="77172"/>
                  </a:cubicBezTo>
                  <a:cubicBezTo>
                    <a:pt x="62427" y="77751"/>
                    <a:pt x="67957" y="75500"/>
                    <a:pt x="67957" y="67785"/>
                  </a:cubicBezTo>
                  <a:cubicBezTo>
                    <a:pt x="67957" y="60070"/>
                    <a:pt x="72907" y="57305"/>
                    <a:pt x="79529" y="55698"/>
                  </a:cubicBezTo>
                  <a:cubicBezTo>
                    <a:pt x="86152" y="54090"/>
                    <a:pt x="80044" y="45732"/>
                    <a:pt x="89431" y="43546"/>
                  </a:cubicBezTo>
                  <a:cubicBezTo>
                    <a:pt x="103190" y="39419"/>
                    <a:pt x="116479" y="33877"/>
                    <a:pt x="129100" y="27023"/>
                  </a:cubicBezTo>
                  <a:cubicBezTo>
                    <a:pt x="133536" y="23680"/>
                    <a:pt x="123571" y="19308"/>
                    <a:pt x="113669" y="13264"/>
                  </a:cubicBezTo>
                  <a:cubicBezTo>
                    <a:pt x="103768" y="7220"/>
                    <a:pt x="96053" y="5549"/>
                    <a:pt x="88338" y="10499"/>
                  </a:cubicBezTo>
                  <a:cubicBezTo>
                    <a:pt x="80622" y="15450"/>
                    <a:pt x="86666" y="4970"/>
                    <a:pt x="80622" y="7735"/>
                  </a:cubicBezTo>
                  <a:cubicBezTo>
                    <a:pt x="74579" y="10499"/>
                    <a:pt x="57991" y="3298"/>
                    <a:pt x="55805" y="534"/>
                  </a:cubicBezTo>
                  <a:cubicBezTo>
                    <a:pt x="53619" y="-2231"/>
                    <a:pt x="23658" y="6642"/>
                    <a:pt x="16650" y="6642"/>
                  </a:cubicBezTo>
                  <a:cubicBezTo>
                    <a:pt x="9642" y="6642"/>
                    <a:pt x="17229" y="14357"/>
                    <a:pt x="22179" y="18215"/>
                  </a:cubicBezTo>
                  <a:cubicBezTo>
                    <a:pt x="27130" y="22072"/>
                    <a:pt x="10028" y="34160"/>
                    <a:pt x="13371" y="36924"/>
                  </a:cubicBezTo>
                  <a:cubicBezTo>
                    <a:pt x="16714" y="39689"/>
                    <a:pt x="10028" y="46825"/>
                    <a:pt x="2313" y="55698"/>
                  </a:cubicBezTo>
                  <a:cubicBezTo>
                    <a:pt x="-5403" y="64570"/>
                    <a:pt x="7842" y="63927"/>
                    <a:pt x="17743" y="66178"/>
                  </a:cubicBezTo>
                  <a:close/>
                </a:path>
              </a:pathLst>
            </a:custGeom>
            <a:solidFill>
              <a:srgbClr val="001669"/>
            </a:solidFill>
            <a:ln w="6429" cap="flat">
              <a:noFill/>
              <a:prstDash val="solid"/>
              <a:miter/>
            </a:ln>
          </p:spPr>
          <p:txBody>
            <a:bodyPr rtlCol="0" anchor="ctr"/>
            <a:lstStyle/>
            <a:p>
              <a:endParaRPr lang="en-GB" sz="2400"/>
            </a:p>
          </p:txBody>
        </p:sp>
        <p:sp>
          <p:nvSpPr>
            <p:cNvPr id="247" name="Freeform 37">
              <a:extLst>
                <a:ext uri="{FF2B5EF4-FFF2-40B4-BE49-F238E27FC236}">
                  <a16:creationId xmlns:a16="http://schemas.microsoft.com/office/drawing/2014/main" id="{9AF9C1DD-4398-4CDF-86A6-ECB1CF7A6E0B}"/>
                </a:ext>
              </a:extLst>
            </p:cNvPr>
            <p:cNvSpPr/>
            <p:nvPr/>
          </p:nvSpPr>
          <p:spPr>
            <a:xfrm>
              <a:off x="2299205" y="1783801"/>
              <a:ext cx="1395172" cy="842247"/>
            </a:xfrm>
            <a:custGeom>
              <a:avLst/>
              <a:gdLst>
                <a:gd name="connsiteX0" fmla="*/ 1343684 w 1395174"/>
                <a:gd name="connsiteY0" fmla="*/ 537202 h 842248"/>
                <a:gd name="connsiteX1" fmla="*/ 1343362 w 1395174"/>
                <a:gd name="connsiteY1" fmla="*/ 528651 h 842248"/>
                <a:gd name="connsiteX2" fmla="*/ 1334875 w 1395174"/>
                <a:gd name="connsiteY2" fmla="*/ 533601 h 842248"/>
                <a:gd name="connsiteX3" fmla="*/ 1328446 w 1395174"/>
                <a:gd name="connsiteY3" fmla="*/ 540802 h 842248"/>
                <a:gd name="connsiteX4" fmla="*/ 1323238 w 1395174"/>
                <a:gd name="connsiteY4" fmla="*/ 546010 h 842248"/>
                <a:gd name="connsiteX5" fmla="*/ 1301185 w 1395174"/>
                <a:gd name="connsiteY5" fmla="*/ 542152 h 842248"/>
                <a:gd name="connsiteX6" fmla="*/ 1287684 w 1395174"/>
                <a:gd name="connsiteY6" fmla="*/ 531158 h 842248"/>
                <a:gd name="connsiteX7" fmla="*/ 1286012 w 1395174"/>
                <a:gd name="connsiteY7" fmla="*/ 518299 h 842248"/>
                <a:gd name="connsiteX8" fmla="*/ 1280483 w 1395174"/>
                <a:gd name="connsiteY8" fmla="*/ 514185 h 842248"/>
                <a:gd name="connsiteX9" fmla="*/ 1279390 w 1395174"/>
                <a:gd name="connsiteY9" fmla="*/ 509234 h 842248"/>
                <a:gd name="connsiteX10" fmla="*/ 1291541 w 1395174"/>
                <a:gd name="connsiteY10" fmla="*/ 493225 h 842248"/>
                <a:gd name="connsiteX11" fmla="*/ 1237792 w 1395174"/>
                <a:gd name="connsiteY11" fmla="*/ 502033 h 842248"/>
                <a:gd name="connsiteX12" fmla="*/ 1210788 w 1395174"/>
                <a:gd name="connsiteY12" fmla="*/ 525243 h 842248"/>
                <a:gd name="connsiteX13" fmla="*/ 1222104 w 1395174"/>
                <a:gd name="connsiteY13" fmla="*/ 512384 h 842248"/>
                <a:gd name="connsiteX14" fmla="*/ 1224547 w 1395174"/>
                <a:gd name="connsiteY14" fmla="*/ 506598 h 842248"/>
                <a:gd name="connsiteX15" fmla="*/ 1241906 w 1395174"/>
                <a:gd name="connsiteY15" fmla="*/ 490332 h 842248"/>
                <a:gd name="connsiteX16" fmla="*/ 1254765 w 1395174"/>
                <a:gd name="connsiteY16" fmla="*/ 486474 h 842248"/>
                <a:gd name="connsiteX17" fmla="*/ 1263831 w 1395174"/>
                <a:gd name="connsiteY17" fmla="*/ 475480 h 842248"/>
                <a:gd name="connsiteX18" fmla="*/ 1341562 w 1395174"/>
                <a:gd name="connsiteY18" fmla="*/ 471622 h 842248"/>
                <a:gd name="connsiteX19" fmla="*/ 1363872 w 1395174"/>
                <a:gd name="connsiteY19" fmla="*/ 457799 h 842248"/>
                <a:gd name="connsiteX20" fmla="*/ 1380974 w 1395174"/>
                <a:gd name="connsiteY20" fmla="*/ 452848 h 842248"/>
                <a:gd name="connsiteX21" fmla="*/ 1398333 w 1395174"/>
                <a:gd name="connsiteY21" fmla="*/ 442369 h 842248"/>
                <a:gd name="connsiteX22" fmla="*/ 1397240 w 1395174"/>
                <a:gd name="connsiteY22" fmla="*/ 437161 h 842248"/>
                <a:gd name="connsiteX23" fmla="*/ 1393640 w 1395174"/>
                <a:gd name="connsiteY23" fmla="*/ 433560 h 842248"/>
                <a:gd name="connsiteX24" fmla="*/ 1401098 w 1395174"/>
                <a:gd name="connsiteY24" fmla="*/ 426167 h 842248"/>
                <a:gd name="connsiteX25" fmla="*/ 1394669 w 1395174"/>
                <a:gd name="connsiteY25" fmla="*/ 416458 h 842248"/>
                <a:gd name="connsiteX26" fmla="*/ 1381424 w 1395174"/>
                <a:gd name="connsiteY26" fmla="*/ 418130 h 842248"/>
                <a:gd name="connsiteX27" fmla="*/ 1380588 w 1395174"/>
                <a:gd name="connsiteY27" fmla="*/ 408229 h 842248"/>
                <a:gd name="connsiteX28" fmla="*/ 1361300 w 1395174"/>
                <a:gd name="connsiteY28" fmla="*/ 412922 h 842248"/>
                <a:gd name="connsiteX29" fmla="*/ 1349470 w 1395174"/>
                <a:gd name="connsiteY29" fmla="*/ 418130 h 842248"/>
                <a:gd name="connsiteX30" fmla="*/ 1346448 w 1395174"/>
                <a:gd name="connsiteY30" fmla="*/ 413179 h 842248"/>
                <a:gd name="connsiteX31" fmla="*/ 1353585 w 1395174"/>
                <a:gd name="connsiteY31" fmla="*/ 410157 h 842248"/>
                <a:gd name="connsiteX32" fmla="*/ 1364900 w 1395174"/>
                <a:gd name="connsiteY32" fmla="*/ 406043 h 842248"/>
                <a:gd name="connsiteX33" fmla="*/ 1378659 w 1395174"/>
                <a:gd name="connsiteY33" fmla="*/ 400770 h 842248"/>
                <a:gd name="connsiteX34" fmla="*/ 1369594 w 1395174"/>
                <a:gd name="connsiteY34" fmla="*/ 394984 h 842248"/>
                <a:gd name="connsiteX35" fmla="*/ 1355513 w 1395174"/>
                <a:gd name="connsiteY35" fmla="*/ 389455 h 842248"/>
                <a:gd name="connsiteX36" fmla="*/ 1348056 w 1395174"/>
                <a:gd name="connsiteY36" fmla="*/ 388105 h 842248"/>
                <a:gd name="connsiteX37" fmla="*/ 1339247 w 1395174"/>
                <a:gd name="connsiteY37" fmla="*/ 382061 h 842248"/>
                <a:gd name="connsiteX38" fmla="*/ 1318287 w 1395174"/>
                <a:gd name="connsiteY38" fmla="*/ 366052 h 842248"/>
                <a:gd name="connsiteX39" fmla="*/ 1319702 w 1395174"/>
                <a:gd name="connsiteY39" fmla="*/ 362773 h 842248"/>
                <a:gd name="connsiteX40" fmla="*/ 1329603 w 1395174"/>
                <a:gd name="connsiteY40" fmla="*/ 357244 h 842248"/>
                <a:gd name="connsiteX41" fmla="*/ 1324653 w 1395174"/>
                <a:gd name="connsiteY41" fmla="*/ 351714 h 842248"/>
                <a:gd name="connsiteX42" fmla="*/ 1322981 w 1395174"/>
                <a:gd name="connsiteY42" fmla="*/ 345285 h 842248"/>
                <a:gd name="connsiteX43" fmla="*/ 1315008 w 1395174"/>
                <a:gd name="connsiteY43" fmla="*/ 336219 h 842248"/>
                <a:gd name="connsiteX44" fmla="*/ 1310315 w 1395174"/>
                <a:gd name="connsiteY44" fmla="*/ 329019 h 842248"/>
                <a:gd name="connsiteX45" fmla="*/ 1305622 w 1395174"/>
                <a:gd name="connsiteY45" fmla="*/ 319696 h 842248"/>
                <a:gd name="connsiteX46" fmla="*/ 1297071 w 1395174"/>
                <a:gd name="connsiteY46" fmla="*/ 305873 h 842248"/>
                <a:gd name="connsiteX47" fmla="*/ 1290641 w 1395174"/>
                <a:gd name="connsiteY47" fmla="*/ 294621 h 842248"/>
                <a:gd name="connsiteX48" fmla="*/ 1285112 w 1395174"/>
                <a:gd name="connsiteY48" fmla="*/ 298736 h 842248"/>
                <a:gd name="connsiteX49" fmla="*/ 1279325 w 1395174"/>
                <a:gd name="connsiteY49" fmla="*/ 307287 h 842248"/>
                <a:gd name="connsiteX50" fmla="*/ 1277654 w 1395174"/>
                <a:gd name="connsiteY50" fmla="*/ 314681 h 842248"/>
                <a:gd name="connsiteX51" fmla="*/ 1275211 w 1395174"/>
                <a:gd name="connsiteY51" fmla="*/ 321625 h 842248"/>
                <a:gd name="connsiteX52" fmla="*/ 1270774 w 1395174"/>
                <a:gd name="connsiteY52" fmla="*/ 326318 h 842248"/>
                <a:gd name="connsiteX53" fmla="*/ 1263316 w 1395174"/>
                <a:gd name="connsiteY53" fmla="*/ 327411 h 842248"/>
                <a:gd name="connsiteX54" fmla="*/ 1250972 w 1395174"/>
                <a:gd name="connsiteY54" fmla="*/ 334548 h 842248"/>
                <a:gd name="connsiteX55" fmla="*/ 1244543 w 1395174"/>
                <a:gd name="connsiteY55" fmla="*/ 329019 h 842248"/>
                <a:gd name="connsiteX56" fmla="*/ 1237342 w 1395174"/>
                <a:gd name="connsiteY56" fmla="*/ 322975 h 842248"/>
                <a:gd name="connsiteX57" fmla="*/ 1230912 w 1395174"/>
                <a:gd name="connsiteY57" fmla="*/ 318539 h 842248"/>
                <a:gd name="connsiteX58" fmla="*/ 1225962 w 1395174"/>
                <a:gd name="connsiteY58" fmla="*/ 310052 h 842248"/>
                <a:gd name="connsiteX59" fmla="*/ 1224611 w 1395174"/>
                <a:gd name="connsiteY59" fmla="*/ 295972 h 842248"/>
                <a:gd name="connsiteX60" fmla="*/ 1228726 w 1395174"/>
                <a:gd name="connsiteY60" fmla="*/ 285492 h 842248"/>
                <a:gd name="connsiteX61" fmla="*/ 1222297 w 1395174"/>
                <a:gd name="connsiteY61" fmla="*/ 284977 h 842248"/>
                <a:gd name="connsiteX62" fmla="*/ 1215417 w 1395174"/>
                <a:gd name="connsiteY62" fmla="*/ 282213 h 842248"/>
                <a:gd name="connsiteX63" fmla="*/ 1200566 w 1395174"/>
                <a:gd name="connsiteY63" fmla="*/ 276941 h 842248"/>
                <a:gd name="connsiteX64" fmla="*/ 1194779 w 1395174"/>
                <a:gd name="connsiteY64" fmla="*/ 269804 h 842248"/>
                <a:gd name="connsiteX65" fmla="*/ 1188671 w 1395174"/>
                <a:gd name="connsiteY65" fmla="*/ 265368 h 842248"/>
                <a:gd name="connsiteX66" fmla="*/ 1183463 w 1395174"/>
                <a:gd name="connsiteY66" fmla="*/ 260417 h 842248"/>
                <a:gd name="connsiteX67" fmla="*/ 1174655 w 1395174"/>
                <a:gd name="connsiteY67" fmla="*/ 256045 h 842248"/>
                <a:gd name="connsiteX68" fmla="*/ 1162247 w 1395174"/>
                <a:gd name="connsiteY68" fmla="*/ 260160 h 842248"/>
                <a:gd name="connsiteX69" fmla="*/ 1150931 w 1395174"/>
                <a:gd name="connsiteY69" fmla="*/ 258231 h 842248"/>
                <a:gd name="connsiteX70" fmla="*/ 1141030 w 1395174"/>
                <a:gd name="connsiteY70" fmla="*/ 254888 h 842248"/>
                <a:gd name="connsiteX71" fmla="*/ 1124506 w 1395174"/>
                <a:gd name="connsiteY71" fmla="*/ 254888 h 842248"/>
                <a:gd name="connsiteX72" fmla="*/ 1119234 w 1395174"/>
                <a:gd name="connsiteY72" fmla="*/ 264018 h 842248"/>
                <a:gd name="connsiteX73" fmla="*/ 1127271 w 1395174"/>
                <a:gd name="connsiteY73" fmla="*/ 272569 h 842248"/>
                <a:gd name="connsiteX74" fmla="*/ 1124185 w 1395174"/>
                <a:gd name="connsiteY74" fmla="*/ 278612 h 842248"/>
                <a:gd name="connsiteX75" fmla="*/ 1120327 w 1395174"/>
                <a:gd name="connsiteY75" fmla="*/ 284399 h 842248"/>
                <a:gd name="connsiteX76" fmla="*/ 1124185 w 1395174"/>
                <a:gd name="connsiteY76" fmla="*/ 291278 h 842248"/>
                <a:gd name="connsiteX77" fmla="*/ 1129200 w 1395174"/>
                <a:gd name="connsiteY77" fmla="*/ 302594 h 842248"/>
                <a:gd name="connsiteX78" fmla="*/ 1124185 w 1395174"/>
                <a:gd name="connsiteY78" fmla="*/ 308638 h 842248"/>
                <a:gd name="connsiteX79" fmla="*/ 1120648 w 1395174"/>
                <a:gd name="connsiteY79" fmla="*/ 317189 h 842248"/>
                <a:gd name="connsiteX80" fmla="*/ 1116469 w 1395174"/>
                <a:gd name="connsiteY80" fmla="*/ 329019 h 842248"/>
                <a:gd name="connsiteX81" fmla="*/ 1135243 w 1395174"/>
                <a:gd name="connsiteY81" fmla="*/ 343935 h 842248"/>
                <a:gd name="connsiteX82" fmla="*/ 1138008 w 1395174"/>
                <a:gd name="connsiteY82" fmla="*/ 371195 h 842248"/>
                <a:gd name="connsiteX83" fmla="*/ 1120327 w 1395174"/>
                <a:gd name="connsiteY83" fmla="*/ 388555 h 842248"/>
                <a:gd name="connsiteX84" fmla="*/ 1102968 w 1395174"/>
                <a:gd name="connsiteY84" fmla="*/ 394984 h 842248"/>
                <a:gd name="connsiteX85" fmla="*/ 1106311 w 1395174"/>
                <a:gd name="connsiteY85" fmla="*/ 407071 h 842248"/>
                <a:gd name="connsiteX86" fmla="*/ 1109590 w 1395174"/>
                <a:gd name="connsiteY86" fmla="*/ 419480 h 842248"/>
                <a:gd name="connsiteX87" fmla="*/ 1113190 w 1395174"/>
                <a:gd name="connsiteY87" fmla="*/ 434396 h 842248"/>
                <a:gd name="connsiteX88" fmla="*/ 1110426 w 1395174"/>
                <a:gd name="connsiteY88" fmla="*/ 444876 h 842248"/>
                <a:gd name="connsiteX89" fmla="*/ 1112355 w 1395174"/>
                <a:gd name="connsiteY89" fmla="*/ 451305 h 842248"/>
                <a:gd name="connsiteX90" fmla="*/ 1106825 w 1395174"/>
                <a:gd name="connsiteY90" fmla="*/ 450791 h 842248"/>
                <a:gd name="connsiteX91" fmla="*/ 1099946 w 1395174"/>
                <a:gd name="connsiteY91" fmla="*/ 458506 h 842248"/>
                <a:gd name="connsiteX92" fmla="*/ 1089466 w 1395174"/>
                <a:gd name="connsiteY92" fmla="*/ 454649 h 842248"/>
                <a:gd name="connsiteX93" fmla="*/ 1085094 w 1395174"/>
                <a:gd name="connsiteY93" fmla="*/ 446097 h 842248"/>
                <a:gd name="connsiteX94" fmla="*/ 1076286 w 1395174"/>
                <a:gd name="connsiteY94" fmla="*/ 437546 h 842248"/>
                <a:gd name="connsiteX95" fmla="*/ 1067735 w 1395174"/>
                <a:gd name="connsiteY95" fmla="*/ 426552 h 842248"/>
                <a:gd name="connsiteX96" fmla="*/ 1066899 w 1395174"/>
                <a:gd name="connsiteY96" fmla="*/ 407264 h 842248"/>
                <a:gd name="connsiteX97" fmla="*/ 1068249 w 1395174"/>
                <a:gd name="connsiteY97" fmla="*/ 397363 h 842248"/>
                <a:gd name="connsiteX98" fmla="*/ 1061370 w 1395174"/>
                <a:gd name="connsiteY98" fmla="*/ 389583 h 842248"/>
                <a:gd name="connsiteX99" fmla="*/ 1042660 w 1395174"/>
                <a:gd name="connsiteY99" fmla="*/ 388490 h 842248"/>
                <a:gd name="connsiteX100" fmla="*/ 1029801 w 1395174"/>
                <a:gd name="connsiteY100" fmla="*/ 386047 h 842248"/>
                <a:gd name="connsiteX101" fmla="*/ 1012764 w 1395174"/>
                <a:gd name="connsiteY101" fmla="*/ 377753 h 842248"/>
                <a:gd name="connsiteX102" fmla="*/ 999519 w 1395174"/>
                <a:gd name="connsiteY102" fmla="*/ 368688 h 842248"/>
                <a:gd name="connsiteX103" fmla="*/ 988203 w 1395174"/>
                <a:gd name="connsiteY103" fmla="*/ 361808 h 842248"/>
                <a:gd name="connsiteX104" fmla="*/ 974702 w 1395174"/>
                <a:gd name="connsiteY104" fmla="*/ 358465 h 842248"/>
                <a:gd name="connsiteX105" fmla="*/ 958178 w 1395174"/>
                <a:gd name="connsiteY105" fmla="*/ 352036 h 842248"/>
                <a:gd name="connsiteX106" fmla="*/ 939726 w 1395174"/>
                <a:gd name="connsiteY106" fmla="*/ 357565 h 842248"/>
                <a:gd name="connsiteX107" fmla="*/ 941333 w 1395174"/>
                <a:gd name="connsiteY107" fmla="*/ 351521 h 842248"/>
                <a:gd name="connsiteX108" fmla="*/ 935868 w 1395174"/>
                <a:gd name="connsiteY108" fmla="*/ 335770 h 842248"/>
                <a:gd name="connsiteX109" fmla="*/ 926738 w 1395174"/>
                <a:gd name="connsiteY109" fmla="*/ 325032 h 842248"/>
                <a:gd name="connsiteX110" fmla="*/ 912980 w 1395174"/>
                <a:gd name="connsiteY110" fmla="*/ 321753 h 842248"/>
                <a:gd name="connsiteX111" fmla="*/ 912401 w 1395174"/>
                <a:gd name="connsiteY111" fmla="*/ 298286 h 842248"/>
                <a:gd name="connsiteX112" fmla="*/ 920952 w 1395174"/>
                <a:gd name="connsiteY112" fmla="*/ 277648 h 842248"/>
                <a:gd name="connsiteX113" fmla="*/ 929760 w 1395174"/>
                <a:gd name="connsiteY113" fmla="*/ 270447 h 842248"/>
                <a:gd name="connsiteX114" fmla="*/ 934711 w 1395174"/>
                <a:gd name="connsiteY114" fmla="*/ 260803 h 842248"/>
                <a:gd name="connsiteX115" fmla="*/ 939983 w 1395174"/>
                <a:gd name="connsiteY115" fmla="*/ 255338 h 842248"/>
                <a:gd name="connsiteX116" fmla="*/ 943005 w 1395174"/>
                <a:gd name="connsiteY116" fmla="*/ 251480 h 842248"/>
                <a:gd name="connsiteX117" fmla="*/ 948791 w 1395174"/>
                <a:gd name="connsiteY117" fmla="*/ 247880 h 842248"/>
                <a:gd name="connsiteX118" fmla="*/ 963129 w 1395174"/>
                <a:gd name="connsiteY118" fmla="*/ 239329 h 842248"/>
                <a:gd name="connsiteX119" fmla="*/ 945191 w 1395174"/>
                <a:gd name="connsiteY119" fmla="*/ 232449 h 842248"/>
                <a:gd name="connsiteX120" fmla="*/ 925903 w 1395174"/>
                <a:gd name="connsiteY120" fmla="*/ 223898 h 842248"/>
                <a:gd name="connsiteX121" fmla="*/ 953999 w 1395174"/>
                <a:gd name="connsiteY121" fmla="*/ 228849 h 842248"/>
                <a:gd name="connsiteX122" fmla="*/ 968915 w 1395174"/>
                <a:gd name="connsiteY122" fmla="*/ 231099 h 842248"/>
                <a:gd name="connsiteX123" fmla="*/ 971937 w 1395174"/>
                <a:gd name="connsiteY123" fmla="*/ 220298 h 842248"/>
                <a:gd name="connsiteX124" fmla="*/ 990389 w 1395174"/>
                <a:gd name="connsiteY124" fmla="*/ 223320 h 842248"/>
                <a:gd name="connsiteX125" fmla="*/ 1008006 w 1395174"/>
                <a:gd name="connsiteY125" fmla="*/ 205189 h 842248"/>
                <a:gd name="connsiteX126" fmla="*/ 998362 w 1395174"/>
                <a:gd name="connsiteY126" fmla="*/ 198759 h 842248"/>
                <a:gd name="connsiteX127" fmla="*/ 976888 w 1395174"/>
                <a:gd name="connsiteY127" fmla="*/ 191623 h 842248"/>
                <a:gd name="connsiteX128" fmla="*/ 977723 w 1395174"/>
                <a:gd name="connsiteY128" fmla="*/ 184743 h 842248"/>
                <a:gd name="connsiteX129" fmla="*/ 1002541 w 1395174"/>
                <a:gd name="connsiteY129" fmla="*/ 196831 h 842248"/>
                <a:gd name="connsiteX130" fmla="*/ 1021250 w 1395174"/>
                <a:gd name="connsiteY130" fmla="*/ 183329 h 842248"/>
                <a:gd name="connsiteX131" fmla="*/ 1014114 w 1395174"/>
                <a:gd name="connsiteY131" fmla="*/ 176192 h 842248"/>
                <a:gd name="connsiteX132" fmla="*/ 1023758 w 1395174"/>
                <a:gd name="connsiteY132" fmla="*/ 172078 h 842248"/>
                <a:gd name="connsiteX133" fmla="*/ 1031730 w 1395174"/>
                <a:gd name="connsiteY133" fmla="*/ 177800 h 842248"/>
                <a:gd name="connsiteX134" fmla="*/ 1044975 w 1395174"/>
                <a:gd name="connsiteY134" fmla="*/ 176450 h 842248"/>
                <a:gd name="connsiteX135" fmla="*/ 1038095 w 1395174"/>
                <a:gd name="connsiteY135" fmla="*/ 167641 h 842248"/>
                <a:gd name="connsiteX136" fmla="*/ 1040281 w 1395174"/>
                <a:gd name="connsiteY136" fmla="*/ 164362 h 842248"/>
                <a:gd name="connsiteX137" fmla="*/ 1048832 w 1395174"/>
                <a:gd name="connsiteY137" fmla="*/ 171756 h 842248"/>
                <a:gd name="connsiteX138" fmla="*/ 1059569 w 1395174"/>
                <a:gd name="connsiteY138" fmla="*/ 172078 h 842248"/>
                <a:gd name="connsiteX139" fmla="*/ 1070885 w 1395174"/>
                <a:gd name="connsiteY139" fmla="*/ 163527 h 842248"/>
                <a:gd name="connsiteX140" fmla="*/ 1078022 w 1395174"/>
                <a:gd name="connsiteY140" fmla="*/ 158833 h 842248"/>
                <a:gd name="connsiteX141" fmla="*/ 1071978 w 1395174"/>
                <a:gd name="connsiteY141" fmla="*/ 145331 h 842248"/>
                <a:gd name="connsiteX142" fmla="*/ 1067799 w 1395174"/>
                <a:gd name="connsiteY142" fmla="*/ 136523 h 842248"/>
                <a:gd name="connsiteX143" fmla="*/ 1068120 w 1395174"/>
                <a:gd name="connsiteY143" fmla="*/ 131251 h 842248"/>
                <a:gd name="connsiteX144" fmla="*/ 1080529 w 1395174"/>
                <a:gd name="connsiteY144" fmla="*/ 126879 h 842248"/>
                <a:gd name="connsiteX145" fmla="*/ 1077186 w 1395174"/>
                <a:gd name="connsiteY145" fmla="*/ 119421 h 842248"/>
                <a:gd name="connsiteX146" fmla="*/ 1073071 w 1395174"/>
                <a:gd name="connsiteY146" fmla="*/ 113892 h 842248"/>
                <a:gd name="connsiteX147" fmla="*/ 1063684 w 1395174"/>
                <a:gd name="connsiteY147" fmla="*/ 107462 h 842248"/>
                <a:gd name="connsiteX148" fmla="*/ 1049668 w 1395174"/>
                <a:gd name="connsiteY148" fmla="*/ 103605 h 842248"/>
                <a:gd name="connsiteX149" fmla="*/ 1030380 w 1395174"/>
                <a:gd name="connsiteY149" fmla="*/ 101997 h 842248"/>
                <a:gd name="connsiteX150" fmla="*/ 1031473 w 1395174"/>
                <a:gd name="connsiteY150" fmla="*/ 113827 h 842248"/>
                <a:gd name="connsiteX151" fmla="*/ 1035331 w 1395174"/>
                <a:gd name="connsiteY151" fmla="*/ 119871 h 842248"/>
                <a:gd name="connsiteX152" fmla="*/ 1033145 w 1395174"/>
                <a:gd name="connsiteY152" fmla="*/ 125400 h 842248"/>
                <a:gd name="connsiteX153" fmla="*/ 1025172 w 1395174"/>
                <a:gd name="connsiteY153" fmla="*/ 130930 h 842248"/>
                <a:gd name="connsiteX154" fmla="*/ 1018743 w 1395174"/>
                <a:gd name="connsiteY154" fmla="*/ 143274 h 842248"/>
                <a:gd name="connsiteX155" fmla="*/ 1013278 w 1395174"/>
                <a:gd name="connsiteY155" fmla="*/ 135623 h 842248"/>
                <a:gd name="connsiteX156" fmla="*/ 1011606 w 1395174"/>
                <a:gd name="connsiteY156" fmla="*/ 145267 h 842248"/>
                <a:gd name="connsiteX157" fmla="*/ 1016300 w 1395174"/>
                <a:gd name="connsiteY157" fmla="*/ 152982 h 842248"/>
                <a:gd name="connsiteX158" fmla="*/ 1007491 w 1395174"/>
                <a:gd name="connsiteY158" fmla="*/ 159026 h 842248"/>
                <a:gd name="connsiteX159" fmla="*/ 1000612 w 1395174"/>
                <a:gd name="connsiteY159" fmla="*/ 153497 h 842248"/>
                <a:gd name="connsiteX160" fmla="*/ 992318 w 1395174"/>
                <a:gd name="connsiteY160" fmla="*/ 140638 h 842248"/>
                <a:gd name="connsiteX161" fmla="*/ 997526 w 1395174"/>
                <a:gd name="connsiteY161" fmla="*/ 135109 h 842248"/>
                <a:gd name="connsiteX162" fmla="*/ 997526 w 1395174"/>
                <a:gd name="connsiteY162" fmla="*/ 126815 h 842248"/>
                <a:gd name="connsiteX163" fmla="*/ 989296 w 1395174"/>
                <a:gd name="connsiteY163" fmla="*/ 118264 h 842248"/>
                <a:gd name="connsiteX164" fmla="*/ 977723 w 1395174"/>
                <a:gd name="connsiteY164" fmla="*/ 115563 h 842248"/>
                <a:gd name="connsiteX165" fmla="*/ 973030 w 1395174"/>
                <a:gd name="connsiteY165" fmla="*/ 124372 h 842248"/>
                <a:gd name="connsiteX166" fmla="*/ 967501 w 1395174"/>
                <a:gd name="connsiteY166" fmla="*/ 134273 h 842248"/>
                <a:gd name="connsiteX167" fmla="*/ 963386 w 1395174"/>
                <a:gd name="connsiteY167" fmla="*/ 119421 h 842248"/>
                <a:gd name="connsiteX168" fmla="*/ 964993 w 1395174"/>
                <a:gd name="connsiteY168" fmla="*/ 114149 h 842248"/>
                <a:gd name="connsiteX169" fmla="*/ 968079 w 1395174"/>
                <a:gd name="connsiteY169" fmla="*/ 109198 h 842248"/>
                <a:gd name="connsiteX170" fmla="*/ 955671 w 1395174"/>
                <a:gd name="connsiteY170" fmla="*/ 104248 h 842248"/>
                <a:gd name="connsiteX171" fmla="*/ 946284 w 1395174"/>
                <a:gd name="connsiteY171" fmla="*/ 106691 h 842248"/>
                <a:gd name="connsiteX172" fmla="*/ 946862 w 1395174"/>
                <a:gd name="connsiteY172" fmla="*/ 95954 h 842248"/>
                <a:gd name="connsiteX173" fmla="*/ 953999 w 1395174"/>
                <a:gd name="connsiteY173" fmla="*/ 93511 h 842248"/>
                <a:gd name="connsiteX174" fmla="*/ 946284 w 1395174"/>
                <a:gd name="connsiteY174" fmla="*/ 85474 h 842248"/>
                <a:gd name="connsiteX175" fmla="*/ 935225 w 1395174"/>
                <a:gd name="connsiteY175" fmla="*/ 79044 h 842248"/>
                <a:gd name="connsiteX176" fmla="*/ 935804 w 1395174"/>
                <a:gd name="connsiteY176" fmla="*/ 67986 h 842248"/>
                <a:gd name="connsiteX177" fmla="*/ 919795 w 1395174"/>
                <a:gd name="connsiteY177" fmla="*/ 56992 h 842248"/>
                <a:gd name="connsiteX178" fmla="*/ 916773 w 1395174"/>
                <a:gd name="connsiteY178" fmla="*/ 51463 h 842248"/>
                <a:gd name="connsiteX179" fmla="*/ 925903 w 1395174"/>
                <a:gd name="connsiteY179" fmla="*/ 45033 h 842248"/>
                <a:gd name="connsiteX180" fmla="*/ 927831 w 1395174"/>
                <a:gd name="connsiteY180" fmla="*/ 37061 h 842248"/>
                <a:gd name="connsiteX181" fmla="*/ 928667 w 1395174"/>
                <a:gd name="connsiteY181" fmla="*/ 32882 h 842248"/>
                <a:gd name="connsiteX182" fmla="*/ 947955 w 1395174"/>
                <a:gd name="connsiteY182" fmla="*/ 34553 h 842248"/>
                <a:gd name="connsiteX183" fmla="*/ 965829 w 1395174"/>
                <a:gd name="connsiteY183" fmla="*/ 10057 h 842248"/>
                <a:gd name="connsiteX184" fmla="*/ 952970 w 1395174"/>
                <a:gd name="connsiteY184" fmla="*/ 4528 h 842248"/>
                <a:gd name="connsiteX185" fmla="*/ 932589 w 1395174"/>
                <a:gd name="connsiteY185" fmla="*/ 92 h 842248"/>
                <a:gd name="connsiteX186" fmla="*/ 906872 w 1395174"/>
                <a:gd name="connsiteY186" fmla="*/ 4271 h 842248"/>
                <a:gd name="connsiteX187" fmla="*/ 910151 w 1395174"/>
                <a:gd name="connsiteY187" fmla="*/ 11665 h 842248"/>
                <a:gd name="connsiteX188" fmla="*/ 902178 w 1395174"/>
                <a:gd name="connsiteY188" fmla="*/ 10893 h 842248"/>
                <a:gd name="connsiteX189" fmla="*/ 902178 w 1395174"/>
                <a:gd name="connsiteY189" fmla="*/ 25166 h 842248"/>
                <a:gd name="connsiteX190" fmla="*/ 906872 w 1395174"/>
                <a:gd name="connsiteY190" fmla="*/ 38990 h 842248"/>
                <a:gd name="connsiteX191" fmla="*/ 909058 w 1395174"/>
                <a:gd name="connsiteY191" fmla="*/ 53327 h 842248"/>
                <a:gd name="connsiteX192" fmla="*/ 901342 w 1395174"/>
                <a:gd name="connsiteY192" fmla="*/ 60464 h 842248"/>
                <a:gd name="connsiteX193" fmla="*/ 905200 w 1395174"/>
                <a:gd name="connsiteY193" fmla="*/ 67922 h 842248"/>
                <a:gd name="connsiteX194" fmla="*/ 894977 w 1395174"/>
                <a:gd name="connsiteY194" fmla="*/ 66829 h 842248"/>
                <a:gd name="connsiteX195" fmla="*/ 892534 w 1395174"/>
                <a:gd name="connsiteY195" fmla="*/ 80330 h 842248"/>
                <a:gd name="connsiteX196" fmla="*/ 894720 w 1395174"/>
                <a:gd name="connsiteY196" fmla="*/ 86374 h 842248"/>
                <a:gd name="connsiteX197" fmla="*/ 895556 w 1395174"/>
                <a:gd name="connsiteY197" fmla="*/ 100454 h 842248"/>
                <a:gd name="connsiteX198" fmla="*/ 920631 w 1395174"/>
                <a:gd name="connsiteY198" fmla="*/ 109263 h 842248"/>
                <a:gd name="connsiteX199" fmla="*/ 920631 w 1395174"/>
                <a:gd name="connsiteY199" fmla="*/ 115692 h 842248"/>
                <a:gd name="connsiteX200" fmla="*/ 916773 w 1395174"/>
                <a:gd name="connsiteY200" fmla="*/ 125657 h 842248"/>
                <a:gd name="connsiteX201" fmla="*/ 922817 w 1395174"/>
                <a:gd name="connsiteY201" fmla="*/ 121221 h 842248"/>
                <a:gd name="connsiteX202" fmla="*/ 928346 w 1395174"/>
                <a:gd name="connsiteY202" fmla="*/ 128101 h 842248"/>
                <a:gd name="connsiteX203" fmla="*/ 919795 w 1395174"/>
                <a:gd name="connsiteY203" fmla="*/ 135559 h 842248"/>
                <a:gd name="connsiteX204" fmla="*/ 907643 w 1395174"/>
                <a:gd name="connsiteY204" fmla="*/ 140509 h 842248"/>
                <a:gd name="connsiteX205" fmla="*/ 907643 w 1395174"/>
                <a:gd name="connsiteY205" fmla="*/ 152661 h 842248"/>
                <a:gd name="connsiteX206" fmla="*/ 901214 w 1395174"/>
                <a:gd name="connsiteY206" fmla="*/ 157354 h 842248"/>
                <a:gd name="connsiteX207" fmla="*/ 894784 w 1395174"/>
                <a:gd name="connsiteY207" fmla="*/ 147132 h 842248"/>
                <a:gd name="connsiteX208" fmla="*/ 896392 w 1395174"/>
                <a:gd name="connsiteY208" fmla="*/ 137487 h 842248"/>
                <a:gd name="connsiteX209" fmla="*/ 882054 w 1395174"/>
                <a:gd name="connsiteY209" fmla="*/ 133373 h 842248"/>
                <a:gd name="connsiteX210" fmla="*/ 891184 w 1395174"/>
                <a:gd name="connsiteY210" fmla="*/ 131958 h 842248"/>
                <a:gd name="connsiteX211" fmla="*/ 897613 w 1395174"/>
                <a:gd name="connsiteY211" fmla="*/ 127008 h 842248"/>
                <a:gd name="connsiteX212" fmla="*/ 911951 w 1395174"/>
                <a:gd name="connsiteY212" fmla="*/ 125915 h 842248"/>
                <a:gd name="connsiteX213" fmla="*/ 905007 w 1395174"/>
                <a:gd name="connsiteY213" fmla="*/ 115178 h 842248"/>
                <a:gd name="connsiteX214" fmla="*/ 895106 w 1395174"/>
                <a:gd name="connsiteY214" fmla="*/ 114342 h 842248"/>
                <a:gd name="connsiteX215" fmla="*/ 905329 w 1395174"/>
                <a:gd name="connsiteY215" fmla="*/ 112413 h 842248"/>
                <a:gd name="connsiteX216" fmla="*/ 897871 w 1395174"/>
                <a:gd name="connsiteY216" fmla="*/ 107977 h 842248"/>
                <a:gd name="connsiteX217" fmla="*/ 884112 w 1395174"/>
                <a:gd name="connsiteY217" fmla="*/ 104955 h 842248"/>
                <a:gd name="connsiteX218" fmla="*/ 869774 w 1395174"/>
                <a:gd name="connsiteY218" fmla="*/ 108298 h 842248"/>
                <a:gd name="connsiteX219" fmla="*/ 856915 w 1395174"/>
                <a:gd name="connsiteY219" fmla="*/ 116785 h 842248"/>
                <a:gd name="connsiteX220" fmla="*/ 867910 w 1395174"/>
                <a:gd name="connsiteY220" fmla="*/ 123214 h 842248"/>
                <a:gd name="connsiteX221" fmla="*/ 877297 w 1395174"/>
                <a:gd name="connsiteY221" fmla="*/ 130351 h 842248"/>
                <a:gd name="connsiteX222" fmla="*/ 871510 w 1395174"/>
                <a:gd name="connsiteY222" fmla="*/ 133694 h 842248"/>
                <a:gd name="connsiteX223" fmla="*/ 866560 w 1395174"/>
                <a:gd name="connsiteY223" fmla="*/ 136973 h 842248"/>
                <a:gd name="connsiteX224" fmla="*/ 865724 w 1395174"/>
                <a:gd name="connsiteY224" fmla="*/ 145010 h 842248"/>
                <a:gd name="connsiteX225" fmla="*/ 854151 w 1395174"/>
                <a:gd name="connsiteY225" fmla="*/ 144689 h 842248"/>
                <a:gd name="connsiteX226" fmla="*/ 829912 w 1395174"/>
                <a:gd name="connsiteY226" fmla="*/ 147710 h 842248"/>
                <a:gd name="connsiteX227" fmla="*/ 810302 w 1395174"/>
                <a:gd name="connsiteY227" fmla="*/ 143081 h 842248"/>
                <a:gd name="connsiteX228" fmla="*/ 797444 w 1395174"/>
                <a:gd name="connsiteY228" fmla="*/ 140059 h 842248"/>
                <a:gd name="connsiteX229" fmla="*/ 786385 w 1395174"/>
                <a:gd name="connsiteY229" fmla="*/ 134530 h 842248"/>
                <a:gd name="connsiteX230" fmla="*/ 779956 w 1395174"/>
                <a:gd name="connsiteY230" fmla="*/ 124565 h 842248"/>
                <a:gd name="connsiteX231" fmla="*/ 759510 w 1395174"/>
                <a:gd name="connsiteY231" fmla="*/ 125400 h 842248"/>
                <a:gd name="connsiteX232" fmla="*/ 741315 w 1395174"/>
                <a:gd name="connsiteY232" fmla="*/ 133437 h 842248"/>
                <a:gd name="connsiteX233" fmla="*/ 746845 w 1395174"/>
                <a:gd name="connsiteY233" fmla="*/ 138645 h 842248"/>
                <a:gd name="connsiteX234" fmla="*/ 758417 w 1395174"/>
                <a:gd name="connsiteY234" fmla="*/ 134787 h 842248"/>
                <a:gd name="connsiteX235" fmla="*/ 774941 w 1395174"/>
                <a:gd name="connsiteY235" fmla="*/ 130094 h 842248"/>
                <a:gd name="connsiteX236" fmla="*/ 754560 w 1395174"/>
                <a:gd name="connsiteY236" fmla="*/ 140831 h 842248"/>
                <a:gd name="connsiteX237" fmla="*/ 755974 w 1395174"/>
                <a:gd name="connsiteY237" fmla="*/ 157933 h 842248"/>
                <a:gd name="connsiteX238" fmla="*/ 752888 w 1395174"/>
                <a:gd name="connsiteY238" fmla="*/ 167320 h 842248"/>
                <a:gd name="connsiteX239" fmla="*/ 745173 w 1395174"/>
                <a:gd name="connsiteY239" fmla="*/ 163977 h 842248"/>
                <a:gd name="connsiteX240" fmla="*/ 743823 w 1395174"/>
                <a:gd name="connsiteY240" fmla="*/ 153818 h 842248"/>
                <a:gd name="connsiteX241" fmla="*/ 737393 w 1395174"/>
                <a:gd name="connsiteY241" fmla="*/ 150218 h 842248"/>
                <a:gd name="connsiteX242" fmla="*/ 729164 w 1395174"/>
                <a:gd name="connsiteY242" fmla="*/ 147453 h 842248"/>
                <a:gd name="connsiteX243" fmla="*/ 718105 w 1395174"/>
                <a:gd name="connsiteY243" fmla="*/ 144689 h 842248"/>
                <a:gd name="connsiteX244" fmla="*/ 695281 w 1395174"/>
                <a:gd name="connsiteY244" fmla="*/ 148546 h 842248"/>
                <a:gd name="connsiteX245" fmla="*/ 658634 w 1395174"/>
                <a:gd name="connsiteY245" fmla="*/ 146103 h 842248"/>
                <a:gd name="connsiteX246" fmla="*/ 672650 w 1395174"/>
                <a:gd name="connsiteY246" fmla="*/ 136459 h 842248"/>
                <a:gd name="connsiteX247" fmla="*/ 667956 w 1395174"/>
                <a:gd name="connsiteY247" fmla="*/ 127072 h 842248"/>
                <a:gd name="connsiteX248" fmla="*/ 647832 w 1395174"/>
                <a:gd name="connsiteY248" fmla="*/ 122121 h 842248"/>
                <a:gd name="connsiteX249" fmla="*/ 629701 w 1395174"/>
                <a:gd name="connsiteY249" fmla="*/ 120450 h 842248"/>
                <a:gd name="connsiteX250" fmla="*/ 611506 w 1395174"/>
                <a:gd name="connsiteY250" fmla="*/ 114663 h 842248"/>
                <a:gd name="connsiteX251" fmla="*/ 587203 w 1395174"/>
                <a:gd name="connsiteY251" fmla="*/ 106434 h 842248"/>
                <a:gd name="connsiteX252" fmla="*/ 559107 w 1395174"/>
                <a:gd name="connsiteY252" fmla="*/ 107527 h 842248"/>
                <a:gd name="connsiteX253" fmla="*/ 544769 w 1395174"/>
                <a:gd name="connsiteY253" fmla="*/ 112735 h 842248"/>
                <a:gd name="connsiteX254" fmla="*/ 545348 w 1395174"/>
                <a:gd name="connsiteY254" fmla="*/ 104762 h 842248"/>
                <a:gd name="connsiteX255" fmla="*/ 541233 w 1395174"/>
                <a:gd name="connsiteY255" fmla="*/ 95118 h 842248"/>
                <a:gd name="connsiteX256" fmla="*/ 524388 w 1395174"/>
                <a:gd name="connsiteY256" fmla="*/ 112735 h 842248"/>
                <a:gd name="connsiteX257" fmla="*/ 505679 w 1395174"/>
                <a:gd name="connsiteY257" fmla="*/ 87917 h 842248"/>
                <a:gd name="connsiteX258" fmla="*/ 498221 w 1395174"/>
                <a:gd name="connsiteY258" fmla="*/ 90167 h 842248"/>
                <a:gd name="connsiteX259" fmla="*/ 493784 w 1395174"/>
                <a:gd name="connsiteY259" fmla="*/ 97304 h 842248"/>
                <a:gd name="connsiteX260" fmla="*/ 484719 w 1395174"/>
                <a:gd name="connsiteY260" fmla="*/ 105276 h 842248"/>
                <a:gd name="connsiteX261" fmla="*/ 472567 w 1395174"/>
                <a:gd name="connsiteY261" fmla="*/ 107205 h 842248"/>
                <a:gd name="connsiteX262" fmla="*/ 460737 w 1395174"/>
                <a:gd name="connsiteY262" fmla="*/ 111063 h 842248"/>
                <a:gd name="connsiteX263" fmla="*/ 441449 w 1395174"/>
                <a:gd name="connsiteY263" fmla="*/ 121543 h 842248"/>
                <a:gd name="connsiteX264" fmla="*/ 433155 w 1395174"/>
                <a:gd name="connsiteY264" fmla="*/ 127072 h 842248"/>
                <a:gd name="connsiteX265" fmla="*/ 436241 w 1395174"/>
                <a:gd name="connsiteY265" fmla="*/ 120193 h 842248"/>
                <a:gd name="connsiteX266" fmla="*/ 460159 w 1395174"/>
                <a:gd name="connsiteY266" fmla="*/ 106434 h 842248"/>
                <a:gd name="connsiteX267" fmla="*/ 479447 w 1395174"/>
                <a:gd name="connsiteY267" fmla="*/ 97047 h 842248"/>
                <a:gd name="connsiteX268" fmla="*/ 468710 w 1395174"/>
                <a:gd name="connsiteY268" fmla="*/ 95632 h 842248"/>
                <a:gd name="connsiteX269" fmla="*/ 449422 w 1395174"/>
                <a:gd name="connsiteY269" fmla="*/ 103090 h 842248"/>
                <a:gd name="connsiteX270" fmla="*/ 435663 w 1395174"/>
                <a:gd name="connsiteY270" fmla="*/ 109520 h 842248"/>
                <a:gd name="connsiteX271" fmla="*/ 426855 w 1395174"/>
                <a:gd name="connsiteY271" fmla="*/ 112027 h 842248"/>
                <a:gd name="connsiteX272" fmla="*/ 424090 w 1395174"/>
                <a:gd name="connsiteY272" fmla="*/ 110098 h 842248"/>
                <a:gd name="connsiteX273" fmla="*/ 417661 w 1395174"/>
                <a:gd name="connsiteY273" fmla="*/ 107334 h 842248"/>
                <a:gd name="connsiteX274" fmla="*/ 409431 w 1395174"/>
                <a:gd name="connsiteY274" fmla="*/ 111706 h 842248"/>
                <a:gd name="connsiteX275" fmla="*/ 400558 w 1395174"/>
                <a:gd name="connsiteY275" fmla="*/ 119742 h 842248"/>
                <a:gd name="connsiteX276" fmla="*/ 405573 w 1395174"/>
                <a:gd name="connsiteY276" fmla="*/ 126879 h 842248"/>
                <a:gd name="connsiteX277" fmla="*/ 386800 w 1395174"/>
                <a:gd name="connsiteY277" fmla="*/ 121928 h 842248"/>
                <a:gd name="connsiteX278" fmla="*/ 357867 w 1395174"/>
                <a:gd name="connsiteY278" fmla="*/ 108427 h 842248"/>
                <a:gd name="connsiteX279" fmla="*/ 334914 w 1395174"/>
                <a:gd name="connsiteY279" fmla="*/ 106562 h 842248"/>
                <a:gd name="connsiteX280" fmla="*/ 329192 w 1395174"/>
                <a:gd name="connsiteY280" fmla="*/ 105405 h 842248"/>
                <a:gd name="connsiteX281" fmla="*/ 303025 w 1395174"/>
                <a:gd name="connsiteY281" fmla="*/ 98204 h 842248"/>
                <a:gd name="connsiteX282" fmla="*/ 279622 w 1395174"/>
                <a:gd name="connsiteY282" fmla="*/ 99040 h 842248"/>
                <a:gd name="connsiteX283" fmla="*/ 260334 w 1395174"/>
                <a:gd name="connsiteY283" fmla="*/ 96275 h 842248"/>
                <a:gd name="connsiteX284" fmla="*/ 233909 w 1395174"/>
                <a:gd name="connsiteY284" fmla="*/ 88560 h 842248"/>
                <a:gd name="connsiteX285" fmla="*/ 202212 w 1395174"/>
                <a:gd name="connsiteY285" fmla="*/ 90810 h 842248"/>
                <a:gd name="connsiteX286" fmla="*/ 194240 w 1395174"/>
                <a:gd name="connsiteY286" fmla="*/ 87210 h 842248"/>
                <a:gd name="connsiteX287" fmla="*/ 190382 w 1395174"/>
                <a:gd name="connsiteY287" fmla="*/ 80781 h 842248"/>
                <a:gd name="connsiteX288" fmla="*/ 168844 w 1395174"/>
                <a:gd name="connsiteY288" fmla="*/ 80781 h 842248"/>
                <a:gd name="connsiteX289" fmla="*/ 162800 w 1395174"/>
                <a:gd name="connsiteY289" fmla="*/ 75766 h 842248"/>
                <a:gd name="connsiteX290" fmla="*/ 156371 w 1395174"/>
                <a:gd name="connsiteY290" fmla="*/ 77437 h 842248"/>
                <a:gd name="connsiteX291" fmla="*/ 146902 w 1395174"/>
                <a:gd name="connsiteY291" fmla="*/ 79231 h 842248"/>
                <a:gd name="connsiteX292" fmla="*/ 146727 w 1395174"/>
                <a:gd name="connsiteY292" fmla="*/ 79109 h 842248"/>
                <a:gd name="connsiteX293" fmla="*/ 151677 w 1395174"/>
                <a:gd name="connsiteY293" fmla="*/ 73580 h 842248"/>
                <a:gd name="connsiteX294" fmla="*/ 141712 w 1395174"/>
                <a:gd name="connsiteY294" fmla="*/ 68886 h 842248"/>
                <a:gd name="connsiteX295" fmla="*/ 128853 w 1395174"/>
                <a:gd name="connsiteY295" fmla="*/ 76923 h 842248"/>
                <a:gd name="connsiteX296" fmla="*/ 109565 w 1395174"/>
                <a:gd name="connsiteY296" fmla="*/ 81038 h 842248"/>
                <a:gd name="connsiteX297" fmla="*/ 97992 w 1395174"/>
                <a:gd name="connsiteY297" fmla="*/ 84638 h 842248"/>
                <a:gd name="connsiteX298" fmla="*/ 100692 w 1395174"/>
                <a:gd name="connsiteY298" fmla="*/ 91067 h 842248"/>
                <a:gd name="connsiteX299" fmla="*/ 91627 w 1395174"/>
                <a:gd name="connsiteY299" fmla="*/ 89974 h 842248"/>
                <a:gd name="connsiteX300" fmla="*/ 73432 w 1395174"/>
                <a:gd name="connsiteY300" fmla="*/ 93318 h 842248"/>
                <a:gd name="connsiteX301" fmla="*/ 58837 w 1395174"/>
                <a:gd name="connsiteY301" fmla="*/ 105405 h 842248"/>
                <a:gd name="connsiteX302" fmla="*/ 53565 w 1395174"/>
                <a:gd name="connsiteY302" fmla="*/ 118649 h 842248"/>
                <a:gd name="connsiteX303" fmla="*/ 22190 w 1395174"/>
                <a:gd name="connsiteY303" fmla="*/ 125079 h 842248"/>
                <a:gd name="connsiteX304" fmla="*/ 18846 w 1395174"/>
                <a:gd name="connsiteY304" fmla="*/ 132794 h 842248"/>
                <a:gd name="connsiteX305" fmla="*/ 32670 w 1395174"/>
                <a:gd name="connsiteY305" fmla="*/ 141602 h 842248"/>
                <a:gd name="connsiteX306" fmla="*/ 53051 w 1395174"/>
                <a:gd name="connsiteY306" fmla="*/ 163076 h 842248"/>
                <a:gd name="connsiteX307" fmla="*/ 74010 w 1395174"/>
                <a:gd name="connsiteY307" fmla="*/ 163655 h 842248"/>
                <a:gd name="connsiteX308" fmla="*/ 78125 w 1395174"/>
                <a:gd name="connsiteY308" fmla="*/ 174392 h 842248"/>
                <a:gd name="connsiteX309" fmla="*/ 91370 w 1395174"/>
                <a:gd name="connsiteY309" fmla="*/ 177157 h 842248"/>
                <a:gd name="connsiteX310" fmla="*/ 76454 w 1395174"/>
                <a:gd name="connsiteY310" fmla="*/ 181272 h 842248"/>
                <a:gd name="connsiteX311" fmla="*/ 65974 w 1395174"/>
                <a:gd name="connsiteY311" fmla="*/ 184293 h 842248"/>
                <a:gd name="connsiteX312" fmla="*/ 50029 w 1395174"/>
                <a:gd name="connsiteY312" fmla="*/ 183779 h 842248"/>
                <a:gd name="connsiteX313" fmla="*/ 50029 w 1395174"/>
                <a:gd name="connsiteY313" fmla="*/ 175228 h 842248"/>
                <a:gd name="connsiteX314" fmla="*/ 34598 w 1395174"/>
                <a:gd name="connsiteY314" fmla="*/ 175742 h 842248"/>
                <a:gd name="connsiteX315" fmla="*/ 27719 w 1395174"/>
                <a:gd name="connsiteY315" fmla="*/ 183200 h 842248"/>
                <a:gd name="connsiteX316" fmla="*/ 16918 w 1395174"/>
                <a:gd name="connsiteY316" fmla="*/ 184293 h 842248"/>
                <a:gd name="connsiteX317" fmla="*/ 137 w 1395174"/>
                <a:gd name="connsiteY317" fmla="*/ 193937 h 842248"/>
                <a:gd name="connsiteX318" fmla="*/ 18075 w 1395174"/>
                <a:gd name="connsiteY318" fmla="*/ 201138 h 842248"/>
                <a:gd name="connsiteX319" fmla="*/ 15825 w 1395174"/>
                <a:gd name="connsiteY319" fmla="*/ 207182 h 842248"/>
                <a:gd name="connsiteX320" fmla="*/ 25211 w 1395174"/>
                <a:gd name="connsiteY320" fmla="*/ 216247 h 842248"/>
                <a:gd name="connsiteX321" fmla="*/ 51636 w 1395174"/>
                <a:gd name="connsiteY321" fmla="*/ 216247 h 842248"/>
                <a:gd name="connsiteX322" fmla="*/ 62952 w 1395174"/>
                <a:gd name="connsiteY322" fmla="*/ 217662 h 842248"/>
                <a:gd name="connsiteX323" fmla="*/ 85005 w 1395174"/>
                <a:gd name="connsiteY323" fmla="*/ 209947 h 842248"/>
                <a:gd name="connsiteX324" fmla="*/ 81404 w 1395174"/>
                <a:gd name="connsiteY324" fmla="*/ 218498 h 842248"/>
                <a:gd name="connsiteX325" fmla="*/ 80376 w 1395174"/>
                <a:gd name="connsiteY325" fmla="*/ 235021 h 842248"/>
                <a:gd name="connsiteX326" fmla="*/ 65202 w 1395174"/>
                <a:gd name="connsiteY326" fmla="*/ 236114 h 842248"/>
                <a:gd name="connsiteX327" fmla="*/ 58773 w 1395174"/>
                <a:gd name="connsiteY327" fmla="*/ 246273 h 842248"/>
                <a:gd name="connsiteX328" fmla="*/ 43085 w 1395174"/>
                <a:gd name="connsiteY328" fmla="*/ 241901 h 842248"/>
                <a:gd name="connsiteX329" fmla="*/ 38135 w 1395174"/>
                <a:gd name="connsiteY329" fmla="*/ 254759 h 842248"/>
                <a:gd name="connsiteX330" fmla="*/ 25726 w 1395174"/>
                <a:gd name="connsiteY330" fmla="*/ 263889 h 842248"/>
                <a:gd name="connsiteX331" fmla="*/ 19682 w 1395174"/>
                <a:gd name="connsiteY331" fmla="*/ 274883 h 842248"/>
                <a:gd name="connsiteX332" fmla="*/ 30934 w 1395174"/>
                <a:gd name="connsiteY332" fmla="*/ 282341 h 842248"/>
                <a:gd name="connsiteX333" fmla="*/ 30419 w 1395174"/>
                <a:gd name="connsiteY333" fmla="*/ 294171 h 842248"/>
                <a:gd name="connsiteX334" fmla="*/ 45850 w 1395174"/>
                <a:gd name="connsiteY334" fmla="*/ 308766 h 842248"/>
                <a:gd name="connsiteX335" fmla="*/ 60444 w 1395174"/>
                <a:gd name="connsiteY335" fmla="*/ 306580 h 842248"/>
                <a:gd name="connsiteX336" fmla="*/ 66874 w 1395174"/>
                <a:gd name="connsiteY336" fmla="*/ 301372 h 842248"/>
                <a:gd name="connsiteX337" fmla="*/ 71889 w 1395174"/>
                <a:gd name="connsiteY337" fmla="*/ 315388 h 842248"/>
                <a:gd name="connsiteX338" fmla="*/ 70796 w 1395174"/>
                <a:gd name="connsiteY338" fmla="*/ 327797 h 842248"/>
                <a:gd name="connsiteX339" fmla="*/ 84297 w 1395174"/>
                <a:gd name="connsiteY339" fmla="*/ 326125 h 842248"/>
                <a:gd name="connsiteX340" fmla="*/ 101335 w 1395174"/>
                <a:gd name="connsiteY340" fmla="*/ 327540 h 842248"/>
                <a:gd name="connsiteX341" fmla="*/ 109051 w 1395174"/>
                <a:gd name="connsiteY341" fmla="*/ 329983 h 842248"/>
                <a:gd name="connsiteX342" fmla="*/ 114323 w 1395174"/>
                <a:gd name="connsiteY342" fmla="*/ 323554 h 842248"/>
                <a:gd name="connsiteX343" fmla="*/ 127824 w 1395174"/>
                <a:gd name="connsiteY343" fmla="*/ 324904 h 842248"/>
                <a:gd name="connsiteX344" fmla="*/ 127824 w 1395174"/>
                <a:gd name="connsiteY344" fmla="*/ 330690 h 842248"/>
                <a:gd name="connsiteX345" fmla="*/ 123388 w 1395174"/>
                <a:gd name="connsiteY345" fmla="*/ 350557 h 842248"/>
                <a:gd name="connsiteX346" fmla="*/ 108279 w 1395174"/>
                <a:gd name="connsiteY346" fmla="*/ 363802 h 842248"/>
                <a:gd name="connsiteX347" fmla="*/ 87319 w 1395174"/>
                <a:gd name="connsiteY347" fmla="*/ 380325 h 842248"/>
                <a:gd name="connsiteX348" fmla="*/ 68031 w 1395174"/>
                <a:gd name="connsiteY348" fmla="*/ 382254 h 842248"/>
                <a:gd name="connsiteX349" fmla="*/ 58966 w 1395174"/>
                <a:gd name="connsiteY349" fmla="*/ 395756 h 842248"/>
                <a:gd name="connsiteX350" fmla="*/ 73818 w 1395174"/>
                <a:gd name="connsiteY350" fmla="*/ 387719 h 842248"/>
                <a:gd name="connsiteX351" fmla="*/ 78254 w 1395174"/>
                <a:gd name="connsiteY351" fmla="*/ 387719 h 842248"/>
                <a:gd name="connsiteX352" fmla="*/ 88412 w 1395174"/>
                <a:gd name="connsiteY352" fmla="*/ 384440 h 842248"/>
                <a:gd name="connsiteX353" fmla="*/ 97542 w 1395174"/>
                <a:gd name="connsiteY353" fmla="*/ 383347 h 842248"/>
                <a:gd name="connsiteX354" fmla="*/ 108536 w 1395174"/>
                <a:gd name="connsiteY354" fmla="*/ 378911 h 842248"/>
                <a:gd name="connsiteX355" fmla="*/ 115994 w 1395174"/>
                <a:gd name="connsiteY355" fmla="*/ 371453 h 842248"/>
                <a:gd name="connsiteX356" fmla="*/ 138561 w 1395174"/>
                <a:gd name="connsiteY356" fmla="*/ 358594 h 842248"/>
                <a:gd name="connsiteX357" fmla="*/ 143512 w 1395174"/>
                <a:gd name="connsiteY357" fmla="*/ 352164 h 842248"/>
                <a:gd name="connsiteX358" fmla="*/ 157528 w 1395174"/>
                <a:gd name="connsiteY358" fmla="*/ 343163 h 842248"/>
                <a:gd name="connsiteX359" fmla="*/ 166851 w 1395174"/>
                <a:gd name="connsiteY359" fmla="*/ 339563 h 842248"/>
                <a:gd name="connsiteX360" fmla="*/ 171287 w 1395174"/>
                <a:gd name="connsiteY360" fmla="*/ 330497 h 842248"/>
                <a:gd name="connsiteX361" fmla="*/ 177716 w 1395174"/>
                <a:gd name="connsiteY361" fmla="*/ 324068 h 842248"/>
                <a:gd name="connsiteX362" fmla="*/ 167751 w 1395174"/>
                <a:gd name="connsiteY362" fmla="*/ 319117 h 842248"/>
                <a:gd name="connsiteX363" fmla="*/ 177973 w 1395174"/>
                <a:gd name="connsiteY363" fmla="*/ 310309 h 842248"/>
                <a:gd name="connsiteX364" fmla="*/ 186203 w 1395174"/>
                <a:gd name="connsiteY364" fmla="*/ 302851 h 842248"/>
                <a:gd name="connsiteX365" fmla="*/ 194497 w 1395174"/>
                <a:gd name="connsiteY365" fmla="*/ 293786 h 842248"/>
                <a:gd name="connsiteX366" fmla="*/ 200926 w 1395174"/>
                <a:gd name="connsiteY366" fmla="*/ 286328 h 842248"/>
                <a:gd name="connsiteX367" fmla="*/ 211663 w 1395174"/>
                <a:gd name="connsiteY367" fmla="*/ 278870 h 842248"/>
                <a:gd name="connsiteX368" fmla="*/ 219057 w 1395174"/>
                <a:gd name="connsiteY368" fmla="*/ 281956 h 842248"/>
                <a:gd name="connsiteX369" fmla="*/ 219057 w 1395174"/>
                <a:gd name="connsiteY369" fmla="*/ 286585 h 842248"/>
                <a:gd name="connsiteX370" fmla="*/ 206198 w 1395174"/>
                <a:gd name="connsiteY370" fmla="*/ 289092 h 842248"/>
                <a:gd name="connsiteX371" fmla="*/ 201248 w 1395174"/>
                <a:gd name="connsiteY371" fmla="*/ 300408 h 842248"/>
                <a:gd name="connsiteX372" fmla="*/ 202084 w 1395174"/>
                <a:gd name="connsiteY372" fmla="*/ 309473 h 842248"/>
                <a:gd name="connsiteX373" fmla="*/ 197647 w 1395174"/>
                <a:gd name="connsiteY373" fmla="*/ 315003 h 842248"/>
                <a:gd name="connsiteX374" fmla="*/ 202662 w 1395174"/>
                <a:gd name="connsiteY374" fmla="*/ 319117 h 842248"/>
                <a:gd name="connsiteX375" fmla="*/ 227158 w 1395174"/>
                <a:gd name="connsiteY375" fmla="*/ 305616 h 842248"/>
                <a:gd name="connsiteX376" fmla="*/ 245096 w 1395174"/>
                <a:gd name="connsiteY376" fmla="*/ 304780 h 842248"/>
                <a:gd name="connsiteX377" fmla="*/ 245096 w 1395174"/>
                <a:gd name="connsiteY377" fmla="*/ 298351 h 842248"/>
                <a:gd name="connsiteX378" fmla="*/ 239567 w 1395174"/>
                <a:gd name="connsiteY378" fmla="*/ 290892 h 842248"/>
                <a:gd name="connsiteX379" fmla="*/ 243746 w 1395174"/>
                <a:gd name="connsiteY379" fmla="*/ 284849 h 842248"/>
                <a:gd name="connsiteX380" fmla="*/ 250625 w 1395174"/>
                <a:gd name="connsiteY380" fmla="*/ 284270 h 842248"/>
                <a:gd name="connsiteX381" fmla="*/ 259691 w 1395174"/>
                <a:gd name="connsiteY381" fmla="*/ 287549 h 842248"/>
                <a:gd name="connsiteX382" fmla="*/ 269335 w 1395174"/>
                <a:gd name="connsiteY382" fmla="*/ 289799 h 842248"/>
                <a:gd name="connsiteX383" fmla="*/ 263806 w 1395174"/>
                <a:gd name="connsiteY383" fmla="*/ 293914 h 842248"/>
                <a:gd name="connsiteX384" fmla="*/ 265220 w 1395174"/>
                <a:gd name="connsiteY384" fmla="*/ 298351 h 842248"/>
                <a:gd name="connsiteX385" fmla="*/ 275121 w 1395174"/>
                <a:gd name="connsiteY385" fmla="*/ 296422 h 842248"/>
                <a:gd name="connsiteX386" fmla="*/ 282579 w 1395174"/>
                <a:gd name="connsiteY386" fmla="*/ 295264 h 842248"/>
                <a:gd name="connsiteX387" fmla="*/ 285344 w 1395174"/>
                <a:gd name="connsiteY387" fmla="*/ 297772 h 842248"/>
                <a:gd name="connsiteX388" fmla="*/ 299360 w 1395174"/>
                <a:gd name="connsiteY388" fmla="*/ 302208 h 842248"/>
                <a:gd name="connsiteX389" fmla="*/ 326363 w 1395174"/>
                <a:gd name="connsiteY389" fmla="*/ 301372 h 842248"/>
                <a:gd name="connsiteX390" fmla="*/ 337422 w 1395174"/>
                <a:gd name="connsiteY390" fmla="*/ 308766 h 842248"/>
                <a:gd name="connsiteX391" fmla="*/ 352595 w 1395174"/>
                <a:gd name="connsiteY391" fmla="*/ 303816 h 842248"/>
                <a:gd name="connsiteX392" fmla="*/ 350088 w 1395174"/>
                <a:gd name="connsiteY392" fmla="*/ 311531 h 842248"/>
                <a:gd name="connsiteX393" fmla="*/ 356131 w 1395174"/>
                <a:gd name="connsiteY393" fmla="*/ 315967 h 842248"/>
                <a:gd name="connsiteX394" fmla="*/ 370726 w 1395174"/>
                <a:gd name="connsiteY394" fmla="*/ 323104 h 842248"/>
                <a:gd name="connsiteX395" fmla="*/ 385385 w 1395174"/>
                <a:gd name="connsiteY395" fmla="*/ 334998 h 842248"/>
                <a:gd name="connsiteX396" fmla="*/ 392522 w 1395174"/>
                <a:gd name="connsiteY396" fmla="*/ 328890 h 842248"/>
                <a:gd name="connsiteX397" fmla="*/ 402423 w 1395174"/>
                <a:gd name="connsiteY397" fmla="*/ 334162 h 842248"/>
                <a:gd name="connsiteX398" fmla="*/ 403580 w 1395174"/>
                <a:gd name="connsiteY398" fmla="*/ 323682 h 842248"/>
                <a:gd name="connsiteX399" fmla="*/ 408531 w 1395174"/>
                <a:gd name="connsiteY399" fmla="*/ 324775 h 842248"/>
                <a:gd name="connsiteX400" fmla="*/ 409367 w 1395174"/>
                <a:gd name="connsiteY400" fmla="*/ 341041 h 842248"/>
                <a:gd name="connsiteX401" fmla="*/ 400237 w 1395174"/>
                <a:gd name="connsiteY401" fmla="*/ 339113 h 842248"/>
                <a:gd name="connsiteX402" fmla="*/ 391686 w 1395174"/>
                <a:gd name="connsiteY402" fmla="*/ 341299 h 842248"/>
                <a:gd name="connsiteX403" fmla="*/ 401909 w 1395174"/>
                <a:gd name="connsiteY403" fmla="*/ 353450 h 842248"/>
                <a:gd name="connsiteX404" fmla="*/ 405766 w 1395174"/>
                <a:gd name="connsiteY404" fmla="*/ 362001 h 842248"/>
                <a:gd name="connsiteX405" fmla="*/ 411553 w 1395174"/>
                <a:gd name="connsiteY405" fmla="*/ 369138 h 842248"/>
                <a:gd name="connsiteX406" fmla="*/ 410460 w 1395174"/>
                <a:gd name="connsiteY406" fmla="*/ 355636 h 842248"/>
                <a:gd name="connsiteX407" fmla="*/ 412388 w 1395174"/>
                <a:gd name="connsiteY407" fmla="*/ 347407 h 842248"/>
                <a:gd name="connsiteX408" fmla="*/ 413996 w 1395174"/>
                <a:gd name="connsiteY408" fmla="*/ 356215 h 842248"/>
                <a:gd name="connsiteX409" fmla="*/ 421454 w 1395174"/>
                <a:gd name="connsiteY409" fmla="*/ 352100 h 842248"/>
                <a:gd name="connsiteX410" fmla="*/ 421454 w 1395174"/>
                <a:gd name="connsiteY410" fmla="*/ 340206 h 842248"/>
                <a:gd name="connsiteX411" fmla="*/ 428912 w 1395174"/>
                <a:gd name="connsiteY411" fmla="*/ 348757 h 842248"/>
                <a:gd name="connsiteX412" fmla="*/ 424733 w 1395174"/>
                <a:gd name="connsiteY412" fmla="*/ 357308 h 842248"/>
                <a:gd name="connsiteX413" fmla="*/ 417853 w 1395174"/>
                <a:gd name="connsiteY413" fmla="*/ 360587 h 842248"/>
                <a:gd name="connsiteX414" fmla="*/ 419268 w 1395174"/>
                <a:gd name="connsiteY414" fmla="*/ 373446 h 842248"/>
                <a:gd name="connsiteX415" fmla="*/ 424219 w 1395174"/>
                <a:gd name="connsiteY415" fmla="*/ 369009 h 842248"/>
                <a:gd name="connsiteX416" fmla="*/ 432191 w 1395174"/>
                <a:gd name="connsiteY416" fmla="*/ 367402 h 842248"/>
                <a:gd name="connsiteX417" fmla="*/ 442671 w 1395174"/>
                <a:gd name="connsiteY417" fmla="*/ 375632 h 842248"/>
                <a:gd name="connsiteX418" fmla="*/ 437720 w 1395174"/>
                <a:gd name="connsiteY418" fmla="*/ 369588 h 842248"/>
                <a:gd name="connsiteX419" fmla="*/ 437720 w 1395174"/>
                <a:gd name="connsiteY419" fmla="*/ 362708 h 842248"/>
                <a:gd name="connsiteX420" fmla="*/ 447364 w 1395174"/>
                <a:gd name="connsiteY420" fmla="*/ 375117 h 842248"/>
                <a:gd name="connsiteX421" fmla="*/ 440935 w 1395174"/>
                <a:gd name="connsiteY421" fmla="*/ 381547 h 842248"/>
                <a:gd name="connsiteX422" fmla="*/ 430391 w 1395174"/>
                <a:gd name="connsiteY422" fmla="*/ 376467 h 842248"/>
                <a:gd name="connsiteX423" fmla="*/ 432062 w 1395174"/>
                <a:gd name="connsiteY423" fmla="*/ 386111 h 842248"/>
                <a:gd name="connsiteX424" fmla="*/ 432062 w 1395174"/>
                <a:gd name="connsiteY424" fmla="*/ 398199 h 842248"/>
                <a:gd name="connsiteX425" fmla="*/ 436241 w 1395174"/>
                <a:gd name="connsiteY425" fmla="*/ 394084 h 842248"/>
                <a:gd name="connsiteX426" fmla="*/ 443121 w 1395174"/>
                <a:gd name="connsiteY426" fmla="*/ 396591 h 842248"/>
                <a:gd name="connsiteX427" fmla="*/ 445885 w 1395174"/>
                <a:gd name="connsiteY427" fmla="*/ 389648 h 842248"/>
                <a:gd name="connsiteX428" fmla="*/ 452315 w 1395174"/>
                <a:gd name="connsiteY428" fmla="*/ 391898 h 842248"/>
                <a:gd name="connsiteX429" fmla="*/ 458101 w 1395174"/>
                <a:gd name="connsiteY429" fmla="*/ 388876 h 842248"/>
                <a:gd name="connsiteX430" fmla="*/ 459194 w 1395174"/>
                <a:gd name="connsiteY430" fmla="*/ 397684 h 842248"/>
                <a:gd name="connsiteX431" fmla="*/ 464466 w 1395174"/>
                <a:gd name="connsiteY431" fmla="*/ 398520 h 842248"/>
                <a:gd name="connsiteX432" fmla="*/ 464466 w 1395174"/>
                <a:gd name="connsiteY432" fmla="*/ 399870 h 842248"/>
                <a:gd name="connsiteX433" fmla="*/ 469738 w 1395174"/>
                <a:gd name="connsiteY433" fmla="*/ 406300 h 842248"/>
                <a:gd name="connsiteX434" fmla="*/ 466460 w 1395174"/>
                <a:gd name="connsiteY434" fmla="*/ 411508 h 842248"/>
                <a:gd name="connsiteX435" fmla="*/ 468645 w 1395174"/>
                <a:gd name="connsiteY435" fmla="*/ 420894 h 842248"/>
                <a:gd name="connsiteX436" fmla="*/ 479383 w 1395174"/>
                <a:gd name="connsiteY436" fmla="*/ 420316 h 842248"/>
                <a:gd name="connsiteX437" fmla="*/ 482147 w 1395174"/>
                <a:gd name="connsiteY437" fmla="*/ 427517 h 842248"/>
                <a:gd name="connsiteX438" fmla="*/ 482726 w 1395174"/>
                <a:gd name="connsiteY438" fmla="*/ 432210 h 842248"/>
                <a:gd name="connsiteX439" fmla="*/ 487419 w 1395174"/>
                <a:gd name="connsiteY439" fmla="*/ 431631 h 842248"/>
                <a:gd name="connsiteX440" fmla="*/ 497578 w 1395174"/>
                <a:gd name="connsiteY440" fmla="*/ 438061 h 842248"/>
                <a:gd name="connsiteX441" fmla="*/ 498413 w 1395174"/>
                <a:gd name="connsiteY441" fmla="*/ 443526 h 842248"/>
                <a:gd name="connsiteX442" fmla="*/ 497835 w 1395174"/>
                <a:gd name="connsiteY442" fmla="*/ 450984 h 842248"/>
                <a:gd name="connsiteX443" fmla="*/ 500599 w 1395174"/>
                <a:gd name="connsiteY443" fmla="*/ 457413 h 842248"/>
                <a:gd name="connsiteX444" fmla="*/ 513844 w 1395174"/>
                <a:gd name="connsiteY444" fmla="*/ 462364 h 842248"/>
                <a:gd name="connsiteX445" fmla="*/ 522395 w 1395174"/>
                <a:gd name="connsiteY445" fmla="*/ 467572 h 842248"/>
                <a:gd name="connsiteX446" fmla="*/ 533132 w 1395174"/>
                <a:gd name="connsiteY446" fmla="*/ 470915 h 842248"/>
                <a:gd name="connsiteX447" fmla="*/ 537826 w 1395174"/>
                <a:gd name="connsiteY447" fmla="*/ 478373 h 842248"/>
                <a:gd name="connsiteX448" fmla="*/ 547212 w 1395174"/>
                <a:gd name="connsiteY448" fmla="*/ 479723 h 842248"/>
                <a:gd name="connsiteX449" fmla="*/ 554606 w 1395174"/>
                <a:gd name="connsiteY449" fmla="*/ 483324 h 842248"/>
                <a:gd name="connsiteX450" fmla="*/ 564186 w 1395174"/>
                <a:gd name="connsiteY450" fmla="*/ 494961 h 842248"/>
                <a:gd name="connsiteX451" fmla="*/ 565408 w 1395174"/>
                <a:gd name="connsiteY451" fmla="*/ 496568 h 842248"/>
                <a:gd name="connsiteX452" fmla="*/ 567594 w 1395174"/>
                <a:gd name="connsiteY452" fmla="*/ 509427 h 842248"/>
                <a:gd name="connsiteX453" fmla="*/ 563736 w 1395174"/>
                <a:gd name="connsiteY453" fmla="*/ 522286 h 842248"/>
                <a:gd name="connsiteX454" fmla="*/ 559685 w 1395174"/>
                <a:gd name="connsiteY454" fmla="*/ 519907 h 842248"/>
                <a:gd name="connsiteX455" fmla="*/ 562064 w 1395174"/>
                <a:gd name="connsiteY455" fmla="*/ 515856 h 842248"/>
                <a:gd name="connsiteX456" fmla="*/ 560393 w 1395174"/>
                <a:gd name="connsiteY456" fmla="*/ 508141 h 842248"/>
                <a:gd name="connsiteX457" fmla="*/ 558014 w 1395174"/>
                <a:gd name="connsiteY457" fmla="*/ 503576 h 842248"/>
                <a:gd name="connsiteX458" fmla="*/ 559300 w 1395174"/>
                <a:gd name="connsiteY458" fmla="*/ 498433 h 842248"/>
                <a:gd name="connsiteX459" fmla="*/ 551584 w 1395174"/>
                <a:gd name="connsiteY459" fmla="*/ 493482 h 842248"/>
                <a:gd name="connsiteX460" fmla="*/ 537247 w 1395174"/>
                <a:gd name="connsiteY460" fmla="*/ 487053 h 842248"/>
                <a:gd name="connsiteX461" fmla="*/ 522652 w 1395174"/>
                <a:gd name="connsiteY461" fmla="*/ 470851 h 842248"/>
                <a:gd name="connsiteX462" fmla="*/ 506386 w 1395174"/>
                <a:gd name="connsiteY462" fmla="*/ 467250 h 842248"/>
                <a:gd name="connsiteX463" fmla="*/ 493527 w 1395174"/>
                <a:gd name="connsiteY463" fmla="*/ 465321 h 842248"/>
                <a:gd name="connsiteX464" fmla="*/ 497385 w 1395174"/>
                <a:gd name="connsiteY464" fmla="*/ 471108 h 842248"/>
                <a:gd name="connsiteX465" fmla="*/ 503171 w 1395174"/>
                <a:gd name="connsiteY465" fmla="*/ 474965 h 842248"/>
                <a:gd name="connsiteX466" fmla="*/ 511722 w 1395174"/>
                <a:gd name="connsiteY466" fmla="*/ 481395 h 842248"/>
                <a:gd name="connsiteX467" fmla="*/ 519952 w 1395174"/>
                <a:gd name="connsiteY467" fmla="*/ 486860 h 842248"/>
                <a:gd name="connsiteX468" fmla="*/ 526381 w 1395174"/>
                <a:gd name="connsiteY468" fmla="*/ 493804 h 842248"/>
                <a:gd name="connsiteX469" fmla="*/ 532811 w 1395174"/>
                <a:gd name="connsiteY469" fmla="*/ 496568 h 842248"/>
                <a:gd name="connsiteX470" fmla="*/ 538340 w 1395174"/>
                <a:gd name="connsiteY470" fmla="*/ 503576 h 842248"/>
                <a:gd name="connsiteX471" fmla="*/ 538340 w 1395174"/>
                <a:gd name="connsiteY471" fmla="*/ 504541 h 842248"/>
                <a:gd name="connsiteX472" fmla="*/ 544769 w 1395174"/>
                <a:gd name="connsiteY472" fmla="*/ 521064 h 842248"/>
                <a:gd name="connsiteX473" fmla="*/ 550299 w 1395174"/>
                <a:gd name="connsiteY473" fmla="*/ 532637 h 842248"/>
                <a:gd name="connsiteX474" fmla="*/ 550299 w 1395174"/>
                <a:gd name="connsiteY474" fmla="*/ 536752 h 842248"/>
                <a:gd name="connsiteX475" fmla="*/ 547855 w 1395174"/>
                <a:gd name="connsiteY475" fmla="*/ 548067 h 842248"/>
                <a:gd name="connsiteX476" fmla="*/ 545927 w 1395174"/>
                <a:gd name="connsiteY476" fmla="*/ 578671 h 842248"/>
                <a:gd name="connsiteX477" fmla="*/ 542583 w 1395174"/>
                <a:gd name="connsiteY477" fmla="*/ 597959 h 842248"/>
                <a:gd name="connsiteX478" fmla="*/ 546698 w 1395174"/>
                <a:gd name="connsiteY478" fmla="*/ 618083 h 842248"/>
                <a:gd name="connsiteX479" fmla="*/ 548113 w 1395174"/>
                <a:gd name="connsiteY479" fmla="*/ 634350 h 842248"/>
                <a:gd name="connsiteX480" fmla="*/ 551970 w 1395174"/>
                <a:gd name="connsiteY480" fmla="*/ 650552 h 842248"/>
                <a:gd name="connsiteX481" fmla="*/ 561357 w 1395174"/>
                <a:gd name="connsiteY481" fmla="*/ 661353 h 842248"/>
                <a:gd name="connsiteX482" fmla="*/ 567786 w 1395174"/>
                <a:gd name="connsiteY482" fmla="*/ 668232 h 842248"/>
                <a:gd name="connsiteX483" fmla="*/ 572737 w 1395174"/>
                <a:gd name="connsiteY483" fmla="*/ 675948 h 842248"/>
                <a:gd name="connsiteX484" fmla="*/ 574409 w 1395174"/>
                <a:gd name="connsiteY484" fmla="*/ 685592 h 842248"/>
                <a:gd name="connsiteX485" fmla="*/ 587267 w 1395174"/>
                <a:gd name="connsiteY485" fmla="*/ 699608 h 842248"/>
                <a:gd name="connsiteX486" fmla="*/ 593697 w 1395174"/>
                <a:gd name="connsiteY486" fmla="*/ 711181 h 842248"/>
                <a:gd name="connsiteX487" fmla="*/ 609127 w 1395174"/>
                <a:gd name="connsiteY487" fmla="*/ 717610 h 842248"/>
                <a:gd name="connsiteX488" fmla="*/ 619607 w 1395174"/>
                <a:gd name="connsiteY488" fmla="*/ 719796 h 842248"/>
                <a:gd name="connsiteX489" fmla="*/ 631180 w 1395174"/>
                <a:gd name="connsiteY489" fmla="*/ 733619 h 842248"/>
                <a:gd name="connsiteX490" fmla="*/ 633945 w 1395174"/>
                <a:gd name="connsiteY490" fmla="*/ 741463 h 842248"/>
                <a:gd name="connsiteX491" fmla="*/ 662555 w 1395174"/>
                <a:gd name="connsiteY491" fmla="*/ 737670 h 842248"/>
                <a:gd name="connsiteX492" fmla="*/ 676379 w 1395174"/>
                <a:gd name="connsiteY492" fmla="*/ 745063 h 842248"/>
                <a:gd name="connsiteX493" fmla="*/ 708525 w 1395174"/>
                <a:gd name="connsiteY493" fmla="*/ 756251 h 842248"/>
                <a:gd name="connsiteX494" fmla="*/ 743887 w 1395174"/>
                <a:gd name="connsiteY494" fmla="*/ 755929 h 842248"/>
                <a:gd name="connsiteX495" fmla="*/ 748002 w 1395174"/>
                <a:gd name="connsiteY495" fmla="*/ 750657 h 842248"/>
                <a:gd name="connsiteX496" fmla="*/ 767290 w 1395174"/>
                <a:gd name="connsiteY496" fmla="*/ 750657 h 842248"/>
                <a:gd name="connsiteX497" fmla="*/ 781435 w 1395174"/>
                <a:gd name="connsiteY497" fmla="*/ 763516 h 842248"/>
                <a:gd name="connsiteX498" fmla="*/ 789343 w 1395174"/>
                <a:gd name="connsiteY498" fmla="*/ 773224 h 842248"/>
                <a:gd name="connsiteX499" fmla="*/ 793779 w 1395174"/>
                <a:gd name="connsiteY499" fmla="*/ 781132 h 842248"/>
                <a:gd name="connsiteX500" fmla="*/ 808181 w 1395174"/>
                <a:gd name="connsiteY500" fmla="*/ 788526 h 842248"/>
                <a:gd name="connsiteX501" fmla="*/ 817953 w 1395174"/>
                <a:gd name="connsiteY501" fmla="*/ 777017 h 842248"/>
                <a:gd name="connsiteX502" fmla="*/ 840006 w 1395174"/>
                <a:gd name="connsiteY502" fmla="*/ 789876 h 842248"/>
                <a:gd name="connsiteX503" fmla="*/ 851772 w 1395174"/>
                <a:gd name="connsiteY503" fmla="*/ 806657 h 842248"/>
                <a:gd name="connsiteX504" fmla="*/ 854729 w 1395174"/>
                <a:gd name="connsiteY504" fmla="*/ 816108 h 842248"/>
                <a:gd name="connsiteX505" fmla="*/ 858266 w 1395174"/>
                <a:gd name="connsiteY505" fmla="*/ 823759 h 842248"/>
                <a:gd name="connsiteX506" fmla="*/ 875625 w 1395174"/>
                <a:gd name="connsiteY506" fmla="*/ 830188 h 842248"/>
                <a:gd name="connsiteX507" fmla="*/ 880768 w 1395174"/>
                <a:gd name="connsiteY507" fmla="*/ 832117 h 842248"/>
                <a:gd name="connsiteX508" fmla="*/ 877232 w 1395174"/>
                <a:gd name="connsiteY508" fmla="*/ 816108 h 842248"/>
                <a:gd name="connsiteX509" fmla="*/ 880254 w 1395174"/>
                <a:gd name="connsiteY509" fmla="*/ 804214 h 842248"/>
                <a:gd name="connsiteX510" fmla="*/ 889320 w 1395174"/>
                <a:gd name="connsiteY510" fmla="*/ 796498 h 842248"/>
                <a:gd name="connsiteX511" fmla="*/ 896778 w 1395174"/>
                <a:gd name="connsiteY511" fmla="*/ 793798 h 842248"/>
                <a:gd name="connsiteX512" fmla="*/ 908865 w 1395174"/>
                <a:gd name="connsiteY512" fmla="*/ 783575 h 842248"/>
                <a:gd name="connsiteX513" fmla="*/ 915294 w 1395174"/>
                <a:gd name="connsiteY513" fmla="*/ 781068 h 842248"/>
                <a:gd name="connsiteX514" fmla="*/ 923009 w 1395174"/>
                <a:gd name="connsiteY514" fmla="*/ 776117 h 842248"/>
                <a:gd name="connsiteX515" fmla="*/ 929439 w 1395174"/>
                <a:gd name="connsiteY515" fmla="*/ 776696 h 842248"/>
                <a:gd name="connsiteX516" fmla="*/ 935547 w 1395174"/>
                <a:gd name="connsiteY516" fmla="*/ 778046 h 842248"/>
                <a:gd name="connsiteX517" fmla="*/ 945705 w 1395174"/>
                <a:gd name="connsiteY517" fmla="*/ 778046 h 842248"/>
                <a:gd name="connsiteX518" fmla="*/ 953999 w 1395174"/>
                <a:gd name="connsiteY518" fmla="*/ 781904 h 842248"/>
                <a:gd name="connsiteX519" fmla="*/ 964479 w 1395174"/>
                <a:gd name="connsiteY519" fmla="*/ 784990 h 842248"/>
                <a:gd name="connsiteX520" fmla="*/ 969944 w 1395174"/>
                <a:gd name="connsiteY520" fmla="*/ 780554 h 842248"/>
                <a:gd name="connsiteX521" fmla="*/ 981002 w 1395174"/>
                <a:gd name="connsiteY521" fmla="*/ 788269 h 842248"/>
                <a:gd name="connsiteX522" fmla="*/ 978238 w 1395174"/>
                <a:gd name="connsiteY522" fmla="*/ 781839 h 842248"/>
                <a:gd name="connsiteX523" fmla="*/ 975730 w 1395174"/>
                <a:gd name="connsiteY523" fmla="*/ 774960 h 842248"/>
                <a:gd name="connsiteX524" fmla="*/ 986532 w 1395174"/>
                <a:gd name="connsiteY524" fmla="*/ 769495 h 842248"/>
                <a:gd name="connsiteX525" fmla="*/ 995340 w 1395174"/>
                <a:gd name="connsiteY525" fmla="*/ 767566 h 842248"/>
                <a:gd name="connsiteX526" fmla="*/ 1000291 w 1395174"/>
                <a:gd name="connsiteY526" fmla="*/ 770845 h 842248"/>
                <a:gd name="connsiteX527" fmla="*/ 1016814 w 1395174"/>
                <a:gd name="connsiteY527" fmla="*/ 768917 h 842248"/>
                <a:gd name="connsiteX528" fmla="*/ 1028387 w 1395174"/>
                <a:gd name="connsiteY528" fmla="*/ 777210 h 842248"/>
                <a:gd name="connsiteX529" fmla="*/ 1036938 w 1395174"/>
                <a:gd name="connsiteY529" fmla="*/ 778561 h 842248"/>
                <a:gd name="connsiteX530" fmla="*/ 1048511 w 1395174"/>
                <a:gd name="connsiteY530" fmla="*/ 774703 h 842248"/>
                <a:gd name="connsiteX531" fmla="*/ 1060920 w 1395174"/>
                <a:gd name="connsiteY531" fmla="*/ 788462 h 842248"/>
                <a:gd name="connsiteX532" fmla="*/ 1060920 w 1395174"/>
                <a:gd name="connsiteY532" fmla="*/ 802542 h 842248"/>
                <a:gd name="connsiteX533" fmla="*/ 1066192 w 1395174"/>
                <a:gd name="connsiteY533" fmla="*/ 814951 h 842248"/>
                <a:gd name="connsiteX534" fmla="*/ 1071142 w 1395174"/>
                <a:gd name="connsiteY534" fmla="*/ 827810 h 842248"/>
                <a:gd name="connsiteX535" fmla="*/ 1079693 w 1395174"/>
                <a:gd name="connsiteY535" fmla="*/ 838547 h 842248"/>
                <a:gd name="connsiteX536" fmla="*/ 1089016 w 1395174"/>
                <a:gd name="connsiteY536" fmla="*/ 840218 h 842248"/>
                <a:gd name="connsiteX537" fmla="*/ 1094545 w 1395174"/>
                <a:gd name="connsiteY537" fmla="*/ 825623 h 842248"/>
                <a:gd name="connsiteX538" fmla="*/ 1087666 w 1395174"/>
                <a:gd name="connsiteY538" fmla="*/ 800549 h 842248"/>
                <a:gd name="connsiteX539" fmla="*/ 1084065 w 1395174"/>
                <a:gd name="connsiteY539" fmla="*/ 788719 h 842248"/>
                <a:gd name="connsiteX540" fmla="*/ 1077186 w 1395174"/>
                <a:gd name="connsiteY540" fmla="*/ 764416 h 842248"/>
                <a:gd name="connsiteX541" fmla="*/ 1091781 w 1395174"/>
                <a:gd name="connsiteY541" fmla="*/ 738698 h 842248"/>
                <a:gd name="connsiteX542" fmla="*/ 1102839 w 1395174"/>
                <a:gd name="connsiteY542" fmla="*/ 732269 h 842248"/>
                <a:gd name="connsiteX543" fmla="*/ 1112998 w 1395174"/>
                <a:gd name="connsiteY543" fmla="*/ 722368 h 842248"/>
                <a:gd name="connsiteX544" fmla="*/ 1120456 w 1395174"/>
                <a:gd name="connsiteY544" fmla="*/ 719603 h 842248"/>
                <a:gd name="connsiteX545" fmla="*/ 1133700 w 1395174"/>
                <a:gd name="connsiteY545" fmla="*/ 710474 h 842248"/>
                <a:gd name="connsiteX546" fmla="*/ 1134793 w 1395174"/>
                <a:gd name="connsiteY546" fmla="*/ 702244 h 842248"/>
                <a:gd name="connsiteX547" fmla="*/ 1137815 w 1395174"/>
                <a:gd name="connsiteY547" fmla="*/ 697808 h 842248"/>
                <a:gd name="connsiteX548" fmla="*/ 1146366 w 1395174"/>
                <a:gd name="connsiteY548" fmla="*/ 698386 h 842248"/>
                <a:gd name="connsiteX549" fmla="*/ 1149388 w 1395174"/>
                <a:gd name="connsiteY549" fmla="*/ 690928 h 842248"/>
                <a:gd name="connsiteX550" fmla="*/ 1145530 w 1395174"/>
                <a:gd name="connsiteY550" fmla="*/ 686813 h 842248"/>
                <a:gd name="connsiteX551" fmla="*/ 1141094 w 1395174"/>
                <a:gd name="connsiteY551" fmla="*/ 678262 h 842248"/>
                <a:gd name="connsiteX552" fmla="*/ 1141094 w 1395174"/>
                <a:gd name="connsiteY552" fmla="*/ 672219 h 842248"/>
                <a:gd name="connsiteX553" fmla="*/ 1133121 w 1395174"/>
                <a:gd name="connsiteY553" fmla="*/ 661739 h 842248"/>
                <a:gd name="connsiteX554" fmla="*/ 1138072 w 1395174"/>
                <a:gd name="connsiteY554" fmla="*/ 657302 h 842248"/>
                <a:gd name="connsiteX555" fmla="*/ 1140001 w 1395174"/>
                <a:gd name="connsiteY555" fmla="*/ 641036 h 842248"/>
                <a:gd name="connsiteX556" fmla="*/ 1144116 w 1395174"/>
                <a:gd name="connsiteY556" fmla="*/ 641036 h 842248"/>
                <a:gd name="connsiteX557" fmla="*/ 1143023 w 1395174"/>
                <a:gd name="connsiteY557" fmla="*/ 653188 h 842248"/>
                <a:gd name="connsiteX558" fmla="*/ 1146366 w 1395174"/>
                <a:gd name="connsiteY558" fmla="*/ 668040 h 842248"/>
                <a:gd name="connsiteX559" fmla="*/ 1151831 w 1395174"/>
                <a:gd name="connsiteY559" fmla="*/ 664503 h 842248"/>
                <a:gd name="connsiteX560" fmla="*/ 1153760 w 1395174"/>
                <a:gd name="connsiteY560" fmla="*/ 648237 h 842248"/>
                <a:gd name="connsiteX561" fmla="*/ 1154338 w 1395174"/>
                <a:gd name="connsiteY561" fmla="*/ 642965 h 842248"/>
                <a:gd name="connsiteX562" fmla="*/ 1163147 w 1395174"/>
                <a:gd name="connsiteY562" fmla="*/ 642451 h 842248"/>
                <a:gd name="connsiteX563" fmla="*/ 1169576 w 1395174"/>
                <a:gd name="connsiteY563" fmla="*/ 627020 h 842248"/>
                <a:gd name="connsiteX564" fmla="*/ 1176455 w 1395174"/>
                <a:gd name="connsiteY564" fmla="*/ 623420 h 842248"/>
                <a:gd name="connsiteX565" fmla="*/ 1194651 w 1395174"/>
                <a:gd name="connsiteY565" fmla="*/ 618469 h 842248"/>
                <a:gd name="connsiteX566" fmla="*/ 1175362 w 1395174"/>
                <a:gd name="connsiteY566" fmla="*/ 617890 h 842248"/>
                <a:gd name="connsiteX567" fmla="*/ 1195486 w 1395174"/>
                <a:gd name="connsiteY567" fmla="*/ 611461 h 842248"/>
                <a:gd name="connsiteX568" fmla="*/ 1201530 w 1395174"/>
                <a:gd name="connsiteY568" fmla="*/ 606189 h 842248"/>
                <a:gd name="connsiteX569" fmla="*/ 1211946 w 1395174"/>
                <a:gd name="connsiteY569" fmla="*/ 607076 h 842248"/>
                <a:gd name="connsiteX570" fmla="*/ 1212010 w 1395174"/>
                <a:gd name="connsiteY570" fmla="*/ 607025 h 842248"/>
                <a:gd name="connsiteX571" fmla="*/ 1208731 w 1395174"/>
                <a:gd name="connsiteY571" fmla="*/ 597381 h 842248"/>
                <a:gd name="connsiteX572" fmla="*/ 1210402 w 1395174"/>
                <a:gd name="connsiteY572" fmla="*/ 590951 h 842248"/>
                <a:gd name="connsiteX573" fmla="*/ 1218375 w 1395174"/>
                <a:gd name="connsiteY573" fmla="*/ 577450 h 842248"/>
                <a:gd name="connsiteX574" fmla="*/ 1225512 w 1395174"/>
                <a:gd name="connsiteY574" fmla="*/ 573078 h 842248"/>
                <a:gd name="connsiteX575" fmla="*/ 1234641 w 1395174"/>
                <a:gd name="connsiteY575" fmla="*/ 563948 h 842248"/>
                <a:gd name="connsiteX576" fmla="*/ 1250072 w 1395174"/>
                <a:gd name="connsiteY576" fmla="*/ 564527 h 842248"/>
                <a:gd name="connsiteX577" fmla="*/ 1259330 w 1395174"/>
                <a:gd name="connsiteY577" fmla="*/ 557583 h 842248"/>
                <a:gd name="connsiteX578" fmla="*/ 1272189 w 1395174"/>
                <a:gd name="connsiteY578" fmla="*/ 552118 h 842248"/>
                <a:gd name="connsiteX579" fmla="*/ 1286784 w 1395174"/>
                <a:gd name="connsiteY579" fmla="*/ 541638 h 842248"/>
                <a:gd name="connsiteX580" fmla="*/ 1287619 w 1395174"/>
                <a:gd name="connsiteY580" fmla="*/ 546910 h 842248"/>
                <a:gd name="connsiteX581" fmla="*/ 1298935 w 1395174"/>
                <a:gd name="connsiteY581" fmla="*/ 551282 h 842248"/>
                <a:gd name="connsiteX582" fmla="*/ 1289548 w 1395174"/>
                <a:gd name="connsiteY582" fmla="*/ 553789 h 842248"/>
                <a:gd name="connsiteX583" fmla="*/ 1273539 w 1395174"/>
                <a:gd name="connsiteY583" fmla="*/ 562019 h 842248"/>
                <a:gd name="connsiteX584" fmla="*/ 1272189 w 1395174"/>
                <a:gd name="connsiteY584" fmla="*/ 575842 h 842248"/>
                <a:gd name="connsiteX585" fmla="*/ 1288455 w 1395174"/>
                <a:gd name="connsiteY585" fmla="*/ 572821 h 842248"/>
                <a:gd name="connsiteX586" fmla="*/ 1300285 w 1395174"/>
                <a:gd name="connsiteY586" fmla="*/ 562598 h 842248"/>
                <a:gd name="connsiteX587" fmla="*/ 1328960 w 1395174"/>
                <a:gd name="connsiteY587" fmla="*/ 554883 h 842248"/>
                <a:gd name="connsiteX588" fmla="*/ 1331403 w 1395174"/>
                <a:gd name="connsiteY588" fmla="*/ 548453 h 842248"/>
                <a:gd name="connsiteX589" fmla="*/ 1347991 w 1395174"/>
                <a:gd name="connsiteY589" fmla="*/ 542410 h 842248"/>
                <a:gd name="connsiteX590" fmla="*/ 1343684 w 1395174"/>
                <a:gd name="connsiteY590" fmla="*/ 537202 h 842248"/>
                <a:gd name="connsiteX591" fmla="*/ 874339 w 1395174"/>
                <a:gd name="connsiteY591" fmla="*/ 414272 h 842248"/>
                <a:gd name="connsiteX592" fmla="*/ 889255 w 1395174"/>
                <a:gd name="connsiteY592" fmla="*/ 449569 h 842248"/>
                <a:gd name="connsiteX593" fmla="*/ 888098 w 1395174"/>
                <a:gd name="connsiteY593" fmla="*/ 468857 h 842248"/>
                <a:gd name="connsiteX594" fmla="*/ 877682 w 1395174"/>
                <a:gd name="connsiteY594" fmla="*/ 446805 h 842248"/>
                <a:gd name="connsiteX595" fmla="*/ 858909 w 1395174"/>
                <a:gd name="connsiteY595" fmla="*/ 419223 h 842248"/>
                <a:gd name="connsiteX596" fmla="*/ 869620 w 1395174"/>
                <a:gd name="connsiteY596" fmla="*/ 412176 h 842248"/>
                <a:gd name="connsiteX597" fmla="*/ 874082 w 1395174"/>
                <a:gd name="connsiteY597" fmla="*/ 414529 h 842248"/>
                <a:gd name="connsiteX598" fmla="*/ 649311 w 1395174"/>
                <a:gd name="connsiteY598" fmla="*/ 277069 h 842248"/>
                <a:gd name="connsiteX599" fmla="*/ 659212 w 1395174"/>
                <a:gd name="connsiteY599" fmla="*/ 267425 h 842248"/>
                <a:gd name="connsiteX600" fmla="*/ 655226 w 1395174"/>
                <a:gd name="connsiteY600" fmla="*/ 255788 h 842248"/>
                <a:gd name="connsiteX601" fmla="*/ 673228 w 1395174"/>
                <a:gd name="connsiteY601" fmla="*/ 255788 h 842248"/>
                <a:gd name="connsiteX602" fmla="*/ 692516 w 1395174"/>
                <a:gd name="connsiteY602" fmla="*/ 262796 h 842248"/>
                <a:gd name="connsiteX603" fmla="*/ 726271 w 1395174"/>
                <a:gd name="connsiteY603" fmla="*/ 250323 h 842248"/>
                <a:gd name="connsiteX604" fmla="*/ 696438 w 1395174"/>
                <a:gd name="connsiteY604" fmla="*/ 268711 h 842248"/>
                <a:gd name="connsiteX605" fmla="*/ 681136 w 1395174"/>
                <a:gd name="connsiteY605" fmla="*/ 275526 h 842248"/>
                <a:gd name="connsiteX606" fmla="*/ 670592 w 1395174"/>
                <a:gd name="connsiteY606" fmla="*/ 284913 h 842248"/>
                <a:gd name="connsiteX607" fmla="*/ 636838 w 1395174"/>
                <a:gd name="connsiteY607" fmla="*/ 281441 h 842248"/>
                <a:gd name="connsiteX608" fmla="*/ 649182 w 1395174"/>
                <a:gd name="connsiteY608" fmla="*/ 277326 h 842248"/>
                <a:gd name="connsiteX609" fmla="*/ 559300 w 1395174"/>
                <a:gd name="connsiteY609" fmla="*/ 200367 h 842248"/>
                <a:gd name="connsiteX610" fmla="*/ 566372 w 1395174"/>
                <a:gd name="connsiteY610" fmla="*/ 193166 h 842248"/>
                <a:gd name="connsiteX611" fmla="*/ 567015 w 1395174"/>
                <a:gd name="connsiteY611" fmla="*/ 185258 h 842248"/>
                <a:gd name="connsiteX612" fmla="*/ 580581 w 1395174"/>
                <a:gd name="connsiteY612" fmla="*/ 183329 h 842248"/>
                <a:gd name="connsiteX613" fmla="*/ 565022 w 1395174"/>
                <a:gd name="connsiteY613" fmla="*/ 177800 h 842248"/>
                <a:gd name="connsiteX614" fmla="*/ 540912 w 1395174"/>
                <a:gd name="connsiteY614" fmla="*/ 181786 h 842248"/>
                <a:gd name="connsiteX615" fmla="*/ 573766 w 1395174"/>
                <a:gd name="connsiteY615" fmla="*/ 172142 h 842248"/>
                <a:gd name="connsiteX616" fmla="*/ 604498 w 1395174"/>
                <a:gd name="connsiteY616" fmla="*/ 166227 h 842248"/>
                <a:gd name="connsiteX617" fmla="*/ 598776 w 1395174"/>
                <a:gd name="connsiteY617" fmla="*/ 177350 h 842248"/>
                <a:gd name="connsiteX618" fmla="*/ 619800 w 1395174"/>
                <a:gd name="connsiteY618" fmla="*/ 174521 h 842248"/>
                <a:gd name="connsiteX619" fmla="*/ 626615 w 1395174"/>
                <a:gd name="connsiteY619" fmla="*/ 179986 h 842248"/>
                <a:gd name="connsiteX620" fmla="*/ 609513 w 1395174"/>
                <a:gd name="connsiteY620" fmla="*/ 188987 h 842248"/>
                <a:gd name="connsiteX621" fmla="*/ 601155 w 1395174"/>
                <a:gd name="connsiteY621" fmla="*/ 194002 h 842248"/>
                <a:gd name="connsiteX622" fmla="*/ 597426 w 1395174"/>
                <a:gd name="connsiteY622" fmla="*/ 200431 h 842248"/>
                <a:gd name="connsiteX623" fmla="*/ 581674 w 1395174"/>
                <a:gd name="connsiteY623" fmla="*/ 207439 h 842248"/>
                <a:gd name="connsiteX624" fmla="*/ 590675 w 1395174"/>
                <a:gd name="connsiteY624" fmla="*/ 192073 h 842248"/>
                <a:gd name="connsiteX625" fmla="*/ 575952 w 1395174"/>
                <a:gd name="connsiteY625" fmla="*/ 201074 h 842248"/>
                <a:gd name="connsiteX626" fmla="*/ 564829 w 1395174"/>
                <a:gd name="connsiteY626" fmla="*/ 204803 h 842248"/>
                <a:gd name="connsiteX627" fmla="*/ 559107 w 1395174"/>
                <a:gd name="connsiteY627" fmla="*/ 200624 h 842248"/>
                <a:gd name="connsiteX628" fmla="*/ 994440 w 1395174"/>
                <a:gd name="connsiteY628" fmla="*/ 525629 h 842248"/>
                <a:gd name="connsiteX629" fmla="*/ 990004 w 1395174"/>
                <a:gd name="connsiteY629" fmla="*/ 519200 h 842248"/>
                <a:gd name="connsiteX630" fmla="*/ 961907 w 1395174"/>
                <a:gd name="connsiteY630" fmla="*/ 530772 h 842248"/>
                <a:gd name="connsiteX631" fmla="*/ 945962 w 1395174"/>
                <a:gd name="connsiteY631" fmla="*/ 528008 h 842248"/>
                <a:gd name="connsiteX632" fmla="*/ 970715 w 1395174"/>
                <a:gd name="connsiteY632" fmla="*/ 512063 h 842248"/>
                <a:gd name="connsiteX633" fmla="*/ 977145 w 1395174"/>
                <a:gd name="connsiteY633" fmla="*/ 509556 h 842248"/>
                <a:gd name="connsiteX634" fmla="*/ 993347 w 1395174"/>
                <a:gd name="connsiteY634" fmla="*/ 494382 h 842248"/>
                <a:gd name="connsiteX635" fmla="*/ 1019772 w 1395174"/>
                <a:gd name="connsiteY635" fmla="*/ 505441 h 842248"/>
                <a:gd name="connsiteX636" fmla="*/ 1033016 w 1395174"/>
                <a:gd name="connsiteY636" fmla="*/ 514763 h 842248"/>
                <a:gd name="connsiteX637" fmla="*/ 1040024 w 1395174"/>
                <a:gd name="connsiteY637" fmla="*/ 532123 h 842248"/>
                <a:gd name="connsiteX638" fmla="*/ 1038545 w 1395174"/>
                <a:gd name="connsiteY638" fmla="*/ 534051 h 842248"/>
                <a:gd name="connsiteX639" fmla="*/ 1026972 w 1395174"/>
                <a:gd name="connsiteY639" fmla="*/ 529101 h 842248"/>
                <a:gd name="connsiteX640" fmla="*/ 1003827 w 1395174"/>
                <a:gd name="connsiteY640" fmla="*/ 533537 h 842248"/>
                <a:gd name="connsiteX641" fmla="*/ 994247 w 1395174"/>
                <a:gd name="connsiteY641" fmla="*/ 525886 h 842248"/>
                <a:gd name="connsiteX642" fmla="*/ 1046775 w 1395174"/>
                <a:gd name="connsiteY642" fmla="*/ 575199 h 842248"/>
                <a:gd name="connsiteX643" fmla="*/ 1051726 w 1395174"/>
                <a:gd name="connsiteY643" fmla="*/ 552632 h 842248"/>
                <a:gd name="connsiteX644" fmla="*/ 1032437 w 1395174"/>
                <a:gd name="connsiteY644" fmla="*/ 550446 h 842248"/>
                <a:gd name="connsiteX645" fmla="*/ 1019579 w 1395174"/>
                <a:gd name="connsiteY645" fmla="*/ 559769 h 842248"/>
                <a:gd name="connsiteX646" fmla="*/ 1016300 w 1395174"/>
                <a:gd name="connsiteY646" fmla="*/ 586258 h 842248"/>
                <a:gd name="connsiteX647" fmla="*/ 1007491 w 1395174"/>
                <a:gd name="connsiteY647" fmla="*/ 604453 h 842248"/>
                <a:gd name="connsiteX648" fmla="*/ 998105 w 1395174"/>
                <a:gd name="connsiteY648" fmla="*/ 580729 h 842248"/>
                <a:gd name="connsiteX649" fmla="*/ 1000869 w 1395174"/>
                <a:gd name="connsiteY649" fmla="*/ 559255 h 842248"/>
                <a:gd name="connsiteX650" fmla="*/ 1019579 w 1395174"/>
                <a:gd name="connsiteY650" fmla="*/ 543245 h 842248"/>
                <a:gd name="connsiteX651" fmla="*/ 1045296 w 1395174"/>
                <a:gd name="connsiteY651" fmla="*/ 538295 h 842248"/>
                <a:gd name="connsiteX652" fmla="*/ 1046711 w 1395174"/>
                <a:gd name="connsiteY652" fmla="*/ 536880 h 842248"/>
                <a:gd name="connsiteX653" fmla="*/ 1065677 w 1395174"/>
                <a:gd name="connsiteY653" fmla="*/ 539388 h 842248"/>
                <a:gd name="connsiteX654" fmla="*/ 1088823 w 1395174"/>
                <a:gd name="connsiteY654" fmla="*/ 545431 h 842248"/>
                <a:gd name="connsiteX655" fmla="*/ 1093259 w 1395174"/>
                <a:gd name="connsiteY655" fmla="*/ 562534 h 842248"/>
                <a:gd name="connsiteX656" fmla="*/ 1077250 w 1395174"/>
                <a:gd name="connsiteY656" fmla="*/ 558676 h 842248"/>
                <a:gd name="connsiteX657" fmla="*/ 1073393 w 1395174"/>
                <a:gd name="connsiteY657" fmla="*/ 569734 h 842248"/>
                <a:gd name="connsiteX658" fmla="*/ 1064584 w 1395174"/>
                <a:gd name="connsiteY658" fmla="*/ 589023 h 842248"/>
                <a:gd name="connsiteX659" fmla="*/ 1064263 w 1395174"/>
                <a:gd name="connsiteY659" fmla="*/ 589023 h 842248"/>
                <a:gd name="connsiteX660" fmla="*/ 1059634 w 1395174"/>
                <a:gd name="connsiteY660" fmla="*/ 573142 h 842248"/>
                <a:gd name="connsiteX661" fmla="*/ 1046582 w 1395174"/>
                <a:gd name="connsiteY661" fmla="*/ 575778 h 842248"/>
                <a:gd name="connsiteX662" fmla="*/ 1076929 w 1395174"/>
                <a:gd name="connsiteY662" fmla="*/ 608568 h 842248"/>
                <a:gd name="connsiteX663" fmla="*/ 1052111 w 1395174"/>
                <a:gd name="connsiteY663" fmla="*/ 603039 h 842248"/>
                <a:gd name="connsiteX664" fmla="*/ 1061498 w 1395174"/>
                <a:gd name="connsiteY664" fmla="*/ 600274 h 842248"/>
                <a:gd name="connsiteX665" fmla="*/ 1066513 w 1395174"/>
                <a:gd name="connsiteY665" fmla="*/ 598859 h 842248"/>
                <a:gd name="connsiteX666" fmla="*/ 1081879 w 1395174"/>
                <a:gd name="connsiteY666" fmla="*/ 590887 h 842248"/>
                <a:gd name="connsiteX667" fmla="*/ 1097824 w 1395174"/>
                <a:gd name="connsiteY667" fmla="*/ 592559 h 842248"/>
                <a:gd name="connsiteX668" fmla="*/ 1105604 w 1395174"/>
                <a:gd name="connsiteY668" fmla="*/ 589794 h 842248"/>
                <a:gd name="connsiteX669" fmla="*/ 1105604 w 1395174"/>
                <a:gd name="connsiteY669" fmla="*/ 591080 h 842248"/>
                <a:gd name="connsiteX670" fmla="*/ 1076929 w 1395174"/>
                <a:gd name="connsiteY670" fmla="*/ 608568 h 842248"/>
                <a:gd name="connsiteX671" fmla="*/ 1118270 w 1395174"/>
                <a:gd name="connsiteY671" fmla="*/ 582079 h 842248"/>
                <a:gd name="connsiteX672" fmla="*/ 1108368 w 1395174"/>
                <a:gd name="connsiteY672" fmla="*/ 583043 h 842248"/>
                <a:gd name="connsiteX673" fmla="*/ 1099496 w 1395174"/>
                <a:gd name="connsiteY673" fmla="*/ 580407 h 842248"/>
                <a:gd name="connsiteX674" fmla="*/ 1125213 w 1395174"/>
                <a:gd name="connsiteY674" fmla="*/ 570506 h 842248"/>
                <a:gd name="connsiteX675" fmla="*/ 1142380 w 1395174"/>
                <a:gd name="connsiteY675" fmla="*/ 569284 h 842248"/>
                <a:gd name="connsiteX676" fmla="*/ 1142830 w 1395174"/>
                <a:gd name="connsiteY676" fmla="*/ 569992 h 842248"/>
                <a:gd name="connsiteX677" fmla="*/ 1118270 w 1395174"/>
                <a:gd name="connsiteY677" fmla="*/ 582207 h 84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Lst>
              <a:rect l="l" t="t" r="r" b="b"/>
              <a:pathLst>
                <a:path w="1395174" h="842248">
                  <a:moveTo>
                    <a:pt x="1343684" y="537202"/>
                  </a:moveTo>
                  <a:cubicBezTo>
                    <a:pt x="1339826" y="537780"/>
                    <a:pt x="1342848" y="531673"/>
                    <a:pt x="1343362" y="528651"/>
                  </a:cubicBezTo>
                  <a:cubicBezTo>
                    <a:pt x="1343876" y="525629"/>
                    <a:pt x="1335132" y="530001"/>
                    <a:pt x="1334875" y="533601"/>
                  </a:cubicBezTo>
                  <a:cubicBezTo>
                    <a:pt x="1334618" y="537202"/>
                    <a:pt x="1328446" y="538552"/>
                    <a:pt x="1328446" y="540802"/>
                  </a:cubicBezTo>
                  <a:cubicBezTo>
                    <a:pt x="1328446" y="547232"/>
                    <a:pt x="1327610" y="543824"/>
                    <a:pt x="1323238" y="546010"/>
                  </a:cubicBezTo>
                  <a:cubicBezTo>
                    <a:pt x="1318866" y="548196"/>
                    <a:pt x="1301700" y="546010"/>
                    <a:pt x="1301185" y="542152"/>
                  </a:cubicBezTo>
                  <a:cubicBezTo>
                    <a:pt x="1300671" y="538295"/>
                    <a:pt x="1288327" y="536366"/>
                    <a:pt x="1287684" y="531158"/>
                  </a:cubicBezTo>
                  <a:cubicBezTo>
                    <a:pt x="1287041" y="525950"/>
                    <a:pt x="1281254" y="524215"/>
                    <a:pt x="1286012" y="518299"/>
                  </a:cubicBezTo>
                  <a:cubicBezTo>
                    <a:pt x="1290770" y="512384"/>
                    <a:pt x="1285176" y="509813"/>
                    <a:pt x="1280483" y="514185"/>
                  </a:cubicBezTo>
                  <a:cubicBezTo>
                    <a:pt x="1275789" y="518557"/>
                    <a:pt x="1273089" y="511742"/>
                    <a:pt x="1279390" y="509234"/>
                  </a:cubicBezTo>
                  <a:cubicBezTo>
                    <a:pt x="1285691" y="506727"/>
                    <a:pt x="1297585" y="504283"/>
                    <a:pt x="1291541" y="493225"/>
                  </a:cubicBezTo>
                  <a:cubicBezTo>
                    <a:pt x="1285498" y="482166"/>
                    <a:pt x="1247436" y="496568"/>
                    <a:pt x="1237792" y="502033"/>
                  </a:cubicBezTo>
                  <a:cubicBezTo>
                    <a:pt x="1228148" y="507498"/>
                    <a:pt x="1215996" y="525243"/>
                    <a:pt x="1210788" y="525243"/>
                  </a:cubicBezTo>
                  <a:cubicBezTo>
                    <a:pt x="1205580" y="525243"/>
                    <a:pt x="1219854" y="515856"/>
                    <a:pt x="1222104" y="512384"/>
                  </a:cubicBezTo>
                  <a:cubicBezTo>
                    <a:pt x="1224354" y="508913"/>
                    <a:pt x="1221525" y="505248"/>
                    <a:pt x="1224547" y="506598"/>
                  </a:cubicBezTo>
                  <a:cubicBezTo>
                    <a:pt x="1227569" y="507948"/>
                    <a:pt x="1236120" y="494768"/>
                    <a:pt x="1241906" y="490332"/>
                  </a:cubicBezTo>
                  <a:cubicBezTo>
                    <a:pt x="1247693" y="485895"/>
                    <a:pt x="1254058" y="490332"/>
                    <a:pt x="1254765" y="486474"/>
                  </a:cubicBezTo>
                  <a:cubicBezTo>
                    <a:pt x="1255472" y="482616"/>
                    <a:pt x="1258301" y="480430"/>
                    <a:pt x="1263831" y="475480"/>
                  </a:cubicBezTo>
                  <a:cubicBezTo>
                    <a:pt x="1269360" y="470529"/>
                    <a:pt x="1335197" y="471301"/>
                    <a:pt x="1341562" y="471622"/>
                  </a:cubicBezTo>
                  <a:cubicBezTo>
                    <a:pt x="1347927" y="471944"/>
                    <a:pt x="1360271" y="463328"/>
                    <a:pt x="1363872" y="457799"/>
                  </a:cubicBezTo>
                  <a:cubicBezTo>
                    <a:pt x="1367472" y="452270"/>
                    <a:pt x="1372166" y="452334"/>
                    <a:pt x="1380974" y="452848"/>
                  </a:cubicBezTo>
                  <a:cubicBezTo>
                    <a:pt x="1389782" y="453363"/>
                    <a:pt x="1393833" y="445455"/>
                    <a:pt x="1398333" y="442369"/>
                  </a:cubicBezTo>
                  <a:cubicBezTo>
                    <a:pt x="1402834" y="439282"/>
                    <a:pt x="1401098" y="437997"/>
                    <a:pt x="1397240" y="437161"/>
                  </a:cubicBezTo>
                  <a:cubicBezTo>
                    <a:pt x="1393383" y="436325"/>
                    <a:pt x="1389782" y="433882"/>
                    <a:pt x="1393640" y="433560"/>
                  </a:cubicBezTo>
                  <a:cubicBezTo>
                    <a:pt x="1397497" y="433239"/>
                    <a:pt x="1399426" y="431117"/>
                    <a:pt x="1401098" y="426167"/>
                  </a:cubicBezTo>
                  <a:cubicBezTo>
                    <a:pt x="1402769" y="421216"/>
                    <a:pt x="1399683" y="423402"/>
                    <a:pt x="1394669" y="416458"/>
                  </a:cubicBezTo>
                  <a:cubicBezTo>
                    <a:pt x="1389654" y="409514"/>
                    <a:pt x="1386632" y="418708"/>
                    <a:pt x="1381424" y="418130"/>
                  </a:cubicBezTo>
                  <a:cubicBezTo>
                    <a:pt x="1376216" y="417551"/>
                    <a:pt x="1385024" y="410993"/>
                    <a:pt x="1380588" y="408229"/>
                  </a:cubicBezTo>
                  <a:cubicBezTo>
                    <a:pt x="1376152" y="405464"/>
                    <a:pt x="1367729" y="407393"/>
                    <a:pt x="1361300" y="412922"/>
                  </a:cubicBezTo>
                  <a:cubicBezTo>
                    <a:pt x="1354871" y="418451"/>
                    <a:pt x="1355256" y="412922"/>
                    <a:pt x="1349470" y="418130"/>
                  </a:cubicBezTo>
                  <a:cubicBezTo>
                    <a:pt x="1343684" y="423338"/>
                    <a:pt x="1343684" y="415365"/>
                    <a:pt x="1346448" y="413179"/>
                  </a:cubicBezTo>
                  <a:cubicBezTo>
                    <a:pt x="1349213" y="410993"/>
                    <a:pt x="1351142" y="413179"/>
                    <a:pt x="1353585" y="410157"/>
                  </a:cubicBezTo>
                  <a:cubicBezTo>
                    <a:pt x="1356028" y="407135"/>
                    <a:pt x="1358535" y="410157"/>
                    <a:pt x="1364900" y="406043"/>
                  </a:cubicBezTo>
                  <a:cubicBezTo>
                    <a:pt x="1371265" y="401928"/>
                    <a:pt x="1376730" y="403792"/>
                    <a:pt x="1378659" y="400770"/>
                  </a:cubicBezTo>
                  <a:cubicBezTo>
                    <a:pt x="1380588" y="397749"/>
                    <a:pt x="1375637" y="393634"/>
                    <a:pt x="1369594" y="394984"/>
                  </a:cubicBezTo>
                  <a:cubicBezTo>
                    <a:pt x="1363550" y="396334"/>
                    <a:pt x="1359371" y="386754"/>
                    <a:pt x="1355513" y="389455"/>
                  </a:cubicBezTo>
                  <a:cubicBezTo>
                    <a:pt x="1351656" y="392155"/>
                    <a:pt x="1352492" y="385340"/>
                    <a:pt x="1348056" y="388105"/>
                  </a:cubicBezTo>
                  <a:cubicBezTo>
                    <a:pt x="1343619" y="390869"/>
                    <a:pt x="1341176" y="387269"/>
                    <a:pt x="1339247" y="382061"/>
                  </a:cubicBezTo>
                  <a:cubicBezTo>
                    <a:pt x="1334168" y="374609"/>
                    <a:pt x="1326813" y="368997"/>
                    <a:pt x="1318287" y="366052"/>
                  </a:cubicBezTo>
                  <a:cubicBezTo>
                    <a:pt x="1311151" y="363866"/>
                    <a:pt x="1315844" y="360008"/>
                    <a:pt x="1319702" y="362773"/>
                  </a:cubicBezTo>
                  <a:cubicBezTo>
                    <a:pt x="1323560" y="365537"/>
                    <a:pt x="1327931" y="360008"/>
                    <a:pt x="1329603" y="357244"/>
                  </a:cubicBezTo>
                  <a:cubicBezTo>
                    <a:pt x="1331275" y="354479"/>
                    <a:pt x="1326838" y="352036"/>
                    <a:pt x="1324653" y="351714"/>
                  </a:cubicBezTo>
                  <a:cubicBezTo>
                    <a:pt x="1322467" y="351393"/>
                    <a:pt x="1322467" y="347857"/>
                    <a:pt x="1322981" y="345285"/>
                  </a:cubicBezTo>
                  <a:cubicBezTo>
                    <a:pt x="1323495" y="342713"/>
                    <a:pt x="1315266" y="338856"/>
                    <a:pt x="1315008" y="336219"/>
                  </a:cubicBezTo>
                  <a:cubicBezTo>
                    <a:pt x="1314751" y="333583"/>
                    <a:pt x="1310058" y="331526"/>
                    <a:pt x="1310315" y="329019"/>
                  </a:cubicBezTo>
                  <a:cubicBezTo>
                    <a:pt x="1310572" y="326511"/>
                    <a:pt x="1305622" y="322975"/>
                    <a:pt x="1305622" y="319696"/>
                  </a:cubicBezTo>
                  <a:cubicBezTo>
                    <a:pt x="1305622" y="316417"/>
                    <a:pt x="1297392" y="309730"/>
                    <a:pt x="1297071" y="305873"/>
                  </a:cubicBezTo>
                  <a:cubicBezTo>
                    <a:pt x="1296749" y="302015"/>
                    <a:pt x="1292441" y="299443"/>
                    <a:pt x="1290641" y="294621"/>
                  </a:cubicBezTo>
                  <a:cubicBezTo>
                    <a:pt x="1288841" y="289799"/>
                    <a:pt x="1286784" y="292114"/>
                    <a:pt x="1285112" y="298736"/>
                  </a:cubicBezTo>
                  <a:cubicBezTo>
                    <a:pt x="1283440" y="305359"/>
                    <a:pt x="1277654" y="305166"/>
                    <a:pt x="1279325" y="307287"/>
                  </a:cubicBezTo>
                  <a:cubicBezTo>
                    <a:pt x="1282733" y="311788"/>
                    <a:pt x="1280161" y="311981"/>
                    <a:pt x="1277654" y="314681"/>
                  </a:cubicBezTo>
                  <a:cubicBezTo>
                    <a:pt x="1275146" y="317381"/>
                    <a:pt x="1279325" y="321625"/>
                    <a:pt x="1275211" y="321625"/>
                  </a:cubicBezTo>
                  <a:cubicBezTo>
                    <a:pt x="1271096" y="321625"/>
                    <a:pt x="1273025" y="330176"/>
                    <a:pt x="1270774" y="326318"/>
                  </a:cubicBezTo>
                  <a:cubicBezTo>
                    <a:pt x="1268524" y="322461"/>
                    <a:pt x="1263316" y="323554"/>
                    <a:pt x="1263316" y="327411"/>
                  </a:cubicBezTo>
                  <a:cubicBezTo>
                    <a:pt x="1263316" y="331269"/>
                    <a:pt x="1254508" y="334805"/>
                    <a:pt x="1250972" y="334548"/>
                  </a:cubicBezTo>
                  <a:cubicBezTo>
                    <a:pt x="1247436" y="334291"/>
                    <a:pt x="1247371" y="326833"/>
                    <a:pt x="1244543" y="329019"/>
                  </a:cubicBezTo>
                  <a:cubicBezTo>
                    <a:pt x="1241714" y="331205"/>
                    <a:pt x="1242035" y="322589"/>
                    <a:pt x="1237342" y="322975"/>
                  </a:cubicBezTo>
                  <a:cubicBezTo>
                    <a:pt x="1232648" y="323361"/>
                    <a:pt x="1229369" y="322975"/>
                    <a:pt x="1230912" y="318539"/>
                  </a:cubicBezTo>
                  <a:cubicBezTo>
                    <a:pt x="1232455" y="314102"/>
                    <a:pt x="1222940" y="312495"/>
                    <a:pt x="1225962" y="310052"/>
                  </a:cubicBezTo>
                  <a:cubicBezTo>
                    <a:pt x="1228983" y="307609"/>
                    <a:pt x="1225126" y="303173"/>
                    <a:pt x="1224611" y="295972"/>
                  </a:cubicBezTo>
                  <a:cubicBezTo>
                    <a:pt x="1224097" y="288771"/>
                    <a:pt x="1228726" y="288256"/>
                    <a:pt x="1228726" y="285492"/>
                  </a:cubicBezTo>
                  <a:cubicBezTo>
                    <a:pt x="1228726" y="282727"/>
                    <a:pt x="1225447" y="282727"/>
                    <a:pt x="1222297" y="284977"/>
                  </a:cubicBezTo>
                  <a:cubicBezTo>
                    <a:pt x="1219146" y="287228"/>
                    <a:pt x="1219018" y="281956"/>
                    <a:pt x="1215417" y="282213"/>
                  </a:cubicBezTo>
                  <a:cubicBezTo>
                    <a:pt x="1211817" y="282470"/>
                    <a:pt x="1201080" y="282213"/>
                    <a:pt x="1200566" y="276941"/>
                  </a:cubicBezTo>
                  <a:cubicBezTo>
                    <a:pt x="1200051" y="271669"/>
                    <a:pt x="1196387" y="274498"/>
                    <a:pt x="1194779" y="269804"/>
                  </a:cubicBezTo>
                  <a:cubicBezTo>
                    <a:pt x="1193172" y="265111"/>
                    <a:pt x="1188671" y="268711"/>
                    <a:pt x="1188671" y="265368"/>
                  </a:cubicBezTo>
                  <a:cubicBezTo>
                    <a:pt x="1188671" y="262025"/>
                    <a:pt x="1186742" y="260674"/>
                    <a:pt x="1183463" y="260417"/>
                  </a:cubicBezTo>
                  <a:cubicBezTo>
                    <a:pt x="1180184" y="260160"/>
                    <a:pt x="1179027" y="256560"/>
                    <a:pt x="1174655" y="256045"/>
                  </a:cubicBezTo>
                  <a:cubicBezTo>
                    <a:pt x="1170232" y="256328"/>
                    <a:pt x="1165956" y="257743"/>
                    <a:pt x="1162247" y="260160"/>
                  </a:cubicBezTo>
                  <a:cubicBezTo>
                    <a:pt x="1159739" y="261253"/>
                    <a:pt x="1153438" y="256302"/>
                    <a:pt x="1150931" y="258231"/>
                  </a:cubicBezTo>
                  <a:cubicBezTo>
                    <a:pt x="1148423" y="260160"/>
                    <a:pt x="1147909" y="256817"/>
                    <a:pt x="1141030" y="254888"/>
                  </a:cubicBezTo>
                  <a:cubicBezTo>
                    <a:pt x="1134150" y="252959"/>
                    <a:pt x="1125020" y="252445"/>
                    <a:pt x="1124506" y="254888"/>
                  </a:cubicBezTo>
                  <a:cubicBezTo>
                    <a:pt x="1123992" y="257331"/>
                    <a:pt x="1118077" y="258231"/>
                    <a:pt x="1119234" y="264018"/>
                  </a:cubicBezTo>
                  <a:cubicBezTo>
                    <a:pt x="1120391" y="269804"/>
                    <a:pt x="1125663" y="268711"/>
                    <a:pt x="1127271" y="272569"/>
                  </a:cubicBezTo>
                  <a:cubicBezTo>
                    <a:pt x="1128878" y="276426"/>
                    <a:pt x="1124506" y="275012"/>
                    <a:pt x="1124185" y="278612"/>
                  </a:cubicBezTo>
                  <a:cubicBezTo>
                    <a:pt x="1123863" y="282213"/>
                    <a:pt x="1120327" y="281956"/>
                    <a:pt x="1120327" y="284399"/>
                  </a:cubicBezTo>
                  <a:cubicBezTo>
                    <a:pt x="1120327" y="286842"/>
                    <a:pt x="1122834" y="286328"/>
                    <a:pt x="1124185" y="291278"/>
                  </a:cubicBezTo>
                  <a:cubicBezTo>
                    <a:pt x="1125535" y="296229"/>
                    <a:pt x="1128364" y="295972"/>
                    <a:pt x="1129200" y="302594"/>
                  </a:cubicBezTo>
                  <a:cubicBezTo>
                    <a:pt x="1130035" y="309216"/>
                    <a:pt x="1126949" y="307802"/>
                    <a:pt x="1124185" y="308638"/>
                  </a:cubicBezTo>
                  <a:cubicBezTo>
                    <a:pt x="1121420" y="309473"/>
                    <a:pt x="1124506" y="312752"/>
                    <a:pt x="1120648" y="317189"/>
                  </a:cubicBezTo>
                  <a:cubicBezTo>
                    <a:pt x="1116791" y="321625"/>
                    <a:pt x="1113448" y="326318"/>
                    <a:pt x="1116469" y="329019"/>
                  </a:cubicBezTo>
                  <a:cubicBezTo>
                    <a:pt x="1119491" y="331719"/>
                    <a:pt x="1130807" y="336477"/>
                    <a:pt x="1135243" y="343935"/>
                  </a:cubicBezTo>
                  <a:cubicBezTo>
                    <a:pt x="1139011" y="352505"/>
                    <a:pt x="1139982" y="362046"/>
                    <a:pt x="1138008" y="371195"/>
                  </a:cubicBezTo>
                  <a:cubicBezTo>
                    <a:pt x="1136593" y="379489"/>
                    <a:pt x="1127271" y="381418"/>
                    <a:pt x="1120327" y="388555"/>
                  </a:cubicBezTo>
                  <a:cubicBezTo>
                    <a:pt x="1115814" y="393216"/>
                    <a:pt x="1109429" y="395582"/>
                    <a:pt x="1102968" y="394984"/>
                  </a:cubicBezTo>
                  <a:cubicBezTo>
                    <a:pt x="1099689" y="394984"/>
                    <a:pt x="1101617" y="401864"/>
                    <a:pt x="1106311" y="407071"/>
                  </a:cubicBezTo>
                  <a:cubicBezTo>
                    <a:pt x="1111004" y="412279"/>
                    <a:pt x="1107147" y="414015"/>
                    <a:pt x="1109590" y="419480"/>
                  </a:cubicBezTo>
                  <a:cubicBezTo>
                    <a:pt x="1112033" y="424945"/>
                    <a:pt x="1109590" y="429445"/>
                    <a:pt x="1113190" y="434396"/>
                  </a:cubicBezTo>
                  <a:cubicBezTo>
                    <a:pt x="1116791" y="439347"/>
                    <a:pt x="1114541" y="441275"/>
                    <a:pt x="1110426" y="444876"/>
                  </a:cubicBezTo>
                  <a:cubicBezTo>
                    <a:pt x="1106311" y="448476"/>
                    <a:pt x="1112097" y="446483"/>
                    <a:pt x="1112355" y="451305"/>
                  </a:cubicBezTo>
                  <a:cubicBezTo>
                    <a:pt x="1112612" y="456127"/>
                    <a:pt x="1110426" y="453234"/>
                    <a:pt x="1106825" y="450791"/>
                  </a:cubicBezTo>
                  <a:cubicBezTo>
                    <a:pt x="1103225" y="448348"/>
                    <a:pt x="1099946" y="455484"/>
                    <a:pt x="1099946" y="458506"/>
                  </a:cubicBezTo>
                  <a:cubicBezTo>
                    <a:pt x="1099946" y="461528"/>
                    <a:pt x="1091395" y="454327"/>
                    <a:pt x="1089466" y="454649"/>
                  </a:cubicBezTo>
                  <a:cubicBezTo>
                    <a:pt x="1087537" y="454970"/>
                    <a:pt x="1090045" y="449955"/>
                    <a:pt x="1085094" y="446097"/>
                  </a:cubicBezTo>
                  <a:cubicBezTo>
                    <a:pt x="1080143" y="442240"/>
                    <a:pt x="1076286" y="441404"/>
                    <a:pt x="1076286" y="437546"/>
                  </a:cubicBezTo>
                  <a:cubicBezTo>
                    <a:pt x="1076286" y="433689"/>
                    <a:pt x="1067735" y="431117"/>
                    <a:pt x="1067735" y="426552"/>
                  </a:cubicBezTo>
                  <a:cubicBezTo>
                    <a:pt x="1067735" y="421987"/>
                    <a:pt x="1068828" y="410800"/>
                    <a:pt x="1066899" y="407264"/>
                  </a:cubicBezTo>
                  <a:cubicBezTo>
                    <a:pt x="1065555" y="403959"/>
                    <a:pt x="1066070" y="400185"/>
                    <a:pt x="1068249" y="397363"/>
                  </a:cubicBezTo>
                  <a:cubicBezTo>
                    <a:pt x="1069921" y="394277"/>
                    <a:pt x="1066320" y="389583"/>
                    <a:pt x="1061370" y="389583"/>
                  </a:cubicBezTo>
                  <a:cubicBezTo>
                    <a:pt x="1055152" y="388908"/>
                    <a:pt x="1048909" y="388542"/>
                    <a:pt x="1042660" y="388490"/>
                  </a:cubicBezTo>
                  <a:cubicBezTo>
                    <a:pt x="1038217" y="389403"/>
                    <a:pt x="1033595" y="388529"/>
                    <a:pt x="1029801" y="386047"/>
                  </a:cubicBezTo>
                  <a:cubicBezTo>
                    <a:pt x="1024767" y="382112"/>
                    <a:pt x="1018961" y="379290"/>
                    <a:pt x="1012764" y="377753"/>
                  </a:cubicBezTo>
                  <a:cubicBezTo>
                    <a:pt x="1007183" y="376950"/>
                    <a:pt x="1002290" y="373600"/>
                    <a:pt x="999519" y="368688"/>
                  </a:cubicBezTo>
                  <a:cubicBezTo>
                    <a:pt x="998683" y="366180"/>
                    <a:pt x="990132" y="364252"/>
                    <a:pt x="988203" y="361808"/>
                  </a:cubicBezTo>
                  <a:cubicBezTo>
                    <a:pt x="984236" y="359147"/>
                    <a:pt x="979453" y="357964"/>
                    <a:pt x="974702" y="358465"/>
                  </a:cubicBezTo>
                  <a:cubicBezTo>
                    <a:pt x="971423" y="359044"/>
                    <a:pt x="963129" y="351586"/>
                    <a:pt x="958178" y="352036"/>
                  </a:cubicBezTo>
                  <a:cubicBezTo>
                    <a:pt x="951916" y="353489"/>
                    <a:pt x="945750" y="355334"/>
                    <a:pt x="939726" y="357565"/>
                  </a:cubicBezTo>
                  <a:cubicBezTo>
                    <a:pt x="937797" y="357565"/>
                    <a:pt x="939726" y="353450"/>
                    <a:pt x="941333" y="351521"/>
                  </a:cubicBezTo>
                  <a:cubicBezTo>
                    <a:pt x="942941" y="349593"/>
                    <a:pt x="937218" y="341299"/>
                    <a:pt x="935868" y="335770"/>
                  </a:cubicBezTo>
                  <a:cubicBezTo>
                    <a:pt x="934518" y="330240"/>
                    <a:pt x="932525" y="324197"/>
                    <a:pt x="926738" y="325032"/>
                  </a:cubicBezTo>
                  <a:cubicBezTo>
                    <a:pt x="921923" y="325392"/>
                    <a:pt x="917114" y="324248"/>
                    <a:pt x="912980" y="321753"/>
                  </a:cubicBezTo>
                  <a:cubicBezTo>
                    <a:pt x="911308" y="320596"/>
                    <a:pt x="911051" y="304908"/>
                    <a:pt x="912401" y="298286"/>
                  </a:cubicBezTo>
                  <a:cubicBezTo>
                    <a:pt x="913751" y="291664"/>
                    <a:pt x="920952" y="281763"/>
                    <a:pt x="920952" y="277648"/>
                  </a:cubicBezTo>
                  <a:cubicBezTo>
                    <a:pt x="920952" y="273533"/>
                    <a:pt x="925645" y="271604"/>
                    <a:pt x="929760" y="270447"/>
                  </a:cubicBezTo>
                  <a:cubicBezTo>
                    <a:pt x="933875" y="269290"/>
                    <a:pt x="930596" y="261382"/>
                    <a:pt x="934711" y="260803"/>
                  </a:cubicBezTo>
                  <a:cubicBezTo>
                    <a:pt x="938826" y="260224"/>
                    <a:pt x="939147" y="258617"/>
                    <a:pt x="939983" y="255338"/>
                  </a:cubicBezTo>
                  <a:cubicBezTo>
                    <a:pt x="940819" y="252059"/>
                    <a:pt x="945769" y="254245"/>
                    <a:pt x="943005" y="251480"/>
                  </a:cubicBezTo>
                  <a:cubicBezTo>
                    <a:pt x="940240" y="248716"/>
                    <a:pt x="942490" y="247880"/>
                    <a:pt x="948791" y="247880"/>
                  </a:cubicBezTo>
                  <a:cubicBezTo>
                    <a:pt x="955092" y="247880"/>
                    <a:pt x="964479" y="245694"/>
                    <a:pt x="963129" y="239329"/>
                  </a:cubicBezTo>
                  <a:cubicBezTo>
                    <a:pt x="961779" y="232964"/>
                    <a:pt x="945191" y="237657"/>
                    <a:pt x="945191" y="232449"/>
                  </a:cubicBezTo>
                  <a:cubicBezTo>
                    <a:pt x="945191" y="227242"/>
                    <a:pt x="924295" y="226920"/>
                    <a:pt x="925903" y="223898"/>
                  </a:cubicBezTo>
                  <a:cubicBezTo>
                    <a:pt x="927510" y="220876"/>
                    <a:pt x="946862" y="226084"/>
                    <a:pt x="953999" y="228849"/>
                  </a:cubicBezTo>
                  <a:cubicBezTo>
                    <a:pt x="958667" y="230971"/>
                    <a:pt x="963830" y="231749"/>
                    <a:pt x="968915" y="231099"/>
                  </a:cubicBezTo>
                  <a:cubicBezTo>
                    <a:pt x="974702" y="230778"/>
                    <a:pt x="970844" y="223320"/>
                    <a:pt x="971937" y="220298"/>
                  </a:cubicBezTo>
                  <a:cubicBezTo>
                    <a:pt x="973030" y="217276"/>
                    <a:pt x="984024" y="224991"/>
                    <a:pt x="990389" y="223320"/>
                  </a:cubicBezTo>
                  <a:cubicBezTo>
                    <a:pt x="996754" y="221648"/>
                    <a:pt x="1002798" y="208725"/>
                    <a:pt x="1008006" y="205189"/>
                  </a:cubicBezTo>
                  <a:cubicBezTo>
                    <a:pt x="1013214" y="201653"/>
                    <a:pt x="1008584" y="198245"/>
                    <a:pt x="998362" y="198759"/>
                  </a:cubicBezTo>
                  <a:cubicBezTo>
                    <a:pt x="990531" y="199428"/>
                    <a:pt x="982764" y="196844"/>
                    <a:pt x="976888" y="191623"/>
                  </a:cubicBezTo>
                  <a:cubicBezTo>
                    <a:pt x="971358" y="187508"/>
                    <a:pt x="971937" y="184165"/>
                    <a:pt x="977723" y="184743"/>
                  </a:cubicBezTo>
                  <a:cubicBezTo>
                    <a:pt x="983510" y="185322"/>
                    <a:pt x="997012" y="196573"/>
                    <a:pt x="1002541" y="196831"/>
                  </a:cubicBezTo>
                  <a:cubicBezTo>
                    <a:pt x="1008070" y="197088"/>
                    <a:pt x="1016814" y="186672"/>
                    <a:pt x="1021250" y="183329"/>
                  </a:cubicBezTo>
                  <a:cubicBezTo>
                    <a:pt x="1025687" y="179986"/>
                    <a:pt x="1017135" y="178636"/>
                    <a:pt x="1014114" y="176192"/>
                  </a:cubicBezTo>
                  <a:cubicBezTo>
                    <a:pt x="1011092" y="173749"/>
                    <a:pt x="1019321" y="172078"/>
                    <a:pt x="1023758" y="172078"/>
                  </a:cubicBezTo>
                  <a:cubicBezTo>
                    <a:pt x="1028194" y="172078"/>
                    <a:pt x="1030187" y="175935"/>
                    <a:pt x="1031730" y="177800"/>
                  </a:cubicBezTo>
                  <a:cubicBezTo>
                    <a:pt x="1033273" y="179664"/>
                    <a:pt x="1041117" y="176450"/>
                    <a:pt x="1044975" y="176450"/>
                  </a:cubicBezTo>
                  <a:cubicBezTo>
                    <a:pt x="1048832" y="176450"/>
                    <a:pt x="1044396" y="170020"/>
                    <a:pt x="1038095" y="167641"/>
                  </a:cubicBezTo>
                  <a:cubicBezTo>
                    <a:pt x="1031794" y="165262"/>
                    <a:pt x="1038095" y="160505"/>
                    <a:pt x="1040281" y="164362"/>
                  </a:cubicBezTo>
                  <a:cubicBezTo>
                    <a:pt x="1042467" y="168220"/>
                    <a:pt x="1046711" y="167384"/>
                    <a:pt x="1048832" y="171756"/>
                  </a:cubicBezTo>
                  <a:cubicBezTo>
                    <a:pt x="1052047" y="178185"/>
                    <a:pt x="1054040" y="173942"/>
                    <a:pt x="1059569" y="172078"/>
                  </a:cubicBezTo>
                  <a:cubicBezTo>
                    <a:pt x="1064044" y="170303"/>
                    <a:pt x="1067953" y="167346"/>
                    <a:pt x="1070885" y="163527"/>
                  </a:cubicBezTo>
                  <a:cubicBezTo>
                    <a:pt x="1073907" y="160183"/>
                    <a:pt x="1074421" y="164041"/>
                    <a:pt x="1078022" y="158833"/>
                  </a:cubicBezTo>
                  <a:cubicBezTo>
                    <a:pt x="1081622" y="153625"/>
                    <a:pt x="1076350" y="148610"/>
                    <a:pt x="1071978" y="145331"/>
                  </a:cubicBezTo>
                  <a:cubicBezTo>
                    <a:pt x="1067606" y="142052"/>
                    <a:pt x="1071978" y="138902"/>
                    <a:pt x="1067799" y="136523"/>
                  </a:cubicBezTo>
                  <a:cubicBezTo>
                    <a:pt x="1063620" y="134144"/>
                    <a:pt x="1062591" y="130094"/>
                    <a:pt x="1068120" y="131251"/>
                  </a:cubicBezTo>
                  <a:cubicBezTo>
                    <a:pt x="1072769" y="132614"/>
                    <a:pt x="1077765" y="130852"/>
                    <a:pt x="1080529" y="126879"/>
                  </a:cubicBezTo>
                  <a:cubicBezTo>
                    <a:pt x="1082972" y="123021"/>
                    <a:pt x="1072235" y="122186"/>
                    <a:pt x="1077186" y="119421"/>
                  </a:cubicBezTo>
                  <a:cubicBezTo>
                    <a:pt x="1082136" y="116656"/>
                    <a:pt x="1078022" y="113892"/>
                    <a:pt x="1073071" y="113892"/>
                  </a:cubicBezTo>
                  <a:cubicBezTo>
                    <a:pt x="1068120" y="113892"/>
                    <a:pt x="1063941" y="111449"/>
                    <a:pt x="1063684" y="107462"/>
                  </a:cubicBezTo>
                  <a:cubicBezTo>
                    <a:pt x="1063427" y="103476"/>
                    <a:pt x="1054876" y="106112"/>
                    <a:pt x="1049668" y="103605"/>
                  </a:cubicBezTo>
                  <a:cubicBezTo>
                    <a:pt x="1043400" y="101830"/>
                    <a:pt x="1036854" y="101284"/>
                    <a:pt x="1030380" y="101997"/>
                  </a:cubicBezTo>
                  <a:cubicBezTo>
                    <a:pt x="1027615" y="101997"/>
                    <a:pt x="1027358" y="113570"/>
                    <a:pt x="1031473" y="113827"/>
                  </a:cubicBezTo>
                  <a:cubicBezTo>
                    <a:pt x="1035588" y="114085"/>
                    <a:pt x="1038931" y="118521"/>
                    <a:pt x="1035331" y="119871"/>
                  </a:cubicBezTo>
                  <a:cubicBezTo>
                    <a:pt x="1031730" y="121221"/>
                    <a:pt x="1035909" y="125657"/>
                    <a:pt x="1033145" y="125400"/>
                  </a:cubicBezTo>
                  <a:cubicBezTo>
                    <a:pt x="1030380" y="125143"/>
                    <a:pt x="1026008" y="123729"/>
                    <a:pt x="1025172" y="130930"/>
                  </a:cubicBezTo>
                  <a:cubicBezTo>
                    <a:pt x="1024336" y="138130"/>
                    <a:pt x="1023758" y="140831"/>
                    <a:pt x="1018743" y="143274"/>
                  </a:cubicBezTo>
                  <a:cubicBezTo>
                    <a:pt x="1013728" y="145717"/>
                    <a:pt x="1017650" y="135301"/>
                    <a:pt x="1013278" y="135623"/>
                  </a:cubicBezTo>
                  <a:cubicBezTo>
                    <a:pt x="1008906" y="135944"/>
                    <a:pt x="1008327" y="144431"/>
                    <a:pt x="1011606" y="145267"/>
                  </a:cubicBezTo>
                  <a:cubicBezTo>
                    <a:pt x="1014885" y="146103"/>
                    <a:pt x="1015464" y="148803"/>
                    <a:pt x="1016300" y="152982"/>
                  </a:cubicBezTo>
                  <a:cubicBezTo>
                    <a:pt x="1017135" y="157162"/>
                    <a:pt x="1010256" y="154075"/>
                    <a:pt x="1007491" y="159026"/>
                  </a:cubicBezTo>
                  <a:cubicBezTo>
                    <a:pt x="1004727" y="163977"/>
                    <a:pt x="1004470" y="156840"/>
                    <a:pt x="1000612" y="153497"/>
                  </a:cubicBezTo>
                  <a:cubicBezTo>
                    <a:pt x="996754" y="150153"/>
                    <a:pt x="992061" y="144689"/>
                    <a:pt x="992318" y="140638"/>
                  </a:cubicBezTo>
                  <a:cubicBezTo>
                    <a:pt x="992247" y="137680"/>
                    <a:pt x="994568" y="135212"/>
                    <a:pt x="997526" y="135109"/>
                  </a:cubicBezTo>
                  <a:cubicBezTo>
                    <a:pt x="1000612" y="134530"/>
                    <a:pt x="997526" y="131765"/>
                    <a:pt x="997526" y="126815"/>
                  </a:cubicBezTo>
                  <a:cubicBezTo>
                    <a:pt x="997526" y="121864"/>
                    <a:pt x="993668" y="123536"/>
                    <a:pt x="989296" y="118264"/>
                  </a:cubicBezTo>
                  <a:cubicBezTo>
                    <a:pt x="984924" y="112992"/>
                    <a:pt x="980167" y="113056"/>
                    <a:pt x="977723" y="115563"/>
                  </a:cubicBezTo>
                  <a:cubicBezTo>
                    <a:pt x="975280" y="118071"/>
                    <a:pt x="976888" y="122700"/>
                    <a:pt x="973030" y="124372"/>
                  </a:cubicBezTo>
                  <a:cubicBezTo>
                    <a:pt x="969172" y="126043"/>
                    <a:pt x="970780" y="133694"/>
                    <a:pt x="967501" y="134273"/>
                  </a:cubicBezTo>
                  <a:cubicBezTo>
                    <a:pt x="964222" y="134852"/>
                    <a:pt x="966151" y="120771"/>
                    <a:pt x="963386" y="119421"/>
                  </a:cubicBezTo>
                  <a:cubicBezTo>
                    <a:pt x="960621" y="118071"/>
                    <a:pt x="960878" y="114728"/>
                    <a:pt x="964993" y="114149"/>
                  </a:cubicBezTo>
                  <a:cubicBezTo>
                    <a:pt x="969108" y="113570"/>
                    <a:pt x="971423" y="109198"/>
                    <a:pt x="968079" y="109198"/>
                  </a:cubicBezTo>
                  <a:cubicBezTo>
                    <a:pt x="963701" y="108227"/>
                    <a:pt x="959509" y="106556"/>
                    <a:pt x="955671" y="104248"/>
                  </a:cubicBezTo>
                  <a:cubicBezTo>
                    <a:pt x="953163" y="103155"/>
                    <a:pt x="949241" y="108941"/>
                    <a:pt x="946284" y="106691"/>
                  </a:cubicBezTo>
                  <a:cubicBezTo>
                    <a:pt x="943326" y="104441"/>
                    <a:pt x="946284" y="98976"/>
                    <a:pt x="946862" y="95954"/>
                  </a:cubicBezTo>
                  <a:cubicBezTo>
                    <a:pt x="947441" y="92932"/>
                    <a:pt x="951234" y="97368"/>
                    <a:pt x="953999" y="93511"/>
                  </a:cubicBezTo>
                  <a:cubicBezTo>
                    <a:pt x="956764" y="89653"/>
                    <a:pt x="946284" y="89653"/>
                    <a:pt x="946284" y="85474"/>
                  </a:cubicBezTo>
                  <a:cubicBezTo>
                    <a:pt x="946284" y="81295"/>
                    <a:pt x="937990" y="80266"/>
                    <a:pt x="935225" y="79044"/>
                  </a:cubicBezTo>
                  <a:cubicBezTo>
                    <a:pt x="932461" y="77823"/>
                    <a:pt x="937154" y="70751"/>
                    <a:pt x="935804" y="67986"/>
                  </a:cubicBezTo>
                  <a:cubicBezTo>
                    <a:pt x="934454" y="65221"/>
                    <a:pt x="924231" y="56156"/>
                    <a:pt x="919795" y="56992"/>
                  </a:cubicBezTo>
                  <a:cubicBezTo>
                    <a:pt x="915358" y="57828"/>
                    <a:pt x="914330" y="51205"/>
                    <a:pt x="916773" y="51463"/>
                  </a:cubicBezTo>
                  <a:cubicBezTo>
                    <a:pt x="919216" y="51720"/>
                    <a:pt x="921209" y="50112"/>
                    <a:pt x="925903" y="45033"/>
                  </a:cubicBezTo>
                  <a:cubicBezTo>
                    <a:pt x="930596" y="39954"/>
                    <a:pt x="931110" y="38154"/>
                    <a:pt x="927831" y="37061"/>
                  </a:cubicBezTo>
                  <a:cubicBezTo>
                    <a:pt x="924553" y="35968"/>
                    <a:pt x="922881" y="32624"/>
                    <a:pt x="928667" y="32882"/>
                  </a:cubicBezTo>
                  <a:cubicBezTo>
                    <a:pt x="934454" y="33139"/>
                    <a:pt x="944612" y="37061"/>
                    <a:pt x="947955" y="34553"/>
                  </a:cubicBezTo>
                  <a:cubicBezTo>
                    <a:pt x="954436" y="26780"/>
                    <a:pt x="960403" y="18596"/>
                    <a:pt x="965829" y="10057"/>
                  </a:cubicBezTo>
                  <a:cubicBezTo>
                    <a:pt x="970008" y="4271"/>
                    <a:pt x="962807" y="3628"/>
                    <a:pt x="952970" y="4528"/>
                  </a:cubicBezTo>
                  <a:cubicBezTo>
                    <a:pt x="943133" y="5428"/>
                    <a:pt x="940819" y="670"/>
                    <a:pt x="932589" y="92"/>
                  </a:cubicBezTo>
                  <a:cubicBezTo>
                    <a:pt x="924360" y="-487"/>
                    <a:pt x="908865" y="1763"/>
                    <a:pt x="906872" y="4271"/>
                  </a:cubicBezTo>
                  <a:cubicBezTo>
                    <a:pt x="904879" y="6778"/>
                    <a:pt x="910987" y="8964"/>
                    <a:pt x="910151" y="11665"/>
                  </a:cubicBezTo>
                  <a:cubicBezTo>
                    <a:pt x="909315" y="14365"/>
                    <a:pt x="904364" y="9736"/>
                    <a:pt x="902178" y="10893"/>
                  </a:cubicBezTo>
                  <a:cubicBezTo>
                    <a:pt x="899992" y="12050"/>
                    <a:pt x="903014" y="15522"/>
                    <a:pt x="902178" y="25166"/>
                  </a:cubicBezTo>
                  <a:cubicBezTo>
                    <a:pt x="900937" y="30297"/>
                    <a:pt x="902763" y="35678"/>
                    <a:pt x="906872" y="38990"/>
                  </a:cubicBezTo>
                  <a:cubicBezTo>
                    <a:pt x="909636" y="42526"/>
                    <a:pt x="909058" y="47219"/>
                    <a:pt x="909058" y="53327"/>
                  </a:cubicBezTo>
                  <a:cubicBezTo>
                    <a:pt x="909058" y="59435"/>
                    <a:pt x="903271" y="59114"/>
                    <a:pt x="901342" y="60464"/>
                  </a:cubicBezTo>
                  <a:cubicBezTo>
                    <a:pt x="899414" y="61814"/>
                    <a:pt x="906293" y="64064"/>
                    <a:pt x="905200" y="67922"/>
                  </a:cubicBezTo>
                  <a:cubicBezTo>
                    <a:pt x="904107" y="71779"/>
                    <a:pt x="898321" y="65736"/>
                    <a:pt x="894977" y="66829"/>
                  </a:cubicBezTo>
                  <a:cubicBezTo>
                    <a:pt x="891634" y="67922"/>
                    <a:pt x="888934" y="77309"/>
                    <a:pt x="892534" y="80330"/>
                  </a:cubicBezTo>
                  <a:cubicBezTo>
                    <a:pt x="896135" y="83352"/>
                    <a:pt x="897485" y="82774"/>
                    <a:pt x="894720" y="86374"/>
                  </a:cubicBezTo>
                  <a:cubicBezTo>
                    <a:pt x="891956" y="89974"/>
                    <a:pt x="888934" y="95182"/>
                    <a:pt x="895556" y="100454"/>
                  </a:cubicBezTo>
                  <a:cubicBezTo>
                    <a:pt x="902178" y="105727"/>
                    <a:pt x="914265" y="105084"/>
                    <a:pt x="920631" y="109263"/>
                  </a:cubicBezTo>
                  <a:cubicBezTo>
                    <a:pt x="926996" y="113442"/>
                    <a:pt x="917866" y="110870"/>
                    <a:pt x="920631" y="115692"/>
                  </a:cubicBezTo>
                  <a:cubicBezTo>
                    <a:pt x="923395" y="120514"/>
                    <a:pt x="916451" y="122121"/>
                    <a:pt x="916773" y="125657"/>
                  </a:cubicBezTo>
                  <a:cubicBezTo>
                    <a:pt x="917094" y="129194"/>
                    <a:pt x="919538" y="127265"/>
                    <a:pt x="922817" y="121221"/>
                  </a:cubicBezTo>
                  <a:cubicBezTo>
                    <a:pt x="926095" y="115178"/>
                    <a:pt x="928603" y="122893"/>
                    <a:pt x="928346" y="128101"/>
                  </a:cubicBezTo>
                  <a:cubicBezTo>
                    <a:pt x="928089" y="133308"/>
                    <a:pt x="923395" y="130287"/>
                    <a:pt x="919795" y="135559"/>
                  </a:cubicBezTo>
                  <a:cubicBezTo>
                    <a:pt x="917512" y="139976"/>
                    <a:pt x="912362" y="142078"/>
                    <a:pt x="907643" y="140509"/>
                  </a:cubicBezTo>
                  <a:cubicBezTo>
                    <a:pt x="902435" y="139416"/>
                    <a:pt x="905457" y="147967"/>
                    <a:pt x="907643" y="152661"/>
                  </a:cubicBezTo>
                  <a:cubicBezTo>
                    <a:pt x="909829" y="157354"/>
                    <a:pt x="907129" y="159090"/>
                    <a:pt x="901214" y="157354"/>
                  </a:cubicBezTo>
                  <a:cubicBezTo>
                    <a:pt x="895299" y="155618"/>
                    <a:pt x="891570" y="151825"/>
                    <a:pt x="894784" y="147132"/>
                  </a:cubicBezTo>
                  <a:cubicBezTo>
                    <a:pt x="897999" y="142438"/>
                    <a:pt x="899992" y="136909"/>
                    <a:pt x="896392" y="137487"/>
                  </a:cubicBezTo>
                  <a:cubicBezTo>
                    <a:pt x="892791" y="138066"/>
                    <a:pt x="884562" y="137487"/>
                    <a:pt x="882054" y="133373"/>
                  </a:cubicBezTo>
                  <a:cubicBezTo>
                    <a:pt x="879547" y="129258"/>
                    <a:pt x="883726" y="131122"/>
                    <a:pt x="891184" y="131958"/>
                  </a:cubicBezTo>
                  <a:cubicBezTo>
                    <a:pt x="898642" y="132794"/>
                    <a:pt x="892277" y="127008"/>
                    <a:pt x="897613" y="127008"/>
                  </a:cubicBezTo>
                  <a:cubicBezTo>
                    <a:pt x="902950" y="127008"/>
                    <a:pt x="907257" y="130030"/>
                    <a:pt x="911951" y="125915"/>
                  </a:cubicBezTo>
                  <a:cubicBezTo>
                    <a:pt x="916644" y="121800"/>
                    <a:pt x="908865" y="113763"/>
                    <a:pt x="905007" y="115178"/>
                  </a:cubicBezTo>
                  <a:cubicBezTo>
                    <a:pt x="901150" y="116592"/>
                    <a:pt x="895106" y="118199"/>
                    <a:pt x="895106" y="114342"/>
                  </a:cubicBezTo>
                  <a:cubicBezTo>
                    <a:pt x="895106" y="110484"/>
                    <a:pt x="901535" y="113249"/>
                    <a:pt x="905329" y="112413"/>
                  </a:cubicBezTo>
                  <a:cubicBezTo>
                    <a:pt x="909122" y="111577"/>
                    <a:pt x="903400" y="106627"/>
                    <a:pt x="897871" y="107977"/>
                  </a:cubicBezTo>
                  <a:cubicBezTo>
                    <a:pt x="893119" y="110105"/>
                    <a:pt x="887532" y="108883"/>
                    <a:pt x="884112" y="104955"/>
                  </a:cubicBezTo>
                  <a:cubicBezTo>
                    <a:pt x="879675" y="100262"/>
                    <a:pt x="871703" y="97497"/>
                    <a:pt x="869774" y="108298"/>
                  </a:cubicBezTo>
                  <a:cubicBezTo>
                    <a:pt x="867845" y="119100"/>
                    <a:pt x="860130" y="113249"/>
                    <a:pt x="856915" y="116785"/>
                  </a:cubicBezTo>
                  <a:cubicBezTo>
                    <a:pt x="853701" y="120321"/>
                    <a:pt x="860452" y="122893"/>
                    <a:pt x="867910" y="123214"/>
                  </a:cubicBezTo>
                  <a:cubicBezTo>
                    <a:pt x="875368" y="123536"/>
                    <a:pt x="880768" y="130351"/>
                    <a:pt x="877297" y="130351"/>
                  </a:cubicBezTo>
                  <a:cubicBezTo>
                    <a:pt x="873825" y="130351"/>
                    <a:pt x="875368" y="135623"/>
                    <a:pt x="871510" y="133694"/>
                  </a:cubicBezTo>
                  <a:cubicBezTo>
                    <a:pt x="867653" y="131765"/>
                    <a:pt x="863795" y="133694"/>
                    <a:pt x="866560" y="136973"/>
                  </a:cubicBezTo>
                  <a:cubicBezTo>
                    <a:pt x="869324" y="140252"/>
                    <a:pt x="865402" y="141667"/>
                    <a:pt x="865724" y="145010"/>
                  </a:cubicBezTo>
                  <a:cubicBezTo>
                    <a:pt x="866045" y="148353"/>
                    <a:pt x="859937" y="145010"/>
                    <a:pt x="854151" y="144689"/>
                  </a:cubicBezTo>
                  <a:cubicBezTo>
                    <a:pt x="845979" y="144759"/>
                    <a:pt x="837846" y="145775"/>
                    <a:pt x="829912" y="147710"/>
                  </a:cubicBezTo>
                  <a:cubicBezTo>
                    <a:pt x="823013" y="149240"/>
                    <a:pt x="815787" y="147537"/>
                    <a:pt x="810302" y="143081"/>
                  </a:cubicBezTo>
                  <a:cubicBezTo>
                    <a:pt x="807024" y="139481"/>
                    <a:pt x="802587" y="140059"/>
                    <a:pt x="797444" y="140059"/>
                  </a:cubicBezTo>
                  <a:cubicBezTo>
                    <a:pt x="792300" y="140059"/>
                    <a:pt x="793586" y="134787"/>
                    <a:pt x="786385" y="134530"/>
                  </a:cubicBezTo>
                  <a:cubicBezTo>
                    <a:pt x="779184" y="134273"/>
                    <a:pt x="780856" y="128101"/>
                    <a:pt x="779956" y="124565"/>
                  </a:cubicBezTo>
                  <a:cubicBezTo>
                    <a:pt x="779056" y="121028"/>
                    <a:pt x="764783" y="122121"/>
                    <a:pt x="759510" y="125400"/>
                  </a:cubicBezTo>
                  <a:cubicBezTo>
                    <a:pt x="754238" y="128679"/>
                    <a:pt x="744080" y="127329"/>
                    <a:pt x="741315" y="133437"/>
                  </a:cubicBezTo>
                  <a:cubicBezTo>
                    <a:pt x="738551" y="139545"/>
                    <a:pt x="743823" y="138645"/>
                    <a:pt x="746845" y="138645"/>
                  </a:cubicBezTo>
                  <a:cubicBezTo>
                    <a:pt x="751088" y="138645"/>
                    <a:pt x="750702" y="133694"/>
                    <a:pt x="758417" y="134787"/>
                  </a:cubicBezTo>
                  <a:cubicBezTo>
                    <a:pt x="766133" y="135880"/>
                    <a:pt x="771662" y="126815"/>
                    <a:pt x="774941" y="130094"/>
                  </a:cubicBezTo>
                  <a:cubicBezTo>
                    <a:pt x="778220" y="133373"/>
                    <a:pt x="762082" y="139738"/>
                    <a:pt x="754560" y="140831"/>
                  </a:cubicBezTo>
                  <a:cubicBezTo>
                    <a:pt x="747037" y="141924"/>
                    <a:pt x="749031" y="147710"/>
                    <a:pt x="755974" y="157933"/>
                  </a:cubicBezTo>
                  <a:cubicBezTo>
                    <a:pt x="762918" y="168156"/>
                    <a:pt x="752888" y="162369"/>
                    <a:pt x="752888" y="167320"/>
                  </a:cubicBezTo>
                  <a:cubicBezTo>
                    <a:pt x="752888" y="172270"/>
                    <a:pt x="740029" y="165648"/>
                    <a:pt x="745173" y="163977"/>
                  </a:cubicBezTo>
                  <a:cubicBezTo>
                    <a:pt x="750316" y="162305"/>
                    <a:pt x="747938" y="157097"/>
                    <a:pt x="743823" y="153818"/>
                  </a:cubicBezTo>
                  <a:cubicBezTo>
                    <a:pt x="739708" y="150539"/>
                    <a:pt x="736943" y="153818"/>
                    <a:pt x="737393" y="150218"/>
                  </a:cubicBezTo>
                  <a:cubicBezTo>
                    <a:pt x="737843" y="146617"/>
                    <a:pt x="733021" y="150218"/>
                    <a:pt x="729164" y="147453"/>
                  </a:cubicBezTo>
                  <a:cubicBezTo>
                    <a:pt x="725306" y="144689"/>
                    <a:pt x="723377" y="141988"/>
                    <a:pt x="718105" y="144689"/>
                  </a:cubicBezTo>
                  <a:cubicBezTo>
                    <a:pt x="712833" y="147389"/>
                    <a:pt x="706854" y="146617"/>
                    <a:pt x="695281" y="148546"/>
                  </a:cubicBezTo>
                  <a:cubicBezTo>
                    <a:pt x="683708" y="150475"/>
                    <a:pt x="662491" y="149960"/>
                    <a:pt x="658634" y="146103"/>
                  </a:cubicBezTo>
                  <a:cubicBezTo>
                    <a:pt x="654776" y="142245"/>
                    <a:pt x="668535" y="135366"/>
                    <a:pt x="672650" y="136459"/>
                  </a:cubicBezTo>
                  <a:cubicBezTo>
                    <a:pt x="676764" y="137552"/>
                    <a:pt x="674321" y="132023"/>
                    <a:pt x="667956" y="127072"/>
                  </a:cubicBezTo>
                  <a:cubicBezTo>
                    <a:pt x="661591" y="122121"/>
                    <a:pt x="647575" y="119100"/>
                    <a:pt x="647832" y="122121"/>
                  </a:cubicBezTo>
                  <a:cubicBezTo>
                    <a:pt x="648089" y="125143"/>
                    <a:pt x="639860" y="122121"/>
                    <a:pt x="629701" y="120450"/>
                  </a:cubicBezTo>
                  <a:cubicBezTo>
                    <a:pt x="619543" y="118778"/>
                    <a:pt x="618064" y="114920"/>
                    <a:pt x="611506" y="114663"/>
                  </a:cubicBezTo>
                  <a:cubicBezTo>
                    <a:pt x="602769" y="114400"/>
                    <a:pt x="594301" y="111532"/>
                    <a:pt x="587203" y="106434"/>
                  </a:cubicBezTo>
                  <a:cubicBezTo>
                    <a:pt x="579488" y="100326"/>
                    <a:pt x="561486" y="101997"/>
                    <a:pt x="559107" y="107527"/>
                  </a:cubicBezTo>
                  <a:cubicBezTo>
                    <a:pt x="556728" y="113056"/>
                    <a:pt x="550877" y="112735"/>
                    <a:pt x="544769" y="112735"/>
                  </a:cubicBezTo>
                  <a:cubicBezTo>
                    <a:pt x="538661" y="112735"/>
                    <a:pt x="547534" y="105919"/>
                    <a:pt x="545348" y="104762"/>
                  </a:cubicBezTo>
                  <a:cubicBezTo>
                    <a:pt x="543162" y="103605"/>
                    <a:pt x="545348" y="95632"/>
                    <a:pt x="541233" y="95118"/>
                  </a:cubicBezTo>
                  <a:cubicBezTo>
                    <a:pt x="537118" y="94604"/>
                    <a:pt x="532682" y="113313"/>
                    <a:pt x="524388" y="112735"/>
                  </a:cubicBezTo>
                  <a:cubicBezTo>
                    <a:pt x="516094" y="112156"/>
                    <a:pt x="512558" y="92932"/>
                    <a:pt x="505679" y="87917"/>
                  </a:cubicBezTo>
                  <a:cubicBezTo>
                    <a:pt x="498799" y="82902"/>
                    <a:pt x="492434" y="82709"/>
                    <a:pt x="498221" y="90167"/>
                  </a:cubicBezTo>
                  <a:cubicBezTo>
                    <a:pt x="504007" y="97625"/>
                    <a:pt x="493270" y="92353"/>
                    <a:pt x="493784" y="97304"/>
                  </a:cubicBezTo>
                  <a:cubicBezTo>
                    <a:pt x="494299" y="102255"/>
                    <a:pt x="484462" y="108041"/>
                    <a:pt x="484719" y="105276"/>
                  </a:cubicBezTo>
                  <a:cubicBezTo>
                    <a:pt x="484976" y="102512"/>
                    <a:pt x="479190" y="99490"/>
                    <a:pt x="472567" y="107205"/>
                  </a:cubicBezTo>
                  <a:cubicBezTo>
                    <a:pt x="465945" y="114920"/>
                    <a:pt x="461316" y="113635"/>
                    <a:pt x="460737" y="111063"/>
                  </a:cubicBezTo>
                  <a:cubicBezTo>
                    <a:pt x="460159" y="108491"/>
                    <a:pt x="440613" y="118264"/>
                    <a:pt x="441449" y="121543"/>
                  </a:cubicBezTo>
                  <a:cubicBezTo>
                    <a:pt x="442285" y="124822"/>
                    <a:pt x="438427" y="127329"/>
                    <a:pt x="433155" y="127072"/>
                  </a:cubicBezTo>
                  <a:cubicBezTo>
                    <a:pt x="427883" y="126815"/>
                    <a:pt x="432062" y="122379"/>
                    <a:pt x="436241" y="120193"/>
                  </a:cubicBezTo>
                  <a:cubicBezTo>
                    <a:pt x="440421" y="118006"/>
                    <a:pt x="453601" y="107334"/>
                    <a:pt x="460159" y="106434"/>
                  </a:cubicBezTo>
                  <a:cubicBezTo>
                    <a:pt x="466717" y="105533"/>
                    <a:pt x="479447" y="100004"/>
                    <a:pt x="479447" y="97047"/>
                  </a:cubicBezTo>
                  <a:cubicBezTo>
                    <a:pt x="479447" y="94089"/>
                    <a:pt x="473017" y="96468"/>
                    <a:pt x="468710" y="95632"/>
                  </a:cubicBezTo>
                  <a:cubicBezTo>
                    <a:pt x="464402" y="94796"/>
                    <a:pt x="456558" y="99811"/>
                    <a:pt x="449422" y="103090"/>
                  </a:cubicBezTo>
                  <a:cubicBezTo>
                    <a:pt x="442285" y="106369"/>
                    <a:pt x="433477" y="105276"/>
                    <a:pt x="435663" y="109520"/>
                  </a:cubicBezTo>
                  <a:cubicBezTo>
                    <a:pt x="437849" y="113763"/>
                    <a:pt x="428783" y="108941"/>
                    <a:pt x="426855" y="112027"/>
                  </a:cubicBezTo>
                  <a:cubicBezTo>
                    <a:pt x="424926" y="115113"/>
                    <a:pt x="421325" y="111706"/>
                    <a:pt x="424090" y="110098"/>
                  </a:cubicBezTo>
                  <a:cubicBezTo>
                    <a:pt x="426855" y="108491"/>
                    <a:pt x="417661" y="105405"/>
                    <a:pt x="417661" y="107334"/>
                  </a:cubicBezTo>
                  <a:cubicBezTo>
                    <a:pt x="417661" y="109263"/>
                    <a:pt x="415989" y="111706"/>
                    <a:pt x="409431" y="111706"/>
                  </a:cubicBezTo>
                  <a:cubicBezTo>
                    <a:pt x="402873" y="111706"/>
                    <a:pt x="396186" y="116399"/>
                    <a:pt x="400558" y="119742"/>
                  </a:cubicBezTo>
                  <a:cubicBezTo>
                    <a:pt x="404930" y="123086"/>
                    <a:pt x="407759" y="124693"/>
                    <a:pt x="405573" y="126879"/>
                  </a:cubicBezTo>
                  <a:cubicBezTo>
                    <a:pt x="403387" y="129065"/>
                    <a:pt x="396444" y="121093"/>
                    <a:pt x="386800" y="121928"/>
                  </a:cubicBezTo>
                  <a:cubicBezTo>
                    <a:pt x="377156" y="122764"/>
                    <a:pt x="357867" y="111191"/>
                    <a:pt x="357867" y="108427"/>
                  </a:cubicBezTo>
                  <a:cubicBezTo>
                    <a:pt x="357867" y="105662"/>
                    <a:pt x="344301" y="107591"/>
                    <a:pt x="334914" y="106562"/>
                  </a:cubicBezTo>
                  <a:cubicBezTo>
                    <a:pt x="332970" y="106395"/>
                    <a:pt x="331050" y="106009"/>
                    <a:pt x="329192" y="105405"/>
                  </a:cubicBezTo>
                  <a:cubicBezTo>
                    <a:pt x="321220" y="102383"/>
                    <a:pt x="309390" y="96854"/>
                    <a:pt x="303025" y="98204"/>
                  </a:cubicBezTo>
                  <a:cubicBezTo>
                    <a:pt x="296660" y="99554"/>
                    <a:pt x="283737" y="101226"/>
                    <a:pt x="279622" y="99040"/>
                  </a:cubicBezTo>
                  <a:cubicBezTo>
                    <a:pt x="273646" y="96102"/>
                    <a:pt x="266894" y="95137"/>
                    <a:pt x="260334" y="96275"/>
                  </a:cubicBezTo>
                  <a:cubicBezTo>
                    <a:pt x="251268" y="97690"/>
                    <a:pt x="245482" y="91325"/>
                    <a:pt x="233909" y="88560"/>
                  </a:cubicBezTo>
                  <a:cubicBezTo>
                    <a:pt x="223310" y="86876"/>
                    <a:pt x="212466" y="87647"/>
                    <a:pt x="202212" y="90810"/>
                  </a:cubicBezTo>
                  <a:cubicBezTo>
                    <a:pt x="198355" y="92160"/>
                    <a:pt x="199190" y="86631"/>
                    <a:pt x="194240" y="87210"/>
                  </a:cubicBezTo>
                  <a:cubicBezTo>
                    <a:pt x="189289" y="87788"/>
                    <a:pt x="193147" y="85024"/>
                    <a:pt x="190382" y="80781"/>
                  </a:cubicBezTo>
                  <a:cubicBezTo>
                    <a:pt x="187618" y="76537"/>
                    <a:pt x="173859" y="80781"/>
                    <a:pt x="168844" y="80781"/>
                  </a:cubicBezTo>
                  <a:cubicBezTo>
                    <a:pt x="163829" y="80781"/>
                    <a:pt x="162414" y="78273"/>
                    <a:pt x="162800" y="75766"/>
                  </a:cubicBezTo>
                  <a:cubicBezTo>
                    <a:pt x="163186" y="73258"/>
                    <a:pt x="158428" y="74158"/>
                    <a:pt x="156371" y="77437"/>
                  </a:cubicBezTo>
                  <a:cubicBezTo>
                    <a:pt x="154252" y="80549"/>
                    <a:pt x="150011" y="81353"/>
                    <a:pt x="146902" y="79231"/>
                  </a:cubicBezTo>
                  <a:cubicBezTo>
                    <a:pt x="146842" y="79192"/>
                    <a:pt x="146784" y="79154"/>
                    <a:pt x="146727" y="79109"/>
                  </a:cubicBezTo>
                  <a:cubicBezTo>
                    <a:pt x="144476" y="76923"/>
                    <a:pt x="151356" y="76087"/>
                    <a:pt x="151677" y="73580"/>
                  </a:cubicBezTo>
                  <a:cubicBezTo>
                    <a:pt x="151999" y="71072"/>
                    <a:pt x="144476" y="69722"/>
                    <a:pt x="141712" y="68886"/>
                  </a:cubicBezTo>
                  <a:cubicBezTo>
                    <a:pt x="138947" y="68050"/>
                    <a:pt x="134575" y="71651"/>
                    <a:pt x="128853" y="76923"/>
                  </a:cubicBezTo>
                  <a:cubicBezTo>
                    <a:pt x="123249" y="80858"/>
                    <a:pt x="116286" y="82343"/>
                    <a:pt x="109565" y="81038"/>
                  </a:cubicBezTo>
                  <a:cubicBezTo>
                    <a:pt x="104293" y="80459"/>
                    <a:pt x="97671" y="81552"/>
                    <a:pt x="97992" y="84638"/>
                  </a:cubicBezTo>
                  <a:cubicBezTo>
                    <a:pt x="98313" y="87724"/>
                    <a:pt x="104421" y="87338"/>
                    <a:pt x="100692" y="91067"/>
                  </a:cubicBezTo>
                  <a:cubicBezTo>
                    <a:pt x="96963" y="94796"/>
                    <a:pt x="95485" y="85860"/>
                    <a:pt x="91627" y="89974"/>
                  </a:cubicBezTo>
                  <a:cubicBezTo>
                    <a:pt x="87769" y="94089"/>
                    <a:pt x="76196" y="93832"/>
                    <a:pt x="73432" y="93318"/>
                  </a:cubicBezTo>
                  <a:cubicBezTo>
                    <a:pt x="70667" y="92803"/>
                    <a:pt x="61602" y="102640"/>
                    <a:pt x="58837" y="105405"/>
                  </a:cubicBezTo>
                  <a:cubicBezTo>
                    <a:pt x="56072" y="108170"/>
                    <a:pt x="61023" y="110677"/>
                    <a:pt x="53565" y="118649"/>
                  </a:cubicBezTo>
                  <a:cubicBezTo>
                    <a:pt x="46107" y="126622"/>
                    <a:pt x="26304" y="125079"/>
                    <a:pt x="22190" y="125079"/>
                  </a:cubicBezTo>
                  <a:cubicBezTo>
                    <a:pt x="18075" y="125079"/>
                    <a:pt x="21097" y="129708"/>
                    <a:pt x="18846" y="132794"/>
                  </a:cubicBezTo>
                  <a:cubicBezTo>
                    <a:pt x="16596" y="135880"/>
                    <a:pt x="21354" y="138581"/>
                    <a:pt x="32670" y="141602"/>
                  </a:cubicBezTo>
                  <a:cubicBezTo>
                    <a:pt x="43985" y="144624"/>
                    <a:pt x="51636" y="159476"/>
                    <a:pt x="53051" y="163076"/>
                  </a:cubicBezTo>
                  <a:cubicBezTo>
                    <a:pt x="54465" y="166677"/>
                    <a:pt x="68481" y="163076"/>
                    <a:pt x="74010" y="163655"/>
                  </a:cubicBezTo>
                  <a:cubicBezTo>
                    <a:pt x="79540" y="164234"/>
                    <a:pt x="73432" y="172206"/>
                    <a:pt x="78125" y="174392"/>
                  </a:cubicBezTo>
                  <a:cubicBezTo>
                    <a:pt x="82819" y="176578"/>
                    <a:pt x="89955" y="173299"/>
                    <a:pt x="91370" y="177157"/>
                  </a:cubicBezTo>
                  <a:cubicBezTo>
                    <a:pt x="92784" y="181014"/>
                    <a:pt x="81983" y="177157"/>
                    <a:pt x="76454" y="181272"/>
                  </a:cubicBezTo>
                  <a:cubicBezTo>
                    <a:pt x="70924" y="185386"/>
                    <a:pt x="68224" y="187315"/>
                    <a:pt x="65974" y="184293"/>
                  </a:cubicBezTo>
                  <a:cubicBezTo>
                    <a:pt x="63723" y="181272"/>
                    <a:pt x="54722" y="183200"/>
                    <a:pt x="50029" y="183779"/>
                  </a:cubicBezTo>
                  <a:cubicBezTo>
                    <a:pt x="45335" y="184358"/>
                    <a:pt x="50029" y="177928"/>
                    <a:pt x="50029" y="175228"/>
                  </a:cubicBezTo>
                  <a:cubicBezTo>
                    <a:pt x="50029" y="172528"/>
                    <a:pt x="43599" y="170535"/>
                    <a:pt x="34598" y="175742"/>
                  </a:cubicBezTo>
                  <a:cubicBezTo>
                    <a:pt x="25597" y="180950"/>
                    <a:pt x="28812" y="179086"/>
                    <a:pt x="27719" y="183200"/>
                  </a:cubicBezTo>
                  <a:cubicBezTo>
                    <a:pt x="26626" y="187315"/>
                    <a:pt x="22704" y="180693"/>
                    <a:pt x="16918" y="184293"/>
                  </a:cubicBezTo>
                  <a:cubicBezTo>
                    <a:pt x="11131" y="187894"/>
                    <a:pt x="1809" y="190401"/>
                    <a:pt x="137" y="193937"/>
                  </a:cubicBezTo>
                  <a:cubicBezTo>
                    <a:pt x="-1535" y="197474"/>
                    <a:pt x="12546" y="199981"/>
                    <a:pt x="18075" y="201138"/>
                  </a:cubicBezTo>
                  <a:cubicBezTo>
                    <a:pt x="23604" y="202296"/>
                    <a:pt x="11646" y="205768"/>
                    <a:pt x="15825" y="207182"/>
                  </a:cubicBezTo>
                  <a:cubicBezTo>
                    <a:pt x="20004" y="208597"/>
                    <a:pt x="18332" y="212711"/>
                    <a:pt x="25211" y="216247"/>
                  </a:cubicBezTo>
                  <a:cubicBezTo>
                    <a:pt x="32091" y="219784"/>
                    <a:pt x="47521" y="216247"/>
                    <a:pt x="51636" y="216247"/>
                  </a:cubicBezTo>
                  <a:cubicBezTo>
                    <a:pt x="55751" y="216247"/>
                    <a:pt x="59673" y="221262"/>
                    <a:pt x="62952" y="217662"/>
                  </a:cubicBezTo>
                  <a:cubicBezTo>
                    <a:pt x="66231" y="214061"/>
                    <a:pt x="78704" y="204160"/>
                    <a:pt x="85005" y="209947"/>
                  </a:cubicBezTo>
                  <a:cubicBezTo>
                    <a:pt x="91305" y="215733"/>
                    <a:pt x="78125" y="214897"/>
                    <a:pt x="81404" y="218498"/>
                  </a:cubicBezTo>
                  <a:cubicBezTo>
                    <a:pt x="84683" y="222098"/>
                    <a:pt x="86805" y="230713"/>
                    <a:pt x="80376" y="235021"/>
                  </a:cubicBezTo>
                  <a:cubicBezTo>
                    <a:pt x="75730" y="237619"/>
                    <a:pt x="70171" y="238017"/>
                    <a:pt x="65202" y="236114"/>
                  </a:cubicBezTo>
                  <a:cubicBezTo>
                    <a:pt x="61923" y="236114"/>
                    <a:pt x="63852" y="242158"/>
                    <a:pt x="58773" y="246273"/>
                  </a:cubicBezTo>
                  <a:cubicBezTo>
                    <a:pt x="53694" y="250387"/>
                    <a:pt x="49707" y="241901"/>
                    <a:pt x="43085" y="241901"/>
                  </a:cubicBezTo>
                  <a:cubicBezTo>
                    <a:pt x="36463" y="241901"/>
                    <a:pt x="37813" y="250452"/>
                    <a:pt x="38135" y="254759"/>
                  </a:cubicBezTo>
                  <a:cubicBezTo>
                    <a:pt x="38456" y="259067"/>
                    <a:pt x="28169" y="253924"/>
                    <a:pt x="25726" y="263889"/>
                  </a:cubicBezTo>
                  <a:cubicBezTo>
                    <a:pt x="23283" y="273855"/>
                    <a:pt x="12867" y="265239"/>
                    <a:pt x="19682" y="274883"/>
                  </a:cubicBezTo>
                  <a:cubicBezTo>
                    <a:pt x="26497" y="284527"/>
                    <a:pt x="25469" y="278484"/>
                    <a:pt x="30934" y="282341"/>
                  </a:cubicBezTo>
                  <a:cubicBezTo>
                    <a:pt x="36399" y="286199"/>
                    <a:pt x="24890" y="293078"/>
                    <a:pt x="30419" y="294171"/>
                  </a:cubicBezTo>
                  <a:cubicBezTo>
                    <a:pt x="35949" y="295264"/>
                    <a:pt x="41992" y="305230"/>
                    <a:pt x="45850" y="308766"/>
                  </a:cubicBezTo>
                  <a:cubicBezTo>
                    <a:pt x="49707" y="312302"/>
                    <a:pt x="54658" y="306837"/>
                    <a:pt x="60444" y="306580"/>
                  </a:cubicBezTo>
                  <a:cubicBezTo>
                    <a:pt x="66231" y="306323"/>
                    <a:pt x="63466" y="298286"/>
                    <a:pt x="66874" y="301372"/>
                  </a:cubicBezTo>
                  <a:cubicBezTo>
                    <a:pt x="70281" y="304458"/>
                    <a:pt x="74911" y="313202"/>
                    <a:pt x="71889" y="315388"/>
                  </a:cubicBezTo>
                  <a:cubicBezTo>
                    <a:pt x="68867" y="317574"/>
                    <a:pt x="71310" y="324518"/>
                    <a:pt x="70796" y="327797"/>
                  </a:cubicBezTo>
                  <a:cubicBezTo>
                    <a:pt x="70281" y="331076"/>
                    <a:pt x="83654" y="329983"/>
                    <a:pt x="84297" y="326125"/>
                  </a:cubicBezTo>
                  <a:cubicBezTo>
                    <a:pt x="84940" y="322268"/>
                    <a:pt x="95549" y="321175"/>
                    <a:pt x="101335" y="327540"/>
                  </a:cubicBezTo>
                  <a:cubicBezTo>
                    <a:pt x="107122" y="333905"/>
                    <a:pt x="109051" y="334934"/>
                    <a:pt x="109051" y="329983"/>
                  </a:cubicBezTo>
                  <a:cubicBezTo>
                    <a:pt x="109051" y="325032"/>
                    <a:pt x="114001" y="319503"/>
                    <a:pt x="114323" y="323554"/>
                  </a:cubicBezTo>
                  <a:cubicBezTo>
                    <a:pt x="114644" y="327604"/>
                    <a:pt x="119273" y="328761"/>
                    <a:pt x="127824" y="324904"/>
                  </a:cubicBezTo>
                  <a:cubicBezTo>
                    <a:pt x="136375" y="321046"/>
                    <a:pt x="132518" y="324904"/>
                    <a:pt x="127824" y="330690"/>
                  </a:cubicBezTo>
                  <a:cubicBezTo>
                    <a:pt x="121716" y="338341"/>
                    <a:pt x="127824" y="349464"/>
                    <a:pt x="123388" y="350557"/>
                  </a:cubicBezTo>
                  <a:cubicBezTo>
                    <a:pt x="118952" y="351650"/>
                    <a:pt x="115416" y="362966"/>
                    <a:pt x="108279" y="363802"/>
                  </a:cubicBezTo>
                  <a:cubicBezTo>
                    <a:pt x="101142" y="364637"/>
                    <a:pt x="88991" y="378075"/>
                    <a:pt x="87319" y="380325"/>
                  </a:cubicBezTo>
                  <a:cubicBezTo>
                    <a:pt x="85648" y="382575"/>
                    <a:pt x="70217" y="375889"/>
                    <a:pt x="68031" y="382254"/>
                  </a:cubicBezTo>
                  <a:cubicBezTo>
                    <a:pt x="65845" y="388619"/>
                    <a:pt x="56523" y="393312"/>
                    <a:pt x="58966" y="395756"/>
                  </a:cubicBezTo>
                  <a:cubicBezTo>
                    <a:pt x="61409" y="398199"/>
                    <a:pt x="73239" y="391062"/>
                    <a:pt x="73818" y="387719"/>
                  </a:cubicBezTo>
                  <a:cubicBezTo>
                    <a:pt x="74396" y="384376"/>
                    <a:pt x="76004" y="385018"/>
                    <a:pt x="78254" y="387719"/>
                  </a:cubicBezTo>
                  <a:cubicBezTo>
                    <a:pt x="80504" y="390419"/>
                    <a:pt x="85969" y="386626"/>
                    <a:pt x="88412" y="384440"/>
                  </a:cubicBezTo>
                  <a:cubicBezTo>
                    <a:pt x="90855" y="382254"/>
                    <a:pt x="94842" y="383025"/>
                    <a:pt x="97542" y="383347"/>
                  </a:cubicBezTo>
                  <a:cubicBezTo>
                    <a:pt x="100242" y="383668"/>
                    <a:pt x="101078" y="380261"/>
                    <a:pt x="108536" y="378911"/>
                  </a:cubicBezTo>
                  <a:cubicBezTo>
                    <a:pt x="115994" y="377560"/>
                    <a:pt x="114323" y="375310"/>
                    <a:pt x="115994" y="371453"/>
                  </a:cubicBezTo>
                  <a:cubicBezTo>
                    <a:pt x="117666" y="367595"/>
                    <a:pt x="135282" y="359365"/>
                    <a:pt x="138561" y="358594"/>
                  </a:cubicBezTo>
                  <a:cubicBezTo>
                    <a:pt x="141840" y="357822"/>
                    <a:pt x="139976" y="352164"/>
                    <a:pt x="143512" y="352164"/>
                  </a:cubicBezTo>
                  <a:cubicBezTo>
                    <a:pt x="148835" y="350326"/>
                    <a:pt x="153641" y="347240"/>
                    <a:pt x="157528" y="343163"/>
                  </a:cubicBezTo>
                  <a:cubicBezTo>
                    <a:pt x="162221" y="339306"/>
                    <a:pt x="163314" y="340977"/>
                    <a:pt x="166851" y="339563"/>
                  </a:cubicBezTo>
                  <a:cubicBezTo>
                    <a:pt x="170387" y="338148"/>
                    <a:pt x="167686" y="331012"/>
                    <a:pt x="171287" y="330497"/>
                  </a:cubicBezTo>
                  <a:cubicBezTo>
                    <a:pt x="174706" y="330195"/>
                    <a:pt x="177417" y="327488"/>
                    <a:pt x="177716" y="324068"/>
                  </a:cubicBezTo>
                  <a:cubicBezTo>
                    <a:pt x="177716" y="321046"/>
                    <a:pt x="168587" y="321046"/>
                    <a:pt x="167751" y="319117"/>
                  </a:cubicBezTo>
                  <a:cubicBezTo>
                    <a:pt x="166915" y="317189"/>
                    <a:pt x="174952" y="310052"/>
                    <a:pt x="177973" y="310309"/>
                  </a:cubicBezTo>
                  <a:cubicBezTo>
                    <a:pt x="182156" y="310136"/>
                    <a:pt x="185617" y="306998"/>
                    <a:pt x="186203" y="302851"/>
                  </a:cubicBezTo>
                  <a:cubicBezTo>
                    <a:pt x="186203" y="298479"/>
                    <a:pt x="190897" y="297643"/>
                    <a:pt x="194497" y="293786"/>
                  </a:cubicBezTo>
                  <a:cubicBezTo>
                    <a:pt x="198097" y="289928"/>
                    <a:pt x="197262" y="286585"/>
                    <a:pt x="200926" y="286328"/>
                  </a:cubicBezTo>
                  <a:cubicBezTo>
                    <a:pt x="204591" y="286070"/>
                    <a:pt x="207806" y="281120"/>
                    <a:pt x="211663" y="278870"/>
                  </a:cubicBezTo>
                  <a:cubicBezTo>
                    <a:pt x="215521" y="276619"/>
                    <a:pt x="211663" y="281634"/>
                    <a:pt x="219057" y="281956"/>
                  </a:cubicBezTo>
                  <a:cubicBezTo>
                    <a:pt x="226451" y="282277"/>
                    <a:pt x="224908" y="289092"/>
                    <a:pt x="219057" y="286585"/>
                  </a:cubicBezTo>
                  <a:cubicBezTo>
                    <a:pt x="214786" y="283865"/>
                    <a:pt x="209135" y="284971"/>
                    <a:pt x="206198" y="289092"/>
                  </a:cubicBezTo>
                  <a:cubicBezTo>
                    <a:pt x="201248" y="293786"/>
                    <a:pt x="205105" y="295136"/>
                    <a:pt x="201248" y="300408"/>
                  </a:cubicBezTo>
                  <a:cubicBezTo>
                    <a:pt x="197390" y="305680"/>
                    <a:pt x="197133" y="308895"/>
                    <a:pt x="202084" y="309473"/>
                  </a:cubicBezTo>
                  <a:cubicBezTo>
                    <a:pt x="207034" y="310052"/>
                    <a:pt x="202084" y="313588"/>
                    <a:pt x="197647" y="315003"/>
                  </a:cubicBezTo>
                  <a:cubicBezTo>
                    <a:pt x="193211" y="316417"/>
                    <a:pt x="196297" y="319117"/>
                    <a:pt x="202662" y="319117"/>
                  </a:cubicBezTo>
                  <a:cubicBezTo>
                    <a:pt x="209027" y="319117"/>
                    <a:pt x="218350" y="310052"/>
                    <a:pt x="227158" y="305616"/>
                  </a:cubicBezTo>
                  <a:cubicBezTo>
                    <a:pt x="235966" y="301179"/>
                    <a:pt x="242589" y="305616"/>
                    <a:pt x="245096" y="304780"/>
                  </a:cubicBezTo>
                  <a:cubicBezTo>
                    <a:pt x="247604" y="303944"/>
                    <a:pt x="242332" y="299829"/>
                    <a:pt x="245096" y="298351"/>
                  </a:cubicBezTo>
                  <a:cubicBezTo>
                    <a:pt x="247861" y="296872"/>
                    <a:pt x="241496" y="296100"/>
                    <a:pt x="239567" y="290892"/>
                  </a:cubicBezTo>
                  <a:cubicBezTo>
                    <a:pt x="237638" y="285685"/>
                    <a:pt x="242589" y="288964"/>
                    <a:pt x="243746" y="284849"/>
                  </a:cubicBezTo>
                  <a:cubicBezTo>
                    <a:pt x="244903" y="280734"/>
                    <a:pt x="247861" y="282341"/>
                    <a:pt x="250625" y="284270"/>
                  </a:cubicBezTo>
                  <a:cubicBezTo>
                    <a:pt x="253390" y="286199"/>
                    <a:pt x="257055" y="282341"/>
                    <a:pt x="259691" y="287549"/>
                  </a:cubicBezTo>
                  <a:cubicBezTo>
                    <a:pt x="262327" y="292757"/>
                    <a:pt x="264963" y="286199"/>
                    <a:pt x="269335" y="289799"/>
                  </a:cubicBezTo>
                  <a:cubicBezTo>
                    <a:pt x="273707" y="293400"/>
                    <a:pt x="268499" y="292821"/>
                    <a:pt x="263806" y="293914"/>
                  </a:cubicBezTo>
                  <a:cubicBezTo>
                    <a:pt x="259112" y="295007"/>
                    <a:pt x="261620" y="301372"/>
                    <a:pt x="265220" y="298351"/>
                  </a:cubicBezTo>
                  <a:cubicBezTo>
                    <a:pt x="268821" y="295329"/>
                    <a:pt x="271649" y="293336"/>
                    <a:pt x="275121" y="296422"/>
                  </a:cubicBezTo>
                  <a:cubicBezTo>
                    <a:pt x="278593" y="299508"/>
                    <a:pt x="279815" y="298029"/>
                    <a:pt x="282579" y="295264"/>
                  </a:cubicBezTo>
                  <a:cubicBezTo>
                    <a:pt x="285344" y="292500"/>
                    <a:pt x="285344" y="295586"/>
                    <a:pt x="285344" y="297772"/>
                  </a:cubicBezTo>
                  <a:cubicBezTo>
                    <a:pt x="285344" y="299958"/>
                    <a:pt x="291130" y="300794"/>
                    <a:pt x="299360" y="302208"/>
                  </a:cubicBezTo>
                  <a:cubicBezTo>
                    <a:pt x="308367" y="302813"/>
                    <a:pt x="317411" y="302536"/>
                    <a:pt x="326363" y="301372"/>
                  </a:cubicBezTo>
                  <a:cubicBezTo>
                    <a:pt x="330221" y="301372"/>
                    <a:pt x="328871" y="307159"/>
                    <a:pt x="337422" y="308766"/>
                  </a:cubicBezTo>
                  <a:cubicBezTo>
                    <a:pt x="345973" y="310373"/>
                    <a:pt x="348159" y="300279"/>
                    <a:pt x="352595" y="303816"/>
                  </a:cubicBezTo>
                  <a:cubicBezTo>
                    <a:pt x="357032" y="307352"/>
                    <a:pt x="352595" y="308766"/>
                    <a:pt x="350088" y="311531"/>
                  </a:cubicBezTo>
                  <a:cubicBezTo>
                    <a:pt x="347580" y="314295"/>
                    <a:pt x="352852" y="314552"/>
                    <a:pt x="356131" y="315967"/>
                  </a:cubicBezTo>
                  <a:cubicBezTo>
                    <a:pt x="361371" y="317484"/>
                    <a:pt x="366309" y="319895"/>
                    <a:pt x="370726" y="323104"/>
                  </a:cubicBezTo>
                  <a:cubicBezTo>
                    <a:pt x="374699" y="328080"/>
                    <a:pt x="379702" y="332137"/>
                    <a:pt x="385385" y="334998"/>
                  </a:cubicBezTo>
                  <a:cubicBezTo>
                    <a:pt x="394193" y="339370"/>
                    <a:pt x="385385" y="323939"/>
                    <a:pt x="392522" y="328890"/>
                  </a:cubicBezTo>
                  <a:cubicBezTo>
                    <a:pt x="399658" y="333841"/>
                    <a:pt x="396958" y="329211"/>
                    <a:pt x="402423" y="334162"/>
                  </a:cubicBezTo>
                  <a:cubicBezTo>
                    <a:pt x="407888" y="339113"/>
                    <a:pt x="406023" y="331912"/>
                    <a:pt x="403580" y="323682"/>
                  </a:cubicBezTo>
                  <a:cubicBezTo>
                    <a:pt x="401137" y="315453"/>
                    <a:pt x="406023" y="320918"/>
                    <a:pt x="408531" y="324775"/>
                  </a:cubicBezTo>
                  <a:cubicBezTo>
                    <a:pt x="410852" y="329899"/>
                    <a:pt x="411148" y="335705"/>
                    <a:pt x="409367" y="341041"/>
                  </a:cubicBezTo>
                  <a:cubicBezTo>
                    <a:pt x="407695" y="345992"/>
                    <a:pt x="399401" y="341877"/>
                    <a:pt x="400237" y="339113"/>
                  </a:cubicBezTo>
                  <a:cubicBezTo>
                    <a:pt x="401073" y="336348"/>
                    <a:pt x="392007" y="337441"/>
                    <a:pt x="391686" y="341299"/>
                  </a:cubicBezTo>
                  <a:cubicBezTo>
                    <a:pt x="392740" y="346854"/>
                    <a:pt x="396611" y="351464"/>
                    <a:pt x="401909" y="353450"/>
                  </a:cubicBezTo>
                  <a:cubicBezTo>
                    <a:pt x="406281" y="354286"/>
                    <a:pt x="403002" y="361165"/>
                    <a:pt x="405766" y="362001"/>
                  </a:cubicBezTo>
                  <a:cubicBezTo>
                    <a:pt x="409560" y="363094"/>
                    <a:pt x="409367" y="370231"/>
                    <a:pt x="411553" y="369138"/>
                  </a:cubicBezTo>
                  <a:cubicBezTo>
                    <a:pt x="413739" y="368045"/>
                    <a:pt x="412903" y="359494"/>
                    <a:pt x="410460" y="355636"/>
                  </a:cubicBezTo>
                  <a:cubicBezTo>
                    <a:pt x="408016" y="351779"/>
                    <a:pt x="409045" y="346249"/>
                    <a:pt x="412388" y="347407"/>
                  </a:cubicBezTo>
                  <a:cubicBezTo>
                    <a:pt x="415732" y="348564"/>
                    <a:pt x="412388" y="354286"/>
                    <a:pt x="413996" y="356215"/>
                  </a:cubicBezTo>
                  <a:cubicBezTo>
                    <a:pt x="415603" y="358144"/>
                    <a:pt x="417596" y="354286"/>
                    <a:pt x="421454" y="352100"/>
                  </a:cubicBezTo>
                  <a:cubicBezTo>
                    <a:pt x="425312" y="349914"/>
                    <a:pt x="419782" y="343549"/>
                    <a:pt x="421454" y="340206"/>
                  </a:cubicBezTo>
                  <a:cubicBezTo>
                    <a:pt x="423126" y="336862"/>
                    <a:pt x="427240" y="342970"/>
                    <a:pt x="428912" y="348757"/>
                  </a:cubicBezTo>
                  <a:cubicBezTo>
                    <a:pt x="430584" y="354543"/>
                    <a:pt x="424733" y="354286"/>
                    <a:pt x="424733" y="357308"/>
                  </a:cubicBezTo>
                  <a:cubicBezTo>
                    <a:pt x="424733" y="360330"/>
                    <a:pt x="419525" y="358979"/>
                    <a:pt x="417853" y="360587"/>
                  </a:cubicBezTo>
                  <a:cubicBezTo>
                    <a:pt x="416182" y="362194"/>
                    <a:pt x="417018" y="373446"/>
                    <a:pt x="419268" y="373446"/>
                  </a:cubicBezTo>
                  <a:cubicBezTo>
                    <a:pt x="421518" y="373446"/>
                    <a:pt x="422804" y="364316"/>
                    <a:pt x="424219" y="369009"/>
                  </a:cubicBezTo>
                  <a:cubicBezTo>
                    <a:pt x="425633" y="373703"/>
                    <a:pt x="430648" y="362966"/>
                    <a:pt x="432191" y="367402"/>
                  </a:cubicBezTo>
                  <a:cubicBezTo>
                    <a:pt x="433734" y="371838"/>
                    <a:pt x="440163" y="376725"/>
                    <a:pt x="442671" y="375632"/>
                  </a:cubicBezTo>
                  <a:cubicBezTo>
                    <a:pt x="445178" y="374539"/>
                    <a:pt x="441578" y="369845"/>
                    <a:pt x="437720" y="369588"/>
                  </a:cubicBezTo>
                  <a:cubicBezTo>
                    <a:pt x="433863" y="369331"/>
                    <a:pt x="434377" y="363159"/>
                    <a:pt x="437720" y="362708"/>
                  </a:cubicBezTo>
                  <a:cubicBezTo>
                    <a:pt x="441063" y="362259"/>
                    <a:pt x="447621" y="371774"/>
                    <a:pt x="447364" y="375117"/>
                  </a:cubicBezTo>
                  <a:cubicBezTo>
                    <a:pt x="447107" y="378460"/>
                    <a:pt x="444085" y="378139"/>
                    <a:pt x="440935" y="381547"/>
                  </a:cubicBezTo>
                  <a:cubicBezTo>
                    <a:pt x="437784" y="384954"/>
                    <a:pt x="433991" y="376467"/>
                    <a:pt x="430391" y="376467"/>
                  </a:cubicBezTo>
                  <a:cubicBezTo>
                    <a:pt x="426790" y="376467"/>
                    <a:pt x="430391" y="382254"/>
                    <a:pt x="432062" y="386111"/>
                  </a:cubicBezTo>
                  <a:cubicBezTo>
                    <a:pt x="433734" y="389969"/>
                    <a:pt x="427626" y="395177"/>
                    <a:pt x="432062" y="398199"/>
                  </a:cubicBezTo>
                  <a:cubicBezTo>
                    <a:pt x="436499" y="401221"/>
                    <a:pt x="435406" y="396270"/>
                    <a:pt x="436241" y="394084"/>
                  </a:cubicBezTo>
                  <a:cubicBezTo>
                    <a:pt x="437077" y="391898"/>
                    <a:pt x="440613" y="394662"/>
                    <a:pt x="443121" y="396591"/>
                  </a:cubicBezTo>
                  <a:cubicBezTo>
                    <a:pt x="445628" y="398520"/>
                    <a:pt x="445885" y="392155"/>
                    <a:pt x="445885" y="389648"/>
                  </a:cubicBezTo>
                  <a:cubicBezTo>
                    <a:pt x="445885" y="387140"/>
                    <a:pt x="450000" y="388555"/>
                    <a:pt x="452315" y="391898"/>
                  </a:cubicBezTo>
                  <a:cubicBezTo>
                    <a:pt x="454629" y="395241"/>
                    <a:pt x="454822" y="388297"/>
                    <a:pt x="458101" y="388876"/>
                  </a:cubicBezTo>
                  <a:cubicBezTo>
                    <a:pt x="461380" y="389455"/>
                    <a:pt x="459194" y="394662"/>
                    <a:pt x="459194" y="397684"/>
                  </a:cubicBezTo>
                  <a:cubicBezTo>
                    <a:pt x="459194" y="400706"/>
                    <a:pt x="464981" y="395177"/>
                    <a:pt x="464466" y="398520"/>
                  </a:cubicBezTo>
                  <a:cubicBezTo>
                    <a:pt x="464402" y="398970"/>
                    <a:pt x="464402" y="399420"/>
                    <a:pt x="464466" y="399870"/>
                  </a:cubicBezTo>
                  <a:cubicBezTo>
                    <a:pt x="464466" y="402313"/>
                    <a:pt x="466974" y="403857"/>
                    <a:pt x="469738" y="406300"/>
                  </a:cubicBezTo>
                  <a:cubicBezTo>
                    <a:pt x="472503" y="408743"/>
                    <a:pt x="463695" y="409064"/>
                    <a:pt x="466460" y="411508"/>
                  </a:cubicBezTo>
                  <a:cubicBezTo>
                    <a:pt x="469224" y="413951"/>
                    <a:pt x="465881" y="417937"/>
                    <a:pt x="468645" y="420894"/>
                  </a:cubicBezTo>
                  <a:cubicBezTo>
                    <a:pt x="471847" y="423479"/>
                    <a:pt x="476476" y="423228"/>
                    <a:pt x="479383" y="420316"/>
                  </a:cubicBezTo>
                  <a:cubicBezTo>
                    <a:pt x="482404" y="417873"/>
                    <a:pt x="484655" y="423338"/>
                    <a:pt x="482147" y="427517"/>
                  </a:cubicBezTo>
                  <a:cubicBezTo>
                    <a:pt x="481009" y="428970"/>
                    <a:pt x="481273" y="431072"/>
                    <a:pt x="482726" y="432210"/>
                  </a:cubicBezTo>
                  <a:cubicBezTo>
                    <a:pt x="484179" y="433348"/>
                    <a:pt x="486281" y="433084"/>
                    <a:pt x="487419" y="431631"/>
                  </a:cubicBezTo>
                  <a:cubicBezTo>
                    <a:pt x="489862" y="428610"/>
                    <a:pt x="495135" y="436582"/>
                    <a:pt x="497578" y="438061"/>
                  </a:cubicBezTo>
                  <a:cubicBezTo>
                    <a:pt x="500021" y="439540"/>
                    <a:pt x="502528" y="443526"/>
                    <a:pt x="498413" y="443526"/>
                  </a:cubicBezTo>
                  <a:cubicBezTo>
                    <a:pt x="494299" y="443526"/>
                    <a:pt x="494813" y="450727"/>
                    <a:pt x="497835" y="450984"/>
                  </a:cubicBezTo>
                  <a:cubicBezTo>
                    <a:pt x="500857" y="451241"/>
                    <a:pt x="500599" y="455099"/>
                    <a:pt x="500599" y="457413"/>
                  </a:cubicBezTo>
                  <a:cubicBezTo>
                    <a:pt x="500599" y="459728"/>
                    <a:pt x="510244" y="463457"/>
                    <a:pt x="513844" y="462364"/>
                  </a:cubicBezTo>
                  <a:cubicBezTo>
                    <a:pt x="517444" y="461271"/>
                    <a:pt x="520723" y="464550"/>
                    <a:pt x="522395" y="467572"/>
                  </a:cubicBezTo>
                  <a:cubicBezTo>
                    <a:pt x="524067" y="470594"/>
                    <a:pt x="530625" y="472844"/>
                    <a:pt x="533132" y="470915"/>
                  </a:cubicBezTo>
                  <a:cubicBezTo>
                    <a:pt x="535640" y="468986"/>
                    <a:pt x="537247" y="474515"/>
                    <a:pt x="537826" y="478373"/>
                  </a:cubicBezTo>
                  <a:cubicBezTo>
                    <a:pt x="538404" y="482231"/>
                    <a:pt x="543869" y="479980"/>
                    <a:pt x="547212" y="479723"/>
                  </a:cubicBezTo>
                  <a:cubicBezTo>
                    <a:pt x="550556" y="479466"/>
                    <a:pt x="552420" y="484159"/>
                    <a:pt x="554606" y="483324"/>
                  </a:cubicBezTo>
                  <a:cubicBezTo>
                    <a:pt x="559493" y="481459"/>
                    <a:pt x="561036" y="489753"/>
                    <a:pt x="564186" y="494961"/>
                  </a:cubicBezTo>
                  <a:cubicBezTo>
                    <a:pt x="564559" y="495520"/>
                    <a:pt x="564964" y="496060"/>
                    <a:pt x="565408" y="496568"/>
                  </a:cubicBezTo>
                  <a:cubicBezTo>
                    <a:pt x="569522" y="500940"/>
                    <a:pt x="566179" y="504283"/>
                    <a:pt x="567594" y="509427"/>
                  </a:cubicBezTo>
                  <a:cubicBezTo>
                    <a:pt x="569008" y="514570"/>
                    <a:pt x="567594" y="522286"/>
                    <a:pt x="563736" y="522286"/>
                  </a:cubicBezTo>
                  <a:cubicBezTo>
                    <a:pt x="561962" y="522749"/>
                    <a:pt x="560148" y="521681"/>
                    <a:pt x="559685" y="519907"/>
                  </a:cubicBezTo>
                  <a:cubicBezTo>
                    <a:pt x="559223" y="518132"/>
                    <a:pt x="560290" y="516319"/>
                    <a:pt x="562064" y="515856"/>
                  </a:cubicBezTo>
                  <a:cubicBezTo>
                    <a:pt x="565086" y="514185"/>
                    <a:pt x="563479" y="508141"/>
                    <a:pt x="560393" y="508141"/>
                  </a:cubicBezTo>
                  <a:cubicBezTo>
                    <a:pt x="558657" y="508141"/>
                    <a:pt x="557950" y="506019"/>
                    <a:pt x="558014" y="503576"/>
                  </a:cubicBezTo>
                  <a:cubicBezTo>
                    <a:pt x="558078" y="501789"/>
                    <a:pt x="558515" y="500040"/>
                    <a:pt x="559300" y="498433"/>
                  </a:cubicBezTo>
                  <a:cubicBezTo>
                    <a:pt x="561228" y="494897"/>
                    <a:pt x="555185" y="497340"/>
                    <a:pt x="551584" y="493482"/>
                  </a:cubicBezTo>
                  <a:cubicBezTo>
                    <a:pt x="547984" y="489624"/>
                    <a:pt x="538726" y="490460"/>
                    <a:pt x="537247" y="487053"/>
                  </a:cubicBezTo>
                  <a:cubicBezTo>
                    <a:pt x="535768" y="483645"/>
                    <a:pt x="527346" y="470529"/>
                    <a:pt x="522652" y="470851"/>
                  </a:cubicBezTo>
                  <a:cubicBezTo>
                    <a:pt x="516969" y="471699"/>
                    <a:pt x="511176" y="470413"/>
                    <a:pt x="506386" y="467250"/>
                  </a:cubicBezTo>
                  <a:cubicBezTo>
                    <a:pt x="500921" y="463135"/>
                    <a:pt x="497320" y="462814"/>
                    <a:pt x="493527" y="465321"/>
                  </a:cubicBezTo>
                  <a:cubicBezTo>
                    <a:pt x="489734" y="467829"/>
                    <a:pt x="497642" y="468343"/>
                    <a:pt x="497385" y="471108"/>
                  </a:cubicBezTo>
                  <a:cubicBezTo>
                    <a:pt x="497128" y="473872"/>
                    <a:pt x="499828" y="475480"/>
                    <a:pt x="503171" y="474965"/>
                  </a:cubicBezTo>
                  <a:cubicBezTo>
                    <a:pt x="506515" y="474451"/>
                    <a:pt x="508379" y="481395"/>
                    <a:pt x="511722" y="481395"/>
                  </a:cubicBezTo>
                  <a:cubicBezTo>
                    <a:pt x="515066" y="481395"/>
                    <a:pt x="516094" y="486860"/>
                    <a:pt x="519952" y="486860"/>
                  </a:cubicBezTo>
                  <a:cubicBezTo>
                    <a:pt x="523810" y="486860"/>
                    <a:pt x="524645" y="491296"/>
                    <a:pt x="526381" y="493804"/>
                  </a:cubicBezTo>
                  <a:cubicBezTo>
                    <a:pt x="528117" y="496311"/>
                    <a:pt x="532811" y="493804"/>
                    <a:pt x="532811" y="496568"/>
                  </a:cubicBezTo>
                  <a:cubicBezTo>
                    <a:pt x="532811" y="499333"/>
                    <a:pt x="537183" y="500747"/>
                    <a:pt x="538340" y="503576"/>
                  </a:cubicBezTo>
                  <a:cubicBezTo>
                    <a:pt x="538378" y="503898"/>
                    <a:pt x="538378" y="504219"/>
                    <a:pt x="538340" y="504541"/>
                  </a:cubicBezTo>
                  <a:cubicBezTo>
                    <a:pt x="539028" y="510507"/>
                    <a:pt x="541240" y="516197"/>
                    <a:pt x="544769" y="521064"/>
                  </a:cubicBezTo>
                  <a:cubicBezTo>
                    <a:pt x="549206" y="526851"/>
                    <a:pt x="546184" y="530451"/>
                    <a:pt x="550299" y="532637"/>
                  </a:cubicBezTo>
                  <a:cubicBezTo>
                    <a:pt x="554413" y="534823"/>
                    <a:pt x="554156" y="537330"/>
                    <a:pt x="550299" y="536752"/>
                  </a:cubicBezTo>
                  <a:cubicBezTo>
                    <a:pt x="546441" y="536173"/>
                    <a:pt x="549206" y="539774"/>
                    <a:pt x="547855" y="548067"/>
                  </a:cubicBezTo>
                  <a:cubicBezTo>
                    <a:pt x="546505" y="556361"/>
                    <a:pt x="546698" y="573399"/>
                    <a:pt x="545927" y="578671"/>
                  </a:cubicBezTo>
                  <a:cubicBezTo>
                    <a:pt x="545155" y="583943"/>
                    <a:pt x="538983" y="592430"/>
                    <a:pt x="542583" y="597959"/>
                  </a:cubicBezTo>
                  <a:cubicBezTo>
                    <a:pt x="546692" y="603804"/>
                    <a:pt x="548183" y="611095"/>
                    <a:pt x="546698" y="618083"/>
                  </a:cubicBezTo>
                  <a:cubicBezTo>
                    <a:pt x="544615" y="623432"/>
                    <a:pt x="545136" y="629444"/>
                    <a:pt x="548113" y="634350"/>
                  </a:cubicBezTo>
                  <a:cubicBezTo>
                    <a:pt x="551134" y="639558"/>
                    <a:pt x="548627" y="648623"/>
                    <a:pt x="551970" y="650552"/>
                  </a:cubicBezTo>
                  <a:cubicBezTo>
                    <a:pt x="555860" y="653413"/>
                    <a:pt x="559062" y="657103"/>
                    <a:pt x="561357" y="661353"/>
                  </a:cubicBezTo>
                  <a:cubicBezTo>
                    <a:pt x="564379" y="666304"/>
                    <a:pt x="567144" y="663282"/>
                    <a:pt x="567786" y="668232"/>
                  </a:cubicBezTo>
                  <a:cubicBezTo>
                    <a:pt x="568429" y="673183"/>
                    <a:pt x="568365" y="674019"/>
                    <a:pt x="572737" y="675948"/>
                  </a:cubicBezTo>
                  <a:cubicBezTo>
                    <a:pt x="577109" y="677877"/>
                    <a:pt x="574409" y="682827"/>
                    <a:pt x="574409" y="685592"/>
                  </a:cubicBezTo>
                  <a:cubicBezTo>
                    <a:pt x="574409" y="688356"/>
                    <a:pt x="580195" y="693307"/>
                    <a:pt x="587267" y="699608"/>
                  </a:cubicBezTo>
                  <a:cubicBezTo>
                    <a:pt x="594340" y="705909"/>
                    <a:pt x="588425" y="711181"/>
                    <a:pt x="593697" y="711181"/>
                  </a:cubicBezTo>
                  <a:cubicBezTo>
                    <a:pt x="599329" y="711875"/>
                    <a:pt x="604665" y="714100"/>
                    <a:pt x="609127" y="717610"/>
                  </a:cubicBezTo>
                  <a:cubicBezTo>
                    <a:pt x="614335" y="720953"/>
                    <a:pt x="616007" y="718960"/>
                    <a:pt x="619607" y="719796"/>
                  </a:cubicBezTo>
                  <a:cubicBezTo>
                    <a:pt x="625085" y="722760"/>
                    <a:pt x="629226" y="727704"/>
                    <a:pt x="631180" y="733619"/>
                  </a:cubicBezTo>
                  <a:cubicBezTo>
                    <a:pt x="631874" y="736307"/>
                    <a:pt x="632800" y="738930"/>
                    <a:pt x="633945" y="741463"/>
                  </a:cubicBezTo>
                  <a:lnTo>
                    <a:pt x="662555" y="737670"/>
                  </a:lnTo>
                  <a:cubicBezTo>
                    <a:pt x="666825" y="740724"/>
                    <a:pt x="671467" y="743212"/>
                    <a:pt x="676379" y="745063"/>
                  </a:cubicBezTo>
                  <a:cubicBezTo>
                    <a:pt x="681394" y="746221"/>
                    <a:pt x="708525" y="756251"/>
                    <a:pt x="708525" y="756251"/>
                  </a:cubicBezTo>
                  <a:lnTo>
                    <a:pt x="743887" y="755929"/>
                  </a:lnTo>
                  <a:lnTo>
                    <a:pt x="748002" y="750657"/>
                  </a:lnTo>
                  <a:lnTo>
                    <a:pt x="767290" y="750657"/>
                  </a:lnTo>
                  <a:cubicBezTo>
                    <a:pt x="771752" y="755209"/>
                    <a:pt x="776478" y="759504"/>
                    <a:pt x="781435" y="763516"/>
                  </a:cubicBezTo>
                  <a:cubicBezTo>
                    <a:pt x="783171" y="764094"/>
                    <a:pt x="789343" y="769945"/>
                    <a:pt x="789343" y="773224"/>
                  </a:cubicBezTo>
                  <a:cubicBezTo>
                    <a:pt x="789124" y="776510"/>
                    <a:pt x="790860" y="779609"/>
                    <a:pt x="793779" y="781132"/>
                  </a:cubicBezTo>
                  <a:cubicBezTo>
                    <a:pt x="798305" y="784096"/>
                    <a:pt x="803134" y="786572"/>
                    <a:pt x="808181" y="788526"/>
                  </a:cubicBezTo>
                  <a:cubicBezTo>
                    <a:pt x="809660" y="787947"/>
                    <a:pt x="812617" y="776760"/>
                    <a:pt x="817953" y="777017"/>
                  </a:cubicBezTo>
                  <a:cubicBezTo>
                    <a:pt x="823290" y="777275"/>
                    <a:pt x="837627" y="781454"/>
                    <a:pt x="840006" y="789876"/>
                  </a:cubicBezTo>
                  <a:cubicBezTo>
                    <a:pt x="842263" y="796466"/>
                    <a:pt x="846346" y="802285"/>
                    <a:pt x="851772" y="806657"/>
                  </a:cubicBezTo>
                  <a:cubicBezTo>
                    <a:pt x="854151" y="808457"/>
                    <a:pt x="852929" y="813408"/>
                    <a:pt x="854729" y="816108"/>
                  </a:cubicBezTo>
                  <a:cubicBezTo>
                    <a:pt x="856530" y="818808"/>
                    <a:pt x="856208" y="823759"/>
                    <a:pt x="858266" y="823759"/>
                  </a:cubicBezTo>
                  <a:cubicBezTo>
                    <a:pt x="860323" y="823759"/>
                    <a:pt x="871124" y="830188"/>
                    <a:pt x="875625" y="830188"/>
                  </a:cubicBezTo>
                  <a:cubicBezTo>
                    <a:pt x="877483" y="830356"/>
                    <a:pt x="879258" y="831018"/>
                    <a:pt x="880768" y="832117"/>
                  </a:cubicBezTo>
                  <a:cubicBezTo>
                    <a:pt x="881347" y="822280"/>
                    <a:pt x="871253" y="820609"/>
                    <a:pt x="877232" y="816108"/>
                  </a:cubicBezTo>
                  <a:cubicBezTo>
                    <a:pt x="883212" y="811607"/>
                    <a:pt x="876911" y="806464"/>
                    <a:pt x="880254" y="804214"/>
                  </a:cubicBezTo>
                  <a:cubicBezTo>
                    <a:pt x="883597" y="801963"/>
                    <a:pt x="889320" y="799842"/>
                    <a:pt x="889320" y="796498"/>
                  </a:cubicBezTo>
                  <a:cubicBezTo>
                    <a:pt x="889320" y="793155"/>
                    <a:pt x="892341" y="793220"/>
                    <a:pt x="896778" y="793798"/>
                  </a:cubicBezTo>
                  <a:cubicBezTo>
                    <a:pt x="901214" y="794377"/>
                    <a:pt x="909636" y="786597"/>
                    <a:pt x="908865" y="783575"/>
                  </a:cubicBezTo>
                  <a:cubicBezTo>
                    <a:pt x="908093" y="780554"/>
                    <a:pt x="909701" y="779975"/>
                    <a:pt x="915294" y="781068"/>
                  </a:cubicBezTo>
                  <a:cubicBezTo>
                    <a:pt x="920888" y="782161"/>
                    <a:pt x="919666" y="775024"/>
                    <a:pt x="923009" y="776117"/>
                  </a:cubicBezTo>
                  <a:cubicBezTo>
                    <a:pt x="926353" y="777210"/>
                    <a:pt x="929053" y="779139"/>
                    <a:pt x="929439" y="776696"/>
                  </a:cubicBezTo>
                  <a:cubicBezTo>
                    <a:pt x="929825" y="774253"/>
                    <a:pt x="933039" y="774767"/>
                    <a:pt x="935547" y="778046"/>
                  </a:cubicBezTo>
                  <a:cubicBezTo>
                    <a:pt x="938054" y="781325"/>
                    <a:pt x="945191" y="782161"/>
                    <a:pt x="945705" y="778046"/>
                  </a:cubicBezTo>
                  <a:cubicBezTo>
                    <a:pt x="946219" y="773931"/>
                    <a:pt x="950399" y="778046"/>
                    <a:pt x="953999" y="781904"/>
                  </a:cubicBezTo>
                  <a:cubicBezTo>
                    <a:pt x="957599" y="785761"/>
                    <a:pt x="959207" y="784668"/>
                    <a:pt x="964479" y="784990"/>
                  </a:cubicBezTo>
                  <a:cubicBezTo>
                    <a:pt x="969751" y="785311"/>
                    <a:pt x="969687" y="783833"/>
                    <a:pt x="969944" y="780554"/>
                  </a:cubicBezTo>
                  <a:cubicBezTo>
                    <a:pt x="970201" y="777275"/>
                    <a:pt x="975730" y="787690"/>
                    <a:pt x="981002" y="788269"/>
                  </a:cubicBezTo>
                  <a:cubicBezTo>
                    <a:pt x="986274" y="788848"/>
                    <a:pt x="982095" y="784990"/>
                    <a:pt x="978238" y="781839"/>
                  </a:cubicBezTo>
                  <a:cubicBezTo>
                    <a:pt x="974380" y="778689"/>
                    <a:pt x="979074" y="777468"/>
                    <a:pt x="975730" y="774960"/>
                  </a:cubicBezTo>
                  <a:cubicBezTo>
                    <a:pt x="972387" y="772453"/>
                    <a:pt x="979909" y="769174"/>
                    <a:pt x="986532" y="769495"/>
                  </a:cubicBezTo>
                  <a:cubicBezTo>
                    <a:pt x="993154" y="769817"/>
                    <a:pt x="992961" y="771424"/>
                    <a:pt x="995340" y="767566"/>
                  </a:cubicBezTo>
                  <a:cubicBezTo>
                    <a:pt x="997719" y="763709"/>
                    <a:pt x="1000291" y="767566"/>
                    <a:pt x="1000291" y="770845"/>
                  </a:cubicBezTo>
                  <a:cubicBezTo>
                    <a:pt x="1000291" y="774124"/>
                    <a:pt x="1011028" y="768917"/>
                    <a:pt x="1016814" y="768917"/>
                  </a:cubicBezTo>
                  <a:cubicBezTo>
                    <a:pt x="1021990" y="769096"/>
                    <a:pt x="1026554" y="772369"/>
                    <a:pt x="1028387" y="777210"/>
                  </a:cubicBezTo>
                  <a:cubicBezTo>
                    <a:pt x="1028965" y="780489"/>
                    <a:pt x="1032823" y="782161"/>
                    <a:pt x="1036938" y="778561"/>
                  </a:cubicBezTo>
                  <a:cubicBezTo>
                    <a:pt x="1041053" y="774960"/>
                    <a:pt x="1044653" y="770845"/>
                    <a:pt x="1048511" y="774703"/>
                  </a:cubicBezTo>
                  <a:cubicBezTo>
                    <a:pt x="1052368" y="778561"/>
                    <a:pt x="1056226" y="783768"/>
                    <a:pt x="1060920" y="788462"/>
                  </a:cubicBezTo>
                  <a:cubicBezTo>
                    <a:pt x="1065613" y="793155"/>
                    <a:pt x="1058734" y="798942"/>
                    <a:pt x="1060920" y="802542"/>
                  </a:cubicBezTo>
                  <a:cubicBezTo>
                    <a:pt x="1063106" y="806142"/>
                    <a:pt x="1060920" y="811093"/>
                    <a:pt x="1066192" y="814951"/>
                  </a:cubicBezTo>
                  <a:cubicBezTo>
                    <a:pt x="1071464" y="818808"/>
                    <a:pt x="1066706" y="826781"/>
                    <a:pt x="1071142" y="827810"/>
                  </a:cubicBezTo>
                  <a:cubicBezTo>
                    <a:pt x="1075578" y="828838"/>
                    <a:pt x="1079115" y="835846"/>
                    <a:pt x="1079693" y="838547"/>
                  </a:cubicBezTo>
                  <a:cubicBezTo>
                    <a:pt x="1080272" y="841247"/>
                    <a:pt x="1088502" y="844976"/>
                    <a:pt x="1089016" y="840218"/>
                  </a:cubicBezTo>
                  <a:cubicBezTo>
                    <a:pt x="1089530" y="835461"/>
                    <a:pt x="1094031" y="829996"/>
                    <a:pt x="1094545" y="825623"/>
                  </a:cubicBezTo>
                  <a:cubicBezTo>
                    <a:pt x="1094159" y="816854"/>
                    <a:pt x="1091813" y="808283"/>
                    <a:pt x="1087666" y="800549"/>
                  </a:cubicBezTo>
                  <a:cubicBezTo>
                    <a:pt x="1084065" y="795598"/>
                    <a:pt x="1088502" y="794505"/>
                    <a:pt x="1084065" y="788719"/>
                  </a:cubicBezTo>
                  <a:cubicBezTo>
                    <a:pt x="1079353" y="781505"/>
                    <a:pt x="1076948" y="773031"/>
                    <a:pt x="1077186" y="764416"/>
                  </a:cubicBezTo>
                  <a:cubicBezTo>
                    <a:pt x="1077186" y="756186"/>
                    <a:pt x="1087087" y="742685"/>
                    <a:pt x="1091781" y="738698"/>
                  </a:cubicBezTo>
                  <a:cubicBezTo>
                    <a:pt x="1096474" y="734712"/>
                    <a:pt x="1101682" y="736834"/>
                    <a:pt x="1102839" y="732269"/>
                  </a:cubicBezTo>
                  <a:cubicBezTo>
                    <a:pt x="1103996" y="727704"/>
                    <a:pt x="1109719" y="722368"/>
                    <a:pt x="1112998" y="722368"/>
                  </a:cubicBezTo>
                  <a:cubicBezTo>
                    <a:pt x="1116276" y="722368"/>
                    <a:pt x="1119877" y="723204"/>
                    <a:pt x="1120456" y="719603"/>
                  </a:cubicBezTo>
                  <a:cubicBezTo>
                    <a:pt x="1122809" y="714318"/>
                    <a:pt x="1127920" y="710795"/>
                    <a:pt x="1133700" y="710474"/>
                  </a:cubicBezTo>
                  <a:cubicBezTo>
                    <a:pt x="1140837" y="709380"/>
                    <a:pt x="1136722" y="705523"/>
                    <a:pt x="1134793" y="702244"/>
                  </a:cubicBezTo>
                  <a:cubicBezTo>
                    <a:pt x="1132864" y="698965"/>
                    <a:pt x="1136465" y="695815"/>
                    <a:pt x="1137815" y="697808"/>
                  </a:cubicBezTo>
                  <a:cubicBezTo>
                    <a:pt x="1140104" y="700148"/>
                    <a:pt x="1143781" y="700399"/>
                    <a:pt x="1146366" y="698386"/>
                  </a:cubicBezTo>
                  <a:cubicBezTo>
                    <a:pt x="1149131" y="696457"/>
                    <a:pt x="1155431" y="691185"/>
                    <a:pt x="1149388" y="690928"/>
                  </a:cubicBezTo>
                  <a:cubicBezTo>
                    <a:pt x="1143344" y="690671"/>
                    <a:pt x="1141930" y="688164"/>
                    <a:pt x="1145530" y="686813"/>
                  </a:cubicBezTo>
                  <a:cubicBezTo>
                    <a:pt x="1149131" y="685463"/>
                    <a:pt x="1146109" y="678777"/>
                    <a:pt x="1141094" y="678262"/>
                  </a:cubicBezTo>
                  <a:cubicBezTo>
                    <a:pt x="1136079" y="677748"/>
                    <a:pt x="1137815" y="675240"/>
                    <a:pt x="1141094" y="672219"/>
                  </a:cubicBezTo>
                  <a:cubicBezTo>
                    <a:pt x="1144373" y="669197"/>
                    <a:pt x="1136722" y="664182"/>
                    <a:pt x="1133121" y="661739"/>
                  </a:cubicBezTo>
                  <a:cubicBezTo>
                    <a:pt x="1129521" y="659296"/>
                    <a:pt x="1135307" y="657881"/>
                    <a:pt x="1138072" y="657302"/>
                  </a:cubicBezTo>
                  <a:cubicBezTo>
                    <a:pt x="1140837" y="656724"/>
                    <a:pt x="1138651" y="644058"/>
                    <a:pt x="1140001" y="641036"/>
                  </a:cubicBezTo>
                  <a:cubicBezTo>
                    <a:pt x="1141351" y="638014"/>
                    <a:pt x="1146044" y="638014"/>
                    <a:pt x="1144116" y="641036"/>
                  </a:cubicBezTo>
                  <a:cubicBezTo>
                    <a:pt x="1142187" y="644058"/>
                    <a:pt x="1139422" y="649009"/>
                    <a:pt x="1143023" y="653188"/>
                  </a:cubicBezTo>
                  <a:cubicBezTo>
                    <a:pt x="1146662" y="657212"/>
                    <a:pt x="1147928" y="662845"/>
                    <a:pt x="1146366" y="668040"/>
                  </a:cubicBezTo>
                  <a:cubicBezTo>
                    <a:pt x="1144952" y="674469"/>
                    <a:pt x="1147716" y="672733"/>
                    <a:pt x="1151831" y="664503"/>
                  </a:cubicBezTo>
                  <a:cubicBezTo>
                    <a:pt x="1155946" y="656274"/>
                    <a:pt x="1156524" y="649009"/>
                    <a:pt x="1153760" y="648237"/>
                  </a:cubicBezTo>
                  <a:cubicBezTo>
                    <a:pt x="1150995" y="647466"/>
                    <a:pt x="1151317" y="639107"/>
                    <a:pt x="1154338" y="642965"/>
                  </a:cubicBezTo>
                  <a:cubicBezTo>
                    <a:pt x="1157360" y="646823"/>
                    <a:pt x="1158453" y="647401"/>
                    <a:pt x="1163147" y="642451"/>
                  </a:cubicBezTo>
                  <a:cubicBezTo>
                    <a:pt x="1167840" y="637500"/>
                    <a:pt x="1172791" y="628949"/>
                    <a:pt x="1169576" y="627020"/>
                  </a:cubicBezTo>
                  <a:cubicBezTo>
                    <a:pt x="1166361" y="625091"/>
                    <a:pt x="1170926" y="623163"/>
                    <a:pt x="1176455" y="623420"/>
                  </a:cubicBezTo>
                  <a:cubicBezTo>
                    <a:pt x="1182840" y="623298"/>
                    <a:pt x="1189089" y="621600"/>
                    <a:pt x="1194651" y="618469"/>
                  </a:cubicBezTo>
                  <a:cubicBezTo>
                    <a:pt x="1197351" y="613068"/>
                    <a:pt x="1175362" y="620912"/>
                    <a:pt x="1175362" y="617890"/>
                  </a:cubicBezTo>
                  <a:cubicBezTo>
                    <a:pt x="1175362" y="614869"/>
                    <a:pt x="1189186" y="611847"/>
                    <a:pt x="1195486" y="611461"/>
                  </a:cubicBezTo>
                  <a:cubicBezTo>
                    <a:pt x="1201787" y="611075"/>
                    <a:pt x="1198830" y="602589"/>
                    <a:pt x="1201530" y="606189"/>
                  </a:cubicBezTo>
                  <a:cubicBezTo>
                    <a:pt x="1204160" y="609314"/>
                    <a:pt x="1208827" y="609706"/>
                    <a:pt x="1211946" y="607076"/>
                  </a:cubicBezTo>
                  <a:cubicBezTo>
                    <a:pt x="1211971" y="607057"/>
                    <a:pt x="1211991" y="607044"/>
                    <a:pt x="1212010" y="607025"/>
                  </a:cubicBezTo>
                  <a:cubicBezTo>
                    <a:pt x="1215610" y="604839"/>
                    <a:pt x="1212846" y="598474"/>
                    <a:pt x="1208731" y="597381"/>
                  </a:cubicBezTo>
                  <a:cubicBezTo>
                    <a:pt x="1204616" y="596288"/>
                    <a:pt x="1211753" y="593523"/>
                    <a:pt x="1210402" y="590951"/>
                  </a:cubicBezTo>
                  <a:cubicBezTo>
                    <a:pt x="1210004" y="585236"/>
                    <a:pt x="1213174" y="579861"/>
                    <a:pt x="1218375" y="577450"/>
                  </a:cubicBezTo>
                  <a:cubicBezTo>
                    <a:pt x="1223583" y="576357"/>
                    <a:pt x="1221140" y="573078"/>
                    <a:pt x="1225512" y="573078"/>
                  </a:cubicBezTo>
                  <a:cubicBezTo>
                    <a:pt x="1229883" y="573078"/>
                    <a:pt x="1230784" y="567806"/>
                    <a:pt x="1234641" y="563948"/>
                  </a:cubicBezTo>
                  <a:cubicBezTo>
                    <a:pt x="1238499" y="560090"/>
                    <a:pt x="1243964" y="570377"/>
                    <a:pt x="1250072" y="564527"/>
                  </a:cubicBezTo>
                  <a:cubicBezTo>
                    <a:pt x="1252965" y="561961"/>
                    <a:pt x="1256057" y="559640"/>
                    <a:pt x="1259330" y="557583"/>
                  </a:cubicBezTo>
                  <a:cubicBezTo>
                    <a:pt x="1263111" y="554748"/>
                    <a:pt x="1267521" y="552877"/>
                    <a:pt x="1272189" y="552118"/>
                  </a:cubicBezTo>
                  <a:cubicBezTo>
                    <a:pt x="1278335" y="550883"/>
                    <a:pt x="1283652" y="547064"/>
                    <a:pt x="1286784" y="541638"/>
                  </a:cubicBezTo>
                  <a:cubicBezTo>
                    <a:pt x="1288969" y="537523"/>
                    <a:pt x="1292056" y="545496"/>
                    <a:pt x="1287619" y="546910"/>
                  </a:cubicBezTo>
                  <a:cubicBezTo>
                    <a:pt x="1283183" y="548325"/>
                    <a:pt x="1291220" y="551539"/>
                    <a:pt x="1298935" y="551282"/>
                  </a:cubicBezTo>
                  <a:cubicBezTo>
                    <a:pt x="1306650" y="551025"/>
                    <a:pt x="1295335" y="554047"/>
                    <a:pt x="1289548" y="553789"/>
                  </a:cubicBezTo>
                  <a:cubicBezTo>
                    <a:pt x="1283762" y="553532"/>
                    <a:pt x="1281254" y="554304"/>
                    <a:pt x="1273539" y="562019"/>
                  </a:cubicBezTo>
                  <a:cubicBezTo>
                    <a:pt x="1265824" y="569734"/>
                    <a:pt x="1267753" y="571985"/>
                    <a:pt x="1272189" y="575842"/>
                  </a:cubicBezTo>
                  <a:cubicBezTo>
                    <a:pt x="1276625" y="579700"/>
                    <a:pt x="1282412" y="578028"/>
                    <a:pt x="1288455" y="572821"/>
                  </a:cubicBezTo>
                  <a:cubicBezTo>
                    <a:pt x="1294499" y="567613"/>
                    <a:pt x="1294242" y="562341"/>
                    <a:pt x="1300285" y="562598"/>
                  </a:cubicBezTo>
                  <a:cubicBezTo>
                    <a:pt x="1310096" y="561068"/>
                    <a:pt x="1319708" y="558483"/>
                    <a:pt x="1328960" y="554883"/>
                  </a:cubicBezTo>
                  <a:cubicBezTo>
                    <a:pt x="1335840" y="552697"/>
                    <a:pt x="1331403" y="551539"/>
                    <a:pt x="1331403" y="548453"/>
                  </a:cubicBezTo>
                  <a:cubicBezTo>
                    <a:pt x="1331403" y="545367"/>
                    <a:pt x="1343555" y="545431"/>
                    <a:pt x="1347991" y="542410"/>
                  </a:cubicBezTo>
                  <a:cubicBezTo>
                    <a:pt x="1352427" y="539388"/>
                    <a:pt x="1347541" y="537202"/>
                    <a:pt x="1343684" y="537202"/>
                  </a:cubicBezTo>
                  <a:close/>
                  <a:moveTo>
                    <a:pt x="874339" y="414272"/>
                  </a:moveTo>
                  <a:cubicBezTo>
                    <a:pt x="878775" y="419801"/>
                    <a:pt x="885398" y="442369"/>
                    <a:pt x="889255" y="449569"/>
                  </a:cubicBezTo>
                  <a:cubicBezTo>
                    <a:pt x="893113" y="456770"/>
                    <a:pt x="893113" y="468279"/>
                    <a:pt x="888098" y="468857"/>
                  </a:cubicBezTo>
                  <a:cubicBezTo>
                    <a:pt x="882119" y="469500"/>
                    <a:pt x="888677" y="452848"/>
                    <a:pt x="877682" y="446805"/>
                  </a:cubicBezTo>
                  <a:cubicBezTo>
                    <a:pt x="867247" y="441282"/>
                    <a:pt x="860220" y="430956"/>
                    <a:pt x="858909" y="419223"/>
                  </a:cubicBezTo>
                  <a:cubicBezTo>
                    <a:pt x="859918" y="414317"/>
                    <a:pt x="864714" y="411160"/>
                    <a:pt x="869620" y="412176"/>
                  </a:cubicBezTo>
                  <a:cubicBezTo>
                    <a:pt x="871298" y="412523"/>
                    <a:pt x="872847" y="413340"/>
                    <a:pt x="874082" y="414529"/>
                  </a:cubicBezTo>
                  <a:close/>
                  <a:moveTo>
                    <a:pt x="649311" y="277069"/>
                  </a:moveTo>
                  <a:cubicBezTo>
                    <a:pt x="650211" y="273340"/>
                    <a:pt x="653683" y="267425"/>
                    <a:pt x="659212" y="267425"/>
                  </a:cubicBezTo>
                  <a:cubicBezTo>
                    <a:pt x="664741" y="267425"/>
                    <a:pt x="664227" y="260224"/>
                    <a:pt x="655226" y="255788"/>
                  </a:cubicBezTo>
                  <a:cubicBezTo>
                    <a:pt x="646225" y="251352"/>
                    <a:pt x="668085" y="248587"/>
                    <a:pt x="673228" y="255788"/>
                  </a:cubicBezTo>
                  <a:cubicBezTo>
                    <a:pt x="678372" y="262989"/>
                    <a:pt x="687244" y="267875"/>
                    <a:pt x="692516" y="262796"/>
                  </a:cubicBezTo>
                  <a:cubicBezTo>
                    <a:pt x="697788" y="257717"/>
                    <a:pt x="726271" y="243508"/>
                    <a:pt x="726271" y="250323"/>
                  </a:cubicBezTo>
                  <a:cubicBezTo>
                    <a:pt x="726271" y="257138"/>
                    <a:pt x="704989" y="261253"/>
                    <a:pt x="696438" y="268711"/>
                  </a:cubicBezTo>
                  <a:cubicBezTo>
                    <a:pt x="687887" y="276169"/>
                    <a:pt x="688594" y="274176"/>
                    <a:pt x="681136" y="275526"/>
                  </a:cubicBezTo>
                  <a:cubicBezTo>
                    <a:pt x="673678" y="276876"/>
                    <a:pt x="679593" y="284270"/>
                    <a:pt x="670592" y="284913"/>
                  </a:cubicBezTo>
                  <a:cubicBezTo>
                    <a:pt x="661591" y="285556"/>
                    <a:pt x="639924" y="286456"/>
                    <a:pt x="636838" y="281441"/>
                  </a:cubicBezTo>
                  <a:cubicBezTo>
                    <a:pt x="635424" y="280027"/>
                    <a:pt x="648347" y="281056"/>
                    <a:pt x="649182" y="277326"/>
                  </a:cubicBezTo>
                  <a:close/>
                  <a:moveTo>
                    <a:pt x="559300" y="200367"/>
                  </a:moveTo>
                  <a:cubicBezTo>
                    <a:pt x="563479" y="199917"/>
                    <a:pt x="560650" y="195352"/>
                    <a:pt x="566372" y="193166"/>
                  </a:cubicBezTo>
                  <a:cubicBezTo>
                    <a:pt x="572094" y="190980"/>
                    <a:pt x="565215" y="187701"/>
                    <a:pt x="567015" y="185258"/>
                  </a:cubicBezTo>
                  <a:cubicBezTo>
                    <a:pt x="568815" y="182815"/>
                    <a:pt x="580388" y="187701"/>
                    <a:pt x="580581" y="183329"/>
                  </a:cubicBezTo>
                  <a:cubicBezTo>
                    <a:pt x="580774" y="178957"/>
                    <a:pt x="568944" y="175164"/>
                    <a:pt x="565022" y="177800"/>
                  </a:cubicBezTo>
                  <a:cubicBezTo>
                    <a:pt x="558277" y="183355"/>
                    <a:pt x="549083" y="184872"/>
                    <a:pt x="540912" y="181786"/>
                  </a:cubicBezTo>
                  <a:cubicBezTo>
                    <a:pt x="537440" y="180243"/>
                    <a:pt x="568558" y="176964"/>
                    <a:pt x="573766" y="172142"/>
                  </a:cubicBezTo>
                  <a:cubicBezTo>
                    <a:pt x="578974" y="167320"/>
                    <a:pt x="602698" y="161790"/>
                    <a:pt x="604498" y="166227"/>
                  </a:cubicBezTo>
                  <a:cubicBezTo>
                    <a:pt x="606298" y="170663"/>
                    <a:pt x="591639" y="173428"/>
                    <a:pt x="598776" y="177350"/>
                  </a:cubicBezTo>
                  <a:cubicBezTo>
                    <a:pt x="605694" y="180854"/>
                    <a:pt x="614059" y="179728"/>
                    <a:pt x="619800" y="174521"/>
                  </a:cubicBezTo>
                  <a:cubicBezTo>
                    <a:pt x="622436" y="170342"/>
                    <a:pt x="633816" y="171049"/>
                    <a:pt x="626615" y="179986"/>
                  </a:cubicBezTo>
                  <a:cubicBezTo>
                    <a:pt x="619414" y="188922"/>
                    <a:pt x="616971" y="190273"/>
                    <a:pt x="609513" y="188987"/>
                  </a:cubicBezTo>
                  <a:cubicBezTo>
                    <a:pt x="602055" y="187701"/>
                    <a:pt x="597426" y="191430"/>
                    <a:pt x="601155" y="194002"/>
                  </a:cubicBezTo>
                  <a:cubicBezTo>
                    <a:pt x="604884" y="196573"/>
                    <a:pt x="605141" y="198824"/>
                    <a:pt x="597426" y="200431"/>
                  </a:cubicBezTo>
                  <a:cubicBezTo>
                    <a:pt x="589711" y="202038"/>
                    <a:pt x="584567" y="208082"/>
                    <a:pt x="581674" y="207439"/>
                  </a:cubicBezTo>
                  <a:cubicBezTo>
                    <a:pt x="578781" y="206796"/>
                    <a:pt x="594854" y="195159"/>
                    <a:pt x="590675" y="192073"/>
                  </a:cubicBezTo>
                  <a:cubicBezTo>
                    <a:pt x="586496" y="188987"/>
                    <a:pt x="576209" y="197345"/>
                    <a:pt x="575952" y="201074"/>
                  </a:cubicBezTo>
                  <a:cubicBezTo>
                    <a:pt x="575695" y="204803"/>
                    <a:pt x="568944" y="204996"/>
                    <a:pt x="564829" y="204803"/>
                  </a:cubicBezTo>
                  <a:cubicBezTo>
                    <a:pt x="560714" y="204610"/>
                    <a:pt x="554992" y="201074"/>
                    <a:pt x="559107" y="200624"/>
                  </a:cubicBezTo>
                  <a:close/>
                  <a:moveTo>
                    <a:pt x="994440" y="525629"/>
                  </a:moveTo>
                  <a:cubicBezTo>
                    <a:pt x="988396" y="525629"/>
                    <a:pt x="998812" y="514056"/>
                    <a:pt x="990004" y="519200"/>
                  </a:cubicBezTo>
                  <a:cubicBezTo>
                    <a:pt x="981195" y="524343"/>
                    <a:pt x="967951" y="536302"/>
                    <a:pt x="961907" y="530772"/>
                  </a:cubicBezTo>
                  <a:cubicBezTo>
                    <a:pt x="955864" y="525243"/>
                    <a:pt x="950334" y="532444"/>
                    <a:pt x="945962" y="528008"/>
                  </a:cubicBezTo>
                  <a:cubicBezTo>
                    <a:pt x="941590" y="523572"/>
                    <a:pt x="961393" y="511484"/>
                    <a:pt x="970715" y="512063"/>
                  </a:cubicBezTo>
                  <a:cubicBezTo>
                    <a:pt x="973101" y="512069"/>
                    <a:pt x="975396" y="511169"/>
                    <a:pt x="977145" y="509556"/>
                  </a:cubicBezTo>
                  <a:cubicBezTo>
                    <a:pt x="983124" y="504734"/>
                    <a:pt x="987946" y="494382"/>
                    <a:pt x="993347" y="494382"/>
                  </a:cubicBezTo>
                  <a:cubicBezTo>
                    <a:pt x="1000483" y="494382"/>
                    <a:pt x="1018679" y="496054"/>
                    <a:pt x="1019772" y="505441"/>
                  </a:cubicBezTo>
                  <a:cubicBezTo>
                    <a:pt x="1020865" y="514827"/>
                    <a:pt x="1031923" y="505955"/>
                    <a:pt x="1033016" y="514763"/>
                  </a:cubicBezTo>
                  <a:cubicBezTo>
                    <a:pt x="1033916" y="522286"/>
                    <a:pt x="1041246" y="528201"/>
                    <a:pt x="1040024" y="532123"/>
                  </a:cubicBezTo>
                  <a:cubicBezTo>
                    <a:pt x="1039754" y="532907"/>
                    <a:pt x="1039233" y="533582"/>
                    <a:pt x="1038545" y="534051"/>
                  </a:cubicBezTo>
                  <a:cubicBezTo>
                    <a:pt x="1033980" y="537266"/>
                    <a:pt x="1035202" y="529101"/>
                    <a:pt x="1026972" y="529101"/>
                  </a:cubicBezTo>
                  <a:cubicBezTo>
                    <a:pt x="1018743" y="529101"/>
                    <a:pt x="1010385" y="536816"/>
                    <a:pt x="1003827" y="533537"/>
                  </a:cubicBezTo>
                  <a:cubicBezTo>
                    <a:pt x="997269" y="530258"/>
                    <a:pt x="1000291" y="525886"/>
                    <a:pt x="994247" y="525886"/>
                  </a:cubicBezTo>
                  <a:close/>
                  <a:moveTo>
                    <a:pt x="1046775" y="575199"/>
                  </a:moveTo>
                  <a:cubicBezTo>
                    <a:pt x="1047868" y="568063"/>
                    <a:pt x="1057833" y="562019"/>
                    <a:pt x="1051726" y="552632"/>
                  </a:cubicBezTo>
                  <a:cubicBezTo>
                    <a:pt x="1045618" y="543245"/>
                    <a:pt x="1034688" y="543245"/>
                    <a:pt x="1032437" y="550446"/>
                  </a:cubicBezTo>
                  <a:cubicBezTo>
                    <a:pt x="1030187" y="557647"/>
                    <a:pt x="1022536" y="554304"/>
                    <a:pt x="1019579" y="559769"/>
                  </a:cubicBezTo>
                  <a:cubicBezTo>
                    <a:pt x="1015830" y="568063"/>
                    <a:pt x="1014686" y="577302"/>
                    <a:pt x="1016300" y="586258"/>
                  </a:cubicBezTo>
                  <a:cubicBezTo>
                    <a:pt x="1018486" y="595066"/>
                    <a:pt x="1015721" y="599502"/>
                    <a:pt x="1007491" y="604453"/>
                  </a:cubicBezTo>
                  <a:cubicBezTo>
                    <a:pt x="999262" y="609404"/>
                    <a:pt x="994633" y="596866"/>
                    <a:pt x="998105" y="580729"/>
                  </a:cubicBezTo>
                  <a:cubicBezTo>
                    <a:pt x="1000291" y="569734"/>
                    <a:pt x="1006334" y="559255"/>
                    <a:pt x="1000869" y="559255"/>
                  </a:cubicBezTo>
                  <a:cubicBezTo>
                    <a:pt x="995404" y="559255"/>
                    <a:pt x="1008006" y="546010"/>
                    <a:pt x="1019579" y="543245"/>
                  </a:cubicBezTo>
                  <a:cubicBezTo>
                    <a:pt x="1031152" y="540481"/>
                    <a:pt x="1045296" y="541574"/>
                    <a:pt x="1045296" y="538295"/>
                  </a:cubicBezTo>
                  <a:cubicBezTo>
                    <a:pt x="1045296" y="537652"/>
                    <a:pt x="1045811" y="537202"/>
                    <a:pt x="1046711" y="536880"/>
                  </a:cubicBezTo>
                  <a:cubicBezTo>
                    <a:pt x="1053140" y="536212"/>
                    <a:pt x="1059640" y="537073"/>
                    <a:pt x="1065677" y="539388"/>
                  </a:cubicBezTo>
                  <a:cubicBezTo>
                    <a:pt x="1073393" y="542152"/>
                    <a:pt x="1084965" y="536109"/>
                    <a:pt x="1088823" y="545431"/>
                  </a:cubicBezTo>
                  <a:cubicBezTo>
                    <a:pt x="1092681" y="554754"/>
                    <a:pt x="1101682" y="561891"/>
                    <a:pt x="1093259" y="562534"/>
                  </a:cubicBezTo>
                  <a:cubicBezTo>
                    <a:pt x="1086058" y="563112"/>
                    <a:pt x="1076736" y="553147"/>
                    <a:pt x="1077250" y="558676"/>
                  </a:cubicBezTo>
                  <a:cubicBezTo>
                    <a:pt x="1077765" y="564205"/>
                    <a:pt x="1073393" y="561440"/>
                    <a:pt x="1073393" y="569734"/>
                  </a:cubicBezTo>
                  <a:cubicBezTo>
                    <a:pt x="1073393" y="578028"/>
                    <a:pt x="1067928" y="589537"/>
                    <a:pt x="1064584" y="589023"/>
                  </a:cubicBezTo>
                  <a:lnTo>
                    <a:pt x="1064263" y="589023"/>
                  </a:lnTo>
                  <a:cubicBezTo>
                    <a:pt x="1061112" y="587608"/>
                    <a:pt x="1066063" y="575264"/>
                    <a:pt x="1059634" y="573142"/>
                  </a:cubicBezTo>
                  <a:cubicBezTo>
                    <a:pt x="1053204" y="571020"/>
                    <a:pt x="1045489" y="582658"/>
                    <a:pt x="1046582" y="575778"/>
                  </a:cubicBezTo>
                  <a:close/>
                  <a:moveTo>
                    <a:pt x="1076929" y="608568"/>
                  </a:moveTo>
                  <a:cubicBezTo>
                    <a:pt x="1066449" y="614033"/>
                    <a:pt x="1052111" y="611332"/>
                    <a:pt x="1052111" y="603039"/>
                  </a:cubicBezTo>
                  <a:cubicBezTo>
                    <a:pt x="1052111" y="594745"/>
                    <a:pt x="1059827" y="596609"/>
                    <a:pt x="1061498" y="600274"/>
                  </a:cubicBezTo>
                  <a:cubicBezTo>
                    <a:pt x="1062077" y="601753"/>
                    <a:pt x="1063941" y="600660"/>
                    <a:pt x="1066513" y="598859"/>
                  </a:cubicBezTo>
                  <a:cubicBezTo>
                    <a:pt x="1070692" y="595838"/>
                    <a:pt x="1076672" y="590566"/>
                    <a:pt x="1081879" y="590887"/>
                  </a:cubicBezTo>
                  <a:cubicBezTo>
                    <a:pt x="1090109" y="591466"/>
                    <a:pt x="1092359" y="596416"/>
                    <a:pt x="1097824" y="592559"/>
                  </a:cubicBezTo>
                  <a:cubicBezTo>
                    <a:pt x="1103289" y="588701"/>
                    <a:pt x="1104254" y="587029"/>
                    <a:pt x="1105604" y="589794"/>
                  </a:cubicBezTo>
                  <a:cubicBezTo>
                    <a:pt x="1105752" y="590212"/>
                    <a:pt x="1105752" y="590662"/>
                    <a:pt x="1105604" y="591080"/>
                  </a:cubicBezTo>
                  <a:cubicBezTo>
                    <a:pt x="1103289" y="595066"/>
                    <a:pt x="1086380" y="603553"/>
                    <a:pt x="1076929" y="608568"/>
                  </a:cubicBezTo>
                  <a:close/>
                  <a:moveTo>
                    <a:pt x="1118270" y="582079"/>
                  </a:moveTo>
                  <a:cubicBezTo>
                    <a:pt x="1114026" y="582079"/>
                    <a:pt x="1110812" y="582722"/>
                    <a:pt x="1108368" y="583043"/>
                  </a:cubicBezTo>
                  <a:cubicBezTo>
                    <a:pt x="1102839" y="583815"/>
                    <a:pt x="1101039" y="584265"/>
                    <a:pt x="1099496" y="580407"/>
                  </a:cubicBezTo>
                  <a:cubicBezTo>
                    <a:pt x="1097310" y="574942"/>
                    <a:pt x="1116019" y="569413"/>
                    <a:pt x="1125213" y="570506"/>
                  </a:cubicBezTo>
                  <a:cubicBezTo>
                    <a:pt x="1134407" y="571599"/>
                    <a:pt x="1139422" y="565684"/>
                    <a:pt x="1142380" y="569284"/>
                  </a:cubicBezTo>
                  <a:lnTo>
                    <a:pt x="1142830" y="569992"/>
                  </a:lnTo>
                  <a:cubicBezTo>
                    <a:pt x="1146495" y="577128"/>
                    <a:pt x="1132028" y="581564"/>
                    <a:pt x="1118270" y="582207"/>
                  </a:cubicBezTo>
                  <a:close/>
                </a:path>
              </a:pathLst>
            </a:custGeom>
            <a:solidFill>
              <a:srgbClr val="001669"/>
            </a:solidFill>
            <a:ln w="6429" cap="flat">
              <a:noFill/>
              <a:prstDash val="solid"/>
              <a:miter/>
            </a:ln>
          </p:spPr>
          <p:txBody>
            <a:bodyPr rtlCol="0" anchor="ctr"/>
            <a:lstStyle/>
            <a:p>
              <a:endParaRPr lang="en-GB" sz="2400"/>
            </a:p>
          </p:txBody>
        </p:sp>
        <p:sp>
          <p:nvSpPr>
            <p:cNvPr id="248" name="Freeform 38">
              <a:extLst>
                <a:ext uri="{FF2B5EF4-FFF2-40B4-BE49-F238E27FC236}">
                  <a16:creationId xmlns:a16="http://schemas.microsoft.com/office/drawing/2014/main" id="{DB951937-37CE-4430-8A1E-372089C123DA}"/>
                </a:ext>
              </a:extLst>
            </p:cNvPr>
            <p:cNvSpPr/>
            <p:nvPr/>
          </p:nvSpPr>
          <p:spPr>
            <a:xfrm>
              <a:off x="2732292" y="2193683"/>
              <a:ext cx="19288" cy="25718"/>
            </a:xfrm>
            <a:custGeom>
              <a:avLst/>
              <a:gdLst>
                <a:gd name="connsiteX0" fmla="*/ 2382 w 19288"/>
                <a:gd name="connsiteY0" fmla="*/ 1883 h 25717"/>
                <a:gd name="connsiteX1" fmla="*/ 21284 w 19288"/>
                <a:gd name="connsiteY1" fmla="*/ 29143 h 25717"/>
                <a:gd name="connsiteX2" fmla="*/ 15369 w 19288"/>
                <a:gd name="connsiteY2" fmla="*/ 9855 h 25717"/>
                <a:gd name="connsiteX3" fmla="*/ 2382 w 19288"/>
                <a:gd name="connsiteY3" fmla="*/ 1883 h 25717"/>
              </a:gdLst>
              <a:ahLst/>
              <a:cxnLst>
                <a:cxn ang="0">
                  <a:pos x="connsiteX0" y="connsiteY0"/>
                </a:cxn>
                <a:cxn ang="0">
                  <a:pos x="connsiteX1" y="connsiteY1"/>
                </a:cxn>
                <a:cxn ang="0">
                  <a:pos x="connsiteX2" y="connsiteY2"/>
                </a:cxn>
                <a:cxn ang="0">
                  <a:pos x="connsiteX3" y="connsiteY3"/>
                </a:cxn>
              </a:cxnLst>
              <a:rect l="l" t="t" r="r" b="b"/>
              <a:pathLst>
                <a:path w="19288" h="25717">
                  <a:moveTo>
                    <a:pt x="2382" y="1883"/>
                  </a:moveTo>
                  <a:cubicBezTo>
                    <a:pt x="-7519" y="7155"/>
                    <a:pt x="16334" y="32294"/>
                    <a:pt x="21284" y="29143"/>
                  </a:cubicBezTo>
                  <a:cubicBezTo>
                    <a:pt x="24692" y="26957"/>
                    <a:pt x="15369" y="16284"/>
                    <a:pt x="15369" y="9855"/>
                  </a:cubicBezTo>
                  <a:cubicBezTo>
                    <a:pt x="15369" y="3426"/>
                    <a:pt x="12283" y="-3389"/>
                    <a:pt x="2382" y="1883"/>
                  </a:cubicBezTo>
                  <a:close/>
                </a:path>
              </a:pathLst>
            </a:custGeom>
            <a:solidFill>
              <a:srgbClr val="001669"/>
            </a:solidFill>
            <a:ln w="6429" cap="flat">
              <a:noFill/>
              <a:prstDash val="solid"/>
              <a:miter/>
            </a:ln>
          </p:spPr>
          <p:txBody>
            <a:bodyPr rtlCol="0" anchor="ctr"/>
            <a:lstStyle/>
            <a:p>
              <a:endParaRPr lang="en-GB" sz="2400"/>
            </a:p>
          </p:txBody>
        </p:sp>
        <p:sp>
          <p:nvSpPr>
            <p:cNvPr id="249" name="Freeform 39">
              <a:extLst>
                <a:ext uri="{FF2B5EF4-FFF2-40B4-BE49-F238E27FC236}">
                  <a16:creationId xmlns:a16="http://schemas.microsoft.com/office/drawing/2014/main" id="{850ADE83-E60B-4876-B242-E00FDCC2BF6A}"/>
                </a:ext>
              </a:extLst>
            </p:cNvPr>
            <p:cNvSpPr/>
            <p:nvPr/>
          </p:nvSpPr>
          <p:spPr>
            <a:xfrm>
              <a:off x="3591046" y="2263047"/>
              <a:ext cx="32147" cy="12859"/>
            </a:xfrm>
            <a:custGeom>
              <a:avLst/>
              <a:gdLst>
                <a:gd name="connsiteX0" fmla="*/ 19 w 32146"/>
                <a:gd name="connsiteY0" fmla="*/ 863 h 12858"/>
                <a:gd name="connsiteX1" fmla="*/ 34159 w 32146"/>
                <a:gd name="connsiteY1" fmla="*/ 12436 h 12858"/>
                <a:gd name="connsiteX2" fmla="*/ 19 w 32146"/>
                <a:gd name="connsiteY2" fmla="*/ 863 h 12858"/>
              </a:gdLst>
              <a:ahLst/>
              <a:cxnLst>
                <a:cxn ang="0">
                  <a:pos x="connsiteX0" y="connsiteY0"/>
                </a:cxn>
                <a:cxn ang="0">
                  <a:pos x="connsiteX1" y="connsiteY1"/>
                </a:cxn>
                <a:cxn ang="0">
                  <a:pos x="connsiteX2" y="connsiteY2"/>
                </a:cxn>
              </a:cxnLst>
              <a:rect l="l" t="t" r="r" b="b"/>
              <a:pathLst>
                <a:path w="32146" h="12858">
                  <a:moveTo>
                    <a:pt x="19" y="863"/>
                  </a:moveTo>
                  <a:cubicBezTo>
                    <a:pt x="1112" y="5299"/>
                    <a:pt x="33066" y="18544"/>
                    <a:pt x="34159" y="12436"/>
                  </a:cubicBezTo>
                  <a:cubicBezTo>
                    <a:pt x="35252" y="6328"/>
                    <a:pt x="-945" y="-2866"/>
                    <a:pt x="19" y="863"/>
                  </a:cubicBezTo>
                  <a:close/>
                </a:path>
              </a:pathLst>
            </a:custGeom>
            <a:solidFill>
              <a:srgbClr val="001669"/>
            </a:solidFill>
            <a:ln w="6429" cap="flat">
              <a:noFill/>
              <a:prstDash val="solid"/>
              <a:miter/>
            </a:ln>
          </p:spPr>
          <p:txBody>
            <a:bodyPr rtlCol="0" anchor="ctr"/>
            <a:lstStyle/>
            <a:p>
              <a:endParaRPr lang="en-GB" sz="2400"/>
            </a:p>
          </p:txBody>
        </p:sp>
        <p:sp>
          <p:nvSpPr>
            <p:cNvPr id="250" name="Freeform 40">
              <a:extLst>
                <a:ext uri="{FF2B5EF4-FFF2-40B4-BE49-F238E27FC236}">
                  <a16:creationId xmlns:a16="http://schemas.microsoft.com/office/drawing/2014/main" id="{8FFC8177-9E56-466F-9349-66C36608D563}"/>
                </a:ext>
              </a:extLst>
            </p:cNvPr>
            <p:cNvSpPr/>
            <p:nvPr/>
          </p:nvSpPr>
          <p:spPr>
            <a:xfrm>
              <a:off x="3655496" y="2235952"/>
              <a:ext cx="77153" cy="70723"/>
            </a:xfrm>
            <a:custGeom>
              <a:avLst/>
              <a:gdLst>
                <a:gd name="connsiteX0" fmla="*/ 75409 w 77152"/>
                <a:gd name="connsiteY0" fmla="*/ 60876 h 70723"/>
                <a:gd name="connsiteX1" fmla="*/ 74638 w 77152"/>
                <a:gd name="connsiteY1" fmla="*/ 54447 h 70723"/>
                <a:gd name="connsiteX2" fmla="*/ 69494 w 77152"/>
                <a:gd name="connsiteY2" fmla="*/ 51489 h 70723"/>
                <a:gd name="connsiteX3" fmla="*/ 70266 w 77152"/>
                <a:gd name="connsiteY3" fmla="*/ 39402 h 70723"/>
                <a:gd name="connsiteX4" fmla="*/ 60300 w 77152"/>
                <a:gd name="connsiteY4" fmla="*/ 36831 h 70723"/>
                <a:gd name="connsiteX5" fmla="*/ 49306 w 77152"/>
                <a:gd name="connsiteY5" fmla="*/ 34580 h 70723"/>
                <a:gd name="connsiteX6" fmla="*/ 43777 w 77152"/>
                <a:gd name="connsiteY6" fmla="*/ 27251 h 70723"/>
                <a:gd name="connsiteX7" fmla="*/ 34197 w 77152"/>
                <a:gd name="connsiteY7" fmla="*/ 27637 h 70723"/>
                <a:gd name="connsiteX8" fmla="*/ 35354 w 77152"/>
                <a:gd name="connsiteY8" fmla="*/ 18828 h 70723"/>
                <a:gd name="connsiteX9" fmla="*/ 44162 w 77152"/>
                <a:gd name="connsiteY9" fmla="*/ 4812 h 70723"/>
                <a:gd name="connsiteX10" fmla="*/ 38247 w 77152"/>
                <a:gd name="connsiteY10" fmla="*/ 826 h 70723"/>
                <a:gd name="connsiteX11" fmla="*/ 18059 w 77152"/>
                <a:gd name="connsiteY11" fmla="*/ 28729 h 70723"/>
                <a:gd name="connsiteX12" fmla="*/ 12530 w 77152"/>
                <a:gd name="connsiteY12" fmla="*/ 40495 h 70723"/>
                <a:gd name="connsiteX13" fmla="*/ 5586 w 77152"/>
                <a:gd name="connsiteY13" fmla="*/ 47825 h 70723"/>
                <a:gd name="connsiteX14" fmla="*/ 1921 w 77152"/>
                <a:gd name="connsiteY14" fmla="*/ 62869 h 70723"/>
                <a:gd name="connsiteX15" fmla="*/ 21209 w 77152"/>
                <a:gd name="connsiteY15" fmla="*/ 62869 h 70723"/>
                <a:gd name="connsiteX16" fmla="*/ 38826 w 77152"/>
                <a:gd name="connsiteY16" fmla="*/ 59912 h 70723"/>
                <a:gd name="connsiteX17" fmla="*/ 50206 w 77152"/>
                <a:gd name="connsiteY17" fmla="*/ 62869 h 70723"/>
                <a:gd name="connsiteX18" fmla="*/ 47248 w 77152"/>
                <a:gd name="connsiteY18" fmla="*/ 71678 h 70723"/>
                <a:gd name="connsiteX19" fmla="*/ 57921 w 77152"/>
                <a:gd name="connsiteY19" fmla="*/ 67242 h 70723"/>
                <a:gd name="connsiteX20" fmla="*/ 65636 w 77152"/>
                <a:gd name="connsiteY20" fmla="*/ 70906 h 70723"/>
                <a:gd name="connsiteX21" fmla="*/ 81067 w 77152"/>
                <a:gd name="connsiteY21" fmla="*/ 72385 h 70723"/>
                <a:gd name="connsiteX22" fmla="*/ 75409 w 77152"/>
                <a:gd name="connsiteY22" fmla="*/ 60876 h 7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7152" h="70723">
                  <a:moveTo>
                    <a:pt x="75409" y="60876"/>
                  </a:moveTo>
                  <a:cubicBezTo>
                    <a:pt x="73159" y="64927"/>
                    <a:pt x="69880" y="57919"/>
                    <a:pt x="74638" y="54447"/>
                  </a:cubicBezTo>
                  <a:cubicBezTo>
                    <a:pt x="79395" y="50975"/>
                    <a:pt x="73930" y="49304"/>
                    <a:pt x="69494" y="51489"/>
                  </a:cubicBezTo>
                  <a:cubicBezTo>
                    <a:pt x="65058" y="53675"/>
                    <a:pt x="66215" y="41588"/>
                    <a:pt x="70266" y="39402"/>
                  </a:cubicBezTo>
                  <a:cubicBezTo>
                    <a:pt x="74316" y="37216"/>
                    <a:pt x="60300" y="32973"/>
                    <a:pt x="60300" y="36831"/>
                  </a:cubicBezTo>
                  <a:cubicBezTo>
                    <a:pt x="60300" y="40688"/>
                    <a:pt x="50399" y="38245"/>
                    <a:pt x="49306" y="34580"/>
                  </a:cubicBezTo>
                  <a:cubicBezTo>
                    <a:pt x="48213" y="30915"/>
                    <a:pt x="41205" y="29823"/>
                    <a:pt x="43777" y="27251"/>
                  </a:cubicBezTo>
                  <a:cubicBezTo>
                    <a:pt x="46348" y="24679"/>
                    <a:pt x="35354" y="23200"/>
                    <a:pt x="34197" y="27637"/>
                  </a:cubicBezTo>
                  <a:cubicBezTo>
                    <a:pt x="33039" y="32073"/>
                    <a:pt x="29825" y="24679"/>
                    <a:pt x="35354" y="18828"/>
                  </a:cubicBezTo>
                  <a:cubicBezTo>
                    <a:pt x="40883" y="12978"/>
                    <a:pt x="39019" y="7770"/>
                    <a:pt x="44162" y="4812"/>
                  </a:cubicBezTo>
                  <a:cubicBezTo>
                    <a:pt x="49306" y="1855"/>
                    <a:pt x="43777" y="-1617"/>
                    <a:pt x="38247" y="826"/>
                  </a:cubicBezTo>
                  <a:cubicBezTo>
                    <a:pt x="32718" y="3269"/>
                    <a:pt x="18059" y="23200"/>
                    <a:pt x="18059" y="28729"/>
                  </a:cubicBezTo>
                  <a:cubicBezTo>
                    <a:pt x="18059" y="34259"/>
                    <a:pt x="17673" y="40881"/>
                    <a:pt x="12530" y="40495"/>
                  </a:cubicBezTo>
                  <a:cubicBezTo>
                    <a:pt x="7386" y="40110"/>
                    <a:pt x="1536" y="44867"/>
                    <a:pt x="5586" y="47825"/>
                  </a:cubicBezTo>
                  <a:cubicBezTo>
                    <a:pt x="9637" y="50782"/>
                    <a:pt x="-5087" y="59140"/>
                    <a:pt x="1921" y="62869"/>
                  </a:cubicBezTo>
                  <a:cubicBezTo>
                    <a:pt x="6679" y="65441"/>
                    <a:pt x="14394" y="61777"/>
                    <a:pt x="21209" y="62869"/>
                  </a:cubicBezTo>
                  <a:cubicBezTo>
                    <a:pt x="27240" y="64323"/>
                    <a:pt x="33605" y="63255"/>
                    <a:pt x="38826" y="59912"/>
                  </a:cubicBezTo>
                  <a:cubicBezTo>
                    <a:pt x="44355" y="55861"/>
                    <a:pt x="44355" y="63577"/>
                    <a:pt x="50206" y="62869"/>
                  </a:cubicBezTo>
                  <a:cubicBezTo>
                    <a:pt x="56057" y="62162"/>
                    <a:pt x="46927" y="67627"/>
                    <a:pt x="47248" y="71678"/>
                  </a:cubicBezTo>
                  <a:cubicBezTo>
                    <a:pt x="47570" y="75728"/>
                    <a:pt x="53678" y="69492"/>
                    <a:pt x="57921" y="67242"/>
                  </a:cubicBezTo>
                  <a:cubicBezTo>
                    <a:pt x="62165" y="64991"/>
                    <a:pt x="67887" y="67242"/>
                    <a:pt x="65636" y="70906"/>
                  </a:cubicBezTo>
                  <a:cubicBezTo>
                    <a:pt x="63386" y="74571"/>
                    <a:pt x="77788" y="78300"/>
                    <a:pt x="81067" y="72385"/>
                  </a:cubicBezTo>
                  <a:cubicBezTo>
                    <a:pt x="84346" y="66470"/>
                    <a:pt x="77595" y="56826"/>
                    <a:pt x="75409" y="60876"/>
                  </a:cubicBezTo>
                  <a:close/>
                </a:path>
              </a:pathLst>
            </a:custGeom>
            <a:solidFill>
              <a:srgbClr val="001669"/>
            </a:solidFill>
            <a:ln w="6429" cap="flat">
              <a:noFill/>
              <a:prstDash val="solid"/>
              <a:miter/>
            </a:ln>
          </p:spPr>
          <p:txBody>
            <a:bodyPr rtlCol="0" anchor="ctr"/>
            <a:lstStyle/>
            <a:p>
              <a:endParaRPr lang="en-GB" sz="2400"/>
            </a:p>
          </p:txBody>
        </p:sp>
        <p:sp>
          <p:nvSpPr>
            <p:cNvPr id="251" name="Freeform 41">
              <a:extLst>
                <a:ext uri="{FF2B5EF4-FFF2-40B4-BE49-F238E27FC236}">
                  <a16:creationId xmlns:a16="http://schemas.microsoft.com/office/drawing/2014/main" id="{052F27C4-0AEE-4C80-A28D-6476E39A6142}"/>
                </a:ext>
              </a:extLst>
            </p:cNvPr>
            <p:cNvSpPr/>
            <p:nvPr/>
          </p:nvSpPr>
          <p:spPr>
            <a:xfrm>
              <a:off x="2979126" y="1665365"/>
              <a:ext cx="51435" cy="12859"/>
            </a:xfrm>
            <a:custGeom>
              <a:avLst/>
              <a:gdLst>
                <a:gd name="connsiteX0" fmla="*/ 16130 w 51435"/>
                <a:gd name="connsiteY0" fmla="*/ 12700 h 12858"/>
                <a:gd name="connsiteX1" fmla="*/ 31046 w 51435"/>
                <a:gd name="connsiteY1" fmla="*/ 11028 h 12858"/>
                <a:gd name="connsiteX2" fmla="*/ 51941 w 51435"/>
                <a:gd name="connsiteY2" fmla="*/ 8264 h 12858"/>
                <a:gd name="connsiteX3" fmla="*/ 24938 w 51435"/>
                <a:gd name="connsiteY3" fmla="*/ 1834 h 12858"/>
                <a:gd name="connsiteX4" fmla="*/ 1278 w 51435"/>
                <a:gd name="connsiteY4" fmla="*/ 11800 h 12858"/>
                <a:gd name="connsiteX5" fmla="*/ 16130 w 51435"/>
                <a:gd name="connsiteY5" fmla="*/ 12700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35" h="12858">
                  <a:moveTo>
                    <a:pt x="16130" y="12700"/>
                  </a:moveTo>
                  <a:cubicBezTo>
                    <a:pt x="21659" y="14886"/>
                    <a:pt x="27188" y="7750"/>
                    <a:pt x="31046" y="11028"/>
                  </a:cubicBezTo>
                  <a:cubicBezTo>
                    <a:pt x="34904" y="14307"/>
                    <a:pt x="51941" y="17072"/>
                    <a:pt x="51941" y="8264"/>
                  </a:cubicBezTo>
                  <a:cubicBezTo>
                    <a:pt x="51941" y="-544"/>
                    <a:pt x="30467" y="-1638"/>
                    <a:pt x="24938" y="1834"/>
                  </a:cubicBezTo>
                  <a:cubicBezTo>
                    <a:pt x="19409" y="5306"/>
                    <a:pt x="-5923" y="6271"/>
                    <a:pt x="1278" y="11800"/>
                  </a:cubicBezTo>
                  <a:cubicBezTo>
                    <a:pt x="5650" y="14950"/>
                    <a:pt x="10601" y="10514"/>
                    <a:pt x="16130" y="12700"/>
                  </a:cubicBezTo>
                  <a:close/>
                </a:path>
              </a:pathLst>
            </a:custGeom>
            <a:solidFill>
              <a:srgbClr val="001669"/>
            </a:solidFill>
            <a:ln w="6429" cap="flat">
              <a:noFill/>
              <a:prstDash val="solid"/>
              <a:miter/>
            </a:ln>
          </p:spPr>
          <p:txBody>
            <a:bodyPr rtlCol="0" anchor="ctr"/>
            <a:lstStyle/>
            <a:p>
              <a:endParaRPr lang="en-GB" sz="2400"/>
            </a:p>
          </p:txBody>
        </p:sp>
        <p:sp>
          <p:nvSpPr>
            <p:cNvPr id="252" name="Freeform 42">
              <a:extLst>
                <a:ext uri="{FF2B5EF4-FFF2-40B4-BE49-F238E27FC236}">
                  <a16:creationId xmlns:a16="http://schemas.microsoft.com/office/drawing/2014/main" id="{E6AC44A6-1376-43A6-8DCC-EE16731639DC}"/>
                </a:ext>
              </a:extLst>
            </p:cNvPr>
            <p:cNvSpPr/>
            <p:nvPr/>
          </p:nvSpPr>
          <p:spPr>
            <a:xfrm>
              <a:off x="2929622" y="1717066"/>
              <a:ext cx="141446" cy="57864"/>
            </a:xfrm>
            <a:custGeom>
              <a:avLst/>
              <a:gdLst>
                <a:gd name="connsiteX0" fmla="*/ 18249 w 141446"/>
                <a:gd name="connsiteY0" fmla="*/ 13913 h 57864"/>
                <a:gd name="connsiteX1" fmla="*/ 19921 w 141446"/>
                <a:gd name="connsiteY1" fmla="*/ 22142 h 57864"/>
                <a:gd name="connsiteX2" fmla="*/ 18828 w 141446"/>
                <a:gd name="connsiteY2" fmla="*/ 24392 h 57864"/>
                <a:gd name="connsiteX3" fmla="*/ 9441 w 141446"/>
                <a:gd name="connsiteY3" fmla="*/ 32622 h 57864"/>
                <a:gd name="connsiteX4" fmla="*/ 22300 w 141446"/>
                <a:gd name="connsiteY4" fmla="*/ 32622 h 57864"/>
                <a:gd name="connsiteX5" fmla="*/ 247 w 141446"/>
                <a:gd name="connsiteY5" fmla="*/ 39823 h 57864"/>
                <a:gd name="connsiteX6" fmla="*/ 16256 w 141446"/>
                <a:gd name="connsiteY6" fmla="*/ 44195 h 57864"/>
                <a:gd name="connsiteX7" fmla="*/ 33294 w 141446"/>
                <a:gd name="connsiteY7" fmla="*/ 42523 h 57864"/>
                <a:gd name="connsiteX8" fmla="*/ 43260 w 141446"/>
                <a:gd name="connsiteY8" fmla="*/ 38730 h 57864"/>
                <a:gd name="connsiteX9" fmla="*/ 66920 w 141446"/>
                <a:gd name="connsiteY9" fmla="*/ 40337 h 57864"/>
                <a:gd name="connsiteX10" fmla="*/ 48725 w 141446"/>
                <a:gd name="connsiteY10" fmla="*/ 50303 h 57864"/>
                <a:gd name="connsiteX11" fmla="*/ 48210 w 141446"/>
                <a:gd name="connsiteY11" fmla="*/ 61876 h 57864"/>
                <a:gd name="connsiteX12" fmla="*/ 92316 w 141446"/>
                <a:gd name="connsiteY12" fmla="*/ 48053 h 57864"/>
                <a:gd name="connsiteX13" fmla="*/ 109932 w 141446"/>
                <a:gd name="connsiteY13" fmla="*/ 46960 h 57864"/>
                <a:gd name="connsiteX14" fmla="*/ 138029 w 141446"/>
                <a:gd name="connsiteY14" fmla="*/ 45288 h 57864"/>
                <a:gd name="connsiteX15" fmla="*/ 142465 w 141446"/>
                <a:gd name="connsiteY15" fmla="*/ 19956 h 57864"/>
                <a:gd name="connsiteX16" fmla="*/ 128642 w 141446"/>
                <a:gd name="connsiteY16" fmla="*/ 24907 h 57864"/>
                <a:gd name="connsiteX17" fmla="*/ 114369 w 141446"/>
                <a:gd name="connsiteY17" fmla="*/ 13334 h 57864"/>
                <a:gd name="connsiteX18" fmla="*/ 105496 w 141446"/>
                <a:gd name="connsiteY18" fmla="*/ 89 h 57864"/>
                <a:gd name="connsiteX19" fmla="*/ 92316 w 141446"/>
                <a:gd name="connsiteY19" fmla="*/ 13913 h 57864"/>
                <a:gd name="connsiteX20" fmla="*/ 93409 w 141446"/>
                <a:gd name="connsiteY20" fmla="*/ 22142 h 57864"/>
                <a:gd name="connsiteX21" fmla="*/ 102796 w 141446"/>
                <a:gd name="connsiteY21" fmla="*/ 31529 h 57864"/>
                <a:gd name="connsiteX22" fmla="*/ 74121 w 141446"/>
                <a:gd name="connsiteY22" fmla="*/ 26579 h 57864"/>
                <a:gd name="connsiteX23" fmla="*/ 44867 w 141446"/>
                <a:gd name="connsiteY23" fmla="*/ 13334 h 57864"/>
                <a:gd name="connsiteX24" fmla="*/ 31687 w 141446"/>
                <a:gd name="connsiteY24" fmla="*/ 6197 h 57864"/>
                <a:gd name="connsiteX25" fmla="*/ 18249 w 141446"/>
                <a:gd name="connsiteY25" fmla="*/ 13913 h 57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1446" h="57864">
                  <a:moveTo>
                    <a:pt x="18249" y="13913"/>
                  </a:moveTo>
                  <a:cubicBezTo>
                    <a:pt x="10534" y="14427"/>
                    <a:pt x="11113" y="22142"/>
                    <a:pt x="19921" y="22142"/>
                  </a:cubicBezTo>
                  <a:cubicBezTo>
                    <a:pt x="28729" y="22142"/>
                    <a:pt x="31494" y="24907"/>
                    <a:pt x="18828" y="24392"/>
                  </a:cubicBezTo>
                  <a:cubicBezTo>
                    <a:pt x="6162" y="23878"/>
                    <a:pt x="633" y="34872"/>
                    <a:pt x="9441" y="32622"/>
                  </a:cubicBezTo>
                  <a:cubicBezTo>
                    <a:pt x="18249" y="30372"/>
                    <a:pt x="28729" y="30436"/>
                    <a:pt x="22300" y="32622"/>
                  </a:cubicBezTo>
                  <a:cubicBezTo>
                    <a:pt x="15871" y="34808"/>
                    <a:pt x="-2325" y="36351"/>
                    <a:pt x="247" y="39823"/>
                  </a:cubicBezTo>
                  <a:cubicBezTo>
                    <a:pt x="1919" y="42009"/>
                    <a:pt x="9056" y="41430"/>
                    <a:pt x="16256" y="44195"/>
                  </a:cubicBezTo>
                  <a:cubicBezTo>
                    <a:pt x="23457" y="46960"/>
                    <a:pt x="27829" y="48631"/>
                    <a:pt x="33294" y="42523"/>
                  </a:cubicBezTo>
                  <a:cubicBezTo>
                    <a:pt x="38759" y="36415"/>
                    <a:pt x="46153" y="30436"/>
                    <a:pt x="43260" y="38730"/>
                  </a:cubicBezTo>
                  <a:cubicBezTo>
                    <a:pt x="40367" y="47024"/>
                    <a:pt x="52068" y="40916"/>
                    <a:pt x="66920" y="40337"/>
                  </a:cubicBezTo>
                  <a:cubicBezTo>
                    <a:pt x="81772" y="39759"/>
                    <a:pt x="64155" y="49146"/>
                    <a:pt x="48725" y="50303"/>
                  </a:cubicBezTo>
                  <a:cubicBezTo>
                    <a:pt x="33294" y="51460"/>
                    <a:pt x="35866" y="59111"/>
                    <a:pt x="48210" y="61876"/>
                  </a:cubicBezTo>
                  <a:cubicBezTo>
                    <a:pt x="60555" y="64640"/>
                    <a:pt x="86208" y="54160"/>
                    <a:pt x="92316" y="48053"/>
                  </a:cubicBezTo>
                  <a:cubicBezTo>
                    <a:pt x="98424" y="41945"/>
                    <a:pt x="103889" y="51396"/>
                    <a:pt x="109932" y="46960"/>
                  </a:cubicBezTo>
                  <a:cubicBezTo>
                    <a:pt x="115976" y="42523"/>
                    <a:pt x="127549" y="47538"/>
                    <a:pt x="138029" y="45288"/>
                  </a:cubicBezTo>
                  <a:cubicBezTo>
                    <a:pt x="148509" y="43038"/>
                    <a:pt x="150180" y="23235"/>
                    <a:pt x="142465" y="19956"/>
                  </a:cubicBezTo>
                  <a:cubicBezTo>
                    <a:pt x="134750" y="16677"/>
                    <a:pt x="134750" y="23814"/>
                    <a:pt x="128642" y="24907"/>
                  </a:cubicBezTo>
                  <a:cubicBezTo>
                    <a:pt x="122534" y="26000"/>
                    <a:pt x="119319" y="18477"/>
                    <a:pt x="114369" y="13334"/>
                  </a:cubicBezTo>
                  <a:cubicBezTo>
                    <a:pt x="109418" y="8190"/>
                    <a:pt x="112697" y="-1004"/>
                    <a:pt x="105496" y="89"/>
                  </a:cubicBezTo>
                  <a:cubicBezTo>
                    <a:pt x="98295" y="1182"/>
                    <a:pt x="82929" y="12948"/>
                    <a:pt x="92316" y="13913"/>
                  </a:cubicBezTo>
                  <a:cubicBezTo>
                    <a:pt x="101703" y="14877"/>
                    <a:pt x="98360" y="19956"/>
                    <a:pt x="93409" y="22142"/>
                  </a:cubicBezTo>
                  <a:cubicBezTo>
                    <a:pt x="88458" y="24328"/>
                    <a:pt x="104982" y="28250"/>
                    <a:pt x="102796" y="31529"/>
                  </a:cubicBezTo>
                  <a:cubicBezTo>
                    <a:pt x="100610" y="34808"/>
                    <a:pt x="75214" y="32108"/>
                    <a:pt x="74121" y="26579"/>
                  </a:cubicBezTo>
                  <a:cubicBezTo>
                    <a:pt x="73028" y="21049"/>
                    <a:pt x="53161" y="11148"/>
                    <a:pt x="44867" y="13334"/>
                  </a:cubicBezTo>
                  <a:cubicBezTo>
                    <a:pt x="36573" y="15520"/>
                    <a:pt x="39916" y="6905"/>
                    <a:pt x="31687" y="6197"/>
                  </a:cubicBezTo>
                  <a:cubicBezTo>
                    <a:pt x="23457" y="5490"/>
                    <a:pt x="25965" y="13334"/>
                    <a:pt x="18249" y="13913"/>
                  </a:cubicBezTo>
                  <a:close/>
                </a:path>
              </a:pathLst>
            </a:custGeom>
            <a:solidFill>
              <a:srgbClr val="001669"/>
            </a:solidFill>
            <a:ln w="6429" cap="flat">
              <a:noFill/>
              <a:prstDash val="solid"/>
              <a:miter/>
            </a:ln>
          </p:spPr>
          <p:txBody>
            <a:bodyPr rtlCol="0" anchor="ctr"/>
            <a:lstStyle/>
            <a:p>
              <a:endParaRPr lang="en-GB" sz="2400"/>
            </a:p>
          </p:txBody>
        </p:sp>
        <p:sp>
          <p:nvSpPr>
            <p:cNvPr id="253" name="Freeform 43">
              <a:extLst>
                <a:ext uri="{FF2B5EF4-FFF2-40B4-BE49-F238E27FC236}">
                  <a16:creationId xmlns:a16="http://schemas.microsoft.com/office/drawing/2014/main" id="{444D00C5-23D1-4A03-B004-BD4ED8F2F1CD}"/>
                </a:ext>
              </a:extLst>
            </p:cNvPr>
            <p:cNvSpPr/>
            <p:nvPr/>
          </p:nvSpPr>
          <p:spPr>
            <a:xfrm>
              <a:off x="2861085" y="1696862"/>
              <a:ext cx="90011" cy="45006"/>
            </a:xfrm>
            <a:custGeom>
              <a:avLst/>
              <a:gdLst>
                <a:gd name="connsiteX0" fmla="*/ 699 w 90011"/>
                <a:gd name="connsiteY0" fmla="*/ 36881 h 45005"/>
                <a:gd name="connsiteX1" fmla="*/ 5071 w 90011"/>
                <a:gd name="connsiteY1" fmla="*/ 44018 h 45005"/>
                <a:gd name="connsiteX2" fmla="*/ 13879 w 90011"/>
                <a:gd name="connsiteY2" fmla="*/ 42346 h 45005"/>
                <a:gd name="connsiteX3" fmla="*/ 23845 w 90011"/>
                <a:gd name="connsiteY3" fmla="*/ 36303 h 45005"/>
                <a:gd name="connsiteX4" fmla="*/ 32653 w 90011"/>
                <a:gd name="connsiteY4" fmla="*/ 46204 h 45005"/>
                <a:gd name="connsiteX5" fmla="*/ 43133 w 90011"/>
                <a:gd name="connsiteY5" fmla="*/ 36881 h 45005"/>
                <a:gd name="connsiteX6" fmla="*/ 51362 w 90011"/>
                <a:gd name="connsiteY6" fmla="*/ 31352 h 45005"/>
                <a:gd name="connsiteX7" fmla="*/ 58563 w 90011"/>
                <a:gd name="connsiteY7" fmla="*/ 19779 h 45005"/>
                <a:gd name="connsiteX8" fmla="*/ 62421 w 90011"/>
                <a:gd name="connsiteY8" fmla="*/ 30773 h 45005"/>
                <a:gd name="connsiteX9" fmla="*/ 73994 w 90011"/>
                <a:gd name="connsiteY9" fmla="*/ 28009 h 45005"/>
                <a:gd name="connsiteX10" fmla="*/ 83895 w 90011"/>
                <a:gd name="connsiteY10" fmla="*/ 23058 h 45005"/>
                <a:gd name="connsiteX11" fmla="*/ 83895 w 90011"/>
                <a:gd name="connsiteY11" fmla="*/ 13736 h 45005"/>
                <a:gd name="connsiteX12" fmla="*/ 91610 w 90011"/>
                <a:gd name="connsiteY12" fmla="*/ 7306 h 45005"/>
                <a:gd name="connsiteX13" fmla="*/ 81709 w 90011"/>
                <a:gd name="connsiteY13" fmla="*/ 1777 h 45005"/>
                <a:gd name="connsiteX14" fmla="*/ 73994 w 90011"/>
                <a:gd name="connsiteY14" fmla="*/ 6728 h 45005"/>
                <a:gd name="connsiteX15" fmla="*/ 57470 w 90011"/>
                <a:gd name="connsiteY15" fmla="*/ 5056 h 45005"/>
                <a:gd name="connsiteX16" fmla="*/ 34839 w 90011"/>
                <a:gd name="connsiteY16" fmla="*/ 16629 h 45005"/>
                <a:gd name="connsiteX17" fmla="*/ 17222 w 90011"/>
                <a:gd name="connsiteY17" fmla="*/ 28202 h 45005"/>
                <a:gd name="connsiteX18" fmla="*/ 699 w 90011"/>
                <a:gd name="connsiteY18" fmla="*/ 36881 h 4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0011" h="45005">
                  <a:moveTo>
                    <a:pt x="699" y="36881"/>
                  </a:moveTo>
                  <a:cubicBezTo>
                    <a:pt x="4556" y="38489"/>
                    <a:pt x="699" y="46204"/>
                    <a:pt x="5071" y="44018"/>
                  </a:cubicBezTo>
                  <a:cubicBezTo>
                    <a:pt x="9443" y="41832"/>
                    <a:pt x="10600" y="41253"/>
                    <a:pt x="13879" y="42346"/>
                  </a:cubicBezTo>
                  <a:cubicBezTo>
                    <a:pt x="19858" y="44340"/>
                    <a:pt x="21080" y="39067"/>
                    <a:pt x="23845" y="36303"/>
                  </a:cubicBezTo>
                  <a:cubicBezTo>
                    <a:pt x="26609" y="33538"/>
                    <a:pt x="25452" y="46204"/>
                    <a:pt x="32653" y="46204"/>
                  </a:cubicBezTo>
                  <a:cubicBezTo>
                    <a:pt x="38696" y="46204"/>
                    <a:pt x="37603" y="33024"/>
                    <a:pt x="43133" y="36881"/>
                  </a:cubicBezTo>
                  <a:cubicBezTo>
                    <a:pt x="48662" y="40739"/>
                    <a:pt x="50269" y="35210"/>
                    <a:pt x="51362" y="31352"/>
                  </a:cubicBezTo>
                  <a:cubicBezTo>
                    <a:pt x="52455" y="27495"/>
                    <a:pt x="52455" y="20872"/>
                    <a:pt x="58563" y="19779"/>
                  </a:cubicBezTo>
                  <a:cubicBezTo>
                    <a:pt x="64671" y="18686"/>
                    <a:pt x="59656" y="25823"/>
                    <a:pt x="62421" y="30773"/>
                  </a:cubicBezTo>
                  <a:cubicBezTo>
                    <a:pt x="66407" y="38039"/>
                    <a:pt x="73415" y="31352"/>
                    <a:pt x="73994" y="28009"/>
                  </a:cubicBezTo>
                  <a:cubicBezTo>
                    <a:pt x="74572" y="24666"/>
                    <a:pt x="84473" y="26916"/>
                    <a:pt x="83895" y="23058"/>
                  </a:cubicBezTo>
                  <a:cubicBezTo>
                    <a:pt x="83316" y="19201"/>
                    <a:pt x="86659" y="18108"/>
                    <a:pt x="83895" y="13736"/>
                  </a:cubicBezTo>
                  <a:cubicBezTo>
                    <a:pt x="81130" y="9364"/>
                    <a:pt x="88331" y="10392"/>
                    <a:pt x="91610" y="7306"/>
                  </a:cubicBezTo>
                  <a:cubicBezTo>
                    <a:pt x="94889" y="4220"/>
                    <a:pt x="87238" y="6728"/>
                    <a:pt x="81709" y="1777"/>
                  </a:cubicBezTo>
                  <a:cubicBezTo>
                    <a:pt x="76180" y="-3174"/>
                    <a:pt x="73994" y="3449"/>
                    <a:pt x="73994" y="6728"/>
                  </a:cubicBezTo>
                  <a:cubicBezTo>
                    <a:pt x="73994" y="10007"/>
                    <a:pt x="63514" y="7306"/>
                    <a:pt x="57470" y="5056"/>
                  </a:cubicBezTo>
                  <a:cubicBezTo>
                    <a:pt x="51426" y="2806"/>
                    <a:pt x="43647" y="12257"/>
                    <a:pt x="34839" y="16629"/>
                  </a:cubicBezTo>
                  <a:cubicBezTo>
                    <a:pt x="26030" y="21001"/>
                    <a:pt x="25452" y="28780"/>
                    <a:pt x="17222" y="28202"/>
                  </a:cubicBezTo>
                  <a:cubicBezTo>
                    <a:pt x="8993" y="27623"/>
                    <a:pt x="-3030" y="35210"/>
                    <a:pt x="699" y="36881"/>
                  </a:cubicBezTo>
                  <a:close/>
                </a:path>
              </a:pathLst>
            </a:custGeom>
            <a:solidFill>
              <a:srgbClr val="001669"/>
            </a:solidFill>
            <a:ln w="6429" cap="flat">
              <a:noFill/>
              <a:prstDash val="solid"/>
              <a:miter/>
            </a:ln>
          </p:spPr>
          <p:txBody>
            <a:bodyPr rtlCol="0" anchor="ctr"/>
            <a:lstStyle/>
            <a:p>
              <a:endParaRPr lang="en-GB" sz="2400"/>
            </a:p>
          </p:txBody>
        </p:sp>
        <p:sp>
          <p:nvSpPr>
            <p:cNvPr id="254" name="Freeform 44">
              <a:extLst>
                <a:ext uri="{FF2B5EF4-FFF2-40B4-BE49-F238E27FC236}">
                  <a16:creationId xmlns:a16="http://schemas.microsoft.com/office/drawing/2014/main" id="{669C150B-AC31-432D-8AE3-B9065CC69547}"/>
                </a:ext>
              </a:extLst>
            </p:cNvPr>
            <p:cNvSpPr/>
            <p:nvPr/>
          </p:nvSpPr>
          <p:spPr>
            <a:xfrm>
              <a:off x="2959921" y="1686340"/>
              <a:ext cx="12859" cy="6429"/>
            </a:xfrm>
            <a:custGeom>
              <a:avLst/>
              <a:gdLst>
                <a:gd name="connsiteX0" fmla="*/ 16626 w 12858"/>
                <a:gd name="connsiteY0" fmla="*/ 4970 h 6429"/>
                <a:gd name="connsiteX1" fmla="*/ 102 w 12858"/>
                <a:gd name="connsiteY1" fmla="*/ 1626 h 6429"/>
                <a:gd name="connsiteX2" fmla="*/ 16626 w 12858"/>
                <a:gd name="connsiteY2" fmla="*/ 4970 h 6429"/>
              </a:gdLst>
              <a:ahLst/>
              <a:cxnLst>
                <a:cxn ang="0">
                  <a:pos x="connsiteX0" y="connsiteY0"/>
                </a:cxn>
                <a:cxn ang="0">
                  <a:pos x="connsiteX1" y="connsiteY1"/>
                </a:cxn>
                <a:cxn ang="0">
                  <a:pos x="connsiteX2" y="connsiteY2"/>
                </a:cxn>
              </a:cxnLst>
              <a:rect l="l" t="t" r="r" b="b"/>
              <a:pathLst>
                <a:path w="12858" h="6429">
                  <a:moveTo>
                    <a:pt x="16626" y="4970"/>
                  </a:moveTo>
                  <a:cubicBezTo>
                    <a:pt x="19390" y="-1460"/>
                    <a:pt x="-1634" y="-560"/>
                    <a:pt x="102" y="1626"/>
                  </a:cubicBezTo>
                  <a:cubicBezTo>
                    <a:pt x="3960" y="6577"/>
                    <a:pt x="13861" y="11528"/>
                    <a:pt x="16626" y="4970"/>
                  </a:cubicBezTo>
                  <a:close/>
                </a:path>
              </a:pathLst>
            </a:custGeom>
            <a:solidFill>
              <a:srgbClr val="001669"/>
            </a:solidFill>
            <a:ln w="6429" cap="flat">
              <a:noFill/>
              <a:prstDash val="solid"/>
              <a:miter/>
            </a:ln>
          </p:spPr>
          <p:txBody>
            <a:bodyPr rtlCol="0" anchor="ctr"/>
            <a:lstStyle/>
            <a:p>
              <a:endParaRPr lang="en-GB" sz="2400"/>
            </a:p>
          </p:txBody>
        </p:sp>
        <p:sp>
          <p:nvSpPr>
            <p:cNvPr id="255" name="Freeform 45">
              <a:extLst>
                <a:ext uri="{FF2B5EF4-FFF2-40B4-BE49-F238E27FC236}">
                  <a16:creationId xmlns:a16="http://schemas.microsoft.com/office/drawing/2014/main" id="{418E1F18-56F0-41A8-986F-15C54D4EAA34}"/>
                </a:ext>
              </a:extLst>
            </p:cNvPr>
            <p:cNvSpPr/>
            <p:nvPr/>
          </p:nvSpPr>
          <p:spPr>
            <a:xfrm>
              <a:off x="2983426" y="1683337"/>
              <a:ext cx="38576" cy="19288"/>
            </a:xfrm>
            <a:custGeom>
              <a:avLst/>
              <a:gdLst>
                <a:gd name="connsiteX0" fmla="*/ 39091 w 38576"/>
                <a:gd name="connsiteY0" fmla="*/ 5208 h 19288"/>
                <a:gd name="connsiteX1" fmla="*/ 31375 w 38576"/>
                <a:gd name="connsiteY1" fmla="*/ 257 h 19288"/>
                <a:gd name="connsiteX2" fmla="*/ 0 w 38576"/>
                <a:gd name="connsiteY2" fmla="*/ 10158 h 19288"/>
                <a:gd name="connsiteX3" fmla="*/ 16524 w 38576"/>
                <a:gd name="connsiteY3" fmla="*/ 21152 h 19288"/>
                <a:gd name="connsiteX4" fmla="*/ 34140 w 38576"/>
                <a:gd name="connsiteY4" fmla="*/ 10158 h 19288"/>
                <a:gd name="connsiteX5" fmla="*/ 39091 w 38576"/>
                <a:gd name="connsiteY5" fmla="*/ 5208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76" h="19288">
                  <a:moveTo>
                    <a:pt x="39091" y="5208"/>
                  </a:moveTo>
                  <a:cubicBezTo>
                    <a:pt x="46291" y="4115"/>
                    <a:pt x="42948" y="-1222"/>
                    <a:pt x="31375" y="257"/>
                  </a:cubicBezTo>
                  <a:cubicBezTo>
                    <a:pt x="19802" y="1736"/>
                    <a:pt x="0" y="1864"/>
                    <a:pt x="0" y="10158"/>
                  </a:cubicBezTo>
                  <a:cubicBezTo>
                    <a:pt x="0" y="16588"/>
                    <a:pt x="3858" y="20060"/>
                    <a:pt x="16524" y="21152"/>
                  </a:cubicBezTo>
                  <a:cubicBezTo>
                    <a:pt x="29189" y="22246"/>
                    <a:pt x="40184" y="10158"/>
                    <a:pt x="34140" y="10158"/>
                  </a:cubicBezTo>
                  <a:cubicBezTo>
                    <a:pt x="28096" y="10158"/>
                    <a:pt x="31697" y="6301"/>
                    <a:pt x="39091" y="5208"/>
                  </a:cubicBezTo>
                  <a:close/>
                </a:path>
              </a:pathLst>
            </a:custGeom>
            <a:solidFill>
              <a:srgbClr val="001669"/>
            </a:solidFill>
            <a:ln w="6429" cap="flat">
              <a:noFill/>
              <a:prstDash val="solid"/>
              <a:miter/>
            </a:ln>
          </p:spPr>
          <p:txBody>
            <a:bodyPr rtlCol="0" anchor="ctr"/>
            <a:lstStyle/>
            <a:p>
              <a:endParaRPr lang="en-GB" sz="2400"/>
            </a:p>
          </p:txBody>
        </p:sp>
        <p:sp>
          <p:nvSpPr>
            <p:cNvPr id="256" name="Freeform 46">
              <a:extLst>
                <a:ext uri="{FF2B5EF4-FFF2-40B4-BE49-F238E27FC236}">
                  <a16:creationId xmlns:a16="http://schemas.microsoft.com/office/drawing/2014/main" id="{858B1E87-4253-4DF0-ADC5-138244AB4BC1}"/>
                </a:ext>
              </a:extLst>
            </p:cNvPr>
            <p:cNvSpPr/>
            <p:nvPr/>
          </p:nvSpPr>
          <p:spPr>
            <a:xfrm>
              <a:off x="2906943" y="1735375"/>
              <a:ext cx="19288" cy="12859"/>
            </a:xfrm>
            <a:custGeom>
              <a:avLst/>
              <a:gdLst>
                <a:gd name="connsiteX0" fmla="*/ 681 w 19288"/>
                <a:gd name="connsiteY0" fmla="*/ 13799 h 12858"/>
                <a:gd name="connsiteX1" fmla="*/ 19969 w 19288"/>
                <a:gd name="connsiteY1" fmla="*/ 940 h 12858"/>
                <a:gd name="connsiteX2" fmla="*/ 681 w 19288"/>
                <a:gd name="connsiteY2" fmla="*/ 13799 h 12858"/>
              </a:gdLst>
              <a:ahLst/>
              <a:cxnLst>
                <a:cxn ang="0">
                  <a:pos x="connsiteX0" y="connsiteY0"/>
                </a:cxn>
                <a:cxn ang="0">
                  <a:pos x="connsiteX1" y="connsiteY1"/>
                </a:cxn>
                <a:cxn ang="0">
                  <a:pos x="connsiteX2" y="connsiteY2"/>
                </a:cxn>
              </a:cxnLst>
              <a:rect l="l" t="t" r="r" b="b"/>
              <a:pathLst>
                <a:path w="19288" h="12858">
                  <a:moveTo>
                    <a:pt x="681" y="13799"/>
                  </a:moveTo>
                  <a:cubicBezTo>
                    <a:pt x="10582" y="14892"/>
                    <a:pt x="20547" y="6084"/>
                    <a:pt x="19969" y="940"/>
                  </a:cubicBezTo>
                  <a:cubicBezTo>
                    <a:pt x="19390" y="-4203"/>
                    <a:pt x="-4270" y="13413"/>
                    <a:pt x="681" y="13799"/>
                  </a:cubicBezTo>
                  <a:close/>
                </a:path>
              </a:pathLst>
            </a:custGeom>
            <a:solidFill>
              <a:srgbClr val="001669"/>
            </a:solidFill>
            <a:ln w="6429" cap="flat">
              <a:noFill/>
              <a:prstDash val="solid"/>
              <a:miter/>
            </a:ln>
          </p:spPr>
          <p:txBody>
            <a:bodyPr rtlCol="0" anchor="ctr"/>
            <a:lstStyle/>
            <a:p>
              <a:endParaRPr lang="en-GB" sz="2400"/>
            </a:p>
          </p:txBody>
        </p:sp>
        <p:sp>
          <p:nvSpPr>
            <p:cNvPr id="257" name="Freeform 47">
              <a:extLst>
                <a:ext uri="{FF2B5EF4-FFF2-40B4-BE49-F238E27FC236}">
                  <a16:creationId xmlns:a16="http://schemas.microsoft.com/office/drawing/2014/main" id="{EF204A28-5E13-49DD-B5CA-4D257DDB0BBC}"/>
                </a:ext>
              </a:extLst>
            </p:cNvPr>
            <p:cNvSpPr/>
            <p:nvPr/>
          </p:nvSpPr>
          <p:spPr>
            <a:xfrm>
              <a:off x="2446479" y="2691854"/>
              <a:ext cx="12859" cy="12859"/>
            </a:xfrm>
            <a:custGeom>
              <a:avLst/>
              <a:gdLst>
                <a:gd name="connsiteX0" fmla="*/ 3824 w 12858"/>
                <a:gd name="connsiteY0" fmla="*/ 59 h 12858"/>
                <a:gd name="connsiteX1" fmla="*/ 4403 w 12858"/>
                <a:gd name="connsiteY1" fmla="*/ 15232 h 12858"/>
                <a:gd name="connsiteX2" fmla="*/ 13340 w 12858"/>
                <a:gd name="connsiteY2" fmla="*/ 10153 h 12858"/>
                <a:gd name="connsiteX3" fmla="*/ 3824 w 12858"/>
                <a:gd name="connsiteY3" fmla="*/ 59 h 12858"/>
              </a:gdLst>
              <a:ahLst/>
              <a:cxnLst>
                <a:cxn ang="0">
                  <a:pos x="connsiteX0" y="connsiteY0"/>
                </a:cxn>
                <a:cxn ang="0">
                  <a:pos x="connsiteX1" y="connsiteY1"/>
                </a:cxn>
                <a:cxn ang="0">
                  <a:pos x="connsiteX2" y="connsiteY2"/>
                </a:cxn>
                <a:cxn ang="0">
                  <a:pos x="connsiteX3" y="connsiteY3"/>
                </a:cxn>
              </a:cxnLst>
              <a:rect l="l" t="t" r="r" b="b"/>
              <a:pathLst>
                <a:path w="12858" h="12858">
                  <a:moveTo>
                    <a:pt x="3824" y="59"/>
                  </a:moveTo>
                  <a:cubicBezTo>
                    <a:pt x="-3055" y="830"/>
                    <a:pt x="738" y="18061"/>
                    <a:pt x="4403" y="15232"/>
                  </a:cubicBezTo>
                  <a:cubicBezTo>
                    <a:pt x="7039" y="13239"/>
                    <a:pt x="11925" y="12789"/>
                    <a:pt x="13340" y="10153"/>
                  </a:cubicBezTo>
                  <a:cubicBezTo>
                    <a:pt x="14754" y="7517"/>
                    <a:pt x="10254" y="-777"/>
                    <a:pt x="3824" y="59"/>
                  </a:cubicBezTo>
                  <a:close/>
                </a:path>
              </a:pathLst>
            </a:custGeom>
            <a:solidFill>
              <a:srgbClr val="001669"/>
            </a:solidFill>
            <a:ln w="6429" cap="flat">
              <a:noFill/>
              <a:prstDash val="solid"/>
              <a:miter/>
            </a:ln>
          </p:spPr>
          <p:txBody>
            <a:bodyPr rtlCol="0" anchor="ctr"/>
            <a:lstStyle/>
            <a:p>
              <a:endParaRPr lang="en-GB" sz="2400"/>
            </a:p>
          </p:txBody>
        </p:sp>
        <p:sp>
          <p:nvSpPr>
            <p:cNvPr id="258" name="Freeform 48">
              <a:extLst>
                <a:ext uri="{FF2B5EF4-FFF2-40B4-BE49-F238E27FC236}">
                  <a16:creationId xmlns:a16="http://schemas.microsoft.com/office/drawing/2014/main" id="{09A65CE2-8277-4771-8E12-284748485D46}"/>
                </a:ext>
              </a:extLst>
            </p:cNvPr>
            <p:cNvSpPr/>
            <p:nvPr/>
          </p:nvSpPr>
          <p:spPr>
            <a:xfrm>
              <a:off x="2460921" y="2114052"/>
              <a:ext cx="32147" cy="25718"/>
            </a:xfrm>
            <a:custGeom>
              <a:avLst/>
              <a:gdLst>
                <a:gd name="connsiteX0" fmla="*/ 30338 w 32146"/>
                <a:gd name="connsiteY0" fmla="*/ 1854 h 25717"/>
                <a:gd name="connsiteX1" fmla="*/ 20694 w 32146"/>
                <a:gd name="connsiteY1" fmla="*/ 5454 h 25717"/>
                <a:gd name="connsiteX2" fmla="*/ 9635 w 32146"/>
                <a:gd name="connsiteY2" fmla="*/ 18313 h 25717"/>
                <a:gd name="connsiteX3" fmla="*/ 570 w 32146"/>
                <a:gd name="connsiteY3" fmla="*/ 21656 h 25717"/>
                <a:gd name="connsiteX4" fmla="*/ 5777 w 32146"/>
                <a:gd name="connsiteY4" fmla="*/ 31300 h 25717"/>
                <a:gd name="connsiteX5" fmla="*/ 12207 w 32146"/>
                <a:gd name="connsiteY5" fmla="*/ 31300 h 25717"/>
                <a:gd name="connsiteX6" fmla="*/ 28473 w 32146"/>
                <a:gd name="connsiteY6" fmla="*/ 19727 h 25717"/>
                <a:gd name="connsiteX7" fmla="*/ 23780 w 32146"/>
                <a:gd name="connsiteY7" fmla="*/ 12269 h 25717"/>
                <a:gd name="connsiteX8" fmla="*/ 32588 w 32146"/>
                <a:gd name="connsiteY8" fmla="*/ 8154 h 25717"/>
                <a:gd name="connsiteX9" fmla="*/ 30338 w 32146"/>
                <a:gd name="connsiteY9" fmla="*/ 1854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146" h="25717">
                  <a:moveTo>
                    <a:pt x="30338" y="1854"/>
                  </a:moveTo>
                  <a:cubicBezTo>
                    <a:pt x="30338" y="-1168"/>
                    <a:pt x="26158" y="-847"/>
                    <a:pt x="20694" y="5454"/>
                  </a:cubicBezTo>
                  <a:cubicBezTo>
                    <a:pt x="15229" y="11755"/>
                    <a:pt x="10471" y="15098"/>
                    <a:pt x="9635" y="18313"/>
                  </a:cubicBezTo>
                  <a:cubicBezTo>
                    <a:pt x="8799" y="21528"/>
                    <a:pt x="2498" y="17798"/>
                    <a:pt x="570" y="21656"/>
                  </a:cubicBezTo>
                  <a:cubicBezTo>
                    <a:pt x="-1359" y="25514"/>
                    <a:pt x="1920" y="34065"/>
                    <a:pt x="5777" y="31300"/>
                  </a:cubicBezTo>
                  <a:cubicBezTo>
                    <a:pt x="9635" y="28536"/>
                    <a:pt x="9956" y="31300"/>
                    <a:pt x="12207" y="31300"/>
                  </a:cubicBezTo>
                  <a:cubicBezTo>
                    <a:pt x="18470" y="28786"/>
                    <a:pt x="24045" y="24819"/>
                    <a:pt x="28473" y="19727"/>
                  </a:cubicBezTo>
                  <a:cubicBezTo>
                    <a:pt x="30981" y="15870"/>
                    <a:pt x="24037" y="14777"/>
                    <a:pt x="23780" y="12269"/>
                  </a:cubicBezTo>
                  <a:cubicBezTo>
                    <a:pt x="23522" y="9762"/>
                    <a:pt x="29566" y="9826"/>
                    <a:pt x="32588" y="8154"/>
                  </a:cubicBezTo>
                  <a:cubicBezTo>
                    <a:pt x="35610" y="6483"/>
                    <a:pt x="30016" y="4940"/>
                    <a:pt x="30338" y="1854"/>
                  </a:cubicBezTo>
                  <a:close/>
                </a:path>
              </a:pathLst>
            </a:custGeom>
            <a:solidFill>
              <a:srgbClr val="001669"/>
            </a:solidFill>
            <a:ln w="6429" cap="flat">
              <a:noFill/>
              <a:prstDash val="solid"/>
              <a:miter/>
            </a:ln>
          </p:spPr>
          <p:txBody>
            <a:bodyPr rtlCol="0" anchor="ctr"/>
            <a:lstStyle/>
            <a:p>
              <a:endParaRPr lang="en-GB" sz="2400"/>
            </a:p>
          </p:txBody>
        </p:sp>
        <p:sp>
          <p:nvSpPr>
            <p:cNvPr id="259" name="Freeform 49">
              <a:extLst>
                <a:ext uri="{FF2B5EF4-FFF2-40B4-BE49-F238E27FC236}">
                  <a16:creationId xmlns:a16="http://schemas.microsoft.com/office/drawing/2014/main" id="{4BB5B671-52CC-44D5-B69B-16C3135194DA}"/>
                </a:ext>
              </a:extLst>
            </p:cNvPr>
            <p:cNvSpPr/>
            <p:nvPr/>
          </p:nvSpPr>
          <p:spPr>
            <a:xfrm>
              <a:off x="2304571" y="2081584"/>
              <a:ext cx="19288" cy="6429"/>
            </a:xfrm>
            <a:custGeom>
              <a:avLst/>
              <a:gdLst>
                <a:gd name="connsiteX0" fmla="*/ 11102 w 19288"/>
                <a:gd name="connsiteY0" fmla="*/ 1852 h 6429"/>
                <a:gd name="connsiteX1" fmla="*/ 107 w 19288"/>
                <a:gd name="connsiteY1" fmla="*/ 5710 h 6429"/>
                <a:gd name="connsiteX2" fmla="*/ 17467 w 19288"/>
                <a:gd name="connsiteY2" fmla="*/ 10918 h 6429"/>
                <a:gd name="connsiteX3" fmla="*/ 21435 w 19288"/>
                <a:gd name="connsiteY3" fmla="*/ 5041 h 6429"/>
                <a:gd name="connsiteX4" fmla="*/ 19974 w 19288"/>
                <a:gd name="connsiteY4" fmla="*/ 2367 h 6429"/>
                <a:gd name="connsiteX5" fmla="*/ 11102 w 19288"/>
                <a:gd name="connsiteY5" fmla="*/ 1852 h 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88" h="6429">
                  <a:moveTo>
                    <a:pt x="11102" y="1852"/>
                  </a:moveTo>
                  <a:cubicBezTo>
                    <a:pt x="10587" y="-2584"/>
                    <a:pt x="-1243" y="1852"/>
                    <a:pt x="107" y="5710"/>
                  </a:cubicBezTo>
                  <a:cubicBezTo>
                    <a:pt x="1457" y="9568"/>
                    <a:pt x="12645" y="12525"/>
                    <a:pt x="17467" y="10918"/>
                  </a:cubicBezTo>
                  <a:cubicBezTo>
                    <a:pt x="20186" y="10391"/>
                    <a:pt x="21962" y="7761"/>
                    <a:pt x="21435" y="5041"/>
                  </a:cubicBezTo>
                  <a:cubicBezTo>
                    <a:pt x="21237" y="4019"/>
                    <a:pt x="20726" y="3087"/>
                    <a:pt x="19974" y="2367"/>
                  </a:cubicBezTo>
                  <a:cubicBezTo>
                    <a:pt x="17145" y="-398"/>
                    <a:pt x="11680" y="6225"/>
                    <a:pt x="11102" y="1852"/>
                  </a:cubicBezTo>
                  <a:close/>
                </a:path>
              </a:pathLst>
            </a:custGeom>
            <a:solidFill>
              <a:srgbClr val="001669"/>
            </a:solidFill>
            <a:ln w="6429" cap="flat">
              <a:noFill/>
              <a:prstDash val="solid"/>
              <a:miter/>
            </a:ln>
          </p:spPr>
          <p:txBody>
            <a:bodyPr rtlCol="0" anchor="ctr"/>
            <a:lstStyle/>
            <a:p>
              <a:endParaRPr lang="en-GB" sz="2400"/>
            </a:p>
          </p:txBody>
        </p:sp>
        <p:sp>
          <p:nvSpPr>
            <p:cNvPr id="260" name="Freeform 50">
              <a:extLst>
                <a:ext uri="{FF2B5EF4-FFF2-40B4-BE49-F238E27FC236}">
                  <a16:creationId xmlns:a16="http://schemas.microsoft.com/office/drawing/2014/main" id="{1DD650C7-465D-4A69-BD5A-5B1034EFF1CD}"/>
                </a:ext>
              </a:extLst>
            </p:cNvPr>
            <p:cNvSpPr/>
            <p:nvPr/>
          </p:nvSpPr>
          <p:spPr>
            <a:xfrm>
              <a:off x="2333821" y="2180392"/>
              <a:ext cx="19288" cy="6429"/>
            </a:xfrm>
            <a:custGeom>
              <a:avLst/>
              <a:gdLst>
                <a:gd name="connsiteX0" fmla="*/ 17727 w 19288"/>
                <a:gd name="connsiteY0" fmla="*/ 322 h 6429"/>
                <a:gd name="connsiteX1" fmla="*/ 1139 w 19288"/>
                <a:gd name="connsiteY1" fmla="*/ 8616 h 6429"/>
                <a:gd name="connsiteX2" fmla="*/ 11105 w 19288"/>
                <a:gd name="connsiteY2" fmla="*/ 5272 h 6429"/>
                <a:gd name="connsiteX3" fmla="*/ 17727 w 19288"/>
                <a:gd name="connsiteY3" fmla="*/ 322 h 6429"/>
              </a:gdLst>
              <a:ahLst/>
              <a:cxnLst>
                <a:cxn ang="0">
                  <a:pos x="connsiteX0" y="connsiteY0"/>
                </a:cxn>
                <a:cxn ang="0">
                  <a:pos x="connsiteX1" y="connsiteY1"/>
                </a:cxn>
                <a:cxn ang="0">
                  <a:pos x="connsiteX2" y="connsiteY2"/>
                </a:cxn>
                <a:cxn ang="0">
                  <a:pos x="connsiteX3" y="connsiteY3"/>
                </a:cxn>
              </a:cxnLst>
              <a:rect l="l" t="t" r="r" b="b"/>
              <a:pathLst>
                <a:path w="19288" h="6429">
                  <a:moveTo>
                    <a:pt x="17727" y="322"/>
                  </a:moveTo>
                  <a:cubicBezTo>
                    <a:pt x="11298" y="-1864"/>
                    <a:pt x="-4326" y="7780"/>
                    <a:pt x="1139" y="8616"/>
                  </a:cubicBezTo>
                  <a:cubicBezTo>
                    <a:pt x="4997" y="9130"/>
                    <a:pt x="6669" y="5272"/>
                    <a:pt x="11105" y="5272"/>
                  </a:cubicBezTo>
                  <a:cubicBezTo>
                    <a:pt x="15541" y="5272"/>
                    <a:pt x="23771" y="2508"/>
                    <a:pt x="17727" y="322"/>
                  </a:cubicBezTo>
                  <a:close/>
                </a:path>
              </a:pathLst>
            </a:custGeom>
            <a:solidFill>
              <a:srgbClr val="001669"/>
            </a:solidFill>
            <a:ln w="6429" cap="flat">
              <a:noFill/>
              <a:prstDash val="solid"/>
              <a:miter/>
            </a:ln>
          </p:spPr>
          <p:txBody>
            <a:bodyPr rtlCol="0" anchor="ctr"/>
            <a:lstStyle/>
            <a:p>
              <a:endParaRPr lang="en-GB" sz="2400"/>
            </a:p>
          </p:txBody>
        </p:sp>
        <p:sp>
          <p:nvSpPr>
            <p:cNvPr id="261" name="Freeform 51">
              <a:extLst>
                <a:ext uri="{FF2B5EF4-FFF2-40B4-BE49-F238E27FC236}">
                  <a16:creationId xmlns:a16="http://schemas.microsoft.com/office/drawing/2014/main" id="{E33EB6B0-F600-4C58-A392-2EB40498E1D8}"/>
                </a:ext>
              </a:extLst>
            </p:cNvPr>
            <p:cNvSpPr/>
            <p:nvPr/>
          </p:nvSpPr>
          <p:spPr>
            <a:xfrm>
              <a:off x="2303100" y="2195492"/>
              <a:ext cx="6429" cy="6429"/>
            </a:xfrm>
            <a:custGeom>
              <a:avLst/>
              <a:gdLst>
                <a:gd name="connsiteX0" fmla="*/ 1578 w 6429"/>
                <a:gd name="connsiteY0" fmla="*/ 9781 h 6429"/>
                <a:gd name="connsiteX1" fmla="*/ 8007 w 6429"/>
                <a:gd name="connsiteY1" fmla="*/ 394 h 6429"/>
                <a:gd name="connsiteX2" fmla="*/ 1578 w 6429"/>
                <a:gd name="connsiteY2" fmla="*/ 9781 h 6429"/>
              </a:gdLst>
              <a:ahLst/>
              <a:cxnLst>
                <a:cxn ang="0">
                  <a:pos x="connsiteX0" y="connsiteY0"/>
                </a:cxn>
                <a:cxn ang="0">
                  <a:pos x="connsiteX1" y="connsiteY1"/>
                </a:cxn>
                <a:cxn ang="0">
                  <a:pos x="connsiteX2" y="connsiteY2"/>
                </a:cxn>
              </a:cxnLst>
              <a:rect l="l" t="t" r="r" b="b"/>
              <a:pathLst>
                <a:path w="6429" h="6429">
                  <a:moveTo>
                    <a:pt x="1578" y="9781"/>
                  </a:moveTo>
                  <a:cubicBezTo>
                    <a:pt x="8007" y="7017"/>
                    <a:pt x="10965" y="3352"/>
                    <a:pt x="8007" y="394"/>
                  </a:cubicBezTo>
                  <a:cubicBezTo>
                    <a:pt x="5050" y="-2563"/>
                    <a:pt x="-3501" y="12160"/>
                    <a:pt x="1578" y="9781"/>
                  </a:cubicBezTo>
                  <a:close/>
                </a:path>
              </a:pathLst>
            </a:custGeom>
            <a:solidFill>
              <a:srgbClr val="001669"/>
            </a:solidFill>
            <a:ln w="6429" cap="flat">
              <a:noFill/>
              <a:prstDash val="solid"/>
              <a:miter/>
            </a:ln>
          </p:spPr>
          <p:txBody>
            <a:bodyPr rtlCol="0" anchor="ctr"/>
            <a:lstStyle/>
            <a:p>
              <a:endParaRPr lang="en-GB" sz="2400"/>
            </a:p>
          </p:txBody>
        </p:sp>
        <p:sp>
          <p:nvSpPr>
            <p:cNvPr id="262" name="Freeform 52">
              <a:extLst>
                <a:ext uri="{FF2B5EF4-FFF2-40B4-BE49-F238E27FC236}">
                  <a16:creationId xmlns:a16="http://schemas.microsoft.com/office/drawing/2014/main" id="{BD26796E-3171-4DBB-84FA-A19ADE75ADFB}"/>
                </a:ext>
              </a:extLst>
            </p:cNvPr>
            <p:cNvSpPr/>
            <p:nvPr/>
          </p:nvSpPr>
          <p:spPr>
            <a:xfrm>
              <a:off x="2397115" y="2664214"/>
              <a:ext cx="6429" cy="6429"/>
            </a:xfrm>
            <a:custGeom>
              <a:avLst/>
              <a:gdLst>
                <a:gd name="connsiteX0" fmla="*/ 789 w 6429"/>
                <a:gd name="connsiteY0" fmla="*/ 3138 h 0"/>
                <a:gd name="connsiteX1" fmla="*/ 8054 w 6429"/>
                <a:gd name="connsiteY1" fmla="*/ 2559 h 0"/>
                <a:gd name="connsiteX2" fmla="*/ 789 w 6429"/>
                <a:gd name="connsiteY2" fmla="*/ 3138 h 0"/>
              </a:gdLst>
              <a:ahLst/>
              <a:cxnLst>
                <a:cxn ang="0">
                  <a:pos x="connsiteX0" y="connsiteY0"/>
                </a:cxn>
                <a:cxn ang="0">
                  <a:pos x="connsiteX1" y="connsiteY1"/>
                </a:cxn>
                <a:cxn ang="0">
                  <a:pos x="connsiteX2" y="connsiteY2"/>
                </a:cxn>
              </a:cxnLst>
              <a:rect l="l" t="t" r="r" b="b"/>
              <a:pathLst>
                <a:path w="6429">
                  <a:moveTo>
                    <a:pt x="789" y="3138"/>
                  </a:moveTo>
                  <a:cubicBezTo>
                    <a:pt x="4453" y="6995"/>
                    <a:pt x="7218" y="6031"/>
                    <a:pt x="8054" y="2559"/>
                  </a:cubicBezTo>
                  <a:cubicBezTo>
                    <a:pt x="8890" y="-913"/>
                    <a:pt x="-3133" y="-977"/>
                    <a:pt x="789" y="3138"/>
                  </a:cubicBezTo>
                  <a:close/>
                </a:path>
              </a:pathLst>
            </a:custGeom>
            <a:solidFill>
              <a:srgbClr val="001669"/>
            </a:solidFill>
            <a:ln w="6429" cap="flat">
              <a:noFill/>
              <a:prstDash val="solid"/>
              <a:miter/>
            </a:ln>
          </p:spPr>
          <p:txBody>
            <a:bodyPr rtlCol="0" anchor="ctr"/>
            <a:lstStyle/>
            <a:p>
              <a:endParaRPr lang="en-GB" sz="2400"/>
            </a:p>
          </p:txBody>
        </p:sp>
        <p:sp>
          <p:nvSpPr>
            <p:cNvPr id="263" name="Freeform 53">
              <a:extLst>
                <a:ext uri="{FF2B5EF4-FFF2-40B4-BE49-F238E27FC236}">
                  <a16:creationId xmlns:a16="http://schemas.microsoft.com/office/drawing/2014/main" id="{031A508C-2297-40F8-BAD7-EF3949904ECD}"/>
                </a:ext>
              </a:extLst>
            </p:cNvPr>
            <p:cNvSpPr/>
            <p:nvPr/>
          </p:nvSpPr>
          <p:spPr>
            <a:xfrm>
              <a:off x="2438763" y="2681345"/>
              <a:ext cx="6429" cy="6429"/>
            </a:xfrm>
            <a:custGeom>
              <a:avLst/>
              <a:gdLst>
                <a:gd name="connsiteX0" fmla="*/ 2089 w 0"/>
                <a:gd name="connsiteY0" fmla="*/ 23 h 0"/>
                <a:gd name="connsiteX1" fmla="*/ 3310 w 0"/>
                <a:gd name="connsiteY1" fmla="*/ 6066 h 0"/>
                <a:gd name="connsiteX2" fmla="*/ 2089 w 0"/>
                <a:gd name="connsiteY2" fmla="*/ 23 h 0"/>
              </a:gdLst>
              <a:ahLst/>
              <a:cxnLst>
                <a:cxn ang="0">
                  <a:pos x="connsiteX0" y="connsiteY0"/>
                </a:cxn>
                <a:cxn ang="0">
                  <a:pos x="connsiteX1" y="connsiteY1"/>
                </a:cxn>
                <a:cxn ang="0">
                  <a:pos x="connsiteX2" y="connsiteY2"/>
                </a:cxn>
              </a:cxnLst>
              <a:rect l="l" t="t" r="r" b="b"/>
              <a:pathLst>
                <a:path>
                  <a:moveTo>
                    <a:pt x="2089" y="23"/>
                  </a:moveTo>
                  <a:cubicBezTo>
                    <a:pt x="-1962" y="601"/>
                    <a:pt x="674" y="7995"/>
                    <a:pt x="3310" y="6066"/>
                  </a:cubicBezTo>
                  <a:cubicBezTo>
                    <a:pt x="7747" y="2852"/>
                    <a:pt x="6139" y="-299"/>
                    <a:pt x="2089" y="23"/>
                  </a:cubicBezTo>
                  <a:close/>
                </a:path>
              </a:pathLst>
            </a:custGeom>
            <a:solidFill>
              <a:srgbClr val="001669"/>
            </a:solidFill>
            <a:ln w="6429" cap="flat">
              <a:noFill/>
              <a:prstDash val="solid"/>
              <a:miter/>
            </a:ln>
          </p:spPr>
          <p:txBody>
            <a:bodyPr rtlCol="0" anchor="ctr"/>
            <a:lstStyle/>
            <a:p>
              <a:endParaRPr lang="en-GB" sz="2400"/>
            </a:p>
          </p:txBody>
        </p:sp>
        <p:sp>
          <p:nvSpPr>
            <p:cNvPr id="264" name="Freeform 54">
              <a:extLst>
                <a:ext uri="{FF2B5EF4-FFF2-40B4-BE49-F238E27FC236}">
                  <a16:creationId xmlns:a16="http://schemas.microsoft.com/office/drawing/2014/main" id="{00C3434B-7D5A-492B-9A39-1C5BE7B350E5}"/>
                </a:ext>
              </a:extLst>
            </p:cNvPr>
            <p:cNvSpPr/>
            <p:nvPr/>
          </p:nvSpPr>
          <p:spPr>
            <a:xfrm>
              <a:off x="2416860" y="2673049"/>
              <a:ext cx="6429" cy="6429"/>
            </a:xfrm>
            <a:custGeom>
              <a:avLst/>
              <a:gdLst>
                <a:gd name="connsiteX0" fmla="*/ 460 w 6429"/>
                <a:gd name="connsiteY0" fmla="*/ 2662 h 0"/>
                <a:gd name="connsiteX1" fmla="*/ 8176 w 6429"/>
                <a:gd name="connsiteY1" fmla="*/ 3884 h 0"/>
                <a:gd name="connsiteX2" fmla="*/ 460 w 6429"/>
                <a:gd name="connsiteY2" fmla="*/ 2662 h 0"/>
              </a:gdLst>
              <a:ahLst/>
              <a:cxnLst>
                <a:cxn ang="0">
                  <a:pos x="connsiteX0" y="connsiteY0"/>
                </a:cxn>
                <a:cxn ang="0">
                  <a:pos x="connsiteX1" y="connsiteY1"/>
                </a:cxn>
                <a:cxn ang="0">
                  <a:pos x="connsiteX2" y="connsiteY2"/>
                </a:cxn>
              </a:cxnLst>
              <a:rect l="l" t="t" r="r" b="b"/>
              <a:pathLst>
                <a:path w="6429">
                  <a:moveTo>
                    <a:pt x="460" y="2662"/>
                  </a:moveTo>
                  <a:cubicBezTo>
                    <a:pt x="3096" y="6713"/>
                    <a:pt x="5990" y="7484"/>
                    <a:pt x="8176" y="3884"/>
                  </a:cubicBezTo>
                  <a:cubicBezTo>
                    <a:pt x="10362" y="283"/>
                    <a:pt x="-2561" y="-2095"/>
                    <a:pt x="460" y="2662"/>
                  </a:cubicBezTo>
                  <a:close/>
                </a:path>
              </a:pathLst>
            </a:custGeom>
            <a:solidFill>
              <a:srgbClr val="001669"/>
            </a:solidFill>
            <a:ln w="6429" cap="flat">
              <a:noFill/>
              <a:prstDash val="solid"/>
              <a:miter/>
            </a:ln>
          </p:spPr>
          <p:txBody>
            <a:bodyPr rtlCol="0" anchor="ctr"/>
            <a:lstStyle/>
            <a:p>
              <a:endParaRPr lang="en-GB" sz="2400"/>
            </a:p>
          </p:txBody>
        </p:sp>
        <p:sp>
          <p:nvSpPr>
            <p:cNvPr id="265" name="Freeform 55">
              <a:extLst>
                <a:ext uri="{FF2B5EF4-FFF2-40B4-BE49-F238E27FC236}">
                  <a16:creationId xmlns:a16="http://schemas.microsoft.com/office/drawing/2014/main" id="{9051ED09-AE9F-4A8B-8A56-A3194600AC2B}"/>
                </a:ext>
              </a:extLst>
            </p:cNvPr>
            <p:cNvSpPr/>
            <p:nvPr/>
          </p:nvSpPr>
          <p:spPr>
            <a:xfrm>
              <a:off x="4559049" y="2310249"/>
              <a:ext cx="38576" cy="19288"/>
            </a:xfrm>
            <a:custGeom>
              <a:avLst/>
              <a:gdLst>
                <a:gd name="connsiteX0" fmla="*/ 86 w 38576"/>
                <a:gd name="connsiteY0" fmla="*/ 20461 h 19288"/>
                <a:gd name="connsiteX1" fmla="*/ 7994 w 38576"/>
                <a:gd name="connsiteY1" fmla="*/ 19433 h 19288"/>
                <a:gd name="connsiteX2" fmla="*/ 10180 w 38576"/>
                <a:gd name="connsiteY2" fmla="*/ 23162 h 19288"/>
                <a:gd name="connsiteX3" fmla="*/ 18924 w 38576"/>
                <a:gd name="connsiteY3" fmla="*/ 21490 h 19288"/>
                <a:gd name="connsiteX4" fmla="*/ 26639 w 38576"/>
                <a:gd name="connsiteY4" fmla="*/ 21490 h 19288"/>
                <a:gd name="connsiteX5" fmla="*/ 31011 w 38576"/>
                <a:gd name="connsiteY5" fmla="*/ 15961 h 19288"/>
                <a:gd name="connsiteX6" fmla="*/ 34097 w 38576"/>
                <a:gd name="connsiteY6" fmla="*/ 9917 h 19288"/>
                <a:gd name="connsiteX7" fmla="*/ 41812 w 38576"/>
                <a:gd name="connsiteY7" fmla="*/ 4645 h 19288"/>
                <a:gd name="connsiteX8" fmla="*/ 38726 w 38576"/>
                <a:gd name="connsiteY8" fmla="*/ 16 h 19288"/>
                <a:gd name="connsiteX9" fmla="*/ 30240 w 38576"/>
                <a:gd name="connsiteY9" fmla="*/ 2716 h 19288"/>
                <a:gd name="connsiteX10" fmla="*/ 19438 w 38576"/>
                <a:gd name="connsiteY10" fmla="*/ 6574 h 19288"/>
                <a:gd name="connsiteX11" fmla="*/ 5679 w 38576"/>
                <a:gd name="connsiteY11" fmla="*/ 4131 h 19288"/>
                <a:gd name="connsiteX12" fmla="*/ 729 w 38576"/>
                <a:gd name="connsiteY12" fmla="*/ 3745 h 19288"/>
                <a:gd name="connsiteX13" fmla="*/ 86 w 38576"/>
                <a:gd name="connsiteY13" fmla="*/ 20461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576" h="19288">
                  <a:moveTo>
                    <a:pt x="86" y="20461"/>
                  </a:moveTo>
                  <a:cubicBezTo>
                    <a:pt x="2548" y="19291"/>
                    <a:pt x="5313" y="18931"/>
                    <a:pt x="7994" y="19433"/>
                  </a:cubicBezTo>
                  <a:cubicBezTo>
                    <a:pt x="9331" y="20204"/>
                    <a:pt x="10161" y="21619"/>
                    <a:pt x="10180" y="23162"/>
                  </a:cubicBezTo>
                  <a:cubicBezTo>
                    <a:pt x="13125" y="22782"/>
                    <a:pt x="16044" y="22223"/>
                    <a:pt x="18924" y="21490"/>
                  </a:cubicBezTo>
                  <a:cubicBezTo>
                    <a:pt x="21110" y="20654"/>
                    <a:pt x="26061" y="23419"/>
                    <a:pt x="26639" y="21490"/>
                  </a:cubicBezTo>
                  <a:cubicBezTo>
                    <a:pt x="27218" y="19561"/>
                    <a:pt x="28825" y="15961"/>
                    <a:pt x="31011" y="15961"/>
                  </a:cubicBezTo>
                  <a:cubicBezTo>
                    <a:pt x="33197" y="15961"/>
                    <a:pt x="31847" y="10174"/>
                    <a:pt x="34097" y="9917"/>
                  </a:cubicBezTo>
                  <a:cubicBezTo>
                    <a:pt x="36348" y="9660"/>
                    <a:pt x="41812" y="4645"/>
                    <a:pt x="41812" y="4645"/>
                  </a:cubicBezTo>
                  <a:cubicBezTo>
                    <a:pt x="41812" y="4645"/>
                    <a:pt x="39562" y="273"/>
                    <a:pt x="38726" y="16"/>
                  </a:cubicBezTo>
                  <a:cubicBezTo>
                    <a:pt x="37891" y="-241"/>
                    <a:pt x="35190" y="2716"/>
                    <a:pt x="30240" y="2716"/>
                  </a:cubicBezTo>
                  <a:cubicBezTo>
                    <a:pt x="25289" y="2716"/>
                    <a:pt x="21688" y="6574"/>
                    <a:pt x="19438" y="6574"/>
                  </a:cubicBezTo>
                  <a:cubicBezTo>
                    <a:pt x="17188" y="6574"/>
                    <a:pt x="10373" y="4388"/>
                    <a:pt x="5679" y="4131"/>
                  </a:cubicBezTo>
                  <a:lnTo>
                    <a:pt x="729" y="3745"/>
                  </a:lnTo>
                  <a:cubicBezTo>
                    <a:pt x="79" y="9294"/>
                    <a:pt x="-139" y="14881"/>
                    <a:pt x="86" y="20461"/>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66" name="Freeform 56">
              <a:extLst>
                <a:ext uri="{FF2B5EF4-FFF2-40B4-BE49-F238E27FC236}">
                  <a16:creationId xmlns:a16="http://schemas.microsoft.com/office/drawing/2014/main" id="{351A10A7-5289-4220-9F7B-1244020F9954}"/>
                </a:ext>
              </a:extLst>
            </p:cNvPr>
            <p:cNvSpPr/>
            <p:nvPr/>
          </p:nvSpPr>
          <p:spPr>
            <a:xfrm>
              <a:off x="4096644" y="1956733"/>
              <a:ext cx="128588" cy="57864"/>
            </a:xfrm>
            <a:custGeom>
              <a:avLst/>
              <a:gdLst>
                <a:gd name="connsiteX0" fmla="*/ 124950 w 128587"/>
                <a:gd name="connsiteY0" fmla="*/ 19140 h 57864"/>
                <a:gd name="connsiteX1" fmla="*/ 118135 w 128587"/>
                <a:gd name="connsiteY1" fmla="*/ 13097 h 57864"/>
                <a:gd name="connsiteX2" fmla="*/ 115949 w 128587"/>
                <a:gd name="connsiteY2" fmla="*/ 5317 h 57864"/>
                <a:gd name="connsiteX3" fmla="*/ 107462 w 128587"/>
                <a:gd name="connsiteY3" fmla="*/ 5896 h 57864"/>
                <a:gd name="connsiteX4" fmla="*/ 95567 w 128587"/>
                <a:gd name="connsiteY4" fmla="*/ 174 h 57864"/>
                <a:gd name="connsiteX5" fmla="*/ 94089 w 128587"/>
                <a:gd name="connsiteY5" fmla="*/ 7760 h 57864"/>
                <a:gd name="connsiteX6" fmla="*/ 86759 w 128587"/>
                <a:gd name="connsiteY6" fmla="*/ 8275 h 57864"/>
                <a:gd name="connsiteX7" fmla="*/ 81744 w 128587"/>
                <a:gd name="connsiteY7" fmla="*/ 8275 h 57864"/>
                <a:gd name="connsiteX8" fmla="*/ 74608 w 128587"/>
                <a:gd name="connsiteY8" fmla="*/ 9367 h 57864"/>
                <a:gd name="connsiteX9" fmla="*/ 68178 w 128587"/>
                <a:gd name="connsiteY9" fmla="*/ 7182 h 57864"/>
                <a:gd name="connsiteX10" fmla="*/ 59884 w 128587"/>
                <a:gd name="connsiteY10" fmla="*/ 12904 h 57864"/>
                <a:gd name="connsiteX11" fmla="*/ 54934 w 128587"/>
                <a:gd name="connsiteY11" fmla="*/ 10268 h 57864"/>
                <a:gd name="connsiteX12" fmla="*/ 49276 w 128587"/>
                <a:gd name="connsiteY12" fmla="*/ 14190 h 57864"/>
                <a:gd name="connsiteX13" fmla="*/ 47604 w 128587"/>
                <a:gd name="connsiteY13" fmla="*/ 19847 h 57864"/>
                <a:gd name="connsiteX14" fmla="*/ 39503 w 128587"/>
                <a:gd name="connsiteY14" fmla="*/ 23512 h 57864"/>
                <a:gd name="connsiteX15" fmla="*/ 36224 w 128587"/>
                <a:gd name="connsiteY15" fmla="*/ 13611 h 57864"/>
                <a:gd name="connsiteX16" fmla="*/ 17258 w 128587"/>
                <a:gd name="connsiteY16" fmla="*/ 1074 h 57864"/>
                <a:gd name="connsiteX17" fmla="*/ 19122 w 128587"/>
                <a:gd name="connsiteY17" fmla="*/ 8082 h 57864"/>
                <a:gd name="connsiteX18" fmla="*/ 14493 w 128587"/>
                <a:gd name="connsiteY18" fmla="*/ 7696 h 57864"/>
                <a:gd name="connsiteX19" fmla="*/ 6456 w 128587"/>
                <a:gd name="connsiteY19" fmla="*/ 10846 h 57864"/>
                <a:gd name="connsiteX20" fmla="*/ 27 w 128587"/>
                <a:gd name="connsiteY20" fmla="*/ 19140 h 57864"/>
                <a:gd name="connsiteX21" fmla="*/ 11921 w 128587"/>
                <a:gd name="connsiteY21" fmla="*/ 22033 h 57864"/>
                <a:gd name="connsiteX22" fmla="*/ 27030 w 128587"/>
                <a:gd name="connsiteY22" fmla="*/ 22033 h 57864"/>
                <a:gd name="connsiteX23" fmla="*/ 24587 w 128587"/>
                <a:gd name="connsiteY23" fmla="*/ 28141 h 57864"/>
                <a:gd name="connsiteX24" fmla="*/ 18158 w 128587"/>
                <a:gd name="connsiteY24" fmla="*/ 31613 h 57864"/>
                <a:gd name="connsiteX25" fmla="*/ 3949 w 128587"/>
                <a:gd name="connsiteY25" fmla="*/ 35471 h 57864"/>
                <a:gd name="connsiteX26" fmla="*/ 22015 w 128587"/>
                <a:gd name="connsiteY26" fmla="*/ 35857 h 57864"/>
                <a:gd name="connsiteX27" fmla="*/ 26387 w 128587"/>
                <a:gd name="connsiteY27" fmla="*/ 40421 h 57864"/>
                <a:gd name="connsiteX28" fmla="*/ 30052 w 128587"/>
                <a:gd name="connsiteY28" fmla="*/ 44665 h 57864"/>
                <a:gd name="connsiteX29" fmla="*/ 25873 w 128587"/>
                <a:gd name="connsiteY29" fmla="*/ 50323 h 57864"/>
                <a:gd name="connsiteX30" fmla="*/ 19444 w 128587"/>
                <a:gd name="connsiteY30" fmla="*/ 54373 h 57864"/>
                <a:gd name="connsiteX31" fmla="*/ 35260 w 128587"/>
                <a:gd name="connsiteY31" fmla="*/ 53859 h 57864"/>
                <a:gd name="connsiteX32" fmla="*/ 57891 w 128587"/>
                <a:gd name="connsiteY32" fmla="*/ 62860 h 57864"/>
                <a:gd name="connsiteX33" fmla="*/ 79365 w 128587"/>
                <a:gd name="connsiteY33" fmla="*/ 57909 h 57864"/>
                <a:gd name="connsiteX34" fmla="*/ 94796 w 128587"/>
                <a:gd name="connsiteY34" fmla="*/ 52766 h 57864"/>
                <a:gd name="connsiteX35" fmla="*/ 111512 w 128587"/>
                <a:gd name="connsiteY35" fmla="*/ 46336 h 57864"/>
                <a:gd name="connsiteX36" fmla="*/ 121414 w 128587"/>
                <a:gd name="connsiteY36" fmla="*/ 38493 h 57864"/>
                <a:gd name="connsiteX37" fmla="*/ 130993 w 128587"/>
                <a:gd name="connsiteY37" fmla="*/ 29299 h 57864"/>
                <a:gd name="connsiteX38" fmla="*/ 125329 w 128587"/>
                <a:gd name="connsiteY38" fmla="*/ 19237 h 57864"/>
                <a:gd name="connsiteX39" fmla="*/ 124950 w 128587"/>
                <a:gd name="connsiteY39" fmla="*/ 19140 h 57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28587" h="57864">
                  <a:moveTo>
                    <a:pt x="124950" y="19140"/>
                  </a:moveTo>
                  <a:cubicBezTo>
                    <a:pt x="120513" y="19140"/>
                    <a:pt x="117234" y="15604"/>
                    <a:pt x="118135" y="13097"/>
                  </a:cubicBezTo>
                  <a:cubicBezTo>
                    <a:pt x="119035" y="10589"/>
                    <a:pt x="115756" y="7182"/>
                    <a:pt x="115949" y="5317"/>
                  </a:cubicBezTo>
                  <a:cubicBezTo>
                    <a:pt x="116141" y="3453"/>
                    <a:pt x="110419" y="5317"/>
                    <a:pt x="107462" y="5896"/>
                  </a:cubicBezTo>
                  <a:cubicBezTo>
                    <a:pt x="104504" y="6474"/>
                    <a:pt x="98332" y="-1241"/>
                    <a:pt x="95567" y="174"/>
                  </a:cubicBezTo>
                  <a:cubicBezTo>
                    <a:pt x="92803" y="1588"/>
                    <a:pt x="94796" y="5510"/>
                    <a:pt x="94089" y="7760"/>
                  </a:cubicBezTo>
                  <a:cubicBezTo>
                    <a:pt x="93381" y="10010"/>
                    <a:pt x="86759" y="5703"/>
                    <a:pt x="86759" y="8275"/>
                  </a:cubicBezTo>
                  <a:cubicBezTo>
                    <a:pt x="86759" y="10846"/>
                    <a:pt x="83995" y="11232"/>
                    <a:pt x="81744" y="8275"/>
                  </a:cubicBezTo>
                  <a:cubicBezTo>
                    <a:pt x="79494" y="5317"/>
                    <a:pt x="74415" y="7182"/>
                    <a:pt x="74608" y="9367"/>
                  </a:cubicBezTo>
                  <a:cubicBezTo>
                    <a:pt x="74801" y="11554"/>
                    <a:pt x="72422" y="9753"/>
                    <a:pt x="68178" y="7182"/>
                  </a:cubicBezTo>
                  <a:cubicBezTo>
                    <a:pt x="63935" y="4610"/>
                    <a:pt x="59563" y="10139"/>
                    <a:pt x="59884" y="12904"/>
                  </a:cubicBezTo>
                  <a:cubicBezTo>
                    <a:pt x="60206" y="15668"/>
                    <a:pt x="58406" y="16376"/>
                    <a:pt x="54934" y="10268"/>
                  </a:cubicBezTo>
                  <a:cubicBezTo>
                    <a:pt x="51462" y="4160"/>
                    <a:pt x="47411" y="10846"/>
                    <a:pt x="49276" y="14190"/>
                  </a:cubicBezTo>
                  <a:cubicBezTo>
                    <a:pt x="51140" y="17533"/>
                    <a:pt x="50369" y="21519"/>
                    <a:pt x="47604" y="19847"/>
                  </a:cubicBezTo>
                  <a:cubicBezTo>
                    <a:pt x="44840" y="18176"/>
                    <a:pt x="41175" y="20940"/>
                    <a:pt x="39503" y="23512"/>
                  </a:cubicBezTo>
                  <a:cubicBezTo>
                    <a:pt x="37832" y="26084"/>
                    <a:pt x="31981" y="15990"/>
                    <a:pt x="36224" y="13611"/>
                  </a:cubicBezTo>
                  <a:cubicBezTo>
                    <a:pt x="40468" y="11232"/>
                    <a:pt x="22787" y="1074"/>
                    <a:pt x="17258" y="1074"/>
                  </a:cubicBezTo>
                  <a:cubicBezTo>
                    <a:pt x="11729" y="1074"/>
                    <a:pt x="15457" y="5124"/>
                    <a:pt x="19122" y="8082"/>
                  </a:cubicBezTo>
                  <a:cubicBezTo>
                    <a:pt x="22787" y="11039"/>
                    <a:pt x="16551" y="10268"/>
                    <a:pt x="14493" y="7696"/>
                  </a:cubicBezTo>
                  <a:cubicBezTo>
                    <a:pt x="12436" y="5124"/>
                    <a:pt x="8642" y="7182"/>
                    <a:pt x="6456" y="10846"/>
                  </a:cubicBezTo>
                  <a:cubicBezTo>
                    <a:pt x="4270" y="14511"/>
                    <a:pt x="541" y="16569"/>
                    <a:pt x="27" y="19140"/>
                  </a:cubicBezTo>
                  <a:cubicBezTo>
                    <a:pt x="-487" y="21712"/>
                    <a:pt x="6456" y="24477"/>
                    <a:pt x="11921" y="22033"/>
                  </a:cubicBezTo>
                  <a:cubicBezTo>
                    <a:pt x="16615" y="19410"/>
                    <a:pt x="22337" y="19410"/>
                    <a:pt x="27030" y="22033"/>
                  </a:cubicBezTo>
                  <a:cubicBezTo>
                    <a:pt x="29924" y="24798"/>
                    <a:pt x="21694" y="25891"/>
                    <a:pt x="24587" y="28141"/>
                  </a:cubicBezTo>
                  <a:cubicBezTo>
                    <a:pt x="27480" y="30392"/>
                    <a:pt x="25166" y="32192"/>
                    <a:pt x="18158" y="31613"/>
                  </a:cubicBezTo>
                  <a:cubicBezTo>
                    <a:pt x="11150" y="31035"/>
                    <a:pt x="2663" y="33092"/>
                    <a:pt x="3949" y="35471"/>
                  </a:cubicBezTo>
                  <a:cubicBezTo>
                    <a:pt x="5235" y="37850"/>
                    <a:pt x="21822" y="33478"/>
                    <a:pt x="22015" y="35857"/>
                  </a:cubicBezTo>
                  <a:cubicBezTo>
                    <a:pt x="22208" y="38236"/>
                    <a:pt x="22015" y="42286"/>
                    <a:pt x="26387" y="40421"/>
                  </a:cubicBezTo>
                  <a:cubicBezTo>
                    <a:pt x="30759" y="38557"/>
                    <a:pt x="27866" y="43765"/>
                    <a:pt x="30052" y="44665"/>
                  </a:cubicBezTo>
                  <a:cubicBezTo>
                    <a:pt x="32238" y="45565"/>
                    <a:pt x="31724" y="50001"/>
                    <a:pt x="25873" y="50323"/>
                  </a:cubicBezTo>
                  <a:cubicBezTo>
                    <a:pt x="20022" y="50644"/>
                    <a:pt x="17065" y="51866"/>
                    <a:pt x="19444" y="54373"/>
                  </a:cubicBezTo>
                  <a:cubicBezTo>
                    <a:pt x="21822" y="56881"/>
                    <a:pt x="29023" y="55338"/>
                    <a:pt x="35260" y="53859"/>
                  </a:cubicBezTo>
                  <a:cubicBezTo>
                    <a:pt x="41496" y="52380"/>
                    <a:pt x="50498" y="59902"/>
                    <a:pt x="57891" y="62860"/>
                  </a:cubicBezTo>
                  <a:cubicBezTo>
                    <a:pt x="65285" y="65817"/>
                    <a:pt x="77887" y="61767"/>
                    <a:pt x="79365" y="57909"/>
                  </a:cubicBezTo>
                  <a:cubicBezTo>
                    <a:pt x="80844" y="54052"/>
                    <a:pt x="90745" y="55466"/>
                    <a:pt x="94796" y="52766"/>
                  </a:cubicBezTo>
                  <a:cubicBezTo>
                    <a:pt x="99644" y="49082"/>
                    <a:pt x="105443" y="46851"/>
                    <a:pt x="111512" y="46336"/>
                  </a:cubicBezTo>
                  <a:cubicBezTo>
                    <a:pt x="118649" y="46015"/>
                    <a:pt x="118520" y="38107"/>
                    <a:pt x="121414" y="38493"/>
                  </a:cubicBezTo>
                  <a:cubicBezTo>
                    <a:pt x="124307" y="38878"/>
                    <a:pt x="129129" y="32963"/>
                    <a:pt x="130993" y="29299"/>
                  </a:cubicBezTo>
                  <a:cubicBezTo>
                    <a:pt x="132208" y="24952"/>
                    <a:pt x="129669" y="20452"/>
                    <a:pt x="125329" y="19237"/>
                  </a:cubicBezTo>
                  <a:cubicBezTo>
                    <a:pt x="125200" y="19198"/>
                    <a:pt x="125078" y="19166"/>
                    <a:pt x="124950" y="19140"/>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67" name="Freeform 57">
              <a:extLst>
                <a:ext uri="{FF2B5EF4-FFF2-40B4-BE49-F238E27FC236}">
                  <a16:creationId xmlns:a16="http://schemas.microsoft.com/office/drawing/2014/main" id="{B113986F-34A1-45CC-B90E-C6FC91DA141E}"/>
                </a:ext>
              </a:extLst>
            </p:cNvPr>
            <p:cNvSpPr/>
            <p:nvPr/>
          </p:nvSpPr>
          <p:spPr>
            <a:xfrm>
              <a:off x="4279223" y="2202573"/>
              <a:ext cx="327898" cy="263604"/>
            </a:xfrm>
            <a:custGeom>
              <a:avLst/>
              <a:gdLst>
                <a:gd name="connsiteX0" fmla="*/ 316817 w 327898"/>
                <a:gd name="connsiteY0" fmla="*/ 76638 h 263604"/>
                <a:gd name="connsiteX1" fmla="*/ 305309 w 327898"/>
                <a:gd name="connsiteY1" fmla="*/ 72973 h 263604"/>
                <a:gd name="connsiteX2" fmla="*/ 303251 w 327898"/>
                <a:gd name="connsiteY2" fmla="*/ 78696 h 263604"/>
                <a:gd name="connsiteX3" fmla="*/ 292450 w 327898"/>
                <a:gd name="connsiteY3" fmla="*/ 79339 h 263604"/>
                <a:gd name="connsiteX4" fmla="*/ 285699 w 327898"/>
                <a:gd name="connsiteY4" fmla="*/ 83968 h 263604"/>
                <a:gd name="connsiteX5" fmla="*/ 280749 w 327898"/>
                <a:gd name="connsiteY5" fmla="*/ 91683 h 263604"/>
                <a:gd name="connsiteX6" fmla="*/ 275798 w 327898"/>
                <a:gd name="connsiteY6" fmla="*/ 95219 h 263604"/>
                <a:gd name="connsiteX7" fmla="*/ 262939 w 327898"/>
                <a:gd name="connsiteY7" fmla="*/ 97727 h 263604"/>
                <a:gd name="connsiteX8" fmla="*/ 255802 w 327898"/>
                <a:gd name="connsiteY8" fmla="*/ 98305 h 263604"/>
                <a:gd name="connsiteX9" fmla="*/ 248344 w 327898"/>
                <a:gd name="connsiteY9" fmla="*/ 99398 h 263604"/>
                <a:gd name="connsiteX10" fmla="*/ 241144 w 327898"/>
                <a:gd name="connsiteY10" fmla="*/ 97469 h 263604"/>
                <a:gd name="connsiteX11" fmla="*/ 239793 w 327898"/>
                <a:gd name="connsiteY11" fmla="*/ 98820 h 263604"/>
                <a:gd name="connsiteX12" fmla="*/ 232593 w 327898"/>
                <a:gd name="connsiteY12" fmla="*/ 95733 h 263604"/>
                <a:gd name="connsiteX13" fmla="*/ 224170 w 327898"/>
                <a:gd name="connsiteY13" fmla="*/ 95733 h 263604"/>
                <a:gd name="connsiteX14" fmla="*/ 213626 w 327898"/>
                <a:gd name="connsiteY14" fmla="*/ 96119 h 263604"/>
                <a:gd name="connsiteX15" fmla="*/ 213626 w 327898"/>
                <a:gd name="connsiteY15" fmla="*/ 96119 h 263604"/>
                <a:gd name="connsiteX16" fmla="*/ 214719 w 327898"/>
                <a:gd name="connsiteY16" fmla="*/ 88597 h 263604"/>
                <a:gd name="connsiteX17" fmla="*/ 219669 w 327898"/>
                <a:gd name="connsiteY17" fmla="*/ 78374 h 263604"/>
                <a:gd name="connsiteX18" fmla="*/ 217162 w 327898"/>
                <a:gd name="connsiteY18" fmla="*/ 74259 h 263604"/>
                <a:gd name="connsiteX19" fmla="*/ 210733 w 327898"/>
                <a:gd name="connsiteY19" fmla="*/ 72073 h 263604"/>
                <a:gd name="connsiteX20" fmla="*/ 202696 w 327898"/>
                <a:gd name="connsiteY20" fmla="*/ 68216 h 263604"/>
                <a:gd name="connsiteX21" fmla="*/ 191702 w 327898"/>
                <a:gd name="connsiteY21" fmla="*/ 65837 h 263604"/>
                <a:gd name="connsiteX22" fmla="*/ 191702 w 327898"/>
                <a:gd name="connsiteY22" fmla="*/ 65837 h 263604"/>
                <a:gd name="connsiteX23" fmla="*/ 196009 w 327898"/>
                <a:gd name="connsiteY23" fmla="*/ 55229 h 263604"/>
                <a:gd name="connsiteX24" fmla="*/ 198517 w 327898"/>
                <a:gd name="connsiteY24" fmla="*/ 51692 h 263604"/>
                <a:gd name="connsiteX25" fmla="*/ 195238 w 327898"/>
                <a:gd name="connsiteY25" fmla="*/ 43977 h 263604"/>
                <a:gd name="connsiteX26" fmla="*/ 195238 w 327898"/>
                <a:gd name="connsiteY26" fmla="*/ 43527 h 263604"/>
                <a:gd name="connsiteX27" fmla="*/ 196652 w 327898"/>
                <a:gd name="connsiteY27" fmla="*/ 34011 h 263604"/>
                <a:gd name="connsiteX28" fmla="*/ 197424 w 327898"/>
                <a:gd name="connsiteY28" fmla="*/ 28161 h 263604"/>
                <a:gd name="connsiteX29" fmla="*/ 204367 w 327898"/>
                <a:gd name="connsiteY29" fmla="*/ 24817 h 263604"/>
                <a:gd name="connsiteX30" fmla="*/ 207004 w 327898"/>
                <a:gd name="connsiteY30" fmla="*/ 20767 h 263604"/>
                <a:gd name="connsiteX31" fmla="*/ 202953 w 327898"/>
                <a:gd name="connsiteY31" fmla="*/ 14338 h 263604"/>
                <a:gd name="connsiteX32" fmla="*/ 209382 w 327898"/>
                <a:gd name="connsiteY32" fmla="*/ 8423 h 263604"/>
                <a:gd name="connsiteX33" fmla="*/ 208997 w 327898"/>
                <a:gd name="connsiteY33" fmla="*/ 0 h 263604"/>
                <a:gd name="connsiteX34" fmla="*/ 205846 w 327898"/>
                <a:gd name="connsiteY34" fmla="*/ 1286 h 263604"/>
                <a:gd name="connsiteX35" fmla="*/ 193373 w 327898"/>
                <a:gd name="connsiteY35" fmla="*/ 1607 h 263604"/>
                <a:gd name="connsiteX36" fmla="*/ 188230 w 327898"/>
                <a:gd name="connsiteY36" fmla="*/ 10287 h 263604"/>
                <a:gd name="connsiteX37" fmla="*/ 182379 w 327898"/>
                <a:gd name="connsiteY37" fmla="*/ 10673 h 263604"/>
                <a:gd name="connsiteX38" fmla="*/ 176657 w 327898"/>
                <a:gd name="connsiteY38" fmla="*/ 13566 h 263604"/>
                <a:gd name="connsiteX39" fmla="*/ 170999 w 327898"/>
                <a:gd name="connsiteY39" fmla="*/ 23660 h 263604"/>
                <a:gd name="connsiteX40" fmla="*/ 161034 w 327898"/>
                <a:gd name="connsiteY40" fmla="*/ 35233 h 263604"/>
                <a:gd name="connsiteX41" fmla="*/ 159105 w 327898"/>
                <a:gd name="connsiteY41" fmla="*/ 36390 h 263604"/>
                <a:gd name="connsiteX42" fmla="*/ 150811 w 327898"/>
                <a:gd name="connsiteY42" fmla="*/ 39927 h 263604"/>
                <a:gd name="connsiteX43" fmla="*/ 147982 w 327898"/>
                <a:gd name="connsiteY43" fmla="*/ 39927 h 263604"/>
                <a:gd name="connsiteX44" fmla="*/ 140459 w 327898"/>
                <a:gd name="connsiteY44" fmla="*/ 50599 h 263604"/>
                <a:gd name="connsiteX45" fmla="*/ 127601 w 327898"/>
                <a:gd name="connsiteY45" fmla="*/ 59215 h 263604"/>
                <a:gd name="connsiteX46" fmla="*/ 119500 w 327898"/>
                <a:gd name="connsiteY46" fmla="*/ 68087 h 263604"/>
                <a:gd name="connsiteX47" fmla="*/ 103941 w 327898"/>
                <a:gd name="connsiteY47" fmla="*/ 62751 h 263604"/>
                <a:gd name="connsiteX48" fmla="*/ 96740 w 327898"/>
                <a:gd name="connsiteY48" fmla="*/ 67508 h 263604"/>
                <a:gd name="connsiteX49" fmla="*/ 98411 w 327898"/>
                <a:gd name="connsiteY49" fmla="*/ 80753 h 263604"/>
                <a:gd name="connsiteX50" fmla="*/ 87546 w 327898"/>
                <a:gd name="connsiteY50" fmla="*/ 80174 h 263604"/>
                <a:gd name="connsiteX51" fmla="*/ 80023 w 327898"/>
                <a:gd name="connsiteY51" fmla="*/ 76510 h 263604"/>
                <a:gd name="connsiteX52" fmla="*/ 67936 w 327898"/>
                <a:gd name="connsiteY52" fmla="*/ 77795 h 263604"/>
                <a:gd name="connsiteX53" fmla="*/ 60221 w 327898"/>
                <a:gd name="connsiteY53" fmla="*/ 83711 h 263604"/>
                <a:gd name="connsiteX54" fmla="*/ 61635 w 327898"/>
                <a:gd name="connsiteY54" fmla="*/ 91426 h 263604"/>
                <a:gd name="connsiteX55" fmla="*/ 78159 w 327898"/>
                <a:gd name="connsiteY55" fmla="*/ 96698 h 263604"/>
                <a:gd name="connsiteX56" fmla="*/ 89024 w 327898"/>
                <a:gd name="connsiteY56" fmla="*/ 99655 h 263604"/>
                <a:gd name="connsiteX57" fmla="*/ 93075 w 327898"/>
                <a:gd name="connsiteY57" fmla="*/ 105185 h 263604"/>
                <a:gd name="connsiteX58" fmla="*/ 102783 w 327898"/>
                <a:gd name="connsiteY58" fmla="*/ 115857 h 263604"/>
                <a:gd name="connsiteX59" fmla="*/ 106127 w 327898"/>
                <a:gd name="connsiteY59" fmla="*/ 125566 h 263604"/>
                <a:gd name="connsiteX60" fmla="*/ 104262 w 327898"/>
                <a:gd name="connsiteY60" fmla="*/ 140482 h 263604"/>
                <a:gd name="connsiteX61" fmla="*/ 98411 w 327898"/>
                <a:gd name="connsiteY61" fmla="*/ 162856 h 263604"/>
                <a:gd name="connsiteX62" fmla="*/ 97640 w 327898"/>
                <a:gd name="connsiteY62" fmla="*/ 162856 h 263604"/>
                <a:gd name="connsiteX63" fmla="*/ 76166 w 327898"/>
                <a:gd name="connsiteY63" fmla="*/ 160542 h 263604"/>
                <a:gd name="connsiteX64" fmla="*/ 35211 w 327898"/>
                <a:gd name="connsiteY64" fmla="*/ 160156 h 263604"/>
                <a:gd name="connsiteX65" fmla="*/ 20166 w 327898"/>
                <a:gd name="connsiteY65" fmla="*/ 156298 h 263604"/>
                <a:gd name="connsiteX66" fmla="*/ 9815 w 327898"/>
                <a:gd name="connsiteY66" fmla="*/ 162728 h 263604"/>
                <a:gd name="connsiteX67" fmla="*/ 7114 w 327898"/>
                <a:gd name="connsiteY67" fmla="*/ 171729 h 263604"/>
                <a:gd name="connsiteX68" fmla="*/ 9300 w 327898"/>
                <a:gd name="connsiteY68" fmla="*/ 183880 h 263604"/>
                <a:gd name="connsiteX69" fmla="*/ 9300 w 327898"/>
                <a:gd name="connsiteY69" fmla="*/ 183880 h 263604"/>
                <a:gd name="connsiteX70" fmla="*/ 9686 w 327898"/>
                <a:gd name="connsiteY70" fmla="*/ 192303 h 263604"/>
                <a:gd name="connsiteX71" fmla="*/ 1971 w 327898"/>
                <a:gd name="connsiteY71" fmla="*/ 222071 h 263604"/>
                <a:gd name="connsiteX72" fmla="*/ 6729 w 327898"/>
                <a:gd name="connsiteY72" fmla="*/ 232936 h 263604"/>
                <a:gd name="connsiteX73" fmla="*/ 8400 w 327898"/>
                <a:gd name="connsiteY73" fmla="*/ 254025 h 263604"/>
                <a:gd name="connsiteX74" fmla="*/ 17916 w 327898"/>
                <a:gd name="connsiteY74" fmla="*/ 256468 h 263604"/>
                <a:gd name="connsiteX75" fmla="*/ 27881 w 327898"/>
                <a:gd name="connsiteY75" fmla="*/ 254475 h 263604"/>
                <a:gd name="connsiteX76" fmla="*/ 27881 w 327898"/>
                <a:gd name="connsiteY76" fmla="*/ 254475 h 263604"/>
                <a:gd name="connsiteX77" fmla="*/ 34310 w 327898"/>
                <a:gd name="connsiteY77" fmla="*/ 254989 h 263604"/>
                <a:gd name="connsiteX78" fmla="*/ 49420 w 327898"/>
                <a:gd name="connsiteY78" fmla="*/ 269262 h 263604"/>
                <a:gd name="connsiteX79" fmla="*/ 52313 w 327898"/>
                <a:gd name="connsiteY79" fmla="*/ 265276 h 263604"/>
                <a:gd name="connsiteX80" fmla="*/ 59514 w 327898"/>
                <a:gd name="connsiteY80" fmla="*/ 264890 h 263604"/>
                <a:gd name="connsiteX81" fmla="*/ 70894 w 327898"/>
                <a:gd name="connsiteY81" fmla="*/ 260454 h 263604"/>
                <a:gd name="connsiteX82" fmla="*/ 86710 w 327898"/>
                <a:gd name="connsiteY82" fmla="*/ 259940 h 263604"/>
                <a:gd name="connsiteX83" fmla="*/ 95711 w 327898"/>
                <a:gd name="connsiteY83" fmla="*/ 255504 h 263604"/>
                <a:gd name="connsiteX84" fmla="*/ 105419 w 327898"/>
                <a:gd name="connsiteY84" fmla="*/ 249074 h 263604"/>
                <a:gd name="connsiteX85" fmla="*/ 110048 w 327898"/>
                <a:gd name="connsiteY85" fmla="*/ 240266 h 263604"/>
                <a:gd name="connsiteX86" fmla="*/ 119243 w 327898"/>
                <a:gd name="connsiteY86" fmla="*/ 230750 h 263604"/>
                <a:gd name="connsiteX87" fmla="*/ 119243 w 327898"/>
                <a:gd name="connsiteY87" fmla="*/ 212555 h 263604"/>
                <a:gd name="connsiteX88" fmla="*/ 129529 w 327898"/>
                <a:gd name="connsiteY88" fmla="*/ 200404 h 263604"/>
                <a:gd name="connsiteX89" fmla="*/ 140974 w 327898"/>
                <a:gd name="connsiteY89" fmla="*/ 194360 h 263604"/>
                <a:gd name="connsiteX90" fmla="*/ 154540 w 327898"/>
                <a:gd name="connsiteY90" fmla="*/ 187159 h 263604"/>
                <a:gd name="connsiteX91" fmla="*/ 159690 w 327898"/>
                <a:gd name="connsiteY91" fmla="*/ 176821 h 263604"/>
                <a:gd name="connsiteX92" fmla="*/ 159683 w 327898"/>
                <a:gd name="connsiteY92" fmla="*/ 176808 h 263604"/>
                <a:gd name="connsiteX93" fmla="*/ 158976 w 327898"/>
                <a:gd name="connsiteY93" fmla="*/ 173593 h 263604"/>
                <a:gd name="connsiteX94" fmla="*/ 169263 w 327898"/>
                <a:gd name="connsiteY94" fmla="*/ 161249 h 263604"/>
                <a:gd name="connsiteX95" fmla="*/ 192023 w 327898"/>
                <a:gd name="connsiteY95" fmla="*/ 166264 h 263604"/>
                <a:gd name="connsiteX96" fmla="*/ 206361 w 327898"/>
                <a:gd name="connsiteY96" fmla="*/ 161442 h 263604"/>
                <a:gd name="connsiteX97" fmla="*/ 214140 w 327898"/>
                <a:gd name="connsiteY97" fmla="*/ 156362 h 263604"/>
                <a:gd name="connsiteX98" fmla="*/ 215555 w 327898"/>
                <a:gd name="connsiteY98" fmla="*/ 152183 h 263604"/>
                <a:gd name="connsiteX99" fmla="*/ 209768 w 327898"/>
                <a:gd name="connsiteY99" fmla="*/ 150255 h 263604"/>
                <a:gd name="connsiteX100" fmla="*/ 206200 w 327898"/>
                <a:gd name="connsiteY100" fmla="*/ 146371 h 263604"/>
                <a:gd name="connsiteX101" fmla="*/ 207004 w 327898"/>
                <a:gd name="connsiteY101" fmla="*/ 144211 h 263604"/>
                <a:gd name="connsiteX102" fmla="*/ 203403 w 327898"/>
                <a:gd name="connsiteY102" fmla="*/ 137782 h 263604"/>
                <a:gd name="connsiteX103" fmla="*/ 205910 w 327898"/>
                <a:gd name="connsiteY103" fmla="*/ 134760 h 263604"/>
                <a:gd name="connsiteX104" fmla="*/ 208354 w 327898"/>
                <a:gd name="connsiteY104" fmla="*/ 129809 h 263604"/>
                <a:gd name="connsiteX105" fmla="*/ 207004 w 327898"/>
                <a:gd name="connsiteY105" fmla="*/ 123701 h 263604"/>
                <a:gd name="connsiteX106" fmla="*/ 217612 w 327898"/>
                <a:gd name="connsiteY106" fmla="*/ 122930 h 263604"/>
                <a:gd name="connsiteX107" fmla="*/ 224041 w 327898"/>
                <a:gd name="connsiteY107" fmla="*/ 114121 h 263604"/>
                <a:gd name="connsiteX108" fmla="*/ 231049 w 327898"/>
                <a:gd name="connsiteY108" fmla="*/ 122544 h 263604"/>
                <a:gd name="connsiteX109" fmla="*/ 234328 w 327898"/>
                <a:gd name="connsiteY109" fmla="*/ 118172 h 263604"/>
                <a:gd name="connsiteX110" fmla="*/ 238765 w 327898"/>
                <a:gd name="connsiteY110" fmla="*/ 115600 h 263604"/>
                <a:gd name="connsiteX111" fmla="*/ 244615 w 327898"/>
                <a:gd name="connsiteY111" fmla="*/ 114121 h 263604"/>
                <a:gd name="connsiteX112" fmla="*/ 248280 w 327898"/>
                <a:gd name="connsiteY112" fmla="*/ 112643 h 263604"/>
                <a:gd name="connsiteX113" fmla="*/ 250145 w 327898"/>
                <a:gd name="connsiteY113" fmla="*/ 109685 h 263604"/>
                <a:gd name="connsiteX114" fmla="*/ 252523 w 327898"/>
                <a:gd name="connsiteY114" fmla="*/ 107499 h 263604"/>
                <a:gd name="connsiteX115" fmla="*/ 254131 w 327898"/>
                <a:gd name="connsiteY115" fmla="*/ 108335 h 263604"/>
                <a:gd name="connsiteX116" fmla="*/ 261846 w 327898"/>
                <a:gd name="connsiteY116" fmla="*/ 105828 h 263604"/>
                <a:gd name="connsiteX117" fmla="*/ 271747 w 327898"/>
                <a:gd name="connsiteY117" fmla="*/ 104477 h 263604"/>
                <a:gd name="connsiteX118" fmla="*/ 274190 w 327898"/>
                <a:gd name="connsiteY118" fmla="*/ 109685 h 263604"/>
                <a:gd name="connsiteX119" fmla="*/ 285506 w 327898"/>
                <a:gd name="connsiteY119" fmla="*/ 111357 h 263604"/>
                <a:gd name="connsiteX120" fmla="*/ 299265 w 327898"/>
                <a:gd name="connsiteY120" fmla="*/ 113800 h 263604"/>
                <a:gd name="connsiteX121" fmla="*/ 310066 w 327898"/>
                <a:gd name="connsiteY121" fmla="*/ 109942 h 263604"/>
                <a:gd name="connsiteX122" fmla="*/ 318553 w 327898"/>
                <a:gd name="connsiteY122" fmla="*/ 107242 h 263604"/>
                <a:gd name="connsiteX123" fmla="*/ 318553 w 327898"/>
                <a:gd name="connsiteY123" fmla="*/ 107242 h 263604"/>
                <a:gd name="connsiteX124" fmla="*/ 320546 w 327898"/>
                <a:gd name="connsiteY124" fmla="*/ 104349 h 263604"/>
                <a:gd name="connsiteX125" fmla="*/ 322604 w 327898"/>
                <a:gd name="connsiteY125" fmla="*/ 98884 h 263604"/>
                <a:gd name="connsiteX126" fmla="*/ 324018 w 327898"/>
                <a:gd name="connsiteY126" fmla="*/ 93998 h 263604"/>
                <a:gd name="connsiteX127" fmla="*/ 329483 w 327898"/>
                <a:gd name="connsiteY127" fmla="*/ 90847 h 263604"/>
                <a:gd name="connsiteX128" fmla="*/ 331155 w 327898"/>
                <a:gd name="connsiteY128" fmla="*/ 87504 h 263604"/>
                <a:gd name="connsiteX129" fmla="*/ 326268 w 327898"/>
                <a:gd name="connsiteY129" fmla="*/ 77153 h 263604"/>
                <a:gd name="connsiteX130" fmla="*/ 316817 w 327898"/>
                <a:gd name="connsiteY130" fmla="*/ 76638 h 263604"/>
                <a:gd name="connsiteX131" fmla="*/ 37139 w 327898"/>
                <a:gd name="connsiteY131" fmla="*/ 186645 h 263604"/>
                <a:gd name="connsiteX132" fmla="*/ 39325 w 327898"/>
                <a:gd name="connsiteY132" fmla="*/ 188509 h 263604"/>
                <a:gd name="connsiteX133" fmla="*/ 37139 w 327898"/>
                <a:gd name="connsiteY133" fmla="*/ 186645 h 263604"/>
                <a:gd name="connsiteX134" fmla="*/ 34503 w 327898"/>
                <a:gd name="connsiteY134" fmla="*/ 184137 h 263604"/>
                <a:gd name="connsiteX135" fmla="*/ 37139 w 327898"/>
                <a:gd name="connsiteY135" fmla="*/ 186645 h 263604"/>
                <a:gd name="connsiteX136" fmla="*/ 26017 w 327898"/>
                <a:gd name="connsiteY136" fmla="*/ 250939 h 263604"/>
                <a:gd name="connsiteX137" fmla="*/ 26017 w 327898"/>
                <a:gd name="connsiteY137" fmla="*/ 250939 h 263604"/>
                <a:gd name="connsiteX138" fmla="*/ 26017 w 327898"/>
                <a:gd name="connsiteY138" fmla="*/ 248753 h 263604"/>
                <a:gd name="connsiteX139" fmla="*/ 26017 w 327898"/>
                <a:gd name="connsiteY139" fmla="*/ 251003 h 263604"/>
                <a:gd name="connsiteX140" fmla="*/ 30903 w 327898"/>
                <a:gd name="connsiteY140" fmla="*/ 218792 h 263604"/>
                <a:gd name="connsiteX141" fmla="*/ 32189 w 327898"/>
                <a:gd name="connsiteY141" fmla="*/ 216927 h 263604"/>
                <a:gd name="connsiteX142" fmla="*/ 30903 w 327898"/>
                <a:gd name="connsiteY142" fmla="*/ 218792 h 263604"/>
                <a:gd name="connsiteX143" fmla="*/ 26338 w 327898"/>
                <a:gd name="connsiteY143" fmla="*/ 221428 h 263604"/>
                <a:gd name="connsiteX144" fmla="*/ 30903 w 327898"/>
                <a:gd name="connsiteY144" fmla="*/ 218856 h 263604"/>
                <a:gd name="connsiteX145" fmla="*/ 29553 w 327898"/>
                <a:gd name="connsiteY145" fmla="*/ 231265 h 263604"/>
                <a:gd name="connsiteX146" fmla="*/ 27753 w 327898"/>
                <a:gd name="connsiteY146" fmla="*/ 235508 h 263604"/>
                <a:gd name="connsiteX147" fmla="*/ 29553 w 327898"/>
                <a:gd name="connsiteY147" fmla="*/ 231329 h 263604"/>
                <a:gd name="connsiteX148" fmla="*/ 28203 w 327898"/>
                <a:gd name="connsiteY148" fmla="*/ 237115 h 263604"/>
                <a:gd name="connsiteX149" fmla="*/ 28203 w 327898"/>
                <a:gd name="connsiteY149" fmla="*/ 237115 h 263604"/>
                <a:gd name="connsiteX150" fmla="*/ 28203 w 327898"/>
                <a:gd name="connsiteY150" fmla="*/ 236794 h 263604"/>
                <a:gd name="connsiteX151" fmla="*/ 28203 w 327898"/>
                <a:gd name="connsiteY151" fmla="*/ 237180 h 263604"/>
                <a:gd name="connsiteX152" fmla="*/ 31932 w 327898"/>
                <a:gd name="connsiteY152" fmla="*/ 212941 h 263604"/>
                <a:gd name="connsiteX153" fmla="*/ 32253 w 327898"/>
                <a:gd name="connsiteY153" fmla="*/ 211527 h 263604"/>
                <a:gd name="connsiteX154" fmla="*/ 31932 w 327898"/>
                <a:gd name="connsiteY154" fmla="*/ 213005 h 263604"/>
                <a:gd name="connsiteX155" fmla="*/ 26917 w 327898"/>
                <a:gd name="connsiteY155" fmla="*/ 186066 h 263604"/>
                <a:gd name="connsiteX156" fmla="*/ 26081 w 327898"/>
                <a:gd name="connsiteY156" fmla="*/ 185552 h 263604"/>
                <a:gd name="connsiteX157" fmla="*/ 17015 w 327898"/>
                <a:gd name="connsiteY157" fmla="*/ 183430 h 263604"/>
                <a:gd name="connsiteX158" fmla="*/ 16630 w 327898"/>
                <a:gd name="connsiteY158" fmla="*/ 181887 h 263604"/>
                <a:gd name="connsiteX159" fmla="*/ 17015 w 327898"/>
                <a:gd name="connsiteY159" fmla="*/ 183430 h 263604"/>
                <a:gd name="connsiteX160" fmla="*/ 17015 w 327898"/>
                <a:gd name="connsiteY160" fmla="*/ 184266 h 263604"/>
                <a:gd name="connsiteX161" fmla="*/ 17015 w 327898"/>
                <a:gd name="connsiteY161" fmla="*/ 183494 h 263604"/>
                <a:gd name="connsiteX162" fmla="*/ 30903 w 327898"/>
                <a:gd name="connsiteY162" fmla="*/ 243352 h 263604"/>
                <a:gd name="connsiteX163" fmla="*/ 28074 w 327898"/>
                <a:gd name="connsiteY163" fmla="*/ 244509 h 263604"/>
                <a:gd name="connsiteX164" fmla="*/ 30903 w 327898"/>
                <a:gd name="connsiteY164" fmla="*/ 243352 h 263604"/>
                <a:gd name="connsiteX165" fmla="*/ 32767 w 327898"/>
                <a:gd name="connsiteY165" fmla="*/ 242195 h 263604"/>
                <a:gd name="connsiteX166" fmla="*/ 30903 w 327898"/>
                <a:gd name="connsiteY166" fmla="*/ 243416 h 263604"/>
                <a:gd name="connsiteX167" fmla="*/ 32253 w 327898"/>
                <a:gd name="connsiteY167" fmla="*/ 198668 h 263604"/>
                <a:gd name="connsiteX168" fmla="*/ 33218 w 327898"/>
                <a:gd name="connsiteY168" fmla="*/ 202268 h 263604"/>
                <a:gd name="connsiteX169" fmla="*/ 32253 w 327898"/>
                <a:gd name="connsiteY169" fmla="*/ 198668 h 263604"/>
                <a:gd name="connsiteX170" fmla="*/ 37525 w 327898"/>
                <a:gd name="connsiteY170" fmla="*/ 193717 h 263604"/>
                <a:gd name="connsiteX171" fmla="*/ 39068 w 327898"/>
                <a:gd name="connsiteY171" fmla="*/ 192560 h 263604"/>
                <a:gd name="connsiteX172" fmla="*/ 37525 w 327898"/>
                <a:gd name="connsiteY172" fmla="*/ 193717 h 263604"/>
                <a:gd name="connsiteX173" fmla="*/ 32253 w 327898"/>
                <a:gd name="connsiteY173" fmla="*/ 198732 h 263604"/>
                <a:gd name="connsiteX174" fmla="*/ 41190 w 327898"/>
                <a:gd name="connsiteY174" fmla="*/ 190374 h 263604"/>
                <a:gd name="connsiteX175" fmla="*/ 41190 w 327898"/>
                <a:gd name="connsiteY175" fmla="*/ 189602 h 263604"/>
                <a:gd name="connsiteX176" fmla="*/ 41190 w 327898"/>
                <a:gd name="connsiteY176" fmla="*/ 190438 h 263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327898" h="263604">
                  <a:moveTo>
                    <a:pt x="316817" y="76638"/>
                  </a:moveTo>
                  <a:cubicBezTo>
                    <a:pt x="313493" y="74176"/>
                    <a:pt x="309443" y="72883"/>
                    <a:pt x="305309" y="72973"/>
                  </a:cubicBezTo>
                  <a:cubicBezTo>
                    <a:pt x="304891" y="74967"/>
                    <a:pt x="304196" y="76895"/>
                    <a:pt x="303251" y="78696"/>
                  </a:cubicBezTo>
                  <a:cubicBezTo>
                    <a:pt x="302223" y="80432"/>
                    <a:pt x="296307" y="80367"/>
                    <a:pt x="292450" y="79339"/>
                  </a:cubicBezTo>
                  <a:cubicBezTo>
                    <a:pt x="291357" y="80817"/>
                    <a:pt x="286406" y="81910"/>
                    <a:pt x="285699" y="83968"/>
                  </a:cubicBezTo>
                  <a:cubicBezTo>
                    <a:pt x="284992" y="86025"/>
                    <a:pt x="278820" y="85061"/>
                    <a:pt x="280749" y="91683"/>
                  </a:cubicBezTo>
                  <a:cubicBezTo>
                    <a:pt x="282677" y="98305"/>
                    <a:pt x="277727" y="96055"/>
                    <a:pt x="275798" y="95219"/>
                  </a:cubicBezTo>
                  <a:cubicBezTo>
                    <a:pt x="271349" y="94589"/>
                    <a:pt x="266822" y="95470"/>
                    <a:pt x="262939" y="97727"/>
                  </a:cubicBezTo>
                  <a:cubicBezTo>
                    <a:pt x="260972" y="99520"/>
                    <a:pt x="258033" y="99758"/>
                    <a:pt x="255802" y="98305"/>
                  </a:cubicBezTo>
                  <a:cubicBezTo>
                    <a:pt x="253404" y="96691"/>
                    <a:pt x="250177" y="97161"/>
                    <a:pt x="248344" y="99398"/>
                  </a:cubicBezTo>
                  <a:cubicBezTo>
                    <a:pt x="246673" y="102163"/>
                    <a:pt x="243651" y="97148"/>
                    <a:pt x="241144" y="97469"/>
                  </a:cubicBezTo>
                  <a:cubicBezTo>
                    <a:pt x="240449" y="97572"/>
                    <a:pt x="239896" y="98119"/>
                    <a:pt x="239793" y="98820"/>
                  </a:cubicBezTo>
                  <a:cubicBezTo>
                    <a:pt x="237479" y="97604"/>
                    <a:pt x="235068" y="96576"/>
                    <a:pt x="232593" y="95733"/>
                  </a:cubicBezTo>
                  <a:cubicBezTo>
                    <a:pt x="229931" y="94460"/>
                    <a:pt x="226832" y="94460"/>
                    <a:pt x="224170" y="95733"/>
                  </a:cubicBezTo>
                  <a:cubicBezTo>
                    <a:pt x="220711" y="96544"/>
                    <a:pt x="217130" y="96672"/>
                    <a:pt x="213626" y="96119"/>
                  </a:cubicBezTo>
                  <a:lnTo>
                    <a:pt x="213626" y="96119"/>
                  </a:lnTo>
                  <a:cubicBezTo>
                    <a:pt x="214204" y="94126"/>
                    <a:pt x="214204" y="90911"/>
                    <a:pt x="214719" y="88597"/>
                  </a:cubicBezTo>
                  <a:cubicBezTo>
                    <a:pt x="215079" y="84701"/>
                    <a:pt x="216840" y="81075"/>
                    <a:pt x="219669" y="78374"/>
                  </a:cubicBezTo>
                  <a:cubicBezTo>
                    <a:pt x="223270" y="75352"/>
                    <a:pt x="218834" y="74002"/>
                    <a:pt x="217162" y="74259"/>
                  </a:cubicBezTo>
                  <a:cubicBezTo>
                    <a:pt x="215490" y="74517"/>
                    <a:pt x="214140" y="72073"/>
                    <a:pt x="210733" y="72073"/>
                  </a:cubicBezTo>
                  <a:cubicBezTo>
                    <a:pt x="207595" y="72131"/>
                    <a:pt x="204612" y="70704"/>
                    <a:pt x="202696" y="68216"/>
                  </a:cubicBezTo>
                  <a:cubicBezTo>
                    <a:pt x="201346" y="66351"/>
                    <a:pt x="195302" y="65708"/>
                    <a:pt x="191702" y="65837"/>
                  </a:cubicBezTo>
                  <a:lnTo>
                    <a:pt x="191702" y="65837"/>
                  </a:lnTo>
                  <a:cubicBezTo>
                    <a:pt x="190853" y="61754"/>
                    <a:pt x="192557" y="57562"/>
                    <a:pt x="196009" y="55229"/>
                  </a:cubicBezTo>
                  <a:cubicBezTo>
                    <a:pt x="196588" y="54135"/>
                    <a:pt x="198260" y="53042"/>
                    <a:pt x="198517" y="51692"/>
                  </a:cubicBezTo>
                  <a:cubicBezTo>
                    <a:pt x="198774" y="50342"/>
                    <a:pt x="194852" y="46163"/>
                    <a:pt x="195238" y="43977"/>
                  </a:cubicBezTo>
                  <a:lnTo>
                    <a:pt x="195238" y="43527"/>
                  </a:lnTo>
                  <a:cubicBezTo>
                    <a:pt x="195373" y="40312"/>
                    <a:pt x="195842" y="37123"/>
                    <a:pt x="196652" y="34011"/>
                  </a:cubicBezTo>
                  <a:cubicBezTo>
                    <a:pt x="197810" y="31440"/>
                    <a:pt x="195559" y="28161"/>
                    <a:pt x="197424" y="28161"/>
                  </a:cubicBezTo>
                  <a:cubicBezTo>
                    <a:pt x="199288" y="28161"/>
                    <a:pt x="204367" y="28161"/>
                    <a:pt x="204367" y="24817"/>
                  </a:cubicBezTo>
                  <a:cubicBezTo>
                    <a:pt x="204367" y="21474"/>
                    <a:pt x="205846" y="22632"/>
                    <a:pt x="207004" y="20767"/>
                  </a:cubicBezTo>
                  <a:cubicBezTo>
                    <a:pt x="208161" y="18902"/>
                    <a:pt x="203660" y="15302"/>
                    <a:pt x="202953" y="14338"/>
                  </a:cubicBezTo>
                  <a:cubicBezTo>
                    <a:pt x="202246" y="13373"/>
                    <a:pt x="206232" y="12859"/>
                    <a:pt x="209382" y="8423"/>
                  </a:cubicBezTo>
                  <a:cubicBezTo>
                    <a:pt x="210244" y="5658"/>
                    <a:pt x="210102" y="2675"/>
                    <a:pt x="208997" y="0"/>
                  </a:cubicBezTo>
                  <a:cubicBezTo>
                    <a:pt x="208547" y="1350"/>
                    <a:pt x="207518" y="2250"/>
                    <a:pt x="205846" y="1286"/>
                  </a:cubicBezTo>
                  <a:cubicBezTo>
                    <a:pt x="203146" y="-386"/>
                    <a:pt x="198902" y="514"/>
                    <a:pt x="193373" y="1607"/>
                  </a:cubicBezTo>
                  <a:cubicBezTo>
                    <a:pt x="187844" y="2700"/>
                    <a:pt x="186237" y="8037"/>
                    <a:pt x="188230" y="10287"/>
                  </a:cubicBezTo>
                  <a:cubicBezTo>
                    <a:pt x="190223" y="12537"/>
                    <a:pt x="182893" y="13566"/>
                    <a:pt x="182379" y="10673"/>
                  </a:cubicBezTo>
                  <a:cubicBezTo>
                    <a:pt x="181865" y="7780"/>
                    <a:pt x="176271" y="9708"/>
                    <a:pt x="176657" y="13566"/>
                  </a:cubicBezTo>
                  <a:cubicBezTo>
                    <a:pt x="177043" y="17424"/>
                    <a:pt x="170613" y="18902"/>
                    <a:pt x="170999" y="23660"/>
                  </a:cubicBezTo>
                  <a:cubicBezTo>
                    <a:pt x="171385" y="28418"/>
                    <a:pt x="165084" y="32854"/>
                    <a:pt x="161034" y="35233"/>
                  </a:cubicBezTo>
                  <a:lnTo>
                    <a:pt x="159105" y="36390"/>
                  </a:lnTo>
                  <a:cubicBezTo>
                    <a:pt x="156546" y="38004"/>
                    <a:pt x="153749" y="39200"/>
                    <a:pt x="150811" y="39927"/>
                  </a:cubicBezTo>
                  <a:cubicBezTo>
                    <a:pt x="149872" y="40055"/>
                    <a:pt x="148921" y="40055"/>
                    <a:pt x="147982" y="39927"/>
                  </a:cubicBezTo>
                  <a:cubicBezTo>
                    <a:pt x="143610" y="39927"/>
                    <a:pt x="139752" y="43270"/>
                    <a:pt x="140459" y="50599"/>
                  </a:cubicBezTo>
                  <a:cubicBezTo>
                    <a:pt x="141167" y="57929"/>
                    <a:pt x="135123" y="58700"/>
                    <a:pt x="127601" y="59215"/>
                  </a:cubicBezTo>
                  <a:cubicBezTo>
                    <a:pt x="120078" y="59729"/>
                    <a:pt x="122650" y="65644"/>
                    <a:pt x="119500" y="68087"/>
                  </a:cubicBezTo>
                  <a:cubicBezTo>
                    <a:pt x="113713" y="69605"/>
                    <a:pt x="107580" y="67502"/>
                    <a:pt x="103941" y="62751"/>
                  </a:cubicBezTo>
                  <a:cubicBezTo>
                    <a:pt x="102462" y="58700"/>
                    <a:pt x="92496" y="62751"/>
                    <a:pt x="96740" y="67508"/>
                  </a:cubicBezTo>
                  <a:cubicBezTo>
                    <a:pt x="100983" y="72266"/>
                    <a:pt x="100790" y="78889"/>
                    <a:pt x="98411" y="80753"/>
                  </a:cubicBezTo>
                  <a:cubicBezTo>
                    <a:pt x="96032" y="82618"/>
                    <a:pt x="90889" y="77795"/>
                    <a:pt x="87546" y="80174"/>
                  </a:cubicBezTo>
                  <a:cubicBezTo>
                    <a:pt x="84202" y="82553"/>
                    <a:pt x="84074" y="77988"/>
                    <a:pt x="80023" y="76510"/>
                  </a:cubicBezTo>
                  <a:cubicBezTo>
                    <a:pt x="75973" y="75031"/>
                    <a:pt x="74301" y="78374"/>
                    <a:pt x="67936" y="77795"/>
                  </a:cubicBezTo>
                  <a:cubicBezTo>
                    <a:pt x="61571" y="77217"/>
                    <a:pt x="57778" y="80946"/>
                    <a:pt x="60221" y="83711"/>
                  </a:cubicBezTo>
                  <a:cubicBezTo>
                    <a:pt x="62664" y="86475"/>
                    <a:pt x="59835" y="88983"/>
                    <a:pt x="61635" y="91426"/>
                  </a:cubicBezTo>
                  <a:cubicBezTo>
                    <a:pt x="63435" y="93869"/>
                    <a:pt x="71922" y="93419"/>
                    <a:pt x="78159" y="96698"/>
                  </a:cubicBezTo>
                  <a:cubicBezTo>
                    <a:pt x="84395" y="99977"/>
                    <a:pt x="85874" y="97276"/>
                    <a:pt x="89024" y="99655"/>
                  </a:cubicBezTo>
                  <a:cubicBezTo>
                    <a:pt x="92175" y="102034"/>
                    <a:pt x="92882" y="100556"/>
                    <a:pt x="93075" y="105185"/>
                  </a:cubicBezTo>
                  <a:cubicBezTo>
                    <a:pt x="93621" y="110489"/>
                    <a:pt x="97556" y="114816"/>
                    <a:pt x="102783" y="115857"/>
                  </a:cubicBezTo>
                  <a:cubicBezTo>
                    <a:pt x="108891" y="117465"/>
                    <a:pt x="104262" y="121515"/>
                    <a:pt x="106127" y="125566"/>
                  </a:cubicBezTo>
                  <a:cubicBezTo>
                    <a:pt x="107991" y="129616"/>
                    <a:pt x="103362" y="135467"/>
                    <a:pt x="104262" y="140482"/>
                  </a:cubicBezTo>
                  <a:cubicBezTo>
                    <a:pt x="105162" y="145497"/>
                    <a:pt x="101305" y="161377"/>
                    <a:pt x="98411" y="162856"/>
                  </a:cubicBezTo>
                  <a:cubicBezTo>
                    <a:pt x="98161" y="162927"/>
                    <a:pt x="97891" y="162927"/>
                    <a:pt x="97640" y="162856"/>
                  </a:cubicBezTo>
                  <a:cubicBezTo>
                    <a:pt x="93911" y="163628"/>
                    <a:pt x="83238" y="159641"/>
                    <a:pt x="76166" y="160542"/>
                  </a:cubicBezTo>
                  <a:cubicBezTo>
                    <a:pt x="69093" y="161442"/>
                    <a:pt x="44597" y="159449"/>
                    <a:pt x="35211" y="160156"/>
                  </a:cubicBezTo>
                  <a:cubicBezTo>
                    <a:pt x="25824" y="160863"/>
                    <a:pt x="25245" y="156298"/>
                    <a:pt x="20166" y="156298"/>
                  </a:cubicBezTo>
                  <a:cubicBezTo>
                    <a:pt x="15087" y="156298"/>
                    <a:pt x="17208" y="162728"/>
                    <a:pt x="9815" y="162728"/>
                  </a:cubicBezTo>
                  <a:cubicBezTo>
                    <a:pt x="2421" y="162728"/>
                    <a:pt x="1778" y="167485"/>
                    <a:pt x="7114" y="171729"/>
                  </a:cubicBezTo>
                  <a:cubicBezTo>
                    <a:pt x="10136" y="174172"/>
                    <a:pt x="9750" y="179251"/>
                    <a:pt x="9300" y="183880"/>
                  </a:cubicBezTo>
                  <a:lnTo>
                    <a:pt x="9300" y="183880"/>
                  </a:lnTo>
                  <a:cubicBezTo>
                    <a:pt x="8689" y="186671"/>
                    <a:pt x="8824" y="189577"/>
                    <a:pt x="9686" y="192303"/>
                  </a:cubicBezTo>
                  <a:cubicBezTo>
                    <a:pt x="12065" y="196160"/>
                    <a:pt x="6729" y="216542"/>
                    <a:pt x="1971" y="222071"/>
                  </a:cubicBezTo>
                  <a:cubicBezTo>
                    <a:pt x="-2787" y="227600"/>
                    <a:pt x="1971" y="229079"/>
                    <a:pt x="6729" y="232936"/>
                  </a:cubicBezTo>
                  <a:cubicBezTo>
                    <a:pt x="11486" y="236794"/>
                    <a:pt x="8400" y="250746"/>
                    <a:pt x="8400" y="254025"/>
                  </a:cubicBezTo>
                  <a:cubicBezTo>
                    <a:pt x="8400" y="257304"/>
                    <a:pt x="12772" y="256468"/>
                    <a:pt x="17916" y="256468"/>
                  </a:cubicBezTo>
                  <a:cubicBezTo>
                    <a:pt x="21285" y="256050"/>
                    <a:pt x="24615" y="255388"/>
                    <a:pt x="27881" y="254475"/>
                  </a:cubicBezTo>
                  <a:lnTo>
                    <a:pt x="27881" y="254475"/>
                  </a:lnTo>
                  <a:cubicBezTo>
                    <a:pt x="30029" y="253992"/>
                    <a:pt x="32266" y="254173"/>
                    <a:pt x="34310" y="254989"/>
                  </a:cubicBezTo>
                  <a:cubicBezTo>
                    <a:pt x="39454" y="257368"/>
                    <a:pt x="42476" y="270162"/>
                    <a:pt x="49420" y="269262"/>
                  </a:cubicBezTo>
                  <a:cubicBezTo>
                    <a:pt x="52313" y="268941"/>
                    <a:pt x="50898" y="266691"/>
                    <a:pt x="52313" y="265276"/>
                  </a:cubicBezTo>
                  <a:cubicBezTo>
                    <a:pt x="53727" y="263862"/>
                    <a:pt x="56556" y="264890"/>
                    <a:pt x="59514" y="264890"/>
                  </a:cubicBezTo>
                  <a:cubicBezTo>
                    <a:pt x="62471" y="264890"/>
                    <a:pt x="63950" y="260647"/>
                    <a:pt x="70894" y="260454"/>
                  </a:cubicBezTo>
                  <a:cubicBezTo>
                    <a:pt x="77837" y="260261"/>
                    <a:pt x="82274" y="259747"/>
                    <a:pt x="86710" y="259940"/>
                  </a:cubicBezTo>
                  <a:cubicBezTo>
                    <a:pt x="91146" y="260133"/>
                    <a:pt x="94618" y="258654"/>
                    <a:pt x="95711" y="255504"/>
                  </a:cubicBezTo>
                  <a:cubicBezTo>
                    <a:pt x="97608" y="251813"/>
                    <a:pt x="101285" y="249376"/>
                    <a:pt x="105419" y="249074"/>
                  </a:cubicBezTo>
                  <a:cubicBezTo>
                    <a:pt x="110370" y="248367"/>
                    <a:pt x="109663" y="243223"/>
                    <a:pt x="110048" y="240266"/>
                  </a:cubicBezTo>
                  <a:cubicBezTo>
                    <a:pt x="110434" y="237308"/>
                    <a:pt x="118664" y="232936"/>
                    <a:pt x="119243" y="230750"/>
                  </a:cubicBezTo>
                  <a:cubicBezTo>
                    <a:pt x="119821" y="228564"/>
                    <a:pt x="114421" y="220078"/>
                    <a:pt x="119243" y="212555"/>
                  </a:cubicBezTo>
                  <a:cubicBezTo>
                    <a:pt x="124065" y="205033"/>
                    <a:pt x="129529" y="204647"/>
                    <a:pt x="129529" y="200404"/>
                  </a:cubicBezTo>
                  <a:cubicBezTo>
                    <a:pt x="129529" y="196160"/>
                    <a:pt x="134673" y="195067"/>
                    <a:pt x="140974" y="194360"/>
                  </a:cubicBezTo>
                  <a:cubicBezTo>
                    <a:pt x="147275" y="193653"/>
                    <a:pt x="149204" y="189410"/>
                    <a:pt x="154540" y="187159"/>
                  </a:cubicBezTo>
                  <a:cubicBezTo>
                    <a:pt x="158815" y="185726"/>
                    <a:pt x="161123" y="181096"/>
                    <a:pt x="159690" y="176821"/>
                  </a:cubicBezTo>
                  <a:cubicBezTo>
                    <a:pt x="159690" y="176821"/>
                    <a:pt x="159683" y="176814"/>
                    <a:pt x="159683" y="176808"/>
                  </a:cubicBezTo>
                  <a:cubicBezTo>
                    <a:pt x="159529" y="175721"/>
                    <a:pt x="159291" y="174648"/>
                    <a:pt x="158976" y="173593"/>
                  </a:cubicBezTo>
                  <a:cubicBezTo>
                    <a:pt x="156726" y="166392"/>
                    <a:pt x="163155" y="162213"/>
                    <a:pt x="169263" y="161249"/>
                  </a:cubicBezTo>
                  <a:cubicBezTo>
                    <a:pt x="177139" y="161120"/>
                    <a:pt x="184931" y="162837"/>
                    <a:pt x="192023" y="166264"/>
                  </a:cubicBezTo>
                  <a:cubicBezTo>
                    <a:pt x="195495" y="168450"/>
                    <a:pt x="200317" y="167871"/>
                    <a:pt x="206361" y="161442"/>
                  </a:cubicBezTo>
                  <a:cubicBezTo>
                    <a:pt x="208425" y="159050"/>
                    <a:pt x="211118" y="157288"/>
                    <a:pt x="214140" y="156362"/>
                  </a:cubicBezTo>
                  <a:cubicBezTo>
                    <a:pt x="214449" y="154916"/>
                    <a:pt x="214918" y="153514"/>
                    <a:pt x="215555" y="152183"/>
                  </a:cubicBezTo>
                  <a:cubicBezTo>
                    <a:pt x="216390" y="149997"/>
                    <a:pt x="212533" y="150512"/>
                    <a:pt x="209768" y="150255"/>
                  </a:cubicBezTo>
                  <a:cubicBezTo>
                    <a:pt x="207711" y="150171"/>
                    <a:pt x="206110" y="148429"/>
                    <a:pt x="206200" y="146371"/>
                  </a:cubicBezTo>
                  <a:cubicBezTo>
                    <a:pt x="206232" y="145587"/>
                    <a:pt x="206515" y="144828"/>
                    <a:pt x="207004" y="144211"/>
                  </a:cubicBezTo>
                  <a:cubicBezTo>
                    <a:pt x="208932" y="141125"/>
                    <a:pt x="205332" y="140868"/>
                    <a:pt x="203403" y="137782"/>
                  </a:cubicBezTo>
                  <a:cubicBezTo>
                    <a:pt x="201474" y="134695"/>
                    <a:pt x="204239" y="135596"/>
                    <a:pt x="205910" y="134760"/>
                  </a:cubicBezTo>
                  <a:cubicBezTo>
                    <a:pt x="207582" y="133924"/>
                    <a:pt x="209768" y="130645"/>
                    <a:pt x="208354" y="129809"/>
                  </a:cubicBezTo>
                  <a:cubicBezTo>
                    <a:pt x="206939" y="128973"/>
                    <a:pt x="205910" y="127045"/>
                    <a:pt x="207004" y="123701"/>
                  </a:cubicBezTo>
                  <a:cubicBezTo>
                    <a:pt x="210797" y="123316"/>
                    <a:pt x="216005" y="122930"/>
                    <a:pt x="217612" y="122930"/>
                  </a:cubicBezTo>
                  <a:cubicBezTo>
                    <a:pt x="220184" y="122930"/>
                    <a:pt x="222755" y="114829"/>
                    <a:pt x="224041" y="114121"/>
                  </a:cubicBezTo>
                  <a:cubicBezTo>
                    <a:pt x="225327" y="113414"/>
                    <a:pt x="228092" y="119972"/>
                    <a:pt x="231049" y="122544"/>
                  </a:cubicBezTo>
                  <a:cubicBezTo>
                    <a:pt x="234007" y="125116"/>
                    <a:pt x="234328" y="120358"/>
                    <a:pt x="234328" y="118172"/>
                  </a:cubicBezTo>
                  <a:cubicBezTo>
                    <a:pt x="234328" y="115986"/>
                    <a:pt x="236900" y="115214"/>
                    <a:pt x="238765" y="115600"/>
                  </a:cubicBezTo>
                  <a:cubicBezTo>
                    <a:pt x="240629" y="115986"/>
                    <a:pt x="244615" y="116693"/>
                    <a:pt x="244615" y="114121"/>
                  </a:cubicBezTo>
                  <a:cubicBezTo>
                    <a:pt x="244615" y="111550"/>
                    <a:pt x="246866" y="112643"/>
                    <a:pt x="248280" y="112643"/>
                  </a:cubicBezTo>
                  <a:cubicBezTo>
                    <a:pt x="249695" y="112643"/>
                    <a:pt x="250145" y="109685"/>
                    <a:pt x="250145" y="109685"/>
                  </a:cubicBezTo>
                  <a:lnTo>
                    <a:pt x="252523" y="107499"/>
                  </a:lnTo>
                  <a:lnTo>
                    <a:pt x="254131" y="108335"/>
                  </a:lnTo>
                  <a:cubicBezTo>
                    <a:pt x="256317" y="109685"/>
                    <a:pt x="260560" y="107242"/>
                    <a:pt x="261846" y="105828"/>
                  </a:cubicBezTo>
                  <a:cubicBezTo>
                    <a:pt x="263132" y="104413"/>
                    <a:pt x="270912" y="104477"/>
                    <a:pt x="271747" y="104477"/>
                  </a:cubicBezTo>
                  <a:cubicBezTo>
                    <a:pt x="272583" y="104477"/>
                    <a:pt x="272840" y="108849"/>
                    <a:pt x="274190" y="109685"/>
                  </a:cubicBezTo>
                  <a:cubicBezTo>
                    <a:pt x="277862" y="110785"/>
                    <a:pt x="281674" y="111344"/>
                    <a:pt x="285506" y="111357"/>
                  </a:cubicBezTo>
                  <a:cubicBezTo>
                    <a:pt x="290200" y="111357"/>
                    <a:pt x="297079" y="113800"/>
                    <a:pt x="299265" y="113800"/>
                  </a:cubicBezTo>
                  <a:cubicBezTo>
                    <a:pt x="301451" y="113800"/>
                    <a:pt x="305052" y="109942"/>
                    <a:pt x="310066" y="109942"/>
                  </a:cubicBezTo>
                  <a:cubicBezTo>
                    <a:pt x="315081" y="109942"/>
                    <a:pt x="317782" y="106921"/>
                    <a:pt x="318553" y="107242"/>
                  </a:cubicBezTo>
                  <a:lnTo>
                    <a:pt x="318553" y="107242"/>
                  </a:lnTo>
                  <a:cubicBezTo>
                    <a:pt x="318939" y="105699"/>
                    <a:pt x="319518" y="104477"/>
                    <a:pt x="320546" y="104349"/>
                  </a:cubicBezTo>
                  <a:cubicBezTo>
                    <a:pt x="322604" y="104027"/>
                    <a:pt x="321125" y="100620"/>
                    <a:pt x="322604" y="98884"/>
                  </a:cubicBezTo>
                  <a:cubicBezTo>
                    <a:pt x="324082" y="97148"/>
                    <a:pt x="321446" y="93676"/>
                    <a:pt x="324018" y="93998"/>
                  </a:cubicBezTo>
                  <a:cubicBezTo>
                    <a:pt x="326590" y="94319"/>
                    <a:pt x="329483" y="94576"/>
                    <a:pt x="329483" y="90847"/>
                  </a:cubicBezTo>
                  <a:cubicBezTo>
                    <a:pt x="329567" y="89555"/>
                    <a:pt x="330171" y="88346"/>
                    <a:pt x="331155" y="87504"/>
                  </a:cubicBezTo>
                  <a:cubicBezTo>
                    <a:pt x="329104" y="84270"/>
                    <a:pt x="327458" y="80792"/>
                    <a:pt x="326268" y="77153"/>
                  </a:cubicBezTo>
                  <a:cubicBezTo>
                    <a:pt x="326268" y="77153"/>
                    <a:pt x="320096" y="80367"/>
                    <a:pt x="316817" y="76638"/>
                  </a:cubicBezTo>
                  <a:close/>
                  <a:moveTo>
                    <a:pt x="37139" y="186645"/>
                  </a:moveTo>
                  <a:cubicBezTo>
                    <a:pt x="37139" y="187738"/>
                    <a:pt x="38232" y="188124"/>
                    <a:pt x="39325" y="188509"/>
                  </a:cubicBezTo>
                  <a:cubicBezTo>
                    <a:pt x="38232" y="188124"/>
                    <a:pt x="37139" y="187738"/>
                    <a:pt x="37139" y="186645"/>
                  </a:cubicBezTo>
                  <a:cubicBezTo>
                    <a:pt x="37139" y="185552"/>
                    <a:pt x="36046" y="184395"/>
                    <a:pt x="34503" y="184137"/>
                  </a:cubicBezTo>
                  <a:cubicBezTo>
                    <a:pt x="36046" y="184395"/>
                    <a:pt x="37139" y="185295"/>
                    <a:pt x="37139" y="186645"/>
                  </a:cubicBezTo>
                  <a:close/>
                  <a:moveTo>
                    <a:pt x="26017" y="250939"/>
                  </a:moveTo>
                  <a:lnTo>
                    <a:pt x="26017" y="250939"/>
                  </a:lnTo>
                  <a:cubicBezTo>
                    <a:pt x="26017" y="250296"/>
                    <a:pt x="26017" y="249524"/>
                    <a:pt x="26017" y="248753"/>
                  </a:cubicBezTo>
                  <a:cubicBezTo>
                    <a:pt x="26017" y="249588"/>
                    <a:pt x="26017" y="250360"/>
                    <a:pt x="26017" y="251003"/>
                  </a:cubicBezTo>
                  <a:close/>
                  <a:moveTo>
                    <a:pt x="30903" y="218792"/>
                  </a:moveTo>
                  <a:cubicBezTo>
                    <a:pt x="32060" y="218792"/>
                    <a:pt x="32253" y="218020"/>
                    <a:pt x="32189" y="216927"/>
                  </a:cubicBezTo>
                  <a:cubicBezTo>
                    <a:pt x="32189" y="218020"/>
                    <a:pt x="32189" y="218792"/>
                    <a:pt x="30903" y="218792"/>
                  </a:cubicBezTo>
                  <a:cubicBezTo>
                    <a:pt x="28524" y="218792"/>
                    <a:pt x="25952" y="219499"/>
                    <a:pt x="26338" y="221428"/>
                  </a:cubicBezTo>
                  <a:cubicBezTo>
                    <a:pt x="25952" y="219563"/>
                    <a:pt x="28524" y="218856"/>
                    <a:pt x="30903" y="218856"/>
                  </a:cubicBezTo>
                  <a:close/>
                  <a:moveTo>
                    <a:pt x="29553" y="231265"/>
                  </a:moveTo>
                  <a:cubicBezTo>
                    <a:pt x="28447" y="232409"/>
                    <a:pt x="27810" y="233920"/>
                    <a:pt x="27753" y="235508"/>
                  </a:cubicBezTo>
                  <a:cubicBezTo>
                    <a:pt x="27823" y="233939"/>
                    <a:pt x="28466" y="232454"/>
                    <a:pt x="29553" y="231329"/>
                  </a:cubicBezTo>
                  <a:close/>
                  <a:moveTo>
                    <a:pt x="28203" y="237115"/>
                  </a:moveTo>
                  <a:lnTo>
                    <a:pt x="28203" y="237115"/>
                  </a:lnTo>
                  <a:cubicBezTo>
                    <a:pt x="28203" y="237115"/>
                    <a:pt x="28203" y="237115"/>
                    <a:pt x="28203" y="236794"/>
                  </a:cubicBezTo>
                  <a:cubicBezTo>
                    <a:pt x="28203" y="236472"/>
                    <a:pt x="28138" y="237051"/>
                    <a:pt x="28203" y="237180"/>
                  </a:cubicBezTo>
                  <a:close/>
                  <a:moveTo>
                    <a:pt x="31932" y="212941"/>
                  </a:moveTo>
                  <a:cubicBezTo>
                    <a:pt x="31945" y="212452"/>
                    <a:pt x="32054" y="211970"/>
                    <a:pt x="32253" y="211527"/>
                  </a:cubicBezTo>
                  <a:cubicBezTo>
                    <a:pt x="32047" y="211996"/>
                    <a:pt x="31938" y="212497"/>
                    <a:pt x="31932" y="213005"/>
                  </a:cubicBezTo>
                  <a:close/>
                  <a:moveTo>
                    <a:pt x="26917" y="186066"/>
                  </a:moveTo>
                  <a:lnTo>
                    <a:pt x="26081" y="185552"/>
                  </a:lnTo>
                  <a:close/>
                  <a:moveTo>
                    <a:pt x="17015" y="183430"/>
                  </a:moveTo>
                  <a:cubicBezTo>
                    <a:pt x="17054" y="182890"/>
                    <a:pt x="16919" y="182350"/>
                    <a:pt x="16630" y="181887"/>
                  </a:cubicBezTo>
                  <a:cubicBezTo>
                    <a:pt x="16919" y="182350"/>
                    <a:pt x="17054" y="182890"/>
                    <a:pt x="17015" y="183430"/>
                  </a:cubicBezTo>
                  <a:cubicBezTo>
                    <a:pt x="16945" y="183707"/>
                    <a:pt x="16945" y="183989"/>
                    <a:pt x="17015" y="184266"/>
                  </a:cubicBezTo>
                  <a:cubicBezTo>
                    <a:pt x="16951" y="184015"/>
                    <a:pt x="16951" y="183745"/>
                    <a:pt x="17015" y="183494"/>
                  </a:cubicBezTo>
                  <a:close/>
                  <a:moveTo>
                    <a:pt x="30903" y="243352"/>
                  </a:moveTo>
                  <a:cubicBezTo>
                    <a:pt x="29881" y="243506"/>
                    <a:pt x="28910" y="243905"/>
                    <a:pt x="28074" y="244509"/>
                  </a:cubicBezTo>
                  <a:cubicBezTo>
                    <a:pt x="28910" y="243905"/>
                    <a:pt x="29881" y="243506"/>
                    <a:pt x="30903" y="243352"/>
                  </a:cubicBezTo>
                  <a:cubicBezTo>
                    <a:pt x="32124" y="243352"/>
                    <a:pt x="32639" y="242709"/>
                    <a:pt x="32767" y="242195"/>
                  </a:cubicBezTo>
                  <a:cubicBezTo>
                    <a:pt x="32639" y="242773"/>
                    <a:pt x="32124" y="243223"/>
                    <a:pt x="30903" y="243416"/>
                  </a:cubicBezTo>
                  <a:close/>
                  <a:moveTo>
                    <a:pt x="32253" y="198668"/>
                  </a:moveTo>
                  <a:cubicBezTo>
                    <a:pt x="32401" y="199909"/>
                    <a:pt x="32723" y="201124"/>
                    <a:pt x="33218" y="202268"/>
                  </a:cubicBezTo>
                  <a:cubicBezTo>
                    <a:pt x="32723" y="201124"/>
                    <a:pt x="32401" y="199909"/>
                    <a:pt x="32253" y="198668"/>
                  </a:cubicBezTo>
                  <a:cubicBezTo>
                    <a:pt x="32253" y="196610"/>
                    <a:pt x="34761" y="195646"/>
                    <a:pt x="37525" y="193717"/>
                  </a:cubicBezTo>
                  <a:lnTo>
                    <a:pt x="39068" y="192560"/>
                  </a:lnTo>
                  <a:lnTo>
                    <a:pt x="37525" y="193717"/>
                  </a:lnTo>
                  <a:cubicBezTo>
                    <a:pt x="34761" y="195582"/>
                    <a:pt x="32253" y="196675"/>
                    <a:pt x="32253" y="198732"/>
                  </a:cubicBezTo>
                  <a:close/>
                  <a:moveTo>
                    <a:pt x="41190" y="190374"/>
                  </a:moveTo>
                  <a:cubicBezTo>
                    <a:pt x="41274" y="190123"/>
                    <a:pt x="41274" y="189853"/>
                    <a:pt x="41190" y="189602"/>
                  </a:cubicBezTo>
                  <a:cubicBezTo>
                    <a:pt x="41286" y="189872"/>
                    <a:pt x="41286" y="190168"/>
                    <a:pt x="41190" y="190438"/>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68" name="Freeform 58">
              <a:extLst>
                <a:ext uri="{FF2B5EF4-FFF2-40B4-BE49-F238E27FC236}">
                  <a16:creationId xmlns:a16="http://schemas.microsoft.com/office/drawing/2014/main" id="{9EFA7F82-2FB7-4821-955A-71E801D69407}"/>
                </a:ext>
              </a:extLst>
            </p:cNvPr>
            <p:cNvSpPr/>
            <p:nvPr/>
          </p:nvSpPr>
          <p:spPr>
            <a:xfrm>
              <a:off x="4461700" y="1853436"/>
              <a:ext cx="321469" cy="315039"/>
            </a:xfrm>
            <a:custGeom>
              <a:avLst/>
              <a:gdLst>
                <a:gd name="connsiteX0" fmla="*/ 320020 w 321468"/>
                <a:gd name="connsiteY0" fmla="*/ 170401 h 315039"/>
                <a:gd name="connsiteX1" fmla="*/ 304204 w 321468"/>
                <a:gd name="connsiteY1" fmla="*/ 158250 h 315039"/>
                <a:gd name="connsiteX2" fmla="*/ 311919 w 321468"/>
                <a:gd name="connsiteY2" fmla="*/ 151241 h 315039"/>
                <a:gd name="connsiteX3" fmla="*/ 305490 w 321468"/>
                <a:gd name="connsiteY3" fmla="*/ 144812 h 315039"/>
                <a:gd name="connsiteX4" fmla="*/ 307290 w 321468"/>
                <a:gd name="connsiteY4" fmla="*/ 138383 h 315039"/>
                <a:gd name="connsiteX5" fmla="*/ 300861 w 321468"/>
                <a:gd name="connsiteY5" fmla="*/ 134332 h 315039"/>
                <a:gd name="connsiteX6" fmla="*/ 303818 w 321468"/>
                <a:gd name="connsiteY6" fmla="*/ 130668 h 315039"/>
                <a:gd name="connsiteX7" fmla="*/ 301953 w 321468"/>
                <a:gd name="connsiteY7" fmla="*/ 121152 h 315039"/>
                <a:gd name="connsiteX8" fmla="*/ 306004 w 321468"/>
                <a:gd name="connsiteY8" fmla="*/ 113758 h 315039"/>
                <a:gd name="connsiteX9" fmla="*/ 294238 w 321468"/>
                <a:gd name="connsiteY9" fmla="*/ 95049 h 315039"/>
                <a:gd name="connsiteX10" fmla="*/ 297903 w 321468"/>
                <a:gd name="connsiteY10" fmla="*/ 87719 h 315039"/>
                <a:gd name="connsiteX11" fmla="*/ 305618 w 321468"/>
                <a:gd name="connsiteY11" fmla="*/ 78525 h 315039"/>
                <a:gd name="connsiteX12" fmla="*/ 296810 w 321468"/>
                <a:gd name="connsiteY12" fmla="*/ 69331 h 315039"/>
                <a:gd name="connsiteX13" fmla="*/ 289095 w 321468"/>
                <a:gd name="connsiteY13" fmla="*/ 64895 h 315039"/>
                <a:gd name="connsiteX14" fmla="*/ 287294 w 321468"/>
                <a:gd name="connsiteY14" fmla="*/ 57951 h 315039"/>
                <a:gd name="connsiteX15" fmla="*/ 289095 w 321468"/>
                <a:gd name="connsiteY15" fmla="*/ 51522 h 315039"/>
                <a:gd name="connsiteX16" fmla="*/ 293852 w 321468"/>
                <a:gd name="connsiteY16" fmla="*/ 47857 h 315039"/>
                <a:gd name="connsiteX17" fmla="*/ 296746 w 321468"/>
                <a:gd name="connsiteY17" fmla="*/ 43228 h 315039"/>
                <a:gd name="connsiteX18" fmla="*/ 302468 w 321468"/>
                <a:gd name="connsiteY18" fmla="*/ 40399 h 315039"/>
                <a:gd name="connsiteX19" fmla="*/ 312755 w 321468"/>
                <a:gd name="connsiteY19" fmla="*/ 35641 h 315039"/>
                <a:gd name="connsiteX20" fmla="*/ 319184 w 321468"/>
                <a:gd name="connsiteY20" fmla="*/ 31205 h 315039"/>
                <a:gd name="connsiteX21" fmla="*/ 309926 w 321468"/>
                <a:gd name="connsiteY21" fmla="*/ 31591 h 315039"/>
                <a:gd name="connsiteX22" fmla="*/ 304397 w 321468"/>
                <a:gd name="connsiteY22" fmla="*/ 31076 h 315039"/>
                <a:gd name="connsiteX23" fmla="*/ 296360 w 321468"/>
                <a:gd name="connsiteY23" fmla="*/ 24647 h 315039"/>
                <a:gd name="connsiteX24" fmla="*/ 302789 w 321468"/>
                <a:gd name="connsiteY24" fmla="*/ 25161 h 315039"/>
                <a:gd name="connsiteX25" fmla="*/ 311019 w 321468"/>
                <a:gd name="connsiteY25" fmla="*/ 22590 h 315039"/>
                <a:gd name="connsiteX26" fmla="*/ 319506 w 321468"/>
                <a:gd name="connsiteY26" fmla="*/ 19311 h 315039"/>
                <a:gd name="connsiteX27" fmla="*/ 313076 w 321468"/>
                <a:gd name="connsiteY27" fmla="*/ 12881 h 315039"/>
                <a:gd name="connsiteX28" fmla="*/ 303689 w 321468"/>
                <a:gd name="connsiteY28" fmla="*/ 9731 h 315039"/>
                <a:gd name="connsiteX29" fmla="*/ 297260 w 321468"/>
                <a:gd name="connsiteY29" fmla="*/ 6580 h 315039"/>
                <a:gd name="connsiteX30" fmla="*/ 287552 w 321468"/>
                <a:gd name="connsiteY30" fmla="*/ 13010 h 315039"/>
                <a:gd name="connsiteX31" fmla="*/ 284594 w 321468"/>
                <a:gd name="connsiteY31" fmla="*/ 14103 h 315039"/>
                <a:gd name="connsiteX32" fmla="*/ 286073 w 321468"/>
                <a:gd name="connsiteY32" fmla="*/ 7159 h 315039"/>
                <a:gd name="connsiteX33" fmla="*/ 280929 w 321468"/>
                <a:gd name="connsiteY33" fmla="*/ 151 h 315039"/>
                <a:gd name="connsiteX34" fmla="*/ 273214 w 321468"/>
                <a:gd name="connsiteY34" fmla="*/ 7159 h 315039"/>
                <a:gd name="connsiteX35" fmla="*/ 265885 w 321468"/>
                <a:gd name="connsiteY35" fmla="*/ 16868 h 315039"/>
                <a:gd name="connsiteX36" fmla="*/ 265885 w 321468"/>
                <a:gd name="connsiteY36" fmla="*/ 6388 h 315039"/>
                <a:gd name="connsiteX37" fmla="*/ 257977 w 321468"/>
                <a:gd name="connsiteY37" fmla="*/ 10631 h 315039"/>
                <a:gd name="connsiteX38" fmla="*/ 246018 w 321468"/>
                <a:gd name="connsiteY38" fmla="*/ 22397 h 315039"/>
                <a:gd name="connsiteX39" fmla="*/ 248204 w 321468"/>
                <a:gd name="connsiteY39" fmla="*/ 14489 h 315039"/>
                <a:gd name="connsiteX40" fmla="*/ 256305 w 321468"/>
                <a:gd name="connsiteY40" fmla="*/ 4973 h 315039"/>
                <a:gd name="connsiteX41" fmla="*/ 254826 w 321468"/>
                <a:gd name="connsiteY41" fmla="*/ 151 h 315039"/>
                <a:gd name="connsiteX42" fmla="*/ 248011 w 321468"/>
                <a:gd name="connsiteY42" fmla="*/ 5680 h 315039"/>
                <a:gd name="connsiteX43" fmla="*/ 239203 w 321468"/>
                <a:gd name="connsiteY43" fmla="*/ 4587 h 315039"/>
                <a:gd name="connsiteX44" fmla="*/ 237017 w 321468"/>
                <a:gd name="connsiteY44" fmla="*/ 9345 h 315039"/>
                <a:gd name="connsiteX45" fmla="*/ 234252 w 321468"/>
                <a:gd name="connsiteY45" fmla="*/ 11210 h 315039"/>
                <a:gd name="connsiteX46" fmla="*/ 225637 w 321468"/>
                <a:gd name="connsiteY46" fmla="*/ 14103 h 315039"/>
                <a:gd name="connsiteX47" fmla="*/ 222679 w 321468"/>
                <a:gd name="connsiteY47" fmla="*/ 18925 h 315039"/>
                <a:gd name="connsiteX48" fmla="*/ 223194 w 321468"/>
                <a:gd name="connsiteY48" fmla="*/ 24814 h 315039"/>
                <a:gd name="connsiteX49" fmla="*/ 221393 w 321468"/>
                <a:gd name="connsiteY49" fmla="*/ 26061 h 315039"/>
                <a:gd name="connsiteX50" fmla="*/ 216829 w 321468"/>
                <a:gd name="connsiteY50" fmla="*/ 17961 h 315039"/>
                <a:gd name="connsiteX51" fmla="*/ 219400 w 321468"/>
                <a:gd name="connsiteY51" fmla="*/ 13203 h 315039"/>
                <a:gd name="connsiteX52" fmla="*/ 225830 w 321468"/>
                <a:gd name="connsiteY52" fmla="*/ 6773 h 315039"/>
                <a:gd name="connsiteX53" fmla="*/ 221458 w 321468"/>
                <a:gd name="connsiteY53" fmla="*/ 7866 h 315039"/>
                <a:gd name="connsiteX54" fmla="*/ 211364 w 321468"/>
                <a:gd name="connsiteY54" fmla="*/ 9924 h 315039"/>
                <a:gd name="connsiteX55" fmla="*/ 212071 w 321468"/>
                <a:gd name="connsiteY55" fmla="*/ 18153 h 315039"/>
                <a:gd name="connsiteX56" fmla="*/ 208599 w 321468"/>
                <a:gd name="connsiteY56" fmla="*/ 20725 h 315039"/>
                <a:gd name="connsiteX57" fmla="*/ 199212 w 321468"/>
                <a:gd name="connsiteY57" fmla="*/ 20725 h 315039"/>
                <a:gd name="connsiteX58" fmla="*/ 206220 w 321468"/>
                <a:gd name="connsiteY58" fmla="*/ 27155 h 315039"/>
                <a:gd name="connsiteX59" fmla="*/ 200305 w 321468"/>
                <a:gd name="connsiteY59" fmla="*/ 26447 h 315039"/>
                <a:gd name="connsiteX60" fmla="*/ 193876 w 321468"/>
                <a:gd name="connsiteY60" fmla="*/ 22397 h 315039"/>
                <a:gd name="connsiteX61" fmla="*/ 189889 w 321468"/>
                <a:gd name="connsiteY61" fmla="*/ 24776 h 315039"/>
                <a:gd name="connsiteX62" fmla="*/ 192783 w 321468"/>
                <a:gd name="connsiteY62" fmla="*/ 32877 h 315039"/>
                <a:gd name="connsiteX63" fmla="*/ 188604 w 321468"/>
                <a:gd name="connsiteY63" fmla="*/ 30305 h 315039"/>
                <a:gd name="connsiteX64" fmla="*/ 181596 w 321468"/>
                <a:gd name="connsiteY64" fmla="*/ 29726 h 315039"/>
                <a:gd name="connsiteX65" fmla="*/ 180696 w 321468"/>
                <a:gd name="connsiteY65" fmla="*/ 22590 h 315039"/>
                <a:gd name="connsiteX66" fmla="*/ 172016 w 321468"/>
                <a:gd name="connsiteY66" fmla="*/ 23297 h 315039"/>
                <a:gd name="connsiteX67" fmla="*/ 168544 w 321468"/>
                <a:gd name="connsiteY67" fmla="*/ 26833 h 315039"/>
                <a:gd name="connsiteX68" fmla="*/ 167451 w 321468"/>
                <a:gd name="connsiteY68" fmla="*/ 32491 h 315039"/>
                <a:gd name="connsiteX69" fmla="*/ 163400 w 321468"/>
                <a:gd name="connsiteY69" fmla="*/ 35449 h 315039"/>
                <a:gd name="connsiteX70" fmla="*/ 158964 w 321468"/>
                <a:gd name="connsiteY70" fmla="*/ 36027 h 315039"/>
                <a:gd name="connsiteX71" fmla="*/ 150542 w 321468"/>
                <a:gd name="connsiteY71" fmla="*/ 37120 h 315039"/>
                <a:gd name="connsiteX72" fmla="*/ 144112 w 321468"/>
                <a:gd name="connsiteY72" fmla="*/ 45542 h 315039"/>
                <a:gd name="connsiteX73" fmla="*/ 152020 w 321468"/>
                <a:gd name="connsiteY73" fmla="*/ 44964 h 315039"/>
                <a:gd name="connsiteX74" fmla="*/ 153692 w 321468"/>
                <a:gd name="connsiteY74" fmla="*/ 49400 h 315039"/>
                <a:gd name="connsiteX75" fmla="*/ 152535 w 321468"/>
                <a:gd name="connsiteY75" fmla="*/ 52744 h 315039"/>
                <a:gd name="connsiteX76" fmla="*/ 146105 w 321468"/>
                <a:gd name="connsiteY76" fmla="*/ 53451 h 315039"/>
                <a:gd name="connsiteX77" fmla="*/ 140640 w 321468"/>
                <a:gd name="connsiteY77" fmla="*/ 50107 h 315039"/>
                <a:gd name="connsiteX78" fmla="*/ 133825 w 321468"/>
                <a:gd name="connsiteY78" fmla="*/ 53451 h 315039"/>
                <a:gd name="connsiteX79" fmla="*/ 136783 w 321468"/>
                <a:gd name="connsiteY79" fmla="*/ 43164 h 315039"/>
                <a:gd name="connsiteX80" fmla="*/ 129389 w 321468"/>
                <a:gd name="connsiteY80" fmla="*/ 49014 h 315039"/>
                <a:gd name="connsiteX81" fmla="*/ 121545 w 321468"/>
                <a:gd name="connsiteY81" fmla="*/ 55122 h 315039"/>
                <a:gd name="connsiteX82" fmla="*/ 116209 w 321468"/>
                <a:gd name="connsiteY82" fmla="*/ 61552 h 315039"/>
                <a:gd name="connsiteX83" fmla="*/ 100907 w 321468"/>
                <a:gd name="connsiteY83" fmla="*/ 70039 h 315039"/>
                <a:gd name="connsiteX84" fmla="*/ 105150 w 321468"/>
                <a:gd name="connsiteY84" fmla="*/ 70424 h 315039"/>
                <a:gd name="connsiteX85" fmla="*/ 114344 w 321468"/>
                <a:gd name="connsiteY85" fmla="*/ 65795 h 315039"/>
                <a:gd name="connsiteX86" fmla="*/ 126496 w 321468"/>
                <a:gd name="connsiteY86" fmla="*/ 61423 h 315039"/>
                <a:gd name="connsiteX87" fmla="*/ 133472 w 321468"/>
                <a:gd name="connsiteY87" fmla="*/ 60812 h 315039"/>
                <a:gd name="connsiteX88" fmla="*/ 133825 w 321468"/>
                <a:gd name="connsiteY88" fmla="*/ 60330 h 315039"/>
                <a:gd name="connsiteX89" fmla="*/ 140242 w 321468"/>
                <a:gd name="connsiteY89" fmla="*/ 58633 h 315039"/>
                <a:gd name="connsiteX90" fmla="*/ 141540 w 321468"/>
                <a:gd name="connsiteY90" fmla="*/ 59752 h 315039"/>
                <a:gd name="connsiteX91" fmla="*/ 140448 w 321468"/>
                <a:gd name="connsiteY91" fmla="*/ 66181 h 315039"/>
                <a:gd name="connsiteX92" fmla="*/ 136976 w 321468"/>
                <a:gd name="connsiteY92" fmla="*/ 68174 h 315039"/>
                <a:gd name="connsiteX93" fmla="*/ 131961 w 321468"/>
                <a:gd name="connsiteY93" fmla="*/ 65795 h 315039"/>
                <a:gd name="connsiteX94" fmla="*/ 126110 w 321468"/>
                <a:gd name="connsiteY94" fmla="*/ 70939 h 315039"/>
                <a:gd name="connsiteX95" fmla="*/ 121159 w 321468"/>
                <a:gd name="connsiteY95" fmla="*/ 79940 h 315039"/>
                <a:gd name="connsiteX96" fmla="*/ 116595 w 321468"/>
                <a:gd name="connsiteY96" fmla="*/ 83797 h 315039"/>
                <a:gd name="connsiteX97" fmla="*/ 105150 w 321468"/>
                <a:gd name="connsiteY97" fmla="*/ 99421 h 315039"/>
                <a:gd name="connsiteX98" fmla="*/ 103157 w 321468"/>
                <a:gd name="connsiteY98" fmla="*/ 108615 h 315039"/>
                <a:gd name="connsiteX99" fmla="*/ 93449 w 321468"/>
                <a:gd name="connsiteY99" fmla="*/ 110286 h 315039"/>
                <a:gd name="connsiteX100" fmla="*/ 91777 w 321468"/>
                <a:gd name="connsiteY100" fmla="*/ 121666 h 315039"/>
                <a:gd name="connsiteX101" fmla="*/ 91777 w 321468"/>
                <a:gd name="connsiteY101" fmla="*/ 130089 h 315039"/>
                <a:gd name="connsiteX102" fmla="*/ 84062 w 321468"/>
                <a:gd name="connsiteY102" fmla="*/ 131182 h 315039"/>
                <a:gd name="connsiteX103" fmla="*/ 75382 w 321468"/>
                <a:gd name="connsiteY103" fmla="*/ 133946 h 315039"/>
                <a:gd name="connsiteX104" fmla="*/ 82390 w 321468"/>
                <a:gd name="connsiteY104" fmla="*/ 141662 h 315039"/>
                <a:gd name="connsiteX105" fmla="*/ 78533 w 321468"/>
                <a:gd name="connsiteY105" fmla="*/ 143333 h 315039"/>
                <a:gd name="connsiteX106" fmla="*/ 67538 w 321468"/>
                <a:gd name="connsiteY106" fmla="*/ 147770 h 315039"/>
                <a:gd name="connsiteX107" fmla="*/ 59823 w 321468"/>
                <a:gd name="connsiteY107" fmla="*/ 155614 h 315039"/>
                <a:gd name="connsiteX108" fmla="*/ 53715 w 321468"/>
                <a:gd name="connsiteY108" fmla="*/ 165000 h 315039"/>
                <a:gd name="connsiteX109" fmla="*/ 46900 w 321468"/>
                <a:gd name="connsiteY109" fmla="*/ 159664 h 315039"/>
                <a:gd name="connsiteX110" fmla="*/ 45486 w 321468"/>
                <a:gd name="connsiteY110" fmla="*/ 166672 h 315039"/>
                <a:gd name="connsiteX111" fmla="*/ 38670 w 321468"/>
                <a:gd name="connsiteY111" fmla="*/ 170915 h 315039"/>
                <a:gd name="connsiteX112" fmla="*/ 26712 w 321468"/>
                <a:gd name="connsiteY112" fmla="*/ 175287 h 315039"/>
                <a:gd name="connsiteX113" fmla="*/ 33141 w 321468"/>
                <a:gd name="connsiteY113" fmla="*/ 180238 h 315039"/>
                <a:gd name="connsiteX114" fmla="*/ 22468 w 321468"/>
                <a:gd name="connsiteY114" fmla="*/ 180238 h 315039"/>
                <a:gd name="connsiteX115" fmla="*/ 16039 w 321468"/>
                <a:gd name="connsiteY115" fmla="*/ 184674 h 315039"/>
                <a:gd name="connsiteX116" fmla="*/ 10381 w 321468"/>
                <a:gd name="connsiteY116" fmla="*/ 190332 h 315039"/>
                <a:gd name="connsiteX117" fmla="*/ 5752 w 321468"/>
                <a:gd name="connsiteY117" fmla="*/ 191618 h 315039"/>
                <a:gd name="connsiteX118" fmla="*/ 94 w 321468"/>
                <a:gd name="connsiteY118" fmla="*/ 197147 h 315039"/>
                <a:gd name="connsiteX119" fmla="*/ 4852 w 321468"/>
                <a:gd name="connsiteY119" fmla="*/ 203577 h 315039"/>
                <a:gd name="connsiteX120" fmla="*/ 3373 w 321468"/>
                <a:gd name="connsiteY120" fmla="*/ 208206 h 315039"/>
                <a:gd name="connsiteX121" fmla="*/ 2087 w 321468"/>
                <a:gd name="connsiteY121" fmla="*/ 212771 h 315039"/>
                <a:gd name="connsiteX122" fmla="*/ 2087 w 321468"/>
                <a:gd name="connsiteY122" fmla="*/ 218686 h 315039"/>
                <a:gd name="connsiteX123" fmla="*/ 1187 w 321468"/>
                <a:gd name="connsiteY123" fmla="*/ 226208 h 315039"/>
                <a:gd name="connsiteX124" fmla="*/ 7617 w 321468"/>
                <a:gd name="connsiteY124" fmla="*/ 228201 h 315039"/>
                <a:gd name="connsiteX125" fmla="*/ 16425 w 321468"/>
                <a:gd name="connsiteY125" fmla="*/ 224922 h 315039"/>
                <a:gd name="connsiteX126" fmla="*/ 18611 w 321468"/>
                <a:gd name="connsiteY126" fmla="*/ 228780 h 315039"/>
                <a:gd name="connsiteX127" fmla="*/ 12181 w 321468"/>
                <a:gd name="connsiteY127" fmla="*/ 233923 h 315039"/>
                <a:gd name="connsiteX128" fmla="*/ 7231 w 321468"/>
                <a:gd name="connsiteY128" fmla="*/ 232637 h 315039"/>
                <a:gd name="connsiteX129" fmla="*/ 2987 w 321468"/>
                <a:gd name="connsiteY129" fmla="*/ 236302 h 315039"/>
                <a:gd name="connsiteX130" fmla="*/ 2087 w 321468"/>
                <a:gd name="connsiteY130" fmla="*/ 243632 h 315039"/>
                <a:gd name="connsiteX131" fmla="*/ 9095 w 321468"/>
                <a:gd name="connsiteY131" fmla="*/ 242732 h 315039"/>
                <a:gd name="connsiteX132" fmla="*/ 13930 w 321468"/>
                <a:gd name="connsiteY132" fmla="*/ 241446 h 315039"/>
                <a:gd name="connsiteX133" fmla="*/ 15525 w 321468"/>
                <a:gd name="connsiteY133" fmla="*/ 243439 h 315039"/>
                <a:gd name="connsiteX134" fmla="*/ 12374 w 321468"/>
                <a:gd name="connsiteY134" fmla="*/ 248389 h 315039"/>
                <a:gd name="connsiteX135" fmla="*/ 7231 w 321468"/>
                <a:gd name="connsiteY135" fmla="*/ 252247 h 315039"/>
                <a:gd name="connsiteX136" fmla="*/ 20090 w 321468"/>
                <a:gd name="connsiteY136" fmla="*/ 262534 h 315039"/>
                <a:gd name="connsiteX137" fmla="*/ 34620 w 321468"/>
                <a:gd name="connsiteY137" fmla="*/ 266392 h 315039"/>
                <a:gd name="connsiteX138" fmla="*/ 57766 w 321468"/>
                <a:gd name="connsiteY138" fmla="*/ 249354 h 315039"/>
                <a:gd name="connsiteX139" fmla="*/ 66381 w 321468"/>
                <a:gd name="connsiteY139" fmla="*/ 247489 h 315039"/>
                <a:gd name="connsiteX140" fmla="*/ 69532 w 321468"/>
                <a:gd name="connsiteY140" fmla="*/ 238488 h 315039"/>
                <a:gd name="connsiteX141" fmla="*/ 74482 w 321468"/>
                <a:gd name="connsiteY141" fmla="*/ 245303 h 315039"/>
                <a:gd name="connsiteX142" fmla="*/ 77440 w 321468"/>
                <a:gd name="connsiteY142" fmla="*/ 250897 h 315039"/>
                <a:gd name="connsiteX143" fmla="*/ 77440 w 321468"/>
                <a:gd name="connsiteY143" fmla="*/ 252118 h 315039"/>
                <a:gd name="connsiteX144" fmla="*/ 82905 w 321468"/>
                <a:gd name="connsiteY144" fmla="*/ 264591 h 315039"/>
                <a:gd name="connsiteX145" fmla="*/ 87341 w 321468"/>
                <a:gd name="connsiteY145" fmla="*/ 277450 h 315039"/>
                <a:gd name="connsiteX146" fmla="*/ 93770 w 321468"/>
                <a:gd name="connsiteY146" fmla="*/ 288637 h 315039"/>
                <a:gd name="connsiteX147" fmla="*/ 96342 w 321468"/>
                <a:gd name="connsiteY147" fmla="*/ 298024 h 315039"/>
                <a:gd name="connsiteX148" fmla="*/ 99814 w 321468"/>
                <a:gd name="connsiteY148" fmla="*/ 303746 h 315039"/>
                <a:gd name="connsiteX149" fmla="*/ 99814 w 321468"/>
                <a:gd name="connsiteY149" fmla="*/ 314162 h 315039"/>
                <a:gd name="connsiteX150" fmla="*/ 109587 w 321468"/>
                <a:gd name="connsiteY150" fmla="*/ 314162 h 315039"/>
                <a:gd name="connsiteX151" fmla="*/ 114151 w 321468"/>
                <a:gd name="connsiteY151" fmla="*/ 306768 h 315039"/>
                <a:gd name="connsiteX152" fmla="*/ 118009 w 321468"/>
                <a:gd name="connsiteY152" fmla="*/ 302718 h 315039"/>
                <a:gd name="connsiteX153" fmla="*/ 128296 w 321468"/>
                <a:gd name="connsiteY153" fmla="*/ 301817 h 315039"/>
                <a:gd name="connsiteX154" fmla="*/ 135433 w 321468"/>
                <a:gd name="connsiteY154" fmla="*/ 296095 h 315039"/>
                <a:gd name="connsiteX155" fmla="*/ 139869 w 321468"/>
                <a:gd name="connsiteY155" fmla="*/ 297960 h 315039"/>
                <a:gd name="connsiteX156" fmla="*/ 146877 w 321468"/>
                <a:gd name="connsiteY156" fmla="*/ 286194 h 315039"/>
                <a:gd name="connsiteX157" fmla="*/ 142441 w 321468"/>
                <a:gd name="connsiteY157" fmla="*/ 286966 h 315039"/>
                <a:gd name="connsiteX158" fmla="*/ 142441 w 321468"/>
                <a:gd name="connsiteY158" fmla="*/ 278286 h 315039"/>
                <a:gd name="connsiteX159" fmla="*/ 144498 w 321468"/>
                <a:gd name="connsiteY159" fmla="*/ 260670 h 315039"/>
                <a:gd name="connsiteX160" fmla="*/ 151442 w 321468"/>
                <a:gd name="connsiteY160" fmla="*/ 253147 h 315039"/>
                <a:gd name="connsiteX161" fmla="*/ 162693 w 321468"/>
                <a:gd name="connsiteY161" fmla="*/ 242667 h 315039"/>
                <a:gd name="connsiteX162" fmla="*/ 170023 w 321468"/>
                <a:gd name="connsiteY162" fmla="*/ 232573 h 315039"/>
                <a:gd name="connsiteX163" fmla="*/ 158257 w 321468"/>
                <a:gd name="connsiteY163" fmla="*/ 219714 h 315039"/>
                <a:gd name="connsiteX164" fmla="*/ 149449 w 321468"/>
                <a:gd name="connsiteY164" fmla="*/ 217335 h 315039"/>
                <a:gd name="connsiteX165" fmla="*/ 147970 w 321468"/>
                <a:gd name="connsiteY165" fmla="*/ 203384 h 315039"/>
                <a:gd name="connsiteX166" fmla="*/ 152535 w 321468"/>
                <a:gd name="connsiteY166" fmla="*/ 191232 h 315039"/>
                <a:gd name="connsiteX167" fmla="*/ 155878 w 321468"/>
                <a:gd name="connsiteY167" fmla="*/ 181652 h 315039"/>
                <a:gd name="connsiteX168" fmla="*/ 161729 w 321468"/>
                <a:gd name="connsiteY168" fmla="*/ 175995 h 315039"/>
                <a:gd name="connsiteX169" fmla="*/ 170408 w 321468"/>
                <a:gd name="connsiteY169" fmla="*/ 166222 h 315039"/>
                <a:gd name="connsiteX170" fmla="*/ 182110 w 321468"/>
                <a:gd name="connsiteY170" fmla="*/ 159471 h 315039"/>
                <a:gd name="connsiteX171" fmla="*/ 201398 w 321468"/>
                <a:gd name="connsiteY171" fmla="*/ 145134 h 315039"/>
                <a:gd name="connsiteX172" fmla="*/ 200112 w 321468"/>
                <a:gd name="connsiteY172" fmla="*/ 133175 h 315039"/>
                <a:gd name="connsiteX173" fmla="*/ 204870 w 321468"/>
                <a:gd name="connsiteY173" fmla="*/ 123081 h 315039"/>
                <a:gd name="connsiteX174" fmla="*/ 212971 w 321468"/>
                <a:gd name="connsiteY174" fmla="*/ 116652 h 315039"/>
                <a:gd name="connsiteX175" fmla="*/ 225830 w 321468"/>
                <a:gd name="connsiteY175" fmla="*/ 115366 h 315039"/>
                <a:gd name="connsiteX176" fmla="*/ 232580 w 321468"/>
                <a:gd name="connsiteY176" fmla="*/ 115366 h 315039"/>
                <a:gd name="connsiteX177" fmla="*/ 242610 w 321468"/>
                <a:gd name="connsiteY177" fmla="*/ 119480 h 315039"/>
                <a:gd name="connsiteX178" fmla="*/ 246982 w 321468"/>
                <a:gd name="connsiteY178" fmla="*/ 128996 h 315039"/>
                <a:gd name="connsiteX179" fmla="*/ 244796 w 321468"/>
                <a:gd name="connsiteY179" fmla="*/ 133432 h 315039"/>
                <a:gd name="connsiteX180" fmla="*/ 237981 w 321468"/>
                <a:gd name="connsiteY180" fmla="*/ 138897 h 315039"/>
                <a:gd name="connsiteX181" fmla="*/ 225122 w 321468"/>
                <a:gd name="connsiteY181" fmla="*/ 151434 h 315039"/>
                <a:gd name="connsiteX182" fmla="*/ 217793 w 321468"/>
                <a:gd name="connsiteY182" fmla="*/ 157092 h 315039"/>
                <a:gd name="connsiteX183" fmla="*/ 211364 w 321468"/>
                <a:gd name="connsiteY183" fmla="*/ 163907 h 315039"/>
                <a:gd name="connsiteX184" fmla="*/ 202684 w 321468"/>
                <a:gd name="connsiteY184" fmla="*/ 168151 h 315039"/>
                <a:gd name="connsiteX185" fmla="*/ 197219 w 321468"/>
                <a:gd name="connsiteY185" fmla="*/ 175995 h 315039"/>
                <a:gd name="connsiteX186" fmla="*/ 197219 w 321468"/>
                <a:gd name="connsiteY186" fmla="*/ 183195 h 315039"/>
                <a:gd name="connsiteX187" fmla="*/ 198505 w 321468"/>
                <a:gd name="connsiteY187" fmla="*/ 191811 h 315039"/>
                <a:gd name="connsiteX188" fmla="*/ 200755 w 321468"/>
                <a:gd name="connsiteY188" fmla="*/ 205763 h 315039"/>
                <a:gd name="connsiteX189" fmla="*/ 197412 w 321468"/>
                <a:gd name="connsiteY189" fmla="*/ 218621 h 315039"/>
                <a:gd name="connsiteX190" fmla="*/ 208985 w 321468"/>
                <a:gd name="connsiteY190" fmla="*/ 223186 h 315039"/>
                <a:gd name="connsiteX191" fmla="*/ 216507 w 321468"/>
                <a:gd name="connsiteY191" fmla="*/ 227237 h 315039"/>
                <a:gd name="connsiteX192" fmla="*/ 230137 w 321468"/>
                <a:gd name="connsiteY192" fmla="*/ 230194 h 315039"/>
                <a:gd name="connsiteX193" fmla="*/ 268714 w 321468"/>
                <a:gd name="connsiteY193" fmla="*/ 221322 h 315039"/>
                <a:gd name="connsiteX194" fmla="*/ 279836 w 321468"/>
                <a:gd name="connsiteY194" fmla="*/ 220100 h 315039"/>
                <a:gd name="connsiteX195" fmla="*/ 285816 w 321468"/>
                <a:gd name="connsiteY195" fmla="*/ 212513 h 315039"/>
                <a:gd name="connsiteX196" fmla="*/ 305104 w 321468"/>
                <a:gd name="connsiteY196" fmla="*/ 197083 h 315039"/>
                <a:gd name="connsiteX197" fmla="*/ 323492 w 321468"/>
                <a:gd name="connsiteY197" fmla="*/ 179466 h 315039"/>
                <a:gd name="connsiteX198" fmla="*/ 320020 w 321468"/>
                <a:gd name="connsiteY198" fmla="*/ 170401 h 315039"/>
                <a:gd name="connsiteX199" fmla="*/ 192783 w 321468"/>
                <a:gd name="connsiteY199" fmla="*/ 48629 h 315039"/>
                <a:gd name="connsiteX200" fmla="*/ 194004 w 321468"/>
                <a:gd name="connsiteY200" fmla="*/ 49336 h 315039"/>
                <a:gd name="connsiteX201" fmla="*/ 195226 w 321468"/>
                <a:gd name="connsiteY201" fmla="*/ 50236 h 315039"/>
                <a:gd name="connsiteX202" fmla="*/ 192783 w 321468"/>
                <a:gd name="connsiteY202" fmla="*/ 48629 h 31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321468" h="315039">
                  <a:moveTo>
                    <a:pt x="320020" y="170401"/>
                  </a:moveTo>
                  <a:cubicBezTo>
                    <a:pt x="315262" y="164872"/>
                    <a:pt x="304590" y="161207"/>
                    <a:pt x="304204" y="158250"/>
                  </a:cubicBezTo>
                  <a:cubicBezTo>
                    <a:pt x="303818" y="155292"/>
                    <a:pt x="312305" y="154971"/>
                    <a:pt x="311919" y="151241"/>
                  </a:cubicBezTo>
                  <a:cubicBezTo>
                    <a:pt x="311533" y="147512"/>
                    <a:pt x="307161" y="147577"/>
                    <a:pt x="305490" y="144812"/>
                  </a:cubicBezTo>
                  <a:cubicBezTo>
                    <a:pt x="303818" y="142047"/>
                    <a:pt x="307676" y="139990"/>
                    <a:pt x="307290" y="138383"/>
                  </a:cubicBezTo>
                  <a:cubicBezTo>
                    <a:pt x="306904" y="136775"/>
                    <a:pt x="301439" y="136197"/>
                    <a:pt x="300861" y="134332"/>
                  </a:cubicBezTo>
                  <a:cubicBezTo>
                    <a:pt x="300282" y="132468"/>
                    <a:pt x="304525" y="132918"/>
                    <a:pt x="303818" y="130668"/>
                  </a:cubicBezTo>
                  <a:cubicBezTo>
                    <a:pt x="303111" y="128417"/>
                    <a:pt x="299382" y="124238"/>
                    <a:pt x="301953" y="121152"/>
                  </a:cubicBezTo>
                  <a:cubicBezTo>
                    <a:pt x="304525" y="118066"/>
                    <a:pt x="310055" y="121152"/>
                    <a:pt x="306004" y="113758"/>
                  </a:cubicBezTo>
                  <a:cubicBezTo>
                    <a:pt x="301953" y="106365"/>
                    <a:pt x="295717" y="97235"/>
                    <a:pt x="294238" y="95049"/>
                  </a:cubicBezTo>
                  <a:cubicBezTo>
                    <a:pt x="292759" y="92863"/>
                    <a:pt x="295717" y="89134"/>
                    <a:pt x="297903" y="87719"/>
                  </a:cubicBezTo>
                  <a:cubicBezTo>
                    <a:pt x="300089" y="86305"/>
                    <a:pt x="305618" y="80711"/>
                    <a:pt x="305618" y="78525"/>
                  </a:cubicBezTo>
                  <a:cubicBezTo>
                    <a:pt x="305618" y="76339"/>
                    <a:pt x="298674" y="70424"/>
                    <a:pt x="296810" y="69331"/>
                  </a:cubicBezTo>
                  <a:cubicBezTo>
                    <a:pt x="294945" y="68238"/>
                    <a:pt x="290959" y="68624"/>
                    <a:pt x="289095" y="64895"/>
                  </a:cubicBezTo>
                  <a:cubicBezTo>
                    <a:pt x="287230" y="61166"/>
                    <a:pt x="285430" y="60137"/>
                    <a:pt x="287294" y="57951"/>
                  </a:cubicBezTo>
                  <a:cubicBezTo>
                    <a:pt x="288670" y="56106"/>
                    <a:pt x="289307" y="53811"/>
                    <a:pt x="289095" y="51522"/>
                  </a:cubicBezTo>
                  <a:cubicBezTo>
                    <a:pt x="289095" y="49336"/>
                    <a:pt x="293145" y="51136"/>
                    <a:pt x="293852" y="47857"/>
                  </a:cubicBezTo>
                  <a:cubicBezTo>
                    <a:pt x="294405" y="46089"/>
                    <a:pt x="295402" y="44501"/>
                    <a:pt x="296746" y="43228"/>
                  </a:cubicBezTo>
                  <a:cubicBezTo>
                    <a:pt x="298231" y="41595"/>
                    <a:pt x="300269" y="40585"/>
                    <a:pt x="302468" y="40399"/>
                  </a:cubicBezTo>
                  <a:cubicBezTo>
                    <a:pt x="306132" y="40399"/>
                    <a:pt x="309412" y="34934"/>
                    <a:pt x="312755" y="35641"/>
                  </a:cubicBezTo>
                  <a:cubicBezTo>
                    <a:pt x="316098" y="36349"/>
                    <a:pt x="318220" y="35641"/>
                    <a:pt x="319184" y="31205"/>
                  </a:cubicBezTo>
                  <a:cubicBezTo>
                    <a:pt x="316227" y="29341"/>
                    <a:pt x="310633" y="29083"/>
                    <a:pt x="309926" y="31591"/>
                  </a:cubicBezTo>
                  <a:cubicBezTo>
                    <a:pt x="309219" y="34098"/>
                    <a:pt x="304268" y="33841"/>
                    <a:pt x="304397" y="31076"/>
                  </a:cubicBezTo>
                  <a:cubicBezTo>
                    <a:pt x="304525" y="28312"/>
                    <a:pt x="296746" y="26126"/>
                    <a:pt x="296360" y="24647"/>
                  </a:cubicBezTo>
                  <a:cubicBezTo>
                    <a:pt x="295974" y="23168"/>
                    <a:pt x="299639" y="23490"/>
                    <a:pt x="302789" y="25161"/>
                  </a:cubicBezTo>
                  <a:cubicBezTo>
                    <a:pt x="305940" y="26833"/>
                    <a:pt x="307740" y="25740"/>
                    <a:pt x="311019" y="22590"/>
                  </a:cubicBezTo>
                  <a:cubicBezTo>
                    <a:pt x="314298" y="19439"/>
                    <a:pt x="318927" y="22075"/>
                    <a:pt x="319506" y="19311"/>
                  </a:cubicBezTo>
                  <a:cubicBezTo>
                    <a:pt x="320084" y="16546"/>
                    <a:pt x="314169" y="14682"/>
                    <a:pt x="313076" y="12881"/>
                  </a:cubicBezTo>
                  <a:cubicBezTo>
                    <a:pt x="310659" y="10348"/>
                    <a:pt x="307148" y="9165"/>
                    <a:pt x="303689" y="9731"/>
                  </a:cubicBezTo>
                  <a:cubicBezTo>
                    <a:pt x="299639" y="10438"/>
                    <a:pt x="299446" y="8831"/>
                    <a:pt x="297260" y="6580"/>
                  </a:cubicBezTo>
                  <a:cubicBezTo>
                    <a:pt x="295074" y="4330"/>
                    <a:pt x="287552" y="8059"/>
                    <a:pt x="287552" y="13010"/>
                  </a:cubicBezTo>
                  <a:cubicBezTo>
                    <a:pt x="287552" y="17961"/>
                    <a:pt x="282923" y="16868"/>
                    <a:pt x="284594" y="14103"/>
                  </a:cubicBezTo>
                  <a:cubicBezTo>
                    <a:pt x="286266" y="11338"/>
                    <a:pt x="282408" y="8059"/>
                    <a:pt x="286073" y="7159"/>
                  </a:cubicBezTo>
                  <a:cubicBezTo>
                    <a:pt x="289738" y="6259"/>
                    <a:pt x="287745" y="730"/>
                    <a:pt x="280929" y="151"/>
                  </a:cubicBezTo>
                  <a:cubicBezTo>
                    <a:pt x="274114" y="-428"/>
                    <a:pt x="271542" y="5295"/>
                    <a:pt x="273214" y="7159"/>
                  </a:cubicBezTo>
                  <a:cubicBezTo>
                    <a:pt x="274886" y="9024"/>
                    <a:pt x="268585" y="16868"/>
                    <a:pt x="265885" y="16868"/>
                  </a:cubicBezTo>
                  <a:cubicBezTo>
                    <a:pt x="263184" y="16868"/>
                    <a:pt x="266206" y="10117"/>
                    <a:pt x="265885" y="6388"/>
                  </a:cubicBezTo>
                  <a:cubicBezTo>
                    <a:pt x="265563" y="2659"/>
                    <a:pt x="263120" y="4780"/>
                    <a:pt x="257977" y="10631"/>
                  </a:cubicBezTo>
                  <a:cubicBezTo>
                    <a:pt x="252833" y="16482"/>
                    <a:pt x="248975" y="21818"/>
                    <a:pt x="246018" y="22397"/>
                  </a:cubicBezTo>
                  <a:cubicBezTo>
                    <a:pt x="243060" y="22976"/>
                    <a:pt x="243446" y="17060"/>
                    <a:pt x="248204" y="14489"/>
                  </a:cubicBezTo>
                  <a:cubicBezTo>
                    <a:pt x="252962" y="11917"/>
                    <a:pt x="253155" y="4973"/>
                    <a:pt x="256305" y="4973"/>
                  </a:cubicBezTo>
                  <a:cubicBezTo>
                    <a:pt x="259455" y="4973"/>
                    <a:pt x="259455" y="1244"/>
                    <a:pt x="254826" y="151"/>
                  </a:cubicBezTo>
                  <a:cubicBezTo>
                    <a:pt x="250197" y="-942"/>
                    <a:pt x="249490" y="4202"/>
                    <a:pt x="248011" y="5680"/>
                  </a:cubicBezTo>
                  <a:cubicBezTo>
                    <a:pt x="246532" y="7159"/>
                    <a:pt x="239010" y="3109"/>
                    <a:pt x="239203" y="4587"/>
                  </a:cubicBezTo>
                  <a:cubicBezTo>
                    <a:pt x="239396" y="6066"/>
                    <a:pt x="235152" y="6580"/>
                    <a:pt x="237017" y="9345"/>
                  </a:cubicBezTo>
                  <a:cubicBezTo>
                    <a:pt x="238881" y="12110"/>
                    <a:pt x="236117" y="14489"/>
                    <a:pt x="234252" y="11210"/>
                  </a:cubicBezTo>
                  <a:cubicBezTo>
                    <a:pt x="232388" y="7931"/>
                    <a:pt x="227823" y="10438"/>
                    <a:pt x="225637" y="14103"/>
                  </a:cubicBezTo>
                  <a:cubicBezTo>
                    <a:pt x="223451" y="17768"/>
                    <a:pt x="220493" y="17639"/>
                    <a:pt x="222679" y="18925"/>
                  </a:cubicBezTo>
                  <a:cubicBezTo>
                    <a:pt x="224447" y="20410"/>
                    <a:pt x="224672" y="23046"/>
                    <a:pt x="223194" y="24814"/>
                  </a:cubicBezTo>
                  <a:cubicBezTo>
                    <a:pt x="222711" y="25380"/>
                    <a:pt x="222094" y="25811"/>
                    <a:pt x="221393" y="26061"/>
                  </a:cubicBezTo>
                  <a:cubicBezTo>
                    <a:pt x="218114" y="27026"/>
                    <a:pt x="219400" y="17060"/>
                    <a:pt x="216829" y="17961"/>
                  </a:cubicBezTo>
                  <a:cubicBezTo>
                    <a:pt x="214257" y="18861"/>
                    <a:pt x="215864" y="13203"/>
                    <a:pt x="219400" y="13203"/>
                  </a:cubicBezTo>
                  <a:cubicBezTo>
                    <a:pt x="222634" y="12528"/>
                    <a:pt x="225155" y="10007"/>
                    <a:pt x="225830" y="6773"/>
                  </a:cubicBezTo>
                  <a:cubicBezTo>
                    <a:pt x="225251" y="4652"/>
                    <a:pt x="221458" y="5102"/>
                    <a:pt x="221458" y="7866"/>
                  </a:cubicBezTo>
                  <a:cubicBezTo>
                    <a:pt x="221458" y="10631"/>
                    <a:pt x="215928" y="10117"/>
                    <a:pt x="211364" y="9924"/>
                  </a:cubicBezTo>
                  <a:cubicBezTo>
                    <a:pt x="206799" y="9731"/>
                    <a:pt x="206927" y="15260"/>
                    <a:pt x="212071" y="18153"/>
                  </a:cubicBezTo>
                  <a:cubicBezTo>
                    <a:pt x="217214" y="21047"/>
                    <a:pt x="211171" y="22976"/>
                    <a:pt x="208599" y="20725"/>
                  </a:cubicBezTo>
                  <a:cubicBezTo>
                    <a:pt x="205712" y="18996"/>
                    <a:pt x="202099" y="18996"/>
                    <a:pt x="199212" y="20725"/>
                  </a:cubicBezTo>
                  <a:cubicBezTo>
                    <a:pt x="196447" y="22011"/>
                    <a:pt x="205641" y="25354"/>
                    <a:pt x="206220" y="27155"/>
                  </a:cubicBezTo>
                  <a:cubicBezTo>
                    <a:pt x="206799" y="28955"/>
                    <a:pt x="201398" y="25161"/>
                    <a:pt x="200305" y="26447"/>
                  </a:cubicBezTo>
                  <a:cubicBezTo>
                    <a:pt x="199212" y="27733"/>
                    <a:pt x="193876" y="25547"/>
                    <a:pt x="193876" y="22397"/>
                  </a:cubicBezTo>
                  <a:cubicBezTo>
                    <a:pt x="193876" y="19246"/>
                    <a:pt x="185260" y="23683"/>
                    <a:pt x="189889" y="24776"/>
                  </a:cubicBezTo>
                  <a:cubicBezTo>
                    <a:pt x="194519" y="25869"/>
                    <a:pt x="192783" y="28826"/>
                    <a:pt x="192783" y="32877"/>
                  </a:cubicBezTo>
                  <a:cubicBezTo>
                    <a:pt x="192783" y="36927"/>
                    <a:pt x="187446" y="33777"/>
                    <a:pt x="188604" y="30305"/>
                  </a:cubicBezTo>
                  <a:cubicBezTo>
                    <a:pt x="189761" y="26833"/>
                    <a:pt x="185260" y="27540"/>
                    <a:pt x="181596" y="29726"/>
                  </a:cubicBezTo>
                  <a:cubicBezTo>
                    <a:pt x="177931" y="31912"/>
                    <a:pt x="182174" y="25676"/>
                    <a:pt x="180696" y="22590"/>
                  </a:cubicBezTo>
                  <a:cubicBezTo>
                    <a:pt x="179217" y="19504"/>
                    <a:pt x="175873" y="22590"/>
                    <a:pt x="172016" y="23297"/>
                  </a:cubicBezTo>
                  <a:cubicBezTo>
                    <a:pt x="168158" y="24004"/>
                    <a:pt x="166165" y="24261"/>
                    <a:pt x="168544" y="26833"/>
                  </a:cubicBezTo>
                  <a:cubicBezTo>
                    <a:pt x="170923" y="29405"/>
                    <a:pt x="170601" y="33263"/>
                    <a:pt x="167451" y="32491"/>
                  </a:cubicBezTo>
                  <a:cubicBezTo>
                    <a:pt x="164300" y="31719"/>
                    <a:pt x="163015" y="32491"/>
                    <a:pt x="163400" y="35449"/>
                  </a:cubicBezTo>
                  <a:cubicBezTo>
                    <a:pt x="163786" y="38406"/>
                    <a:pt x="159350" y="38534"/>
                    <a:pt x="158964" y="36027"/>
                  </a:cubicBezTo>
                  <a:cubicBezTo>
                    <a:pt x="158578" y="33520"/>
                    <a:pt x="152535" y="34163"/>
                    <a:pt x="150542" y="37120"/>
                  </a:cubicBezTo>
                  <a:cubicBezTo>
                    <a:pt x="148549" y="40078"/>
                    <a:pt x="143534" y="42264"/>
                    <a:pt x="144112" y="45542"/>
                  </a:cubicBezTo>
                  <a:cubicBezTo>
                    <a:pt x="144691" y="48822"/>
                    <a:pt x="148677" y="43871"/>
                    <a:pt x="152020" y="44964"/>
                  </a:cubicBezTo>
                  <a:cubicBezTo>
                    <a:pt x="155364" y="46057"/>
                    <a:pt x="152020" y="47729"/>
                    <a:pt x="153692" y="49400"/>
                  </a:cubicBezTo>
                  <a:cubicBezTo>
                    <a:pt x="155364" y="51072"/>
                    <a:pt x="155107" y="55122"/>
                    <a:pt x="152535" y="52744"/>
                  </a:cubicBezTo>
                  <a:cubicBezTo>
                    <a:pt x="149963" y="50365"/>
                    <a:pt x="146684" y="49593"/>
                    <a:pt x="146105" y="53451"/>
                  </a:cubicBezTo>
                  <a:cubicBezTo>
                    <a:pt x="145527" y="57308"/>
                    <a:pt x="142826" y="52872"/>
                    <a:pt x="140640" y="50107"/>
                  </a:cubicBezTo>
                  <a:cubicBezTo>
                    <a:pt x="138454" y="47343"/>
                    <a:pt x="136204" y="55315"/>
                    <a:pt x="133825" y="53451"/>
                  </a:cubicBezTo>
                  <a:cubicBezTo>
                    <a:pt x="131446" y="51586"/>
                    <a:pt x="138583" y="45928"/>
                    <a:pt x="136783" y="43164"/>
                  </a:cubicBezTo>
                  <a:cubicBezTo>
                    <a:pt x="134983" y="40399"/>
                    <a:pt x="133632" y="44835"/>
                    <a:pt x="129389" y="49014"/>
                  </a:cubicBezTo>
                  <a:cubicBezTo>
                    <a:pt x="125146" y="53193"/>
                    <a:pt x="119488" y="53065"/>
                    <a:pt x="121545" y="55122"/>
                  </a:cubicBezTo>
                  <a:cubicBezTo>
                    <a:pt x="123603" y="57180"/>
                    <a:pt x="117302" y="58208"/>
                    <a:pt x="116209" y="61552"/>
                  </a:cubicBezTo>
                  <a:cubicBezTo>
                    <a:pt x="115116" y="64895"/>
                    <a:pt x="106436" y="66374"/>
                    <a:pt x="100907" y="70039"/>
                  </a:cubicBezTo>
                  <a:cubicBezTo>
                    <a:pt x="95378" y="73703"/>
                    <a:pt x="102064" y="73896"/>
                    <a:pt x="105150" y="70424"/>
                  </a:cubicBezTo>
                  <a:cubicBezTo>
                    <a:pt x="108236" y="66952"/>
                    <a:pt x="109394" y="68946"/>
                    <a:pt x="114344" y="65795"/>
                  </a:cubicBezTo>
                  <a:cubicBezTo>
                    <a:pt x="119295" y="62645"/>
                    <a:pt x="124631" y="60137"/>
                    <a:pt x="126496" y="61423"/>
                  </a:cubicBezTo>
                  <a:cubicBezTo>
                    <a:pt x="128592" y="63178"/>
                    <a:pt x="131716" y="62902"/>
                    <a:pt x="133472" y="60812"/>
                  </a:cubicBezTo>
                  <a:cubicBezTo>
                    <a:pt x="133600" y="60658"/>
                    <a:pt x="133716" y="60497"/>
                    <a:pt x="133825" y="60330"/>
                  </a:cubicBezTo>
                  <a:cubicBezTo>
                    <a:pt x="135131" y="58093"/>
                    <a:pt x="138004" y="57328"/>
                    <a:pt x="140242" y="58633"/>
                  </a:cubicBezTo>
                  <a:cubicBezTo>
                    <a:pt x="140737" y="58922"/>
                    <a:pt x="141180" y="59301"/>
                    <a:pt x="141540" y="59752"/>
                  </a:cubicBezTo>
                  <a:cubicBezTo>
                    <a:pt x="143919" y="61745"/>
                    <a:pt x="137490" y="63416"/>
                    <a:pt x="140448" y="66181"/>
                  </a:cubicBezTo>
                  <a:cubicBezTo>
                    <a:pt x="143405" y="68946"/>
                    <a:pt x="136976" y="70746"/>
                    <a:pt x="136976" y="68174"/>
                  </a:cubicBezTo>
                  <a:cubicBezTo>
                    <a:pt x="136976" y="65602"/>
                    <a:pt x="133247" y="63416"/>
                    <a:pt x="131961" y="65795"/>
                  </a:cubicBezTo>
                  <a:cubicBezTo>
                    <a:pt x="130675" y="68174"/>
                    <a:pt x="128489" y="70746"/>
                    <a:pt x="126110" y="70939"/>
                  </a:cubicBezTo>
                  <a:cubicBezTo>
                    <a:pt x="123731" y="71131"/>
                    <a:pt x="121159" y="75568"/>
                    <a:pt x="121159" y="79940"/>
                  </a:cubicBezTo>
                  <a:cubicBezTo>
                    <a:pt x="121159" y="84312"/>
                    <a:pt x="116916" y="79940"/>
                    <a:pt x="116595" y="83797"/>
                  </a:cubicBezTo>
                  <a:cubicBezTo>
                    <a:pt x="114158" y="89886"/>
                    <a:pt x="110217" y="95261"/>
                    <a:pt x="105150" y="99421"/>
                  </a:cubicBezTo>
                  <a:cubicBezTo>
                    <a:pt x="100007" y="104371"/>
                    <a:pt x="104829" y="105464"/>
                    <a:pt x="103157" y="108615"/>
                  </a:cubicBezTo>
                  <a:cubicBezTo>
                    <a:pt x="101486" y="111765"/>
                    <a:pt x="95442" y="109001"/>
                    <a:pt x="93449" y="110286"/>
                  </a:cubicBezTo>
                  <a:cubicBezTo>
                    <a:pt x="91456" y="111572"/>
                    <a:pt x="94542" y="119287"/>
                    <a:pt x="91777" y="121666"/>
                  </a:cubicBezTo>
                  <a:cubicBezTo>
                    <a:pt x="89013" y="124045"/>
                    <a:pt x="91777" y="127324"/>
                    <a:pt x="91777" y="130089"/>
                  </a:cubicBezTo>
                  <a:cubicBezTo>
                    <a:pt x="91777" y="132854"/>
                    <a:pt x="84576" y="128482"/>
                    <a:pt x="84062" y="131182"/>
                  </a:cubicBezTo>
                  <a:cubicBezTo>
                    <a:pt x="83548" y="133882"/>
                    <a:pt x="77247" y="133239"/>
                    <a:pt x="75382" y="133946"/>
                  </a:cubicBezTo>
                  <a:cubicBezTo>
                    <a:pt x="73518" y="134654"/>
                    <a:pt x="79111" y="139090"/>
                    <a:pt x="82390" y="141662"/>
                  </a:cubicBezTo>
                  <a:cubicBezTo>
                    <a:pt x="85669" y="144233"/>
                    <a:pt x="79240" y="146291"/>
                    <a:pt x="78533" y="143333"/>
                  </a:cubicBezTo>
                  <a:cubicBezTo>
                    <a:pt x="77826" y="140376"/>
                    <a:pt x="73196" y="145134"/>
                    <a:pt x="67538" y="147770"/>
                  </a:cubicBezTo>
                  <a:cubicBezTo>
                    <a:pt x="61881" y="150406"/>
                    <a:pt x="64195" y="155485"/>
                    <a:pt x="59823" y="155614"/>
                  </a:cubicBezTo>
                  <a:cubicBezTo>
                    <a:pt x="55451" y="155742"/>
                    <a:pt x="56673" y="162814"/>
                    <a:pt x="53715" y="165000"/>
                  </a:cubicBezTo>
                  <a:cubicBezTo>
                    <a:pt x="50758" y="167186"/>
                    <a:pt x="51529" y="159857"/>
                    <a:pt x="46900" y="159664"/>
                  </a:cubicBezTo>
                  <a:cubicBezTo>
                    <a:pt x="42271" y="159471"/>
                    <a:pt x="42721" y="162814"/>
                    <a:pt x="45486" y="166672"/>
                  </a:cubicBezTo>
                  <a:cubicBezTo>
                    <a:pt x="48250" y="170530"/>
                    <a:pt x="41242" y="167572"/>
                    <a:pt x="38670" y="170915"/>
                  </a:cubicBezTo>
                  <a:cubicBezTo>
                    <a:pt x="36099" y="174259"/>
                    <a:pt x="28769" y="172523"/>
                    <a:pt x="26712" y="175287"/>
                  </a:cubicBezTo>
                  <a:cubicBezTo>
                    <a:pt x="24654" y="178052"/>
                    <a:pt x="32241" y="178052"/>
                    <a:pt x="33141" y="180238"/>
                  </a:cubicBezTo>
                  <a:cubicBezTo>
                    <a:pt x="34041" y="182424"/>
                    <a:pt x="26712" y="181331"/>
                    <a:pt x="22468" y="180238"/>
                  </a:cubicBezTo>
                  <a:cubicBezTo>
                    <a:pt x="18225" y="179145"/>
                    <a:pt x="19575" y="185381"/>
                    <a:pt x="16039" y="184674"/>
                  </a:cubicBezTo>
                  <a:cubicBezTo>
                    <a:pt x="12503" y="183967"/>
                    <a:pt x="7810" y="187760"/>
                    <a:pt x="10381" y="190332"/>
                  </a:cubicBezTo>
                  <a:cubicBezTo>
                    <a:pt x="12953" y="192904"/>
                    <a:pt x="8324" y="193290"/>
                    <a:pt x="5752" y="191618"/>
                  </a:cubicBezTo>
                  <a:cubicBezTo>
                    <a:pt x="3180" y="189946"/>
                    <a:pt x="994" y="193997"/>
                    <a:pt x="94" y="197147"/>
                  </a:cubicBezTo>
                  <a:cubicBezTo>
                    <a:pt x="-806" y="200298"/>
                    <a:pt x="5045" y="201905"/>
                    <a:pt x="4852" y="203577"/>
                  </a:cubicBezTo>
                  <a:cubicBezTo>
                    <a:pt x="4659" y="205248"/>
                    <a:pt x="94" y="207434"/>
                    <a:pt x="3373" y="208206"/>
                  </a:cubicBezTo>
                  <a:cubicBezTo>
                    <a:pt x="6652" y="208977"/>
                    <a:pt x="4338" y="211871"/>
                    <a:pt x="2087" y="212771"/>
                  </a:cubicBezTo>
                  <a:cubicBezTo>
                    <a:pt x="-163" y="213671"/>
                    <a:pt x="-99" y="215921"/>
                    <a:pt x="2087" y="218686"/>
                  </a:cubicBezTo>
                  <a:cubicBezTo>
                    <a:pt x="4273" y="221450"/>
                    <a:pt x="-1770" y="221965"/>
                    <a:pt x="1187" y="226208"/>
                  </a:cubicBezTo>
                  <a:cubicBezTo>
                    <a:pt x="4145" y="230451"/>
                    <a:pt x="6331" y="225051"/>
                    <a:pt x="7617" y="228201"/>
                  </a:cubicBezTo>
                  <a:cubicBezTo>
                    <a:pt x="8903" y="231352"/>
                    <a:pt x="12374" y="228587"/>
                    <a:pt x="16425" y="224922"/>
                  </a:cubicBezTo>
                  <a:cubicBezTo>
                    <a:pt x="20475" y="221257"/>
                    <a:pt x="21954" y="228973"/>
                    <a:pt x="18611" y="228780"/>
                  </a:cubicBezTo>
                  <a:cubicBezTo>
                    <a:pt x="15268" y="228587"/>
                    <a:pt x="11474" y="230580"/>
                    <a:pt x="12181" y="233923"/>
                  </a:cubicBezTo>
                  <a:cubicBezTo>
                    <a:pt x="12889" y="237267"/>
                    <a:pt x="7038" y="236688"/>
                    <a:pt x="7231" y="232637"/>
                  </a:cubicBezTo>
                  <a:cubicBezTo>
                    <a:pt x="7424" y="228587"/>
                    <a:pt x="802" y="233345"/>
                    <a:pt x="2987" y="236302"/>
                  </a:cubicBezTo>
                  <a:cubicBezTo>
                    <a:pt x="5173" y="239260"/>
                    <a:pt x="2087" y="240867"/>
                    <a:pt x="2087" y="243632"/>
                  </a:cubicBezTo>
                  <a:cubicBezTo>
                    <a:pt x="2087" y="246396"/>
                    <a:pt x="7038" y="245818"/>
                    <a:pt x="9095" y="242732"/>
                  </a:cubicBezTo>
                  <a:cubicBezTo>
                    <a:pt x="10079" y="241041"/>
                    <a:pt x="12239" y="240468"/>
                    <a:pt x="13930" y="241446"/>
                  </a:cubicBezTo>
                  <a:cubicBezTo>
                    <a:pt x="14689" y="241889"/>
                    <a:pt x="15261" y="242603"/>
                    <a:pt x="15525" y="243439"/>
                  </a:cubicBezTo>
                  <a:cubicBezTo>
                    <a:pt x="16811" y="246589"/>
                    <a:pt x="12374" y="244210"/>
                    <a:pt x="12374" y="248389"/>
                  </a:cubicBezTo>
                  <a:cubicBezTo>
                    <a:pt x="12374" y="252568"/>
                    <a:pt x="9610" y="248968"/>
                    <a:pt x="7231" y="252247"/>
                  </a:cubicBezTo>
                  <a:cubicBezTo>
                    <a:pt x="4852" y="255526"/>
                    <a:pt x="16618" y="261634"/>
                    <a:pt x="20090" y="262534"/>
                  </a:cubicBezTo>
                  <a:cubicBezTo>
                    <a:pt x="23562" y="263434"/>
                    <a:pt x="27226" y="267549"/>
                    <a:pt x="34620" y="266392"/>
                  </a:cubicBezTo>
                  <a:cubicBezTo>
                    <a:pt x="42014" y="265234"/>
                    <a:pt x="55901" y="251733"/>
                    <a:pt x="57766" y="249354"/>
                  </a:cubicBezTo>
                  <a:cubicBezTo>
                    <a:pt x="59630" y="246975"/>
                    <a:pt x="63616" y="249675"/>
                    <a:pt x="66381" y="247489"/>
                  </a:cubicBezTo>
                  <a:cubicBezTo>
                    <a:pt x="69146" y="245303"/>
                    <a:pt x="67474" y="239581"/>
                    <a:pt x="69532" y="238488"/>
                  </a:cubicBezTo>
                  <a:cubicBezTo>
                    <a:pt x="71589" y="237395"/>
                    <a:pt x="72618" y="244532"/>
                    <a:pt x="74482" y="245303"/>
                  </a:cubicBezTo>
                  <a:cubicBezTo>
                    <a:pt x="76347" y="246075"/>
                    <a:pt x="77311" y="247232"/>
                    <a:pt x="77440" y="250897"/>
                  </a:cubicBezTo>
                  <a:lnTo>
                    <a:pt x="77440" y="252118"/>
                  </a:lnTo>
                  <a:cubicBezTo>
                    <a:pt x="77144" y="256915"/>
                    <a:pt x="79182" y="261557"/>
                    <a:pt x="82905" y="264591"/>
                  </a:cubicBezTo>
                  <a:cubicBezTo>
                    <a:pt x="86955" y="267870"/>
                    <a:pt x="83869" y="272821"/>
                    <a:pt x="87341" y="277450"/>
                  </a:cubicBezTo>
                  <a:cubicBezTo>
                    <a:pt x="90813" y="282079"/>
                    <a:pt x="89720" y="285358"/>
                    <a:pt x="93770" y="288637"/>
                  </a:cubicBezTo>
                  <a:cubicBezTo>
                    <a:pt x="97821" y="291916"/>
                    <a:pt x="98014" y="293781"/>
                    <a:pt x="96342" y="298024"/>
                  </a:cubicBezTo>
                  <a:cubicBezTo>
                    <a:pt x="94670" y="302268"/>
                    <a:pt x="99621" y="301175"/>
                    <a:pt x="99814" y="303746"/>
                  </a:cubicBezTo>
                  <a:cubicBezTo>
                    <a:pt x="100007" y="306318"/>
                    <a:pt x="98721" y="311590"/>
                    <a:pt x="99814" y="314162"/>
                  </a:cubicBezTo>
                  <a:cubicBezTo>
                    <a:pt x="100907" y="316734"/>
                    <a:pt x="103672" y="314162"/>
                    <a:pt x="109587" y="314162"/>
                  </a:cubicBezTo>
                  <a:cubicBezTo>
                    <a:pt x="115502" y="314162"/>
                    <a:pt x="113959" y="310304"/>
                    <a:pt x="114151" y="306768"/>
                  </a:cubicBezTo>
                  <a:cubicBezTo>
                    <a:pt x="114344" y="303232"/>
                    <a:pt x="117302" y="304968"/>
                    <a:pt x="118009" y="302718"/>
                  </a:cubicBezTo>
                  <a:cubicBezTo>
                    <a:pt x="118716" y="300467"/>
                    <a:pt x="124053" y="300017"/>
                    <a:pt x="128296" y="301817"/>
                  </a:cubicBezTo>
                  <a:cubicBezTo>
                    <a:pt x="132539" y="303618"/>
                    <a:pt x="134725" y="300532"/>
                    <a:pt x="135433" y="296095"/>
                  </a:cubicBezTo>
                  <a:cubicBezTo>
                    <a:pt x="136140" y="291659"/>
                    <a:pt x="138583" y="297060"/>
                    <a:pt x="139869" y="297960"/>
                  </a:cubicBezTo>
                  <a:cubicBezTo>
                    <a:pt x="141155" y="298860"/>
                    <a:pt x="145012" y="291145"/>
                    <a:pt x="146877" y="286194"/>
                  </a:cubicBezTo>
                  <a:cubicBezTo>
                    <a:pt x="148742" y="281243"/>
                    <a:pt x="146877" y="282144"/>
                    <a:pt x="142441" y="286966"/>
                  </a:cubicBezTo>
                  <a:cubicBezTo>
                    <a:pt x="138004" y="291788"/>
                    <a:pt x="140576" y="282144"/>
                    <a:pt x="142441" y="278286"/>
                  </a:cubicBezTo>
                  <a:cubicBezTo>
                    <a:pt x="143591" y="272480"/>
                    <a:pt x="144280" y="266584"/>
                    <a:pt x="144498" y="260670"/>
                  </a:cubicBezTo>
                  <a:cubicBezTo>
                    <a:pt x="144826" y="256870"/>
                    <a:pt x="147681" y="253777"/>
                    <a:pt x="151442" y="253147"/>
                  </a:cubicBezTo>
                  <a:cubicBezTo>
                    <a:pt x="156778" y="252054"/>
                    <a:pt x="163786" y="245432"/>
                    <a:pt x="162693" y="242667"/>
                  </a:cubicBezTo>
                  <a:cubicBezTo>
                    <a:pt x="161600" y="239903"/>
                    <a:pt x="170023" y="235338"/>
                    <a:pt x="170023" y="232573"/>
                  </a:cubicBezTo>
                  <a:cubicBezTo>
                    <a:pt x="170023" y="229808"/>
                    <a:pt x="161215" y="221322"/>
                    <a:pt x="158257" y="219714"/>
                  </a:cubicBezTo>
                  <a:cubicBezTo>
                    <a:pt x="155299" y="218107"/>
                    <a:pt x="148870" y="219329"/>
                    <a:pt x="149449" y="217335"/>
                  </a:cubicBezTo>
                  <a:cubicBezTo>
                    <a:pt x="149468" y="212642"/>
                    <a:pt x="148973" y="207968"/>
                    <a:pt x="147970" y="203384"/>
                  </a:cubicBezTo>
                  <a:cubicBezTo>
                    <a:pt x="147198" y="199333"/>
                    <a:pt x="152535" y="195090"/>
                    <a:pt x="152535" y="191232"/>
                  </a:cubicBezTo>
                  <a:cubicBezTo>
                    <a:pt x="152535" y="187375"/>
                    <a:pt x="152535" y="182938"/>
                    <a:pt x="155878" y="181652"/>
                  </a:cubicBezTo>
                  <a:cubicBezTo>
                    <a:pt x="159221" y="180366"/>
                    <a:pt x="157164" y="177088"/>
                    <a:pt x="161729" y="175995"/>
                  </a:cubicBezTo>
                  <a:cubicBezTo>
                    <a:pt x="166294" y="174902"/>
                    <a:pt x="165394" y="168279"/>
                    <a:pt x="170408" y="166222"/>
                  </a:cubicBezTo>
                  <a:cubicBezTo>
                    <a:pt x="175423" y="164165"/>
                    <a:pt x="175681" y="162557"/>
                    <a:pt x="182110" y="159471"/>
                  </a:cubicBezTo>
                  <a:cubicBezTo>
                    <a:pt x="189472" y="156096"/>
                    <a:pt x="196042" y="151209"/>
                    <a:pt x="201398" y="145134"/>
                  </a:cubicBezTo>
                  <a:cubicBezTo>
                    <a:pt x="203198" y="141276"/>
                    <a:pt x="194969" y="137225"/>
                    <a:pt x="200112" y="133175"/>
                  </a:cubicBezTo>
                  <a:cubicBezTo>
                    <a:pt x="205256" y="129124"/>
                    <a:pt x="201012" y="124560"/>
                    <a:pt x="204870" y="123081"/>
                  </a:cubicBezTo>
                  <a:cubicBezTo>
                    <a:pt x="208091" y="121698"/>
                    <a:pt x="210888" y="119474"/>
                    <a:pt x="212971" y="116652"/>
                  </a:cubicBezTo>
                  <a:cubicBezTo>
                    <a:pt x="215671" y="113694"/>
                    <a:pt x="219400" y="116652"/>
                    <a:pt x="225830" y="115366"/>
                  </a:cubicBezTo>
                  <a:cubicBezTo>
                    <a:pt x="228054" y="114909"/>
                    <a:pt x="230356" y="114909"/>
                    <a:pt x="232580" y="115366"/>
                  </a:cubicBezTo>
                  <a:cubicBezTo>
                    <a:pt x="236052" y="116407"/>
                    <a:pt x="239408" y="117783"/>
                    <a:pt x="242610" y="119480"/>
                  </a:cubicBezTo>
                  <a:cubicBezTo>
                    <a:pt x="247561" y="121666"/>
                    <a:pt x="246789" y="125138"/>
                    <a:pt x="246982" y="128996"/>
                  </a:cubicBezTo>
                  <a:cubicBezTo>
                    <a:pt x="247175" y="132854"/>
                    <a:pt x="247368" y="135039"/>
                    <a:pt x="244796" y="133432"/>
                  </a:cubicBezTo>
                  <a:cubicBezTo>
                    <a:pt x="242224" y="131825"/>
                    <a:pt x="239460" y="133432"/>
                    <a:pt x="237981" y="138897"/>
                  </a:cubicBezTo>
                  <a:cubicBezTo>
                    <a:pt x="235937" y="144883"/>
                    <a:pt x="231160" y="149544"/>
                    <a:pt x="225122" y="151434"/>
                  </a:cubicBezTo>
                  <a:cubicBezTo>
                    <a:pt x="220879" y="151756"/>
                    <a:pt x="221265" y="156192"/>
                    <a:pt x="217793" y="157092"/>
                  </a:cubicBezTo>
                  <a:cubicBezTo>
                    <a:pt x="214321" y="157992"/>
                    <a:pt x="210978" y="160050"/>
                    <a:pt x="211364" y="163907"/>
                  </a:cubicBezTo>
                  <a:cubicBezTo>
                    <a:pt x="211749" y="167765"/>
                    <a:pt x="206220" y="168151"/>
                    <a:pt x="202684" y="168151"/>
                  </a:cubicBezTo>
                  <a:cubicBezTo>
                    <a:pt x="199148" y="168151"/>
                    <a:pt x="199984" y="174580"/>
                    <a:pt x="197219" y="175995"/>
                  </a:cubicBezTo>
                  <a:cubicBezTo>
                    <a:pt x="194454" y="177409"/>
                    <a:pt x="194969" y="179852"/>
                    <a:pt x="197219" y="183195"/>
                  </a:cubicBezTo>
                  <a:cubicBezTo>
                    <a:pt x="199469" y="186539"/>
                    <a:pt x="197605" y="189625"/>
                    <a:pt x="198505" y="191811"/>
                  </a:cubicBezTo>
                  <a:cubicBezTo>
                    <a:pt x="201366" y="195861"/>
                    <a:pt x="202202" y="201011"/>
                    <a:pt x="200755" y="205763"/>
                  </a:cubicBezTo>
                  <a:cubicBezTo>
                    <a:pt x="197991" y="212192"/>
                    <a:pt x="195033" y="219393"/>
                    <a:pt x="197412" y="218621"/>
                  </a:cubicBezTo>
                  <a:cubicBezTo>
                    <a:pt x="199791" y="217850"/>
                    <a:pt x="205320" y="223572"/>
                    <a:pt x="208985" y="223186"/>
                  </a:cubicBezTo>
                  <a:cubicBezTo>
                    <a:pt x="212650" y="222800"/>
                    <a:pt x="213035" y="228330"/>
                    <a:pt x="216507" y="227237"/>
                  </a:cubicBezTo>
                  <a:cubicBezTo>
                    <a:pt x="219979" y="226144"/>
                    <a:pt x="220043" y="230516"/>
                    <a:pt x="230137" y="230194"/>
                  </a:cubicBezTo>
                  <a:cubicBezTo>
                    <a:pt x="240231" y="229873"/>
                    <a:pt x="260613" y="221322"/>
                    <a:pt x="268714" y="221322"/>
                  </a:cubicBezTo>
                  <a:cubicBezTo>
                    <a:pt x="272455" y="221360"/>
                    <a:pt x="276191" y="220949"/>
                    <a:pt x="279836" y="220100"/>
                  </a:cubicBezTo>
                  <a:cubicBezTo>
                    <a:pt x="281579" y="217387"/>
                    <a:pt x="283585" y="214847"/>
                    <a:pt x="285816" y="212513"/>
                  </a:cubicBezTo>
                  <a:cubicBezTo>
                    <a:pt x="290959" y="207370"/>
                    <a:pt x="301953" y="203705"/>
                    <a:pt x="305104" y="197083"/>
                  </a:cubicBezTo>
                  <a:cubicBezTo>
                    <a:pt x="308254" y="190461"/>
                    <a:pt x="321242" y="185381"/>
                    <a:pt x="323492" y="179466"/>
                  </a:cubicBezTo>
                  <a:cubicBezTo>
                    <a:pt x="324456" y="177345"/>
                    <a:pt x="324842" y="175866"/>
                    <a:pt x="320020" y="170401"/>
                  </a:cubicBezTo>
                  <a:close/>
                  <a:moveTo>
                    <a:pt x="192783" y="48629"/>
                  </a:moveTo>
                  <a:cubicBezTo>
                    <a:pt x="193213" y="48828"/>
                    <a:pt x="193618" y="49066"/>
                    <a:pt x="194004" y="49336"/>
                  </a:cubicBezTo>
                  <a:cubicBezTo>
                    <a:pt x="194396" y="49657"/>
                    <a:pt x="194802" y="49960"/>
                    <a:pt x="195226" y="50236"/>
                  </a:cubicBezTo>
                  <a:cubicBezTo>
                    <a:pt x="194461" y="49625"/>
                    <a:pt x="193644" y="49092"/>
                    <a:pt x="192783" y="48629"/>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69" name="Freeform 59">
              <a:extLst>
                <a:ext uri="{FF2B5EF4-FFF2-40B4-BE49-F238E27FC236}">
                  <a16:creationId xmlns:a16="http://schemas.microsoft.com/office/drawing/2014/main" id="{910D2802-5307-45A2-BBE0-DA12CC6AD33E}"/>
                </a:ext>
              </a:extLst>
            </p:cNvPr>
            <p:cNvSpPr/>
            <p:nvPr/>
          </p:nvSpPr>
          <p:spPr>
            <a:xfrm>
              <a:off x="4506406" y="2370637"/>
              <a:ext cx="6429" cy="19288"/>
            </a:xfrm>
            <a:custGeom>
              <a:avLst/>
              <a:gdLst>
                <a:gd name="connsiteX0" fmla="*/ 9846 w 6429"/>
                <a:gd name="connsiteY0" fmla="*/ 0 h 19288"/>
                <a:gd name="connsiteX1" fmla="*/ 2131 w 6429"/>
                <a:gd name="connsiteY1" fmla="*/ 6429 h 19288"/>
                <a:gd name="connsiteX2" fmla="*/ 7274 w 6429"/>
                <a:gd name="connsiteY2" fmla="*/ 22953 h 19288"/>
                <a:gd name="connsiteX3" fmla="*/ 9846 w 6429"/>
                <a:gd name="connsiteY3" fmla="*/ 0 h 19288"/>
              </a:gdLst>
              <a:ahLst/>
              <a:cxnLst>
                <a:cxn ang="0">
                  <a:pos x="connsiteX0" y="connsiteY0"/>
                </a:cxn>
                <a:cxn ang="0">
                  <a:pos x="connsiteX1" y="connsiteY1"/>
                </a:cxn>
                <a:cxn ang="0">
                  <a:pos x="connsiteX2" y="connsiteY2"/>
                </a:cxn>
                <a:cxn ang="0">
                  <a:pos x="connsiteX3" y="connsiteY3"/>
                </a:cxn>
              </a:cxnLst>
              <a:rect l="l" t="t" r="r" b="b"/>
              <a:pathLst>
                <a:path w="6429" h="19288">
                  <a:moveTo>
                    <a:pt x="9846" y="0"/>
                  </a:moveTo>
                  <a:cubicBezTo>
                    <a:pt x="7853" y="0"/>
                    <a:pt x="7274" y="3536"/>
                    <a:pt x="2131" y="6429"/>
                  </a:cubicBezTo>
                  <a:cubicBezTo>
                    <a:pt x="-3013" y="9323"/>
                    <a:pt x="2131" y="23660"/>
                    <a:pt x="7274" y="22953"/>
                  </a:cubicBezTo>
                  <a:cubicBezTo>
                    <a:pt x="12418" y="22246"/>
                    <a:pt x="11903" y="193"/>
                    <a:pt x="9846" y="0"/>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70" name="Freeform 60">
              <a:extLst>
                <a:ext uri="{FF2B5EF4-FFF2-40B4-BE49-F238E27FC236}">
                  <a16:creationId xmlns:a16="http://schemas.microsoft.com/office/drawing/2014/main" id="{0F91B1DB-B803-44D9-BA41-62DEE39395FA}"/>
                </a:ext>
              </a:extLst>
            </p:cNvPr>
            <p:cNvSpPr/>
            <p:nvPr/>
          </p:nvSpPr>
          <p:spPr>
            <a:xfrm>
              <a:off x="3487158" y="1519913"/>
              <a:ext cx="758665" cy="565784"/>
            </a:xfrm>
            <a:custGeom>
              <a:avLst/>
              <a:gdLst>
                <a:gd name="connsiteX0" fmla="*/ 718363 w 758666"/>
                <a:gd name="connsiteY0" fmla="*/ 51939 h 565785"/>
                <a:gd name="connsiteX1" fmla="*/ 692967 w 758666"/>
                <a:gd name="connsiteY1" fmla="*/ 63704 h 565785"/>
                <a:gd name="connsiteX2" fmla="*/ 667635 w 758666"/>
                <a:gd name="connsiteY2" fmla="*/ 65183 h 565785"/>
                <a:gd name="connsiteX3" fmla="*/ 656577 w 758666"/>
                <a:gd name="connsiteY3" fmla="*/ 61133 h 565785"/>
                <a:gd name="connsiteX4" fmla="*/ 632338 w 758666"/>
                <a:gd name="connsiteY4" fmla="*/ 77335 h 565785"/>
                <a:gd name="connsiteX5" fmla="*/ 611378 w 758666"/>
                <a:gd name="connsiteY5" fmla="*/ 90901 h 565785"/>
                <a:gd name="connsiteX6" fmla="*/ 632017 w 758666"/>
                <a:gd name="connsiteY6" fmla="*/ 65183 h 565785"/>
                <a:gd name="connsiteX7" fmla="*/ 624237 w 758666"/>
                <a:gd name="connsiteY7" fmla="*/ 47181 h 565785"/>
                <a:gd name="connsiteX8" fmla="*/ 608485 w 758666"/>
                <a:gd name="connsiteY8" fmla="*/ 57082 h 565785"/>
                <a:gd name="connsiteX9" fmla="*/ 568816 w 758666"/>
                <a:gd name="connsiteY9" fmla="*/ 69619 h 565785"/>
                <a:gd name="connsiteX10" fmla="*/ 594533 w 758666"/>
                <a:gd name="connsiteY10" fmla="*/ 53417 h 565785"/>
                <a:gd name="connsiteX11" fmla="*/ 544191 w 758666"/>
                <a:gd name="connsiteY11" fmla="*/ 51939 h 565785"/>
                <a:gd name="connsiteX12" fmla="*/ 501179 w 758666"/>
                <a:gd name="connsiteY12" fmla="*/ 58368 h 565785"/>
                <a:gd name="connsiteX13" fmla="*/ 548949 w 758666"/>
                <a:gd name="connsiteY13" fmla="*/ 45895 h 565785"/>
                <a:gd name="connsiteX14" fmla="*/ 607392 w 758666"/>
                <a:gd name="connsiteY14" fmla="*/ 41844 h 565785"/>
                <a:gd name="connsiteX15" fmla="*/ 641918 w 758666"/>
                <a:gd name="connsiteY15" fmla="*/ 32265 h 565785"/>
                <a:gd name="connsiteX16" fmla="*/ 618772 w 758666"/>
                <a:gd name="connsiteY16" fmla="*/ 23071 h 565785"/>
                <a:gd name="connsiteX17" fmla="*/ 601863 w 758666"/>
                <a:gd name="connsiteY17" fmla="*/ 17927 h 565785"/>
                <a:gd name="connsiteX18" fmla="*/ 586818 w 758666"/>
                <a:gd name="connsiteY18" fmla="*/ 9119 h 565785"/>
                <a:gd name="connsiteX19" fmla="*/ 551906 w 758666"/>
                <a:gd name="connsiteY19" fmla="*/ 4747 h 565785"/>
                <a:gd name="connsiteX20" fmla="*/ 514038 w 758666"/>
                <a:gd name="connsiteY20" fmla="*/ 311 h 565785"/>
                <a:gd name="connsiteX21" fmla="*/ 462217 w 758666"/>
                <a:gd name="connsiteY21" fmla="*/ 1789 h 565785"/>
                <a:gd name="connsiteX22" fmla="*/ 444600 w 758666"/>
                <a:gd name="connsiteY22" fmla="*/ 4747 h 565785"/>
                <a:gd name="connsiteX23" fmla="*/ 432449 w 758666"/>
                <a:gd name="connsiteY23" fmla="*/ 10598 h 565785"/>
                <a:gd name="connsiteX24" fmla="*/ 423641 w 758666"/>
                <a:gd name="connsiteY24" fmla="*/ 15355 h 565785"/>
                <a:gd name="connsiteX25" fmla="*/ 404352 w 758666"/>
                <a:gd name="connsiteY25" fmla="*/ 11369 h 565785"/>
                <a:gd name="connsiteX26" fmla="*/ 370534 w 758666"/>
                <a:gd name="connsiteY26" fmla="*/ 11369 h 565785"/>
                <a:gd name="connsiteX27" fmla="*/ 329386 w 758666"/>
                <a:gd name="connsiteY27" fmla="*/ 16127 h 565785"/>
                <a:gd name="connsiteX28" fmla="*/ 341859 w 758666"/>
                <a:gd name="connsiteY28" fmla="*/ 27507 h 565785"/>
                <a:gd name="connsiteX29" fmla="*/ 319870 w 758666"/>
                <a:gd name="connsiteY29" fmla="*/ 33936 h 565785"/>
                <a:gd name="connsiteX30" fmla="*/ 351439 w 758666"/>
                <a:gd name="connsiteY30" fmla="*/ 53803 h 565785"/>
                <a:gd name="connsiteX31" fmla="*/ 335301 w 758666"/>
                <a:gd name="connsiteY31" fmla="*/ 50846 h 565785"/>
                <a:gd name="connsiteX32" fmla="*/ 307719 w 758666"/>
                <a:gd name="connsiteY32" fmla="*/ 40559 h 565785"/>
                <a:gd name="connsiteX33" fmla="*/ 274286 w 758666"/>
                <a:gd name="connsiteY33" fmla="*/ 33165 h 565785"/>
                <a:gd name="connsiteX34" fmla="*/ 289331 w 758666"/>
                <a:gd name="connsiteY34" fmla="*/ 50460 h 565785"/>
                <a:gd name="connsiteX35" fmla="*/ 272100 w 758666"/>
                <a:gd name="connsiteY35" fmla="*/ 51231 h 565785"/>
                <a:gd name="connsiteX36" fmla="*/ 249276 w 758666"/>
                <a:gd name="connsiteY36" fmla="*/ 38373 h 565785"/>
                <a:gd name="connsiteX37" fmla="*/ 248183 w 758666"/>
                <a:gd name="connsiteY37" fmla="*/ 54189 h 565785"/>
                <a:gd name="connsiteX38" fmla="*/ 237896 w 758666"/>
                <a:gd name="connsiteY38" fmla="*/ 62611 h 565785"/>
                <a:gd name="connsiteX39" fmla="*/ 231466 w 758666"/>
                <a:gd name="connsiteY39" fmla="*/ 37280 h 565785"/>
                <a:gd name="connsiteX40" fmla="*/ 193662 w 758666"/>
                <a:gd name="connsiteY40" fmla="*/ 43130 h 565785"/>
                <a:gd name="connsiteX41" fmla="*/ 178553 w 758666"/>
                <a:gd name="connsiteY41" fmla="*/ 51231 h 565785"/>
                <a:gd name="connsiteX42" fmla="*/ 170516 w 758666"/>
                <a:gd name="connsiteY42" fmla="*/ 53803 h 565785"/>
                <a:gd name="connsiteX43" fmla="*/ 142548 w 758666"/>
                <a:gd name="connsiteY43" fmla="*/ 57468 h 565785"/>
                <a:gd name="connsiteX44" fmla="*/ 146213 w 758666"/>
                <a:gd name="connsiteY44" fmla="*/ 76242 h 565785"/>
                <a:gd name="connsiteX45" fmla="*/ 122360 w 758666"/>
                <a:gd name="connsiteY45" fmla="*/ 72577 h 565785"/>
                <a:gd name="connsiteX46" fmla="*/ 66167 w 758666"/>
                <a:gd name="connsiteY46" fmla="*/ 103052 h 565785"/>
                <a:gd name="connsiteX47" fmla="*/ 96643 w 758666"/>
                <a:gd name="connsiteY47" fmla="*/ 107810 h 565785"/>
                <a:gd name="connsiteX48" fmla="*/ 86355 w 758666"/>
                <a:gd name="connsiteY48" fmla="*/ 130634 h 565785"/>
                <a:gd name="connsiteX49" fmla="*/ 47393 w 758666"/>
                <a:gd name="connsiteY49" fmla="*/ 137578 h 565785"/>
                <a:gd name="connsiteX50" fmla="*/ 9 w 758666"/>
                <a:gd name="connsiteY50" fmla="*/ 155966 h 565785"/>
                <a:gd name="connsiteX51" fmla="*/ 7338 w 758666"/>
                <a:gd name="connsiteY51" fmla="*/ 165160 h 565785"/>
                <a:gd name="connsiteX52" fmla="*/ 27912 w 758666"/>
                <a:gd name="connsiteY52" fmla="*/ 171011 h 565785"/>
                <a:gd name="connsiteX53" fmla="*/ 61731 w 758666"/>
                <a:gd name="connsiteY53" fmla="*/ 173582 h 565785"/>
                <a:gd name="connsiteX54" fmla="*/ 81019 w 758666"/>
                <a:gd name="connsiteY54" fmla="*/ 180976 h 565785"/>
                <a:gd name="connsiteX55" fmla="*/ 47586 w 758666"/>
                <a:gd name="connsiteY55" fmla="*/ 183162 h 565785"/>
                <a:gd name="connsiteX56" fmla="*/ 17047 w 758666"/>
                <a:gd name="connsiteY56" fmla="*/ 189013 h 565785"/>
                <a:gd name="connsiteX57" fmla="*/ 39485 w 758666"/>
                <a:gd name="connsiteY57" fmla="*/ 194928 h 565785"/>
                <a:gd name="connsiteX58" fmla="*/ 39871 w 758666"/>
                <a:gd name="connsiteY58" fmla="*/ 204829 h 565785"/>
                <a:gd name="connsiteX59" fmla="*/ 54530 w 758666"/>
                <a:gd name="connsiteY59" fmla="*/ 212930 h 565785"/>
                <a:gd name="connsiteX60" fmla="*/ 74783 w 758666"/>
                <a:gd name="connsiteY60" fmla="*/ 215116 h 565785"/>
                <a:gd name="connsiteX61" fmla="*/ 87256 w 758666"/>
                <a:gd name="connsiteY61" fmla="*/ 213637 h 565785"/>
                <a:gd name="connsiteX62" fmla="*/ 103779 w 758666"/>
                <a:gd name="connsiteY62" fmla="*/ 210680 h 565785"/>
                <a:gd name="connsiteX63" fmla="*/ 118824 w 758666"/>
                <a:gd name="connsiteY63" fmla="*/ 207787 h 565785"/>
                <a:gd name="connsiteX64" fmla="*/ 158879 w 758666"/>
                <a:gd name="connsiteY64" fmla="*/ 218459 h 565785"/>
                <a:gd name="connsiteX65" fmla="*/ 178746 w 758666"/>
                <a:gd name="connsiteY65" fmla="*/ 231318 h 565785"/>
                <a:gd name="connsiteX66" fmla="*/ 196041 w 758666"/>
                <a:gd name="connsiteY66" fmla="*/ 247842 h 565785"/>
                <a:gd name="connsiteX67" fmla="*/ 207421 w 758666"/>
                <a:gd name="connsiteY67" fmla="*/ 268030 h 565785"/>
                <a:gd name="connsiteX68" fmla="*/ 216229 w 758666"/>
                <a:gd name="connsiteY68" fmla="*/ 281660 h 565785"/>
                <a:gd name="connsiteX69" fmla="*/ 222658 w 758666"/>
                <a:gd name="connsiteY69" fmla="*/ 294519 h 565785"/>
                <a:gd name="connsiteX70" fmla="*/ 216229 w 758666"/>
                <a:gd name="connsiteY70" fmla="*/ 310014 h 565785"/>
                <a:gd name="connsiteX71" fmla="*/ 222080 w 758666"/>
                <a:gd name="connsiteY71" fmla="*/ 326859 h 565785"/>
                <a:gd name="connsiteX72" fmla="*/ 240853 w 758666"/>
                <a:gd name="connsiteY72" fmla="*/ 318822 h 565785"/>
                <a:gd name="connsiteX73" fmla="*/ 245225 w 758666"/>
                <a:gd name="connsiteY73" fmla="*/ 331295 h 565785"/>
                <a:gd name="connsiteX74" fmla="*/ 269143 w 758666"/>
                <a:gd name="connsiteY74" fmla="*/ 342675 h 565785"/>
                <a:gd name="connsiteX75" fmla="*/ 263999 w 758666"/>
                <a:gd name="connsiteY75" fmla="*/ 347818 h 565785"/>
                <a:gd name="connsiteX76" fmla="*/ 230952 w 758666"/>
                <a:gd name="connsiteY76" fmla="*/ 345247 h 565785"/>
                <a:gd name="connsiteX77" fmla="*/ 264385 w 758666"/>
                <a:gd name="connsiteY77" fmla="*/ 360677 h 565785"/>
                <a:gd name="connsiteX78" fmla="*/ 275379 w 758666"/>
                <a:gd name="connsiteY78" fmla="*/ 373536 h 565785"/>
                <a:gd name="connsiteX79" fmla="*/ 272807 w 758666"/>
                <a:gd name="connsiteY79" fmla="*/ 390831 h 565785"/>
                <a:gd name="connsiteX80" fmla="*/ 256991 w 758666"/>
                <a:gd name="connsiteY80" fmla="*/ 391538 h 565785"/>
                <a:gd name="connsiteX81" fmla="*/ 247090 w 758666"/>
                <a:gd name="connsiteY81" fmla="*/ 400347 h 565785"/>
                <a:gd name="connsiteX82" fmla="*/ 236803 w 758666"/>
                <a:gd name="connsiteY82" fmla="*/ 418734 h 565785"/>
                <a:gd name="connsiteX83" fmla="*/ 248954 w 758666"/>
                <a:gd name="connsiteY83" fmla="*/ 429407 h 565785"/>
                <a:gd name="connsiteX84" fmla="*/ 239375 w 758666"/>
                <a:gd name="connsiteY84" fmla="*/ 440401 h 565785"/>
                <a:gd name="connsiteX85" fmla="*/ 256670 w 758666"/>
                <a:gd name="connsiteY85" fmla="*/ 458404 h 565785"/>
                <a:gd name="connsiteX86" fmla="*/ 258856 w 758666"/>
                <a:gd name="connsiteY86" fmla="*/ 479749 h 565785"/>
                <a:gd name="connsiteX87" fmla="*/ 266185 w 758666"/>
                <a:gd name="connsiteY87" fmla="*/ 486179 h 565785"/>
                <a:gd name="connsiteX88" fmla="*/ 272615 w 758666"/>
                <a:gd name="connsiteY88" fmla="*/ 498652 h 565785"/>
                <a:gd name="connsiteX89" fmla="*/ 282194 w 758666"/>
                <a:gd name="connsiteY89" fmla="*/ 509324 h 565785"/>
                <a:gd name="connsiteX90" fmla="*/ 288045 w 758666"/>
                <a:gd name="connsiteY90" fmla="*/ 524369 h 565785"/>
                <a:gd name="connsiteX91" fmla="*/ 301997 w 758666"/>
                <a:gd name="connsiteY91" fmla="*/ 539092 h 565785"/>
                <a:gd name="connsiteX92" fmla="*/ 316013 w 758666"/>
                <a:gd name="connsiteY92" fmla="*/ 548286 h 565785"/>
                <a:gd name="connsiteX93" fmla="*/ 328100 w 758666"/>
                <a:gd name="connsiteY93" fmla="*/ 551951 h 565785"/>
                <a:gd name="connsiteX94" fmla="*/ 342823 w 758666"/>
                <a:gd name="connsiteY94" fmla="*/ 558380 h 565785"/>
                <a:gd name="connsiteX95" fmla="*/ 364490 w 758666"/>
                <a:gd name="connsiteY95" fmla="*/ 566803 h 565785"/>
                <a:gd name="connsiteX96" fmla="*/ 373684 w 758666"/>
                <a:gd name="connsiteY96" fmla="*/ 557287 h 565785"/>
                <a:gd name="connsiteX97" fmla="*/ 380114 w 758666"/>
                <a:gd name="connsiteY97" fmla="*/ 537999 h 565785"/>
                <a:gd name="connsiteX98" fmla="*/ 379021 w 758666"/>
                <a:gd name="connsiteY98" fmla="*/ 518711 h 565785"/>
                <a:gd name="connsiteX99" fmla="*/ 385450 w 758666"/>
                <a:gd name="connsiteY99" fmla="*/ 512282 h 565785"/>
                <a:gd name="connsiteX100" fmla="*/ 395030 w 758666"/>
                <a:gd name="connsiteY100" fmla="*/ 503795 h 565785"/>
                <a:gd name="connsiteX101" fmla="*/ 400173 w 758666"/>
                <a:gd name="connsiteY101" fmla="*/ 494280 h 565785"/>
                <a:gd name="connsiteX102" fmla="*/ 400173 w 758666"/>
                <a:gd name="connsiteY102" fmla="*/ 485471 h 565785"/>
                <a:gd name="connsiteX103" fmla="*/ 404995 w 758666"/>
                <a:gd name="connsiteY103" fmla="*/ 479556 h 565785"/>
                <a:gd name="connsiteX104" fmla="*/ 402423 w 758666"/>
                <a:gd name="connsiteY104" fmla="*/ 470362 h 565785"/>
                <a:gd name="connsiteX105" fmla="*/ 404224 w 758666"/>
                <a:gd name="connsiteY105" fmla="*/ 465605 h 565785"/>
                <a:gd name="connsiteX106" fmla="*/ 411232 w 758666"/>
                <a:gd name="connsiteY106" fmla="*/ 462326 h 565785"/>
                <a:gd name="connsiteX107" fmla="*/ 422998 w 758666"/>
                <a:gd name="connsiteY107" fmla="*/ 454932 h 565785"/>
                <a:gd name="connsiteX108" fmla="*/ 433285 w 758666"/>
                <a:gd name="connsiteY108" fmla="*/ 444259 h 565785"/>
                <a:gd name="connsiteX109" fmla="*/ 439714 w 758666"/>
                <a:gd name="connsiteY109" fmla="*/ 443938 h 565785"/>
                <a:gd name="connsiteX110" fmla="*/ 442286 w 758666"/>
                <a:gd name="connsiteY110" fmla="*/ 450367 h 565785"/>
                <a:gd name="connsiteX111" fmla="*/ 465431 w 758666"/>
                <a:gd name="connsiteY111" fmla="*/ 445545 h 565785"/>
                <a:gd name="connsiteX112" fmla="*/ 492949 w 758666"/>
                <a:gd name="connsiteY112" fmla="*/ 421692 h 565785"/>
                <a:gd name="connsiteX113" fmla="*/ 508444 w 758666"/>
                <a:gd name="connsiteY113" fmla="*/ 406261 h 565785"/>
                <a:gd name="connsiteX114" fmla="*/ 520146 w 758666"/>
                <a:gd name="connsiteY114" fmla="*/ 401504 h 565785"/>
                <a:gd name="connsiteX115" fmla="*/ 532297 w 758666"/>
                <a:gd name="connsiteY115" fmla="*/ 398546 h 565785"/>
                <a:gd name="connsiteX116" fmla="*/ 550685 w 758666"/>
                <a:gd name="connsiteY116" fmla="*/ 394496 h 565785"/>
                <a:gd name="connsiteX117" fmla="*/ 595112 w 758666"/>
                <a:gd name="connsiteY117" fmla="*/ 382344 h 565785"/>
                <a:gd name="connsiteX118" fmla="*/ 630409 w 758666"/>
                <a:gd name="connsiteY118" fmla="*/ 364020 h 565785"/>
                <a:gd name="connsiteX119" fmla="*/ 635167 w 758666"/>
                <a:gd name="connsiteY119" fmla="*/ 357591 h 565785"/>
                <a:gd name="connsiteX120" fmla="*/ 613114 w 758666"/>
                <a:gd name="connsiteY120" fmla="*/ 358684 h 565785"/>
                <a:gd name="connsiteX121" fmla="*/ 585597 w 758666"/>
                <a:gd name="connsiteY121" fmla="*/ 355341 h 565785"/>
                <a:gd name="connsiteX122" fmla="*/ 589261 w 758666"/>
                <a:gd name="connsiteY122" fmla="*/ 347240 h 565785"/>
                <a:gd name="connsiteX123" fmla="*/ 591447 w 758666"/>
                <a:gd name="connsiteY123" fmla="*/ 335538 h 565785"/>
                <a:gd name="connsiteX124" fmla="*/ 609064 w 758666"/>
                <a:gd name="connsiteY124" fmla="*/ 341389 h 565785"/>
                <a:gd name="connsiteX125" fmla="*/ 636260 w 758666"/>
                <a:gd name="connsiteY125" fmla="*/ 350583 h 565785"/>
                <a:gd name="connsiteX126" fmla="*/ 640696 w 758666"/>
                <a:gd name="connsiteY126" fmla="*/ 334059 h 565785"/>
                <a:gd name="connsiteX127" fmla="*/ 608549 w 758666"/>
                <a:gd name="connsiteY127" fmla="*/ 305385 h 565785"/>
                <a:gd name="connsiteX128" fmla="*/ 626937 w 758666"/>
                <a:gd name="connsiteY128" fmla="*/ 307570 h 565785"/>
                <a:gd name="connsiteX129" fmla="*/ 638703 w 758666"/>
                <a:gd name="connsiteY129" fmla="*/ 294712 h 565785"/>
                <a:gd name="connsiteX130" fmla="*/ 608935 w 758666"/>
                <a:gd name="connsiteY130" fmla="*/ 294326 h 565785"/>
                <a:gd name="connsiteX131" fmla="*/ 603406 w 758666"/>
                <a:gd name="connsiteY131" fmla="*/ 286289 h 565785"/>
                <a:gd name="connsiteX132" fmla="*/ 608163 w 758666"/>
                <a:gd name="connsiteY132" fmla="*/ 276002 h 565785"/>
                <a:gd name="connsiteX133" fmla="*/ 635746 w 758666"/>
                <a:gd name="connsiteY133" fmla="*/ 284039 h 565785"/>
                <a:gd name="connsiteX134" fmla="*/ 656705 w 758666"/>
                <a:gd name="connsiteY134" fmla="*/ 278896 h 565785"/>
                <a:gd name="connsiteX135" fmla="*/ 640182 w 758666"/>
                <a:gd name="connsiteY135" fmla="*/ 263465 h 565785"/>
                <a:gd name="connsiteX136" fmla="*/ 667700 w 758666"/>
                <a:gd name="connsiteY136" fmla="*/ 260893 h 565785"/>
                <a:gd name="connsiteX137" fmla="*/ 671043 w 758666"/>
                <a:gd name="connsiteY137" fmla="*/ 252471 h 565785"/>
                <a:gd name="connsiteX138" fmla="*/ 648604 w 758666"/>
                <a:gd name="connsiteY138" fmla="*/ 238519 h 565785"/>
                <a:gd name="connsiteX139" fmla="*/ 670271 w 758666"/>
                <a:gd name="connsiteY139" fmla="*/ 234854 h 565785"/>
                <a:gd name="connsiteX140" fmla="*/ 664421 w 758666"/>
                <a:gd name="connsiteY140" fmla="*/ 212030 h 565785"/>
                <a:gd name="connsiteX141" fmla="*/ 642368 w 758666"/>
                <a:gd name="connsiteY141" fmla="*/ 206565 h 565785"/>
                <a:gd name="connsiteX142" fmla="*/ 633174 w 758666"/>
                <a:gd name="connsiteY142" fmla="*/ 196985 h 565785"/>
                <a:gd name="connsiteX143" fmla="*/ 650083 w 758666"/>
                <a:gd name="connsiteY143" fmla="*/ 194799 h 565785"/>
                <a:gd name="connsiteX144" fmla="*/ 683902 w 758666"/>
                <a:gd name="connsiteY144" fmla="*/ 194799 h 565785"/>
                <a:gd name="connsiteX145" fmla="*/ 676186 w 758666"/>
                <a:gd name="connsiteY145" fmla="*/ 181555 h 565785"/>
                <a:gd name="connsiteX146" fmla="*/ 655612 w 758666"/>
                <a:gd name="connsiteY146" fmla="*/ 177119 h 565785"/>
                <a:gd name="connsiteX147" fmla="*/ 672457 w 758666"/>
                <a:gd name="connsiteY147" fmla="*/ 173454 h 565785"/>
                <a:gd name="connsiteX148" fmla="*/ 647511 w 758666"/>
                <a:gd name="connsiteY148" fmla="*/ 167989 h 565785"/>
                <a:gd name="connsiteX149" fmla="*/ 637610 w 758666"/>
                <a:gd name="connsiteY149" fmla="*/ 168696 h 565785"/>
                <a:gd name="connsiteX150" fmla="*/ 645261 w 758666"/>
                <a:gd name="connsiteY150" fmla="*/ 145550 h 565785"/>
                <a:gd name="connsiteX151" fmla="*/ 667314 w 758666"/>
                <a:gd name="connsiteY151" fmla="*/ 128641 h 565785"/>
                <a:gd name="connsiteX152" fmla="*/ 687952 w 758666"/>
                <a:gd name="connsiteY152" fmla="*/ 116168 h 565785"/>
                <a:gd name="connsiteX153" fmla="*/ 679465 w 758666"/>
                <a:gd name="connsiteY153" fmla="*/ 106202 h 565785"/>
                <a:gd name="connsiteX154" fmla="*/ 658891 w 758666"/>
                <a:gd name="connsiteY154" fmla="*/ 112632 h 565785"/>
                <a:gd name="connsiteX155" fmla="*/ 675801 w 758666"/>
                <a:gd name="connsiteY155" fmla="*/ 102345 h 565785"/>
                <a:gd name="connsiteX156" fmla="*/ 707047 w 758666"/>
                <a:gd name="connsiteY156" fmla="*/ 97973 h 565785"/>
                <a:gd name="connsiteX157" fmla="*/ 684223 w 758666"/>
                <a:gd name="connsiteY157" fmla="*/ 92444 h 565785"/>
                <a:gd name="connsiteX158" fmla="*/ 690138 w 758666"/>
                <a:gd name="connsiteY158" fmla="*/ 88393 h 565785"/>
                <a:gd name="connsiteX159" fmla="*/ 717334 w 758666"/>
                <a:gd name="connsiteY159" fmla="*/ 82864 h 565785"/>
                <a:gd name="connsiteX160" fmla="*/ 733472 w 758666"/>
                <a:gd name="connsiteY160" fmla="*/ 75920 h 565785"/>
                <a:gd name="connsiteX161" fmla="*/ 761376 w 758666"/>
                <a:gd name="connsiteY161" fmla="*/ 63061 h 565785"/>
                <a:gd name="connsiteX162" fmla="*/ 718363 w 758666"/>
                <a:gd name="connsiteY162" fmla="*/ 51939 h 565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758666" h="565785">
                  <a:moveTo>
                    <a:pt x="718363" y="51939"/>
                  </a:moveTo>
                  <a:cubicBezTo>
                    <a:pt x="704733" y="51939"/>
                    <a:pt x="693739" y="54189"/>
                    <a:pt x="692967" y="63704"/>
                  </a:cubicBezTo>
                  <a:cubicBezTo>
                    <a:pt x="692195" y="73220"/>
                    <a:pt x="674965" y="61904"/>
                    <a:pt x="667635" y="65183"/>
                  </a:cubicBezTo>
                  <a:cubicBezTo>
                    <a:pt x="660306" y="68462"/>
                    <a:pt x="663971" y="57468"/>
                    <a:pt x="656577" y="61133"/>
                  </a:cubicBezTo>
                  <a:cubicBezTo>
                    <a:pt x="649183" y="64797"/>
                    <a:pt x="641146" y="73606"/>
                    <a:pt x="632338" y="77335"/>
                  </a:cubicBezTo>
                  <a:cubicBezTo>
                    <a:pt x="623530" y="81064"/>
                    <a:pt x="616908" y="90193"/>
                    <a:pt x="611378" y="90901"/>
                  </a:cubicBezTo>
                  <a:cubicBezTo>
                    <a:pt x="605849" y="91608"/>
                    <a:pt x="623144" y="73991"/>
                    <a:pt x="632017" y="65183"/>
                  </a:cubicBezTo>
                  <a:cubicBezTo>
                    <a:pt x="640889" y="56375"/>
                    <a:pt x="636003" y="45895"/>
                    <a:pt x="624237" y="47181"/>
                  </a:cubicBezTo>
                  <a:cubicBezTo>
                    <a:pt x="612471" y="48467"/>
                    <a:pt x="615107" y="55603"/>
                    <a:pt x="608485" y="57082"/>
                  </a:cubicBezTo>
                  <a:cubicBezTo>
                    <a:pt x="601863" y="58561"/>
                    <a:pt x="570230" y="74377"/>
                    <a:pt x="568816" y="69619"/>
                  </a:cubicBezTo>
                  <a:cubicBezTo>
                    <a:pt x="567401" y="64862"/>
                    <a:pt x="594855" y="56761"/>
                    <a:pt x="594533" y="53417"/>
                  </a:cubicBezTo>
                  <a:cubicBezTo>
                    <a:pt x="594212" y="50074"/>
                    <a:pt x="559622" y="49753"/>
                    <a:pt x="544191" y="51939"/>
                  </a:cubicBezTo>
                  <a:cubicBezTo>
                    <a:pt x="528761" y="54125"/>
                    <a:pt x="501565" y="62997"/>
                    <a:pt x="501179" y="58368"/>
                  </a:cubicBezTo>
                  <a:cubicBezTo>
                    <a:pt x="500793" y="53739"/>
                    <a:pt x="532811" y="47695"/>
                    <a:pt x="548949" y="45895"/>
                  </a:cubicBezTo>
                  <a:cubicBezTo>
                    <a:pt x="565087" y="44095"/>
                    <a:pt x="594855" y="46988"/>
                    <a:pt x="607392" y="41844"/>
                  </a:cubicBezTo>
                  <a:cubicBezTo>
                    <a:pt x="619929" y="36701"/>
                    <a:pt x="638575" y="36315"/>
                    <a:pt x="641918" y="32265"/>
                  </a:cubicBezTo>
                  <a:cubicBezTo>
                    <a:pt x="645261" y="28214"/>
                    <a:pt x="627580" y="22749"/>
                    <a:pt x="618772" y="23071"/>
                  </a:cubicBezTo>
                  <a:cubicBezTo>
                    <a:pt x="609964" y="23392"/>
                    <a:pt x="601091" y="22363"/>
                    <a:pt x="601863" y="17927"/>
                  </a:cubicBezTo>
                  <a:cubicBezTo>
                    <a:pt x="602634" y="13491"/>
                    <a:pt x="588233" y="12462"/>
                    <a:pt x="586818" y="9119"/>
                  </a:cubicBezTo>
                  <a:cubicBezTo>
                    <a:pt x="585404" y="5776"/>
                    <a:pt x="557757" y="8412"/>
                    <a:pt x="551906" y="4747"/>
                  </a:cubicBezTo>
                  <a:cubicBezTo>
                    <a:pt x="546056" y="1082"/>
                    <a:pt x="528761" y="-782"/>
                    <a:pt x="514038" y="311"/>
                  </a:cubicBezTo>
                  <a:cubicBezTo>
                    <a:pt x="499314" y="1404"/>
                    <a:pt x="469032" y="1082"/>
                    <a:pt x="462217" y="1789"/>
                  </a:cubicBezTo>
                  <a:cubicBezTo>
                    <a:pt x="456430" y="3217"/>
                    <a:pt x="450541" y="4207"/>
                    <a:pt x="444600" y="4747"/>
                  </a:cubicBezTo>
                  <a:cubicBezTo>
                    <a:pt x="438171" y="4361"/>
                    <a:pt x="428784" y="6547"/>
                    <a:pt x="432449" y="10598"/>
                  </a:cubicBezTo>
                  <a:cubicBezTo>
                    <a:pt x="438878" y="17927"/>
                    <a:pt x="422547" y="20885"/>
                    <a:pt x="423641" y="15355"/>
                  </a:cubicBezTo>
                  <a:cubicBezTo>
                    <a:pt x="424733" y="9826"/>
                    <a:pt x="409303" y="7319"/>
                    <a:pt x="404352" y="11369"/>
                  </a:cubicBezTo>
                  <a:cubicBezTo>
                    <a:pt x="399402" y="15420"/>
                    <a:pt x="374199" y="6547"/>
                    <a:pt x="370534" y="11369"/>
                  </a:cubicBezTo>
                  <a:cubicBezTo>
                    <a:pt x="366869" y="16191"/>
                    <a:pt x="337873" y="14648"/>
                    <a:pt x="329386" y="16127"/>
                  </a:cubicBezTo>
                  <a:cubicBezTo>
                    <a:pt x="320899" y="17606"/>
                    <a:pt x="342630" y="23842"/>
                    <a:pt x="341859" y="27507"/>
                  </a:cubicBezTo>
                  <a:cubicBezTo>
                    <a:pt x="341087" y="31172"/>
                    <a:pt x="314341" y="27507"/>
                    <a:pt x="319870" y="33936"/>
                  </a:cubicBezTo>
                  <a:cubicBezTo>
                    <a:pt x="325400" y="40366"/>
                    <a:pt x="343016" y="45316"/>
                    <a:pt x="351439" y="53803"/>
                  </a:cubicBezTo>
                  <a:cubicBezTo>
                    <a:pt x="359861" y="62290"/>
                    <a:pt x="345009" y="57082"/>
                    <a:pt x="335301" y="50846"/>
                  </a:cubicBezTo>
                  <a:cubicBezTo>
                    <a:pt x="325593" y="44609"/>
                    <a:pt x="313570" y="46795"/>
                    <a:pt x="307719" y="40559"/>
                  </a:cubicBezTo>
                  <a:cubicBezTo>
                    <a:pt x="301868" y="34322"/>
                    <a:pt x="279815" y="29500"/>
                    <a:pt x="274286" y="33165"/>
                  </a:cubicBezTo>
                  <a:cubicBezTo>
                    <a:pt x="267857" y="37601"/>
                    <a:pt x="289331" y="45702"/>
                    <a:pt x="289331" y="50460"/>
                  </a:cubicBezTo>
                  <a:cubicBezTo>
                    <a:pt x="289331" y="55218"/>
                    <a:pt x="274672" y="49367"/>
                    <a:pt x="272100" y="51231"/>
                  </a:cubicBezTo>
                  <a:cubicBezTo>
                    <a:pt x="269528" y="53096"/>
                    <a:pt x="256670" y="38373"/>
                    <a:pt x="249276" y="38373"/>
                  </a:cubicBezTo>
                  <a:cubicBezTo>
                    <a:pt x="241882" y="38373"/>
                    <a:pt x="248183" y="44802"/>
                    <a:pt x="248183" y="54189"/>
                  </a:cubicBezTo>
                  <a:cubicBezTo>
                    <a:pt x="248183" y="63576"/>
                    <a:pt x="233845" y="68912"/>
                    <a:pt x="237896" y="62611"/>
                  </a:cubicBezTo>
                  <a:cubicBezTo>
                    <a:pt x="241946" y="56311"/>
                    <a:pt x="238989" y="40237"/>
                    <a:pt x="231466" y="37280"/>
                  </a:cubicBezTo>
                  <a:cubicBezTo>
                    <a:pt x="223944" y="34322"/>
                    <a:pt x="203949" y="43709"/>
                    <a:pt x="193662" y="43130"/>
                  </a:cubicBezTo>
                  <a:cubicBezTo>
                    <a:pt x="183375" y="42552"/>
                    <a:pt x="169745" y="46088"/>
                    <a:pt x="178553" y="51231"/>
                  </a:cubicBezTo>
                  <a:cubicBezTo>
                    <a:pt x="187361" y="56375"/>
                    <a:pt x="178231" y="59332"/>
                    <a:pt x="170516" y="53803"/>
                  </a:cubicBezTo>
                  <a:cubicBezTo>
                    <a:pt x="162801" y="48274"/>
                    <a:pt x="137405" y="53803"/>
                    <a:pt x="142548" y="57468"/>
                  </a:cubicBezTo>
                  <a:cubicBezTo>
                    <a:pt x="147788" y="62226"/>
                    <a:pt x="149273" y="69864"/>
                    <a:pt x="146213" y="76242"/>
                  </a:cubicBezTo>
                  <a:cubicBezTo>
                    <a:pt x="142934" y="80614"/>
                    <a:pt x="132261" y="71805"/>
                    <a:pt x="122360" y="72577"/>
                  </a:cubicBezTo>
                  <a:cubicBezTo>
                    <a:pt x="112459" y="73348"/>
                    <a:pt x="63210" y="96816"/>
                    <a:pt x="66167" y="103052"/>
                  </a:cubicBezTo>
                  <a:cubicBezTo>
                    <a:pt x="69125" y="109289"/>
                    <a:pt x="90020" y="104145"/>
                    <a:pt x="96643" y="107810"/>
                  </a:cubicBezTo>
                  <a:cubicBezTo>
                    <a:pt x="103265" y="111475"/>
                    <a:pt x="94457" y="125105"/>
                    <a:pt x="86355" y="130634"/>
                  </a:cubicBezTo>
                  <a:cubicBezTo>
                    <a:pt x="78254" y="136163"/>
                    <a:pt x="48101" y="130956"/>
                    <a:pt x="47393" y="137578"/>
                  </a:cubicBezTo>
                  <a:cubicBezTo>
                    <a:pt x="46686" y="144200"/>
                    <a:pt x="9" y="145293"/>
                    <a:pt x="9" y="155966"/>
                  </a:cubicBezTo>
                  <a:cubicBezTo>
                    <a:pt x="-190" y="160434"/>
                    <a:pt x="2941" y="164363"/>
                    <a:pt x="7338" y="165160"/>
                  </a:cubicBezTo>
                  <a:cubicBezTo>
                    <a:pt x="13768" y="166574"/>
                    <a:pt x="22062" y="164388"/>
                    <a:pt x="27912" y="171011"/>
                  </a:cubicBezTo>
                  <a:cubicBezTo>
                    <a:pt x="33763" y="177633"/>
                    <a:pt x="50351" y="178019"/>
                    <a:pt x="61731" y="173582"/>
                  </a:cubicBezTo>
                  <a:cubicBezTo>
                    <a:pt x="73111" y="169146"/>
                    <a:pt x="81598" y="174354"/>
                    <a:pt x="81019" y="180976"/>
                  </a:cubicBezTo>
                  <a:cubicBezTo>
                    <a:pt x="80440" y="187598"/>
                    <a:pt x="55302" y="178404"/>
                    <a:pt x="47586" y="183162"/>
                  </a:cubicBezTo>
                  <a:cubicBezTo>
                    <a:pt x="39871" y="187920"/>
                    <a:pt x="15954" y="183869"/>
                    <a:pt x="17047" y="189013"/>
                  </a:cubicBezTo>
                  <a:cubicBezTo>
                    <a:pt x="18140" y="194156"/>
                    <a:pt x="29906" y="193063"/>
                    <a:pt x="39485" y="194928"/>
                  </a:cubicBezTo>
                  <a:cubicBezTo>
                    <a:pt x="49065" y="196792"/>
                    <a:pt x="40193" y="200779"/>
                    <a:pt x="39871" y="204829"/>
                  </a:cubicBezTo>
                  <a:cubicBezTo>
                    <a:pt x="39550" y="208880"/>
                    <a:pt x="45015" y="208108"/>
                    <a:pt x="54530" y="212930"/>
                  </a:cubicBezTo>
                  <a:cubicBezTo>
                    <a:pt x="64046" y="217752"/>
                    <a:pt x="79926" y="220645"/>
                    <a:pt x="74783" y="215116"/>
                  </a:cubicBezTo>
                  <a:cubicBezTo>
                    <a:pt x="69639" y="209587"/>
                    <a:pt x="84684" y="210358"/>
                    <a:pt x="87256" y="213637"/>
                  </a:cubicBezTo>
                  <a:cubicBezTo>
                    <a:pt x="89827" y="216916"/>
                    <a:pt x="96835" y="208880"/>
                    <a:pt x="103779" y="210680"/>
                  </a:cubicBezTo>
                  <a:cubicBezTo>
                    <a:pt x="110723" y="212480"/>
                    <a:pt x="113359" y="204251"/>
                    <a:pt x="118824" y="207787"/>
                  </a:cubicBezTo>
                  <a:cubicBezTo>
                    <a:pt x="124289" y="211323"/>
                    <a:pt x="150071" y="213637"/>
                    <a:pt x="158879" y="218459"/>
                  </a:cubicBezTo>
                  <a:cubicBezTo>
                    <a:pt x="167687" y="223281"/>
                    <a:pt x="179839" y="224310"/>
                    <a:pt x="178746" y="231318"/>
                  </a:cubicBezTo>
                  <a:cubicBezTo>
                    <a:pt x="177653" y="238326"/>
                    <a:pt x="186075" y="243405"/>
                    <a:pt x="196041" y="247842"/>
                  </a:cubicBezTo>
                  <a:cubicBezTo>
                    <a:pt x="203788" y="251416"/>
                    <a:pt x="208372" y="259549"/>
                    <a:pt x="207421" y="268030"/>
                  </a:cubicBezTo>
                  <a:cubicBezTo>
                    <a:pt x="207035" y="274459"/>
                    <a:pt x="218029" y="278703"/>
                    <a:pt x="216229" y="281660"/>
                  </a:cubicBezTo>
                  <a:cubicBezTo>
                    <a:pt x="214429" y="284618"/>
                    <a:pt x="215843" y="288604"/>
                    <a:pt x="222658" y="294519"/>
                  </a:cubicBezTo>
                  <a:cubicBezTo>
                    <a:pt x="229473" y="300434"/>
                    <a:pt x="212371" y="304870"/>
                    <a:pt x="216229" y="310014"/>
                  </a:cubicBezTo>
                  <a:cubicBezTo>
                    <a:pt x="220086" y="315157"/>
                    <a:pt x="210314" y="325058"/>
                    <a:pt x="222080" y="326859"/>
                  </a:cubicBezTo>
                  <a:cubicBezTo>
                    <a:pt x="233845" y="328659"/>
                    <a:pt x="232045" y="318822"/>
                    <a:pt x="240853" y="318822"/>
                  </a:cubicBezTo>
                  <a:cubicBezTo>
                    <a:pt x="249662" y="318822"/>
                    <a:pt x="240468" y="326537"/>
                    <a:pt x="245225" y="331295"/>
                  </a:cubicBezTo>
                  <a:cubicBezTo>
                    <a:pt x="249983" y="336053"/>
                    <a:pt x="259949" y="334960"/>
                    <a:pt x="269143" y="342675"/>
                  </a:cubicBezTo>
                  <a:cubicBezTo>
                    <a:pt x="278337" y="350390"/>
                    <a:pt x="272422" y="354055"/>
                    <a:pt x="263999" y="347818"/>
                  </a:cubicBezTo>
                  <a:cubicBezTo>
                    <a:pt x="255577" y="341582"/>
                    <a:pt x="230952" y="343061"/>
                    <a:pt x="230952" y="345247"/>
                  </a:cubicBezTo>
                  <a:cubicBezTo>
                    <a:pt x="230952" y="347433"/>
                    <a:pt x="258084" y="362863"/>
                    <a:pt x="264385" y="360677"/>
                  </a:cubicBezTo>
                  <a:cubicBezTo>
                    <a:pt x="270686" y="358491"/>
                    <a:pt x="279044" y="369871"/>
                    <a:pt x="275379" y="373536"/>
                  </a:cubicBezTo>
                  <a:cubicBezTo>
                    <a:pt x="271714" y="377201"/>
                    <a:pt x="273515" y="386395"/>
                    <a:pt x="272807" y="390831"/>
                  </a:cubicBezTo>
                  <a:cubicBezTo>
                    <a:pt x="272100" y="395267"/>
                    <a:pt x="262906" y="390831"/>
                    <a:pt x="256991" y="391538"/>
                  </a:cubicBezTo>
                  <a:cubicBezTo>
                    <a:pt x="251076" y="392245"/>
                    <a:pt x="247090" y="394110"/>
                    <a:pt x="247090" y="400347"/>
                  </a:cubicBezTo>
                  <a:cubicBezTo>
                    <a:pt x="247090" y="406583"/>
                    <a:pt x="237896" y="411019"/>
                    <a:pt x="236803" y="418734"/>
                  </a:cubicBezTo>
                  <a:cubicBezTo>
                    <a:pt x="235710" y="426450"/>
                    <a:pt x="244132" y="426128"/>
                    <a:pt x="248954" y="429407"/>
                  </a:cubicBezTo>
                  <a:cubicBezTo>
                    <a:pt x="253776" y="432686"/>
                    <a:pt x="240082" y="434936"/>
                    <a:pt x="239375" y="440401"/>
                  </a:cubicBezTo>
                  <a:cubicBezTo>
                    <a:pt x="238667" y="445866"/>
                    <a:pt x="251848" y="455832"/>
                    <a:pt x="256670" y="458404"/>
                  </a:cubicBezTo>
                  <a:cubicBezTo>
                    <a:pt x="261492" y="460975"/>
                    <a:pt x="256991" y="473513"/>
                    <a:pt x="258856" y="479749"/>
                  </a:cubicBezTo>
                  <a:cubicBezTo>
                    <a:pt x="260720" y="485986"/>
                    <a:pt x="266957" y="478270"/>
                    <a:pt x="266185" y="486179"/>
                  </a:cubicBezTo>
                  <a:cubicBezTo>
                    <a:pt x="265414" y="494087"/>
                    <a:pt x="272100" y="493894"/>
                    <a:pt x="272615" y="498652"/>
                  </a:cubicBezTo>
                  <a:cubicBezTo>
                    <a:pt x="273129" y="503409"/>
                    <a:pt x="284380" y="502702"/>
                    <a:pt x="282194" y="509324"/>
                  </a:cubicBezTo>
                  <a:cubicBezTo>
                    <a:pt x="280008" y="515947"/>
                    <a:pt x="285473" y="520704"/>
                    <a:pt x="288045" y="524369"/>
                  </a:cubicBezTo>
                  <a:cubicBezTo>
                    <a:pt x="290617" y="528034"/>
                    <a:pt x="300196" y="534270"/>
                    <a:pt x="301997" y="539092"/>
                  </a:cubicBezTo>
                  <a:cubicBezTo>
                    <a:pt x="303797" y="543914"/>
                    <a:pt x="309391" y="550087"/>
                    <a:pt x="316013" y="548286"/>
                  </a:cubicBezTo>
                  <a:cubicBezTo>
                    <a:pt x="322635" y="546486"/>
                    <a:pt x="322956" y="552658"/>
                    <a:pt x="328100" y="551951"/>
                  </a:cubicBezTo>
                  <a:cubicBezTo>
                    <a:pt x="333822" y="551199"/>
                    <a:pt x="339487" y="553674"/>
                    <a:pt x="342823" y="558380"/>
                  </a:cubicBezTo>
                  <a:cubicBezTo>
                    <a:pt x="344302" y="562431"/>
                    <a:pt x="360054" y="566096"/>
                    <a:pt x="364490" y="566803"/>
                  </a:cubicBezTo>
                  <a:cubicBezTo>
                    <a:pt x="368926" y="567510"/>
                    <a:pt x="369634" y="559474"/>
                    <a:pt x="373684" y="557287"/>
                  </a:cubicBezTo>
                  <a:cubicBezTo>
                    <a:pt x="377735" y="555101"/>
                    <a:pt x="376256" y="538899"/>
                    <a:pt x="380114" y="537999"/>
                  </a:cubicBezTo>
                  <a:cubicBezTo>
                    <a:pt x="383971" y="537099"/>
                    <a:pt x="382685" y="519997"/>
                    <a:pt x="379021" y="518711"/>
                  </a:cubicBezTo>
                  <a:cubicBezTo>
                    <a:pt x="375356" y="517425"/>
                    <a:pt x="376835" y="511382"/>
                    <a:pt x="385450" y="512282"/>
                  </a:cubicBezTo>
                  <a:cubicBezTo>
                    <a:pt x="394065" y="513182"/>
                    <a:pt x="390979" y="504888"/>
                    <a:pt x="395030" y="503795"/>
                  </a:cubicBezTo>
                  <a:cubicBezTo>
                    <a:pt x="399080" y="502702"/>
                    <a:pt x="397216" y="494987"/>
                    <a:pt x="400173" y="494280"/>
                  </a:cubicBezTo>
                  <a:cubicBezTo>
                    <a:pt x="403131" y="493572"/>
                    <a:pt x="402745" y="488364"/>
                    <a:pt x="400173" y="485471"/>
                  </a:cubicBezTo>
                  <a:cubicBezTo>
                    <a:pt x="397601" y="482578"/>
                    <a:pt x="400559" y="480328"/>
                    <a:pt x="404995" y="479556"/>
                  </a:cubicBezTo>
                  <a:cubicBezTo>
                    <a:pt x="409432" y="478785"/>
                    <a:pt x="408274" y="472613"/>
                    <a:pt x="402423" y="470362"/>
                  </a:cubicBezTo>
                  <a:cubicBezTo>
                    <a:pt x="396573" y="468112"/>
                    <a:pt x="398373" y="461554"/>
                    <a:pt x="404224" y="465605"/>
                  </a:cubicBezTo>
                  <a:cubicBezTo>
                    <a:pt x="410074" y="469655"/>
                    <a:pt x="414511" y="466698"/>
                    <a:pt x="411232" y="462326"/>
                  </a:cubicBezTo>
                  <a:cubicBezTo>
                    <a:pt x="407953" y="457954"/>
                    <a:pt x="415282" y="455896"/>
                    <a:pt x="422998" y="454932"/>
                  </a:cubicBezTo>
                  <a:cubicBezTo>
                    <a:pt x="430713" y="453967"/>
                    <a:pt x="434763" y="450174"/>
                    <a:pt x="433285" y="444259"/>
                  </a:cubicBezTo>
                  <a:cubicBezTo>
                    <a:pt x="431806" y="438344"/>
                    <a:pt x="442093" y="438794"/>
                    <a:pt x="439714" y="443938"/>
                  </a:cubicBezTo>
                  <a:cubicBezTo>
                    <a:pt x="437335" y="449081"/>
                    <a:pt x="438621" y="454224"/>
                    <a:pt x="442286" y="450367"/>
                  </a:cubicBezTo>
                  <a:cubicBezTo>
                    <a:pt x="445950" y="446509"/>
                    <a:pt x="452958" y="449274"/>
                    <a:pt x="465431" y="445545"/>
                  </a:cubicBezTo>
                  <a:cubicBezTo>
                    <a:pt x="477904" y="441816"/>
                    <a:pt x="490056" y="431593"/>
                    <a:pt x="492949" y="421692"/>
                  </a:cubicBezTo>
                  <a:cubicBezTo>
                    <a:pt x="495842" y="411791"/>
                    <a:pt x="510244" y="412884"/>
                    <a:pt x="508444" y="406261"/>
                  </a:cubicBezTo>
                  <a:cubicBezTo>
                    <a:pt x="506644" y="399639"/>
                    <a:pt x="511016" y="397067"/>
                    <a:pt x="520146" y="401504"/>
                  </a:cubicBezTo>
                  <a:cubicBezTo>
                    <a:pt x="529275" y="405940"/>
                    <a:pt x="522010" y="398546"/>
                    <a:pt x="532297" y="398546"/>
                  </a:cubicBezTo>
                  <a:cubicBezTo>
                    <a:pt x="542584" y="398546"/>
                    <a:pt x="540784" y="394881"/>
                    <a:pt x="550685" y="394496"/>
                  </a:cubicBezTo>
                  <a:cubicBezTo>
                    <a:pt x="560586" y="394110"/>
                    <a:pt x="586304" y="389738"/>
                    <a:pt x="595112" y="382344"/>
                  </a:cubicBezTo>
                  <a:cubicBezTo>
                    <a:pt x="603920" y="374950"/>
                    <a:pt x="622694" y="368778"/>
                    <a:pt x="630409" y="364020"/>
                  </a:cubicBezTo>
                  <a:cubicBezTo>
                    <a:pt x="638124" y="359263"/>
                    <a:pt x="639989" y="355148"/>
                    <a:pt x="635167" y="357591"/>
                  </a:cubicBezTo>
                  <a:cubicBezTo>
                    <a:pt x="628101" y="360208"/>
                    <a:pt x="620405" y="360587"/>
                    <a:pt x="613114" y="358684"/>
                  </a:cubicBezTo>
                  <a:cubicBezTo>
                    <a:pt x="605785" y="356820"/>
                    <a:pt x="593826" y="350583"/>
                    <a:pt x="585597" y="355341"/>
                  </a:cubicBezTo>
                  <a:cubicBezTo>
                    <a:pt x="577367" y="360099"/>
                    <a:pt x="582253" y="348397"/>
                    <a:pt x="589261" y="347240"/>
                  </a:cubicBezTo>
                  <a:cubicBezTo>
                    <a:pt x="596269" y="346083"/>
                    <a:pt x="593312" y="342868"/>
                    <a:pt x="591447" y="335538"/>
                  </a:cubicBezTo>
                  <a:cubicBezTo>
                    <a:pt x="589583" y="328209"/>
                    <a:pt x="603213" y="332967"/>
                    <a:pt x="609064" y="341389"/>
                  </a:cubicBezTo>
                  <a:cubicBezTo>
                    <a:pt x="615307" y="349856"/>
                    <a:pt x="626166" y="353528"/>
                    <a:pt x="636260" y="350583"/>
                  </a:cubicBezTo>
                  <a:cubicBezTo>
                    <a:pt x="646225" y="347626"/>
                    <a:pt x="636646" y="339524"/>
                    <a:pt x="640696" y="334059"/>
                  </a:cubicBezTo>
                  <a:cubicBezTo>
                    <a:pt x="644747" y="328595"/>
                    <a:pt x="610221" y="311235"/>
                    <a:pt x="608549" y="305385"/>
                  </a:cubicBezTo>
                  <a:cubicBezTo>
                    <a:pt x="606878" y="299534"/>
                    <a:pt x="617358" y="303520"/>
                    <a:pt x="626937" y="307570"/>
                  </a:cubicBezTo>
                  <a:cubicBezTo>
                    <a:pt x="636517" y="311621"/>
                    <a:pt x="638703" y="299855"/>
                    <a:pt x="638703" y="294712"/>
                  </a:cubicBezTo>
                  <a:cubicBezTo>
                    <a:pt x="638703" y="289568"/>
                    <a:pt x="618129" y="289183"/>
                    <a:pt x="608935" y="294326"/>
                  </a:cubicBezTo>
                  <a:cubicBezTo>
                    <a:pt x="599741" y="299470"/>
                    <a:pt x="590933" y="287897"/>
                    <a:pt x="603406" y="286289"/>
                  </a:cubicBezTo>
                  <a:cubicBezTo>
                    <a:pt x="615879" y="284682"/>
                    <a:pt x="604499" y="279860"/>
                    <a:pt x="608163" y="276002"/>
                  </a:cubicBezTo>
                  <a:cubicBezTo>
                    <a:pt x="611828" y="272145"/>
                    <a:pt x="627452" y="286611"/>
                    <a:pt x="635746" y="284039"/>
                  </a:cubicBezTo>
                  <a:cubicBezTo>
                    <a:pt x="644040" y="281467"/>
                    <a:pt x="649697" y="284425"/>
                    <a:pt x="656705" y="278896"/>
                  </a:cubicBezTo>
                  <a:cubicBezTo>
                    <a:pt x="663713" y="273366"/>
                    <a:pt x="644168" y="268287"/>
                    <a:pt x="640182" y="263465"/>
                  </a:cubicBezTo>
                  <a:cubicBezTo>
                    <a:pt x="636196" y="258643"/>
                    <a:pt x="660370" y="260572"/>
                    <a:pt x="667700" y="260893"/>
                  </a:cubicBezTo>
                  <a:cubicBezTo>
                    <a:pt x="675029" y="261215"/>
                    <a:pt x="676894" y="250285"/>
                    <a:pt x="671043" y="252471"/>
                  </a:cubicBezTo>
                  <a:cubicBezTo>
                    <a:pt x="665192" y="254657"/>
                    <a:pt x="644168" y="245141"/>
                    <a:pt x="648604" y="238519"/>
                  </a:cubicBezTo>
                  <a:cubicBezTo>
                    <a:pt x="653041" y="231897"/>
                    <a:pt x="661077" y="239612"/>
                    <a:pt x="670271" y="234854"/>
                  </a:cubicBezTo>
                  <a:cubicBezTo>
                    <a:pt x="679465" y="230097"/>
                    <a:pt x="671043" y="212030"/>
                    <a:pt x="664421" y="212030"/>
                  </a:cubicBezTo>
                  <a:cubicBezTo>
                    <a:pt x="657798" y="212030"/>
                    <a:pt x="642368" y="209844"/>
                    <a:pt x="642368" y="206565"/>
                  </a:cubicBezTo>
                  <a:cubicBezTo>
                    <a:pt x="642368" y="203286"/>
                    <a:pt x="629509" y="200136"/>
                    <a:pt x="633174" y="196985"/>
                  </a:cubicBezTo>
                  <a:cubicBezTo>
                    <a:pt x="636839" y="193835"/>
                    <a:pt x="641596" y="201036"/>
                    <a:pt x="650083" y="194799"/>
                  </a:cubicBezTo>
                  <a:cubicBezTo>
                    <a:pt x="658570" y="188563"/>
                    <a:pt x="676186" y="196278"/>
                    <a:pt x="683902" y="194799"/>
                  </a:cubicBezTo>
                  <a:cubicBezTo>
                    <a:pt x="691617" y="193321"/>
                    <a:pt x="680558" y="178983"/>
                    <a:pt x="676186" y="181555"/>
                  </a:cubicBezTo>
                  <a:cubicBezTo>
                    <a:pt x="671814" y="184127"/>
                    <a:pt x="656898" y="184834"/>
                    <a:pt x="655612" y="177119"/>
                  </a:cubicBezTo>
                  <a:cubicBezTo>
                    <a:pt x="654327" y="169403"/>
                    <a:pt x="669886" y="177119"/>
                    <a:pt x="672457" y="173454"/>
                  </a:cubicBezTo>
                  <a:cubicBezTo>
                    <a:pt x="675029" y="169789"/>
                    <a:pt x="651176" y="160273"/>
                    <a:pt x="647511" y="167989"/>
                  </a:cubicBezTo>
                  <a:cubicBezTo>
                    <a:pt x="643847" y="175704"/>
                    <a:pt x="630602" y="173132"/>
                    <a:pt x="637610" y="168696"/>
                  </a:cubicBezTo>
                  <a:cubicBezTo>
                    <a:pt x="644618" y="164260"/>
                    <a:pt x="646033" y="151787"/>
                    <a:pt x="645261" y="145550"/>
                  </a:cubicBezTo>
                  <a:cubicBezTo>
                    <a:pt x="644490" y="139314"/>
                    <a:pt x="670271" y="139121"/>
                    <a:pt x="667314" y="128641"/>
                  </a:cubicBezTo>
                  <a:cubicBezTo>
                    <a:pt x="664356" y="118161"/>
                    <a:pt x="679465" y="116168"/>
                    <a:pt x="687952" y="116168"/>
                  </a:cubicBezTo>
                  <a:cubicBezTo>
                    <a:pt x="696439" y="116168"/>
                    <a:pt x="687566" y="105110"/>
                    <a:pt x="679465" y="106202"/>
                  </a:cubicBezTo>
                  <a:cubicBezTo>
                    <a:pt x="671364" y="107295"/>
                    <a:pt x="662942" y="116490"/>
                    <a:pt x="658891" y="112632"/>
                  </a:cubicBezTo>
                  <a:cubicBezTo>
                    <a:pt x="654841" y="108774"/>
                    <a:pt x="668471" y="102345"/>
                    <a:pt x="675801" y="102345"/>
                  </a:cubicBezTo>
                  <a:cubicBezTo>
                    <a:pt x="683130" y="102345"/>
                    <a:pt x="700811" y="101638"/>
                    <a:pt x="707047" y="97973"/>
                  </a:cubicBezTo>
                  <a:cubicBezTo>
                    <a:pt x="713284" y="94308"/>
                    <a:pt x="695989" y="90965"/>
                    <a:pt x="684223" y="92444"/>
                  </a:cubicBezTo>
                  <a:cubicBezTo>
                    <a:pt x="672457" y="93922"/>
                    <a:pt x="672457" y="88779"/>
                    <a:pt x="690138" y="88393"/>
                  </a:cubicBezTo>
                  <a:cubicBezTo>
                    <a:pt x="707819" y="88007"/>
                    <a:pt x="704797" y="84343"/>
                    <a:pt x="717334" y="82864"/>
                  </a:cubicBezTo>
                  <a:cubicBezTo>
                    <a:pt x="729872" y="81385"/>
                    <a:pt x="725757" y="76434"/>
                    <a:pt x="733472" y="75920"/>
                  </a:cubicBezTo>
                  <a:cubicBezTo>
                    <a:pt x="741187" y="75406"/>
                    <a:pt x="761376" y="67112"/>
                    <a:pt x="761376" y="63061"/>
                  </a:cubicBezTo>
                  <a:cubicBezTo>
                    <a:pt x="761376" y="59011"/>
                    <a:pt x="731672" y="51939"/>
                    <a:pt x="718363" y="51939"/>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71" name="Freeform 61">
              <a:extLst>
                <a:ext uri="{FF2B5EF4-FFF2-40B4-BE49-F238E27FC236}">
                  <a16:creationId xmlns:a16="http://schemas.microsoft.com/office/drawing/2014/main" id="{8A4E7D7E-9C87-4528-A2F2-694A18AC0A87}"/>
                </a:ext>
              </a:extLst>
            </p:cNvPr>
            <p:cNvSpPr/>
            <p:nvPr/>
          </p:nvSpPr>
          <p:spPr>
            <a:xfrm>
              <a:off x="3709632" y="1875470"/>
              <a:ext cx="32147" cy="19288"/>
            </a:xfrm>
            <a:custGeom>
              <a:avLst/>
              <a:gdLst>
                <a:gd name="connsiteX0" fmla="*/ 37796 w 32146"/>
                <a:gd name="connsiteY0" fmla="*/ 16436 h 19288"/>
                <a:gd name="connsiteX1" fmla="*/ 27830 w 32146"/>
                <a:gd name="connsiteY1" fmla="*/ 7242 h 19288"/>
                <a:gd name="connsiteX2" fmla="*/ 3592 w 32146"/>
                <a:gd name="connsiteY2" fmla="*/ 2870 h 19288"/>
                <a:gd name="connsiteX3" fmla="*/ 1791 w 32146"/>
                <a:gd name="connsiteY3" fmla="*/ 13478 h 19288"/>
                <a:gd name="connsiteX4" fmla="*/ 15357 w 32146"/>
                <a:gd name="connsiteY4" fmla="*/ 21579 h 19288"/>
                <a:gd name="connsiteX5" fmla="*/ 37796 w 32146"/>
                <a:gd name="connsiteY5" fmla="*/ 16436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46" h="19288">
                  <a:moveTo>
                    <a:pt x="37796" y="16436"/>
                  </a:moveTo>
                  <a:cubicBezTo>
                    <a:pt x="38117" y="10585"/>
                    <a:pt x="31367" y="14250"/>
                    <a:pt x="27830" y="7242"/>
                  </a:cubicBezTo>
                  <a:cubicBezTo>
                    <a:pt x="24294" y="234"/>
                    <a:pt x="5392" y="-2595"/>
                    <a:pt x="3592" y="2870"/>
                  </a:cubicBezTo>
                  <a:cubicBezTo>
                    <a:pt x="2884" y="5056"/>
                    <a:pt x="-2838" y="8335"/>
                    <a:pt x="1791" y="13478"/>
                  </a:cubicBezTo>
                  <a:cubicBezTo>
                    <a:pt x="6420" y="18622"/>
                    <a:pt x="9828" y="16436"/>
                    <a:pt x="15357" y="21579"/>
                  </a:cubicBezTo>
                  <a:cubicBezTo>
                    <a:pt x="20887" y="26723"/>
                    <a:pt x="37410" y="22286"/>
                    <a:pt x="37796" y="16436"/>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72" name="Freeform 62">
              <a:extLst>
                <a:ext uri="{FF2B5EF4-FFF2-40B4-BE49-F238E27FC236}">
                  <a16:creationId xmlns:a16="http://schemas.microsoft.com/office/drawing/2014/main" id="{32EE6E78-9DC4-412D-9327-038C4CD6C19C}"/>
                </a:ext>
              </a:extLst>
            </p:cNvPr>
            <p:cNvSpPr/>
            <p:nvPr/>
          </p:nvSpPr>
          <p:spPr>
            <a:xfrm>
              <a:off x="4429012" y="2417832"/>
              <a:ext cx="6429" cy="6429"/>
            </a:xfrm>
            <a:custGeom>
              <a:avLst/>
              <a:gdLst>
                <a:gd name="connsiteX0" fmla="*/ 379 w 6429"/>
                <a:gd name="connsiteY0" fmla="*/ 6039 h 6429"/>
                <a:gd name="connsiteX1" fmla="*/ 11180 w 6429"/>
                <a:gd name="connsiteY1" fmla="*/ 2374 h 6429"/>
                <a:gd name="connsiteX2" fmla="*/ 379 w 6429"/>
                <a:gd name="connsiteY2" fmla="*/ 6039 h 6429"/>
              </a:gdLst>
              <a:ahLst/>
              <a:cxnLst>
                <a:cxn ang="0">
                  <a:pos x="connsiteX0" y="connsiteY0"/>
                </a:cxn>
                <a:cxn ang="0">
                  <a:pos x="connsiteX1" y="connsiteY1"/>
                </a:cxn>
                <a:cxn ang="0">
                  <a:pos x="connsiteX2" y="connsiteY2"/>
                </a:cxn>
              </a:cxnLst>
              <a:rect l="l" t="t" r="r" b="b"/>
              <a:pathLst>
                <a:path w="6429" h="6429">
                  <a:moveTo>
                    <a:pt x="379" y="6039"/>
                  </a:moveTo>
                  <a:cubicBezTo>
                    <a:pt x="5844" y="9768"/>
                    <a:pt x="12080" y="8611"/>
                    <a:pt x="11180" y="2374"/>
                  </a:cubicBezTo>
                  <a:cubicBezTo>
                    <a:pt x="10280" y="-3862"/>
                    <a:pt x="-2322" y="3918"/>
                    <a:pt x="379" y="6039"/>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73" name="Freeform 63">
              <a:extLst>
                <a:ext uri="{FF2B5EF4-FFF2-40B4-BE49-F238E27FC236}">
                  <a16:creationId xmlns:a16="http://schemas.microsoft.com/office/drawing/2014/main" id="{AAF90636-B155-476C-9734-F70A682C1C78}"/>
                </a:ext>
              </a:extLst>
            </p:cNvPr>
            <p:cNvSpPr/>
            <p:nvPr/>
          </p:nvSpPr>
          <p:spPr>
            <a:xfrm>
              <a:off x="4269235" y="2171117"/>
              <a:ext cx="57864" cy="64294"/>
            </a:xfrm>
            <a:custGeom>
              <a:avLst/>
              <a:gdLst>
                <a:gd name="connsiteX0" fmla="*/ 33754 w 57864"/>
                <a:gd name="connsiteY0" fmla="*/ 55503 h 64293"/>
                <a:gd name="connsiteX1" fmla="*/ 48991 w 57864"/>
                <a:gd name="connsiteY1" fmla="*/ 52417 h 64293"/>
                <a:gd name="connsiteX2" fmla="*/ 48991 w 57864"/>
                <a:gd name="connsiteY2" fmla="*/ 23549 h 64293"/>
                <a:gd name="connsiteX3" fmla="*/ 48991 w 57864"/>
                <a:gd name="connsiteY3" fmla="*/ 21620 h 64293"/>
                <a:gd name="connsiteX4" fmla="*/ 58571 w 57864"/>
                <a:gd name="connsiteY4" fmla="*/ 15640 h 64293"/>
                <a:gd name="connsiteX5" fmla="*/ 51627 w 57864"/>
                <a:gd name="connsiteY5" fmla="*/ 1689 h 64293"/>
                <a:gd name="connsiteX6" fmla="*/ 36068 w 57864"/>
                <a:gd name="connsiteY6" fmla="*/ 4132 h 64293"/>
                <a:gd name="connsiteX7" fmla="*/ 34525 w 57864"/>
                <a:gd name="connsiteY7" fmla="*/ 4132 h 64293"/>
                <a:gd name="connsiteX8" fmla="*/ 22052 w 57864"/>
                <a:gd name="connsiteY8" fmla="*/ 6704 h 64293"/>
                <a:gd name="connsiteX9" fmla="*/ 27903 w 57864"/>
                <a:gd name="connsiteY9" fmla="*/ 12619 h 64293"/>
                <a:gd name="connsiteX10" fmla="*/ 17809 w 57864"/>
                <a:gd name="connsiteY10" fmla="*/ 17762 h 64293"/>
                <a:gd name="connsiteX11" fmla="*/ 4564 w 57864"/>
                <a:gd name="connsiteY11" fmla="*/ 17762 h 64293"/>
                <a:gd name="connsiteX12" fmla="*/ 6043 w 57864"/>
                <a:gd name="connsiteY12" fmla="*/ 27085 h 64293"/>
                <a:gd name="connsiteX13" fmla="*/ 11765 w 57864"/>
                <a:gd name="connsiteY13" fmla="*/ 35893 h 64293"/>
                <a:gd name="connsiteX14" fmla="*/ 8422 w 57864"/>
                <a:gd name="connsiteY14" fmla="*/ 46373 h 64293"/>
                <a:gd name="connsiteX15" fmla="*/ 192 w 57864"/>
                <a:gd name="connsiteY15" fmla="*/ 54474 h 64293"/>
                <a:gd name="connsiteX16" fmla="*/ 12473 w 57864"/>
                <a:gd name="connsiteY16" fmla="*/ 64375 h 64293"/>
                <a:gd name="connsiteX17" fmla="*/ 33754 w 57864"/>
                <a:gd name="connsiteY17" fmla="*/ 55503 h 6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864" h="64293">
                  <a:moveTo>
                    <a:pt x="33754" y="55503"/>
                  </a:moveTo>
                  <a:cubicBezTo>
                    <a:pt x="40183" y="49652"/>
                    <a:pt x="43269" y="55503"/>
                    <a:pt x="48991" y="52417"/>
                  </a:cubicBezTo>
                  <a:cubicBezTo>
                    <a:pt x="54714" y="49330"/>
                    <a:pt x="51177" y="27985"/>
                    <a:pt x="48991" y="23549"/>
                  </a:cubicBezTo>
                  <a:cubicBezTo>
                    <a:pt x="48754" y="22925"/>
                    <a:pt x="48754" y="22244"/>
                    <a:pt x="48991" y="21620"/>
                  </a:cubicBezTo>
                  <a:cubicBezTo>
                    <a:pt x="49763" y="19112"/>
                    <a:pt x="55421" y="18662"/>
                    <a:pt x="58571" y="15640"/>
                  </a:cubicBezTo>
                  <a:cubicBezTo>
                    <a:pt x="61722" y="12619"/>
                    <a:pt x="56771" y="6639"/>
                    <a:pt x="51627" y="1689"/>
                  </a:cubicBezTo>
                  <a:cubicBezTo>
                    <a:pt x="46484" y="-3262"/>
                    <a:pt x="41019" y="4261"/>
                    <a:pt x="36068" y="4132"/>
                  </a:cubicBezTo>
                  <a:cubicBezTo>
                    <a:pt x="35560" y="4222"/>
                    <a:pt x="35033" y="4222"/>
                    <a:pt x="34525" y="4132"/>
                  </a:cubicBezTo>
                  <a:cubicBezTo>
                    <a:pt x="29382" y="2139"/>
                    <a:pt x="22245" y="2139"/>
                    <a:pt x="22052" y="6704"/>
                  </a:cubicBezTo>
                  <a:cubicBezTo>
                    <a:pt x="21859" y="11269"/>
                    <a:pt x="27710" y="9661"/>
                    <a:pt x="27903" y="12619"/>
                  </a:cubicBezTo>
                  <a:cubicBezTo>
                    <a:pt x="28096" y="15576"/>
                    <a:pt x="22052" y="14805"/>
                    <a:pt x="17809" y="17762"/>
                  </a:cubicBezTo>
                  <a:cubicBezTo>
                    <a:pt x="13565" y="20720"/>
                    <a:pt x="9001" y="15705"/>
                    <a:pt x="4564" y="17762"/>
                  </a:cubicBezTo>
                  <a:cubicBezTo>
                    <a:pt x="128" y="19820"/>
                    <a:pt x="9386" y="22520"/>
                    <a:pt x="6043" y="27085"/>
                  </a:cubicBezTo>
                  <a:cubicBezTo>
                    <a:pt x="2700" y="31650"/>
                    <a:pt x="6043" y="31521"/>
                    <a:pt x="11765" y="35893"/>
                  </a:cubicBezTo>
                  <a:cubicBezTo>
                    <a:pt x="17487" y="40265"/>
                    <a:pt x="8422" y="41422"/>
                    <a:pt x="8422" y="46373"/>
                  </a:cubicBezTo>
                  <a:cubicBezTo>
                    <a:pt x="8422" y="51324"/>
                    <a:pt x="1671" y="51195"/>
                    <a:pt x="192" y="54474"/>
                  </a:cubicBezTo>
                  <a:cubicBezTo>
                    <a:pt x="-1286" y="57753"/>
                    <a:pt x="6043" y="64375"/>
                    <a:pt x="12473" y="64375"/>
                  </a:cubicBezTo>
                  <a:cubicBezTo>
                    <a:pt x="20316" y="63713"/>
                    <a:pt x="27762" y="60614"/>
                    <a:pt x="33754" y="55503"/>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74" name="Freeform 64">
              <a:extLst>
                <a:ext uri="{FF2B5EF4-FFF2-40B4-BE49-F238E27FC236}">
                  <a16:creationId xmlns:a16="http://schemas.microsoft.com/office/drawing/2014/main" id="{FB7D81D2-5E36-470D-97B5-19863F34940F}"/>
                </a:ext>
              </a:extLst>
            </p:cNvPr>
            <p:cNvSpPr/>
            <p:nvPr/>
          </p:nvSpPr>
          <p:spPr>
            <a:xfrm>
              <a:off x="4314879" y="2105676"/>
              <a:ext cx="102870" cy="154305"/>
            </a:xfrm>
            <a:custGeom>
              <a:avLst/>
              <a:gdLst>
                <a:gd name="connsiteX0" fmla="*/ 968 w 102870"/>
                <a:gd name="connsiteY0" fmla="*/ 25981 h 154305"/>
                <a:gd name="connsiteX1" fmla="*/ 9970 w 102870"/>
                <a:gd name="connsiteY1" fmla="*/ 33310 h 154305"/>
                <a:gd name="connsiteX2" fmla="*/ 5340 w 102870"/>
                <a:gd name="connsiteY2" fmla="*/ 42504 h 154305"/>
                <a:gd name="connsiteX3" fmla="*/ 11770 w 102870"/>
                <a:gd name="connsiteY3" fmla="*/ 48934 h 154305"/>
                <a:gd name="connsiteX4" fmla="*/ 1483 w 102870"/>
                <a:gd name="connsiteY4" fmla="*/ 56649 h 154305"/>
                <a:gd name="connsiteX5" fmla="*/ 10291 w 102870"/>
                <a:gd name="connsiteY5" fmla="*/ 53498 h 154305"/>
                <a:gd name="connsiteX6" fmla="*/ 15435 w 102870"/>
                <a:gd name="connsiteY6" fmla="*/ 61021 h 154305"/>
                <a:gd name="connsiteX7" fmla="*/ 22635 w 102870"/>
                <a:gd name="connsiteY7" fmla="*/ 51313 h 154305"/>
                <a:gd name="connsiteX8" fmla="*/ 23536 w 102870"/>
                <a:gd name="connsiteY8" fmla="*/ 59928 h 154305"/>
                <a:gd name="connsiteX9" fmla="*/ 19099 w 102870"/>
                <a:gd name="connsiteY9" fmla="*/ 72465 h 154305"/>
                <a:gd name="connsiteX10" fmla="*/ 36973 w 102870"/>
                <a:gd name="connsiteY10" fmla="*/ 70794 h 154305"/>
                <a:gd name="connsiteX11" fmla="*/ 40252 w 102870"/>
                <a:gd name="connsiteY11" fmla="*/ 74458 h 154305"/>
                <a:gd name="connsiteX12" fmla="*/ 39603 w 102870"/>
                <a:gd name="connsiteY12" fmla="*/ 80605 h 154305"/>
                <a:gd name="connsiteX13" fmla="*/ 42309 w 102870"/>
                <a:gd name="connsiteY13" fmla="*/ 82174 h 154305"/>
                <a:gd name="connsiteX14" fmla="*/ 45588 w 102870"/>
                <a:gd name="connsiteY14" fmla="*/ 86803 h 154305"/>
                <a:gd name="connsiteX15" fmla="*/ 44495 w 102870"/>
                <a:gd name="connsiteY15" fmla="*/ 97990 h 154305"/>
                <a:gd name="connsiteX16" fmla="*/ 31637 w 102870"/>
                <a:gd name="connsiteY16" fmla="*/ 98504 h 154305"/>
                <a:gd name="connsiteX17" fmla="*/ 27779 w 102870"/>
                <a:gd name="connsiteY17" fmla="*/ 100562 h 154305"/>
                <a:gd name="connsiteX18" fmla="*/ 24114 w 102870"/>
                <a:gd name="connsiteY18" fmla="*/ 108277 h 154305"/>
                <a:gd name="connsiteX19" fmla="*/ 31444 w 102870"/>
                <a:gd name="connsiteY19" fmla="*/ 113035 h 154305"/>
                <a:gd name="connsiteX20" fmla="*/ 19485 w 102870"/>
                <a:gd name="connsiteY20" fmla="*/ 121521 h 154305"/>
                <a:gd name="connsiteX21" fmla="*/ 24243 w 102870"/>
                <a:gd name="connsiteY21" fmla="*/ 126665 h 154305"/>
                <a:gd name="connsiteX22" fmla="*/ 31637 w 102870"/>
                <a:gd name="connsiteY22" fmla="*/ 128272 h 154305"/>
                <a:gd name="connsiteX23" fmla="*/ 44495 w 102870"/>
                <a:gd name="connsiteY23" fmla="*/ 130137 h 154305"/>
                <a:gd name="connsiteX24" fmla="*/ 45653 w 102870"/>
                <a:gd name="connsiteY24" fmla="*/ 133223 h 154305"/>
                <a:gd name="connsiteX25" fmla="*/ 31829 w 102870"/>
                <a:gd name="connsiteY25" fmla="*/ 135087 h 154305"/>
                <a:gd name="connsiteX26" fmla="*/ 16078 w 102870"/>
                <a:gd name="connsiteY26" fmla="*/ 154375 h 154305"/>
                <a:gd name="connsiteX27" fmla="*/ 25207 w 102870"/>
                <a:gd name="connsiteY27" fmla="*/ 149232 h 154305"/>
                <a:gd name="connsiteX28" fmla="*/ 34401 w 102870"/>
                <a:gd name="connsiteY28" fmla="*/ 151097 h 154305"/>
                <a:gd name="connsiteX29" fmla="*/ 39930 w 102870"/>
                <a:gd name="connsiteY29" fmla="*/ 145567 h 154305"/>
                <a:gd name="connsiteX30" fmla="*/ 48932 w 102870"/>
                <a:gd name="connsiteY30" fmla="*/ 144281 h 154305"/>
                <a:gd name="connsiteX31" fmla="*/ 58704 w 102870"/>
                <a:gd name="connsiteY31" fmla="*/ 141517 h 154305"/>
                <a:gd name="connsiteX32" fmla="*/ 68605 w 102870"/>
                <a:gd name="connsiteY32" fmla="*/ 143896 h 154305"/>
                <a:gd name="connsiteX33" fmla="*/ 82557 w 102870"/>
                <a:gd name="connsiteY33" fmla="*/ 141324 h 154305"/>
                <a:gd name="connsiteX34" fmla="*/ 99852 w 102870"/>
                <a:gd name="connsiteY34" fmla="*/ 134187 h 154305"/>
                <a:gd name="connsiteX35" fmla="*/ 94516 w 102870"/>
                <a:gd name="connsiteY35" fmla="*/ 131616 h 154305"/>
                <a:gd name="connsiteX36" fmla="*/ 95416 w 102870"/>
                <a:gd name="connsiteY36" fmla="*/ 124222 h 154305"/>
                <a:gd name="connsiteX37" fmla="*/ 105703 w 102870"/>
                <a:gd name="connsiteY37" fmla="*/ 112327 h 154305"/>
                <a:gd name="connsiteX38" fmla="*/ 92844 w 102870"/>
                <a:gd name="connsiteY38" fmla="*/ 105898 h 154305"/>
                <a:gd name="connsiteX39" fmla="*/ 86801 w 102870"/>
                <a:gd name="connsiteY39" fmla="*/ 105126 h 154305"/>
                <a:gd name="connsiteX40" fmla="*/ 86801 w 102870"/>
                <a:gd name="connsiteY40" fmla="*/ 98311 h 154305"/>
                <a:gd name="connsiteX41" fmla="*/ 82750 w 102870"/>
                <a:gd name="connsiteY41" fmla="*/ 91560 h 154305"/>
                <a:gd name="connsiteX42" fmla="*/ 73363 w 102870"/>
                <a:gd name="connsiteY42" fmla="*/ 76451 h 154305"/>
                <a:gd name="connsiteX43" fmla="*/ 65134 w 102870"/>
                <a:gd name="connsiteY43" fmla="*/ 61407 h 154305"/>
                <a:gd name="connsiteX44" fmla="*/ 56840 w 102870"/>
                <a:gd name="connsiteY44" fmla="*/ 54977 h 154305"/>
                <a:gd name="connsiteX45" fmla="*/ 45653 w 102870"/>
                <a:gd name="connsiteY45" fmla="*/ 53113 h 154305"/>
                <a:gd name="connsiteX46" fmla="*/ 50025 w 102870"/>
                <a:gd name="connsiteY46" fmla="*/ 45076 h 154305"/>
                <a:gd name="connsiteX47" fmla="*/ 59604 w 102870"/>
                <a:gd name="connsiteY47" fmla="*/ 23345 h 154305"/>
                <a:gd name="connsiteX48" fmla="*/ 36651 w 102870"/>
                <a:gd name="connsiteY48" fmla="*/ 22252 h 154305"/>
                <a:gd name="connsiteX49" fmla="*/ 32408 w 102870"/>
                <a:gd name="connsiteY49" fmla="*/ 18201 h 154305"/>
                <a:gd name="connsiteX50" fmla="*/ 41795 w 102870"/>
                <a:gd name="connsiteY50" fmla="*/ 7914 h 154305"/>
                <a:gd name="connsiteX51" fmla="*/ 43659 w 102870"/>
                <a:gd name="connsiteY51" fmla="*/ 585 h 154305"/>
                <a:gd name="connsiteX52" fmla="*/ 38130 w 102870"/>
                <a:gd name="connsiteY52" fmla="*/ 5535 h 154305"/>
                <a:gd name="connsiteX53" fmla="*/ 24693 w 102870"/>
                <a:gd name="connsiteY53" fmla="*/ 5535 h 154305"/>
                <a:gd name="connsiteX54" fmla="*/ 16978 w 102870"/>
                <a:gd name="connsiteY54" fmla="*/ 16015 h 154305"/>
                <a:gd name="connsiteX55" fmla="*/ 11448 w 102870"/>
                <a:gd name="connsiteY55" fmla="*/ 24438 h 154305"/>
                <a:gd name="connsiteX56" fmla="*/ 8362 w 102870"/>
                <a:gd name="connsiteY56" fmla="*/ 27974 h 154305"/>
                <a:gd name="connsiteX57" fmla="*/ 968 w 102870"/>
                <a:gd name="connsiteY57" fmla="*/ 25981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02870" h="154305">
                  <a:moveTo>
                    <a:pt x="968" y="25981"/>
                  </a:moveTo>
                  <a:cubicBezTo>
                    <a:pt x="-2761" y="28938"/>
                    <a:pt x="5148" y="32796"/>
                    <a:pt x="9970" y="33310"/>
                  </a:cubicBezTo>
                  <a:cubicBezTo>
                    <a:pt x="14792" y="33825"/>
                    <a:pt x="6305" y="37361"/>
                    <a:pt x="5340" y="42504"/>
                  </a:cubicBezTo>
                  <a:cubicBezTo>
                    <a:pt x="4376" y="47648"/>
                    <a:pt x="11770" y="45462"/>
                    <a:pt x="11770" y="48934"/>
                  </a:cubicBezTo>
                  <a:cubicBezTo>
                    <a:pt x="11770" y="52406"/>
                    <a:pt x="1483" y="53177"/>
                    <a:pt x="1483" y="56649"/>
                  </a:cubicBezTo>
                  <a:cubicBezTo>
                    <a:pt x="1483" y="60121"/>
                    <a:pt x="7526" y="54977"/>
                    <a:pt x="10291" y="53498"/>
                  </a:cubicBezTo>
                  <a:cubicBezTo>
                    <a:pt x="13056" y="52020"/>
                    <a:pt x="8812" y="62178"/>
                    <a:pt x="15435" y="61021"/>
                  </a:cubicBezTo>
                  <a:cubicBezTo>
                    <a:pt x="22057" y="59864"/>
                    <a:pt x="20257" y="50927"/>
                    <a:pt x="22635" y="51313"/>
                  </a:cubicBezTo>
                  <a:cubicBezTo>
                    <a:pt x="25014" y="51698"/>
                    <a:pt x="21542" y="56070"/>
                    <a:pt x="23536" y="59928"/>
                  </a:cubicBezTo>
                  <a:cubicBezTo>
                    <a:pt x="25529" y="63786"/>
                    <a:pt x="18778" y="69701"/>
                    <a:pt x="19099" y="72465"/>
                  </a:cubicBezTo>
                  <a:cubicBezTo>
                    <a:pt x="19421" y="75230"/>
                    <a:pt x="32730" y="75230"/>
                    <a:pt x="36973" y="70794"/>
                  </a:cubicBezTo>
                  <a:cubicBezTo>
                    <a:pt x="41216" y="66357"/>
                    <a:pt x="43402" y="71179"/>
                    <a:pt x="40252" y="74458"/>
                  </a:cubicBezTo>
                  <a:cubicBezTo>
                    <a:pt x="38375" y="75976"/>
                    <a:pt x="38085" y="78727"/>
                    <a:pt x="39603" y="80605"/>
                  </a:cubicBezTo>
                  <a:cubicBezTo>
                    <a:pt x="40284" y="81447"/>
                    <a:pt x="41242" y="82000"/>
                    <a:pt x="42309" y="82174"/>
                  </a:cubicBezTo>
                  <a:cubicBezTo>
                    <a:pt x="45974" y="83459"/>
                    <a:pt x="47260" y="83845"/>
                    <a:pt x="45588" y="86803"/>
                  </a:cubicBezTo>
                  <a:cubicBezTo>
                    <a:pt x="43917" y="89760"/>
                    <a:pt x="45588" y="95225"/>
                    <a:pt x="44495" y="97990"/>
                  </a:cubicBezTo>
                  <a:cubicBezTo>
                    <a:pt x="43402" y="100754"/>
                    <a:pt x="32151" y="100369"/>
                    <a:pt x="31637" y="98504"/>
                  </a:cubicBezTo>
                  <a:cubicBezTo>
                    <a:pt x="31122" y="96640"/>
                    <a:pt x="26493" y="97990"/>
                    <a:pt x="27779" y="100562"/>
                  </a:cubicBezTo>
                  <a:cubicBezTo>
                    <a:pt x="29065" y="103133"/>
                    <a:pt x="23729" y="105898"/>
                    <a:pt x="24114" y="108277"/>
                  </a:cubicBezTo>
                  <a:cubicBezTo>
                    <a:pt x="24500" y="110656"/>
                    <a:pt x="31251" y="110077"/>
                    <a:pt x="31444" y="113035"/>
                  </a:cubicBezTo>
                  <a:cubicBezTo>
                    <a:pt x="31637" y="115992"/>
                    <a:pt x="26493" y="119464"/>
                    <a:pt x="19485" y="121521"/>
                  </a:cubicBezTo>
                  <a:cubicBezTo>
                    <a:pt x="12477" y="123579"/>
                    <a:pt x="20964" y="129044"/>
                    <a:pt x="24243" y="126665"/>
                  </a:cubicBezTo>
                  <a:cubicBezTo>
                    <a:pt x="27522" y="124286"/>
                    <a:pt x="26814" y="128272"/>
                    <a:pt x="31637" y="128272"/>
                  </a:cubicBezTo>
                  <a:cubicBezTo>
                    <a:pt x="36459" y="128272"/>
                    <a:pt x="39352" y="132130"/>
                    <a:pt x="44495" y="130137"/>
                  </a:cubicBezTo>
                  <a:cubicBezTo>
                    <a:pt x="49639" y="128144"/>
                    <a:pt x="49703" y="130137"/>
                    <a:pt x="45653" y="133223"/>
                  </a:cubicBezTo>
                  <a:cubicBezTo>
                    <a:pt x="41602" y="136309"/>
                    <a:pt x="35559" y="133223"/>
                    <a:pt x="31829" y="135087"/>
                  </a:cubicBezTo>
                  <a:cubicBezTo>
                    <a:pt x="28100" y="136952"/>
                    <a:pt x="13249" y="151097"/>
                    <a:pt x="16078" y="154375"/>
                  </a:cubicBezTo>
                  <a:cubicBezTo>
                    <a:pt x="17685" y="156368"/>
                    <a:pt x="19935" y="151418"/>
                    <a:pt x="25207" y="149232"/>
                  </a:cubicBezTo>
                  <a:cubicBezTo>
                    <a:pt x="30479" y="147046"/>
                    <a:pt x="31637" y="150711"/>
                    <a:pt x="34401" y="151097"/>
                  </a:cubicBezTo>
                  <a:cubicBezTo>
                    <a:pt x="37166" y="151482"/>
                    <a:pt x="37552" y="144989"/>
                    <a:pt x="39930" y="145567"/>
                  </a:cubicBezTo>
                  <a:cubicBezTo>
                    <a:pt x="42309" y="146146"/>
                    <a:pt x="44495" y="143510"/>
                    <a:pt x="48932" y="144281"/>
                  </a:cubicBezTo>
                  <a:cubicBezTo>
                    <a:pt x="52442" y="144905"/>
                    <a:pt x="56043" y="143889"/>
                    <a:pt x="58704" y="141517"/>
                  </a:cubicBezTo>
                  <a:cubicBezTo>
                    <a:pt x="60890" y="139652"/>
                    <a:pt x="66741" y="145181"/>
                    <a:pt x="68605" y="143896"/>
                  </a:cubicBezTo>
                  <a:cubicBezTo>
                    <a:pt x="73042" y="142121"/>
                    <a:pt x="77780" y="141247"/>
                    <a:pt x="82557" y="141324"/>
                  </a:cubicBezTo>
                  <a:cubicBezTo>
                    <a:pt x="88819" y="140398"/>
                    <a:pt x="94760" y="137948"/>
                    <a:pt x="99852" y="134187"/>
                  </a:cubicBezTo>
                  <a:cubicBezTo>
                    <a:pt x="102553" y="131616"/>
                    <a:pt x="98181" y="131037"/>
                    <a:pt x="94516" y="131616"/>
                  </a:cubicBezTo>
                  <a:cubicBezTo>
                    <a:pt x="90851" y="132194"/>
                    <a:pt x="91558" y="127886"/>
                    <a:pt x="95416" y="124222"/>
                  </a:cubicBezTo>
                  <a:cubicBezTo>
                    <a:pt x="99274" y="120557"/>
                    <a:pt x="105317" y="117792"/>
                    <a:pt x="105703" y="112327"/>
                  </a:cubicBezTo>
                  <a:cubicBezTo>
                    <a:pt x="106089" y="106862"/>
                    <a:pt x="93937" y="102940"/>
                    <a:pt x="92844" y="105898"/>
                  </a:cubicBezTo>
                  <a:cubicBezTo>
                    <a:pt x="91751" y="108855"/>
                    <a:pt x="88794" y="108470"/>
                    <a:pt x="86801" y="105126"/>
                  </a:cubicBezTo>
                  <a:cubicBezTo>
                    <a:pt x="84808" y="101783"/>
                    <a:pt x="88601" y="98697"/>
                    <a:pt x="86801" y="98311"/>
                  </a:cubicBezTo>
                  <a:cubicBezTo>
                    <a:pt x="85000" y="97925"/>
                    <a:pt x="82236" y="93361"/>
                    <a:pt x="82750" y="91560"/>
                  </a:cubicBezTo>
                  <a:cubicBezTo>
                    <a:pt x="83264" y="89760"/>
                    <a:pt x="79664" y="77930"/>
                    <a:pt x="73363" y="76451"/>
                  </a:cubicBezTo>
                  <a:cubicBezTo>
                    <a:pt x="67062" y="74973"/>
                    <a:pt x="66227" y="66164"/>
                    <a:pt x="65134" y="61407"/>
                  </a:cubicBezTo>
                  <a:cubicBezTo>
                    <a:pt x="64041" y="56649"/>
                    <a:pt x="59990" y="59221"/>
                    <a:pt x="56840" y="54977"/>
                  </a:cubicBezTo>
                  <a:cubicBezTo>
                    <a:pt x="53689" y="50734"/>
                    <a:pt x="48417" y="52984"/>
                    <a:pt x="45653" y="53113"/>
                  </a:cubicBezTo>
                  <a:cubicBezTo>
                    <a:pt x="42888" y="53241"/>
                    <a:pt x="45653" y="47969"/>
                    <a:pt x="50025" y="45076"/>
                  </a:cubicBezTo>
                  <a:cubicBezTo>
                    <a:pt x="54397" y="42183"/>
                    <a:pt x="59604" y="26495"/>
                    <a:pt x="59604" y="23345"/>
                  </a:cubicBezTo>
                  <a:cubicBezTo>
                    <a:pt x="59604" y="20194"/>
                    <a:pt x="40316" y="20452"/>
                    <a:pt x="36651" y="22252"/>
                  </a:cubicBezTo>
                  <a:cubicBezTo>
                    <a:pt x="32987" y="24052"/>
                    <a:pt x="29322" y="19551"/>
                    <a:pt x="32408" y="18201"/>
                  </a:cubicBezTo>
                  <a:cubicBezTo>
                    <a:pt x="35494" y="16851"/>
                    <a:pt x="42181" y="10486"/>
                    <a:pt x="41795" y="7914"/>
                  </a:cubicBezTo>
                  <a:cubicBezTo>
                    <a:pt x="41409" y="5343"/>
                    <a:pt x="46360" y="2964"/>
                    <a:pt x="43659" y="585"/>
                  </a:cubicBezTo>
                  <a:cubicBezTo>
                    <a:pt x="40959" y="-1794"/>
                    <a:pt x="40509" y="3735"/>
                    <a:pt x="38130" y="5535"/>
                  </a:cubicBezTo>
                  <a:cubicBezTo>
                    <a:pt x="33784" y="7091"/>
                    <a:pt x="29039" y="7091"/>
                    <a:pt x="24693" y="5535"/>
                  </a:cubicBezTo>
                  <a:cubicBezTo>
                    <a:pt x="19035" y="4443"/>
                    <a:pt x="16785" y="12543"/>
                    <a:pt x="16978" y="16015"/>
                  </a:cubicBezTo>
                  <a:cubicBezTo>
                    <a:pt x="17170" y="19487"/>
                    <a:pt x="10548" y="21544"/>
                    <a:pt x="11448" y="24438"/>
                  </a:cubicBezTo>
                  <a:cubicBezTo>
                    <a:pt x="12348" y="27331"/>
                    <a:pt x="10162" y="29581"/>
                    <a:pt x="8362" y="27974"/>
                  </a:cubicBezTo>
                  <a:cubicBezTo>
                    <a:pt x="6562" y="26367"/>
                    <a:pt x="4633" y="23023"/>
                    <a:pt x="968" y="25981"/>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75" name="Freeform 65">
              <a:extLst>
                <a:ext uri="{FF2B5EF4-FFF2-40B4-BE49-F238E27FC236}">
                  <a16:creationId xmlns:a16="http://schemas.microsoft.com/office/drawing/2014/main" id="{BEA46186-229B-4B9E-9EFC-19C49C9C0B54}"/>
                </a:ext>
              </a:extLst>
            </p:cNvPr>
            <p:cNvSpPr/>
            <p:nvPr/>
          </p:nvSpPr>
          <p:spPr>
            <a:xfrm>
              <a:off x="4309852" y="2114853"/>
              <a:ext cx="6429" cy="6429"/>
            </a:xfrm>
            <a:custGeom>
              <a:avLst/>
              <a:gdLst>
                <a:gd name="connsiteX0" fmla="*/ 852 w 6429"/>
                <a:gd name="connsiteY0" fmla="*/ 11275 h 6429"/>
                <a:gd name="connsiteX1" fmla="*/ 9082 w 6429"/>
                <a:gd name="connsiteY1" fmla="*/ 281 h 6429"/>
                <a:gd name="connsiteX2" fmla="*/ 852 w 6429"/>
                <a:gd name="connsiteY2" fmla="*/ 11275 h 6429"/>
              </a:gdLst>
              <a:ahLst/>
              <a:cxnLst>
                <a:cxn ang="0">
                  <a:pos x="connsiteX0" y="connsiteY0"/>
                </a:cxn>
                <a:cxn ang="0">
                  <a:pos x="connsiteX1" y="connsiteY1"/>
                </a:cxn>
                <a:cxn ang="0">
                  <a:pos x="connsiteX2" y="connsiteY2"/>
                </a:cxn>
              </a:cxnLst>
              <a:rect l="l" t="t" r="r" b="b"/>
              <a:pathLst>
                <a:path w="6429" h="6429">
                  <a:moveTo>
                    <a:pt x="852" y="11275"/>
                  </a:moveTo>
                  <a:cubicBezTo>
                    <a:pt x="5803" y="11275"/>
                    <a:pt x="11460" y="2660"/>
                    <a:pt x="9082" y="281"/>
                  </a:cubicBezTo>
                  <a:cubicBezTo>
                    <a:pt x="6703" y="-2098"/>
                    <a:pt x="-2877" y="11404"/>
                    <a:pt x="852" y="11275"/>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76" name="Freeform 66">
              <a:extLst>
                <a:ext uri="{FF2B5EF4-FFF2-40B4-BE49-F238E27FC236}">
                  <a16:creationId xmlns:a16="http://schemas.microsoft.com/office/drawing/2014/main" id="{C07B632A-B31D-4376-8871-47005107DD05}"/>
                </a:ext>
              </a:extLst>
            </p:cNvPr>
            <p:cNvSpPr/>
            <p:nvPr/>
          </p:nvSpPr>
          <p:spPr>
            <a:xfrm>
              <a:off x="4380489" y="2072411"/>
              <a:ext cx="6429" cy="12859"/>
            </a:xfrm>
            <a:custGeom>
              <a:avLst/>
              <a:gdLst>
                <a:gd name="connsiteX0" fmla="*/ 1324 w 0"/>
                <a:gd name="connsiteY0" fmla="*/ 13855 h 12858"/>
                <a:gd name="connsiteX1" fmla="*/ 3318 w 0"/>
                <a:gd name="connsiteY1" fmla="*/ 96 h 12858"/>
                <a:gd name="connsiteX2" fmla="*/ 1324 w 0"/>
                <a:gd name="connsiteY2" fmla="*/ 13855 h 12858"/>
              </a:gdLst>
              <a:ahLst/>
              <a:cxnLst>
                <a:cxn ang="0">
                  <a:pos x="connsiteX0" y="connsiteY0"/>
                </a:cxn>
                <a:cxn ang="0">
                  <a:pos x="connsiteX1" y="connsiteY1"/>
                </a:cxn>
                <a:cxn ang="0">
                  <a:pos x="connsiteX2" y="connsiteY2"/>
                </a:cxn>
              </a:cxnLst>
              <a:rect l="l" t="t" r="r" b="b"/>
              <a:pathLst>
                <a:path h="12858">
                  <a:moveTo>
                    <a:pt x="1324" y="13855"/>
                  </a:moveTo>
                  <a:cubicBezTo>
                    <a:pt x="4410" y="10769"/>
                    <a:pt x="8075" y="-1190"/>
                    <a:pt x="3318" y="96"/>
                  </a:cubicBezTo>
                  <a:cubicBezTo>
                    <a:pt x="-1440" y="1382"/>
                    <a:pt x="-90" y="15205"/>
                    <a:pt x="1324" y="13855"/>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77" name="Freeform 67">
              <a:extLst>
                <a:ext uri="{FF2B5EF4-FFF2-40B4-BE49-F238E27FC236}">
                  <a16:creationId xmlns:a16="http://schemas.microsoft.com/office/drawing/2014/main" id="{BA9AD1D0-9144-4D25-BCB8-C214F1596378}"/>
                </a:ext>
              </a:extLst>
            </p:cNvPr>
            <p:cNvSpPr/>
            <p:nvPr/>
          </p:nvSpPr>
          <p:spPr>
            <a:xfrm>
              <a:off x="4538608" y="2157622"/>
              <a:ext cx="12859" cy="19288"/>
            </a:xfrm>
            <a:custGeom>
              <a:avLst/>
              <a:gdLst>
                <a:gd name="connsiteX0" fmla="*/ 2460 w 12858"/>
                <a:gd name="connsiteY0" fmla="*/ 19427 h 19288"/>
                <a:gd name="connsiteX1" fmla="*/ 5739 w 12858"/>
                <a:gd name="connsiteY1" fmla="*/ 24892 h 19288"/>
                <a:gd name="connsiteX2" fmla="*/ 14740 w 12858"/>
                <a:gd name="connsiteY2" fmla="*/ 14605 h 19288"/>
                <a:gd name="connsiteX3" fmla="*/ 17698 w 12858"/>
                <a:gd name="connsiteY3" fmla="*/ 1232 h 19288"/>
                <a:gd name="connsiteX4" fmla="*/ 13454 w 12858"/>
                <a:gd name="connsiteY4" fmla="*/ 4125 h 19288"/>
                <a:gd name="connsiteX5" fmla="*/ 9275 w 12858"/>
                <a:gd name="connsiteY5" fmla="*/ 1232 h 19288"/>
                <a:gd name="connsiteX6" fmla="*/ 1174 w 12858"/>
                <a:gd name="connsiteY6" fmla="*/ 4704 h 19288"/>
                <a:gd name="connsiteX7" fmla="*/ 5932 w 12858"/>
                <a:gd name="connsiteY7" fmla="*/ 16083 h 19288"/>
                <a:gd name="connsiteX8" fmla="*/ 2460 w 12858"/>
                <a:gd name="connsiteY8" fmla="*/ 19427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 h="19288">
                  <a:moveTo>
                    <a:pt x="2460" y="19427"/>
                  </a:moveTo>
                  <a:cubicBezTo>
                    <a:pt x="-819" y="18655"/>
                    <a:pt x="1174" y="24185"/>
                    <a:pt x="5739" y="24892"/>
                  </a:cubicBezTo>
                  <a:cubicBezTo>
                    <a:pt x="10304" y="25599"/>
                    <a:pt x="15319" y="16855"/>
                    <a:pt x="14740" y="14605"/>
                  </a:cubicBezTo>
                  <a:cubicBezTo>
                    <a:pt x="14162" y="12354"/>
                    <a:pt x="19434" y="2325"/>
                    <a:pt x="17698" y="1232"/>
                  </a:cubicBezTo>
                  <a:cubicBezTo>
                    <a:pt x="15962" y="139"/>
                    <a:pt x="15126" y="3803"/>
                    <a:pt x="13454" y="4125"/>
                  </a:cubicBezTo>
                  <a:cubicBezTo>
                    <a:pt x="11783" y="4446"/>
                    <a:pt x="9983" y="-2819"/>
                    <a:pt x="9275" y="1232"/>
                  </a:cubicBezTo>
                  <a:cubicBezTo>
                    <a:pt x="8568" y="5282"/>
                    <a:pt x="4839" y="-440"/>
                    <a:pt x="1174" y="4704"/>
                  </a:cubicBezTo>
                  <a:cubicBezTo>
                    <a:pt x="-2490" y="9847"/>
                    <a:pt x="3360" y="14476"/>
                    <a:pt x="5932" y="16083"/>
                  </a:cubicBezTo>
                  <a:cubicBezTo>
                    <a:pt x="8504" y="17691"/>
                    <a:pt x="5739" y="20134"/>
                    <a:pt x="2460" y="19427"/>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78" name="Freeform 68">
              <a:extLst>
                <a:ext uri="{FF2B5EF4-FFF2-40B4-BE49-F238E27FC236}">
                  <a16:creationId xmlns:a16="http://schemas.microsoft.com/office/drawing/2014/main" id="{318C36A4-ACD9-42DB-BEA2-8848DF5A0D3D}"/>
                </a:ext>
              </a:extLst>
            </p:cNvPr>
            <p:cNvSpPr/>
            <p:nvPr/>
          </p:nvSpPr>
          <p:spPr>
            <a:xfrm>
              <a:off x="4499048" y="2128211"/>
              <a:ext cx="32147" cy="51435"/>
            </a:xfrm>
            <a:custGeom>
              <a:avLst/>
              <a:gdLst>
                <a:gd name="connsiteX0" fmla="*/ 7495 w 32146"/>
                <a:gd name="connsiteY0" fmla="*/ 10775 h 51435"/>
                <a:gd name="connsiteX1" fmla="*/ 1066 w 32146"/>
                <a:gd name="connsiteY1" fmla="*/ 19776 h 51435"/>
                <a:gd name="connsiteX2" fmla="*/ 1066 w 32146"/>
                <a:gd name="connsiteY2" fmla="*/ 33921 h 51435"/>
                <a:gd name="connsiteX3" fmla="*/ 5823 w 32146"/>
                <a:gd name="connsiteY3" fmla="*/ 44787 h 51435"/>
                <a:gd name="connsiteX4" fmla="*/ 7688 w 32146"/>
                <a:gd name="connsiteY4" fmla="*/ 50252 h 51435"/>
                <a:gd name="connsiteX5" fmla="*/ 19068 w 32146"/>
                <a:gd name="connsiteY5" fmla="*/ 51409 h 51435"/>
                <a:gd name="connsiteX6" fmla="*/ 23633 w 32146"/>
                <a:gd name="connsiteY6" fmla="*/ 51409 h 51435"/>
                <a:gd name="connsiteX7" fmla="*/ 18682 w 32146"/>
                <a:gd name="connsiteY7" fmla="*/ 44980 h 51435"/>
                <a:gd name="connsiteX8" fmla="*/ 25112 w 32146"/>
                <a:gd name="connsiteY8" fmla="*/ 46265 h 51435"/>
                <a:gd name="connsiteX9" fmla="*/ 33920 w 32146"/>
                <a:gd name="connsiteY9" fmla="*/ 46265 h 51435"/>
                <a:gd name="connsiteX10" fmla="*/ 29548 w 32146"/>
                <a:gd name="connsiteY10" fmla="*/ 38550 h 51435"/>
                <a:gd name="connsiteX11" fmla="*/ 23826 w 32146"/>
                <a:gd name="connsiteY11" fmla="*/ 37843 h 51435"/>
                <a:gd name="connsiteX12" fmla="*/ 27297 w 32146"/>
                <a:gd name="connsiteY12" fmla="*/ 30128 h 51435"/>
                <a:gd name="connsiteX13" fmla="*/ 35206 w 32146"/>
                <a:gd name="connsiteY13" fmla="*/ 25884 h 51435"/>
                <a:gd name="connsiteX14" fmla="*/ 29355 w 32146"/>
                <a:gd name="connsiteY14" fmla="*/ 19969 h 51435"/>
                <a:gd name="connsiteX15" fmla="*/ 28969 w 32146"/>
                <a:gd name="connsiteY15" fmla="*/ 11354 h 51435"/>
                <a:gd name="connsiteX16" fmla="*/ 30255 w 32146"/>
                <a:gd name="connsiteY16" fmla="*/ 681 h 51435"/>
                <a:gd name="connsiteX17" fmla="*/ 21254 w 32146"/>
                <a:gd name="connsiteY17" fmla="*/ 5696 h 51435"/>
                <a:gd name="connsiteX18" fmla="*/ 13924 w 32146"/>
                <a:gd name="connsiteY18" fmla="*/ 9554 h 51435"/>
                <a:gd name="connsiteX19" fmla="*/ 14439 w 32146"/>
                <a:gd name="connsiteY19" fmla="*/ 15019 h 51435"/>
                <a:gd name="connsiteX20" fmla="*/ 7495 w 32146"/>
                <a:gd name="connsiteY20" fmla="*/ 10775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146" h="51435">
                  <a:moveTo>
                    <a:pt x="7495" y="10775"/>
                  </a:moveTo>
                  <a:cubicBezTo>
                    <a:pt x="3637" y="10390"/>
                    <a:pt x="3252" y="16690"/>
                    <a:pt x="1066" y="19776"/>
                  </a:cubicBezTo>
                  <a:cubicBezTo>
                    <a:pt x="-355" y="24386"/>
                    <a:pt x="-355" y="29311"/>
                    <a:pt x="1066" y="33921"/>
                  </a:cubicBezTo>
                  <a:cubicBezTo>
                    <a:pt x="1773" y="38357"/>
                    <a:pt x="7109" y="41122"/>
                    <a:pt x="5823" y="44787"/>
                  </a:cubicBezTo>
                  <a:cubicBezTo>
                    <a:pt x="5245" y="46458"/>
                    <a:pt x="6402" y="48387"/>
                    <a:pt x="7688" y="50252"/>
                  </a:cubicBezTo>
                  <a:cubicBezTo>
                    <a:pt x="11513" y="50188"/>
                    <a:pt x="15332" y="50580"/>
                    <a:pt x="19068" y="51409"/>
                  </a:cubicBezTo>
                  <a:cubicBezTo>
                    <a:pt x="20579" y="51692"/>
                    <a:pt x="22122" y="51692"/>
                    <a:pt x="23633" y="51409"/>
                  </a:cubicBezTo>
                  <a:cubicBezTo>
                    <a:pt x="22025" y="48773"/>
                    <a:pt x="18425" y="46651"/>
                    <a:pt x="18682" y="44980"/>
                  </a:cubicBezTo>
                  <a:cubicBezTo>
                    <a:pt x="18939" y="43308"/>
                    <a:pt x="22540" y="44080"/>
                    <a:pt x="25112" y="46265"/>
                  </a:cubicBezTo>
                  <a:cubicBezTo>
                    <a:pt x="27683" y="48451"/>
                    <a:pt x="33405" y="48837"/>
                    <a:pt x="33920" y="46265"/>
                  </a:cubicBezTo>
                  <a:cubicBezTo>
                    <a:pt x="34241" y="44594"/>
                    <a:pt x="33020" y="36750"/>
                    <a:pt x="29548" y="38550"/>
                  </a:cubicBezTo>
                  <a:cubicBezTo>
                    <a:pt x="26076" y="40351"/>
                    <a:pt x="25112" y="39643"/>
                    <a:pt x="23826" y="37843"/>
                  </a:cubicBezTo>
                  <a:cubicBezTo>
                    <a:pt x="22540" y="36043"/>
                    <a:pt x="26397" y="33021"/>
                    <a:pt x="27297" y="30128"/>
                  </a:cubicBezTo>
                  <a:cubicBezTo>
                    <a:pt x="28198" y="27235"/>
                    <a:pt x="34305" y="28263"/>
                    <a:pt x="35206" y="25884"/>
                  </a:cubicBezTo>
                  <a:cubicBezTo>
                    <a:pt x="36106" y="23506"/>
                    <a:pt x="31155" y="20934"/>
                    <a:pt x="29355" y="19969"/>
                  </a:cubicBezTo>
                  <a:cubicBezTo>
                    <a:pt x="27195" y="17552"/>
                    <a:pt x="27034" y="13951"/>
                    <a:pt x="28969" y="11354"/>
                  </a:cubicBezTo>
                  <a:cubicBezTo>
                    <a:pt x="31367" y="8319"/>
                    <a:pt x="31869" y="4198"/>
                    <a:pt x="30255" y="681"/>
                  </a:cubicBezTo>
                  <a:cubicBezTo>
                    <a:pt x="28391" y="-1119"/>
                    <a:pt x="21768" y="681"/>
                    <a:pt x="21254" y="5696"/>
                  </a:cubicBezTo>
                  <a:cubicBezTo>
                    <a:pt x="20740" y="10711"/>
                    <a:pt x="15403" y="8397"/>
                    <a:pt x="13924" y="9554"/>
                  </a:cubicBezTo>
                  <a:cubicBezTo>
                    <a:pt x="12446" y="10711"/>
                    <a:pt x="16818" y="12833"/>
                    <a:pt x="14439" y="15019"/>
                  </a:cubicBezTo>
                  <a:cubicBezTo>
                    <a:pt x="12060" y="17205"/>
                    <a:pt x="11353" y="11161"/>
                    <a:pt x="7495" y="10775"/>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79" name="Freeform 69">
              <a:extLst>
                <a:ext uri="{FF2B5EF4-FFF2-40B4-BE49-F238E27FC236}">
                  <a16:creationId xmlns:a16="http://schemas.microsoft.com/office/drawing/2014/main" id="{4326CF55-41AD-4A37-B0A5-FBC6AF256C5A}"/>
                </a:ext>
              </a:extLst>
            </p:cNvPr>
            <p:cNvSpPr/>
            <p:nvPr/>
          </p:nvSpPr>
          <p:spPr>
            <a:xfrm>
              <a:off x="4621207" y="2125033"/>
              <a:ext cx="6429" cy="12859"/>
            </a:xfrm>
            <a:custGeom>
              <a:avLst/>
              <a:gdLst>
                <a:gd name="connsiteX0" fmla="*/ 8973 w 6429"/>
                <a:gd name="connsiteY0" fmla="*/ 1 h 12858"/>
                <a:gd name="connsiteX1" fmla="*/ 486 w 6429"/>
                <a:gd name="connsiteY1" fmla="*/ 16204 h 12858"/>
                <a:gd name="connsiteX2" fmla="*/ 8973 w 6429"/>
                <a:gd name="connsiteY2" fmla="*/ 1 h 12858"/>
              </a:gdLst>
              <a:ahLst/>
              <a:cxnLst>
                <a:cxn ang="0">
                  <a:pos x="connsiteX0" y="connsiteY0"/>
                </a:cxn>
                <a:cxn ang="0">
                  <a:pos x="connsiteX1" y="connsiteY1"/>
                </a:cxn>
                <a:cxn ang="0">
                  <a:pos x="connsiteX2" y="connsiteY2"/>
                </a:cxn>
              </a:cxnLst>
              <a:rect l="l" t="t" r="r" b="b"/>
              <a:pathLst>
                <a:path w="6429" h="12858">
                  <a:moveTo>
                    <a:pt x="8973" y="1"/>
                  </a:moveTo>
                  <a:cubicBezTo>
                    <a:pt x="1965" y="1"/>
                    <a:pt x="-1314" y="13953"/>
                    <a:pt x="486" y="16204"/>
                  </a:cubicBezTo>
                  <a:cubicBezTo>
                    <a:pt x="2287" y="18454"/>
                    <a:pt x="15917" y="-191"/>
                    <a:pt x="8973" y="1"/>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80" name="Freeform 70">
              <a:extLst>
                <a:ext uri="{FF2B5EF4-FFF2-40B4-BE49-F238E27FC236}">
                  <a16:creationId xmlns:a16="http://schemas.microsoft.com/office/drawing/2014/main" id="{8784A60E-5821-499A-8D79-EF700BD45BC8}"/>
                </a:ext>
              </a:extLst>
            </p:cNvPr>
            <p:cNvSpPr/>
            <p:nvPr/>
          </p:nvSpPr>
          <p:spPr>
            <a:xfrm>
              <a:off x="4528765" y="1660260"/>
              <a:ext cx="12859" cy="12859"/>
            </a:xfrm>
            <a:custGeom>
              <a:avLst/>
              <a:gdLst>
                <a:gd name="connsiteX0" fmla="*/ 9154 w 12858"/>
                <a:gd name="connsiteY0" fmla="*/ 11375 h 12858"/>
                <a:gd name="connsiteX1" fmla="*/ 18026 w 12858"/>
                <a:gd name="connsiteY1" fmla="*/ 17419 h 12858"/>
                <a:gd name="connsiteX2" fmla="*/ 9732 w 12858"/>
                <a:gd name="connsiteY2" fmla="*/ 6682 h 12858"/>
                <a:gd name="connsiteX3" fmla="*/ 1438 w 12858"/>
                <a:gd name="connsiteY3" fmla="*/ 252 h 12858"/>
                <a:gd name="connsiteX4" fmla="*/ 9154 w 12858"/>
                <a:gd name="connsiteY4" fmla="*/ 11375 h 12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8" h="12858">
                  <a:moveTo>
                    <a:pt x="9154" y="11375"/>
                  </a:moveTo>
                  <a:cubicBezTo>
                    <a:pt x="12497" y="12211"/>
                    <a:pt x="14940" y="17804"/>
                    <a:pt x="18026" y="17419"/>
                  </a:cubicBezTo>
                  <a:cubicBezTo>
                    <a:pt x="19376" y="17419"/>
                    <a:pt x="13333" y="10539"/>
                    <a:pt x="9732" y="6682"/>
                  </a:cubicBezTo>
                  <a:cubicBezTo>
                    <a:pt x="6132" y="2824"/>
                    <a:pt x="6453" y="-1034"/>
                    <a:pt x="1438" y="252"/>
                  </a:cubicBezTo>
                  <a:cubicBezTo>
                    <a:pt x="-3577" y="1538"/>
                    <a:pt x="5875" y="10604"/>
                    <a:pt x="9154" y="11375"/>
                  </a:cubicBezTo>
                  <a:close/>
                </a:path>
              </a:pathLst>
            </a:custGeom>
            <a:solidFill>
              <a:srgbClr val="929AA8"/>
            </a:solidFill>
            <a:ln w="6429" cap="flat">
              <a:noFill/>
              <a:prstDash val="solid"/>
              <a:miter/>
            </a:ln>
          </p:spPr>
          <p:txBody>
            <a:bodyPr rtlCol="0" anchor="ctr"/>
            <a:lstStyle/>
            <a:p>
              <a:endParaRPr lang="en-GB" sz="2400"/>
            </a:p>
          </p:txBody>
        </p:sp>
        <p:sp>
          <p:nvSpPr>
            <p:cNvPr id="281" name="Freeform 71">
              <a:extLst>
                <a:ext uri="{FF2B5EF4-FFF2-40B4-BE49-F238E27FC236}">
                  <a16:creationId xmlns:a16="http://schemas.microsoft.com/office/drawing/2014/main" id="{3484D536-367A-4BAC-B405-A5892082B51C}"/>
                </a:ext>
              </a:extLst>
            </p:cNvPr>
            <p:cNvSpPr/>
            <p:nvPr/>
          </p:nvSpPr>
          <p:spPr>
            <a:xfrm>
              <a:off x="4618369" y="1613564"/>
              <a:ext cx="115729" cy="32147"/>
            </a:xfrm>
            <a:custGeom>
              <a:avLst/>
              <a:gdLst>
                <a:gd name="connsiteX0" fmla="*/ 7181 w 115728"/>
                <a:gd name="connsiteY0" fmla="*/ 13516 h 32146"/>
                <a:gd name="connsiteX1" fmla="*/ 5831 w 115728"/>
                <a:gd name="connsiteY1" fmla="*/ 18209 h 32146"/>
                <a:gd name="connsiteX2" fmla="*/ 50837 w 115728"/>
                <a:gd name="connsiteY2" fmla="*/ 19559 h 32146"/>
                <a:gd name="connsiteX3" fmla="*/ 25119 w 115728"/>
                <a:gd name="connsiteY3" fmla="*/ 28368 h 32146"/>
                <a:gd name="connsiteX4" fmla="*/ 54309 w 115728"/>
                <a:gd name="connsiteY4" fmla="*/ 32225 h 32146"/>
                <a:gd name="connsiteX5" fmla="*/ 69225 w 115728"/>
                <a:gd name="connsiteY5" fmla="*/ 37176 h 32146"/>
                <a:gd name="connsiteX6" fmla="*/ 83241 w 115728"/>
                <a:gd name="connsiteY6" fmla="*/ 33640 h 32146"/>
                <a:gd name="connsiteX7" fmla="*/ 99250 w 115728"/>
                <a:gd name="connsiteY7" fmla="*/ 26760 h 32146"/>
                <a:gd name="connsiteX8" fmla="*/ 116352 w 115728"/>
                <a:gd name="connsiteY8" fmla="*/ 12680 h 32146"/>
                <a:gd name="connsiteX9" fmla="*/ 91792 w 115728"/>
                <a:gd name="connsiteY9" fmla="*/ 8244 h 32146"/>
                <a:gd name="connsiteX10" fmla="*/ 73340 w 115728"/>
                <a:gd name="connsiteY10" fmla="*/ 6315 h 32146"/>
                <a:gd name="connsiteX11" fmla="*/ 66460 w 115728"/>
                <a:gd name="connsiteY11" fmla="*/ 9658 h 32146"/>
                <a:gd name="connsiteX12" fmla="*/ 59259 w 115728"/>
                <a:gd name="connsiteY12" fmla="*/ 1686 h 32146"/>
                <a:gd name="connsiteX13" fmla="*/ 57073 w 115728"/>
                <a:gd name="connsiteY13" fmla="*/ 13773 h 32146"/>
                <a:gd name="connsiteX14" fmla="*/ 47172 w 115728"/>
                <a:gd name="connsiteY14" fmla="*/ 8244 h 32146"/>
                <a:gd name="connsiteX15" fmla="*/ 36949 w 115728"/>
                <a:gd name="connsiteY15" fmla="*/ 7729 h 32146"/>
                <a:gd name="connsiteX16" fmla="*/ 23448 w 115728"/>
                <a:gd name="connsiteY16" fmla="*/ 14 h 32146"/>
                <a:gd name="connsiteX17" fmla="*/ 24283 w 115728"/>
                <a:gd name="connsiteY17" fmla="*/ 5543 h 32146"/>
                <a:gd name="connsiteX18" fmla="*/ 15218 w 115728"/>
                <a:gd name="connsiteY18" fmla="*/ 3036 h 32146"/>
                <a:gd name="connsiteX19" fmla="*/ 15218 w 115728"/>
                <a:gd name="connsiteY19" fmla="*/ 9915 h 32146"/>
                <a:gd name="connsiteX20" fmla="*/ 5831 w 115728"/>
                <a:gd name="connsiteY20" fmla="*/ 3486 h 32146"/>
                <a:gd name="connsiteX21" fmla="*/ 623 w 115728"/>
                <a:gd name="connsiteY21" fmla="*/ 8179 h 32146"/>
                <a:gd name="connsiteX22" fmla="*/ 7181 w 115728"/>
                <a:gd name="connsiteY22" fmla="*/ 13516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5728" h="32146">
                  <a:moveTo>
                    <a:pt x="7181" y="13516"/>
                  </a:moveTo>
                  <a:cubicBezTo>
                    <a:pt x="9689" y="15445"/>
                    <a:pt x="3131" y="15509"/>
                    <a:pt x="5831" y="18209"/>
                  </a:cubicBezTo>
                  <a:cubicBezTo>
                    <a:pt x="14061" y="26439"/>
                    <a:pt x="46593" y="17116"/>
                    <a:pt x="50837" y="19559"/>
                  </a:cubicBezTo>
                  <a:cubicBezTo>
                    <a:pt x="55080" y="22003"/>
                    <a:pt x="23576" y="25089"/>
                    <a:pt x="25119" y="28368"/>
                  </a:cubicBezTo>
                  <a:cubicBezTo>
                    <a:pt x="26662" y="31647"/>
                    <a:pt x="52380" y="34475"/>
                    <a:pt x="54309" y="32225"/>
                  </a:cubicBezTo>
                  <a:cubicBezTo>
                    <a:pt x="56237" y="29975"/>
                    <a:pt x="60738" y="36662"/>
                    <a:pt x="69225" y="37176"/>
                  </a:cubicBezTo>
                  <a:cubicBezTo>
                    <a:pt x="77712" y="37690"/>
                    <a:pt x="76940" y="33897"/>
                    <a:pt x="83241" y="33640"/>
                  </a:cubicBezTo>
                  <a:cubicBezTo>
                    <a:pt x="89542" y="33383"/>
                    <a:pt x="98993" y="30296"/>
                    <a:pt x="99250" y="26760"/>
                  </a:cubicBezTo>
                  <a:cubicBezTo>
                    <a:pt x="99507" y="23224"/>
                    <a:pt x="117960" y="18724"/>
                    <a:pt x="116352" y="12680"/>
                  </a:cubicBezTo>
                  <a:cubicBezTo>
                    <a:pt x="114745" y="6636"/>
                    <a:pt x="96743" y="10751"/>
                    <a:pt x="91792" y="8244"/>
                  </a:cubicBezTo>
                  <a:cubicBezTo>
                    <a:pt x="86841" y="5736"/>
                    <a:pt x="75269" y="2457"/>
                    <a:pt x="73340" y="6315"/>
                  </a:cubicBezTo>
                  <a:cubicBezTo>
                    <a:pt x="71411" y="10173"/>
                    <a:pt x="68132" y="11330"/>
                    <a:pt x="66460" y="9658"/>
                  </a:cubicBezTo>
                  <a:cubicBezTo>
                    <a:pt x="64789" y="7987"/>
                    <a:pt x="67296" y="-822"/>
                    <a:pt x="59259" y="1686"/>
                  </a:cubicBezTo>
                  <a:cubicBezTo>
                    <a:pt x="51223" y="4193"/>
                    <a:pt x="58745" y="12680"/>
                    <a:pt x="57073" y="13773"/>
                  </a:cubicBezTo>
                  <a:cubicBezTo>
                    <a:pt x="55402" y="14866"/>
                    <a:pt x="47687" y="12101"/>
                    <a:pt x="47172" y="8244"/>
                  </a:cubicBezTo>
                  <a:cubicBezTo>
                    <a:pt x="46658" y="4386"/>
                    <a:pt x="38042" y="12423"/>
                    <a:pt x="36949" y="7729"/>
                  </a:cubicBezTo>
                  <a:cubicBezTo>
                    <a:pt x="35856" y="3036"/>
                    <a:pt x="25634" y="-243"/>
                    <a:pt x="23448" y="14"/>
                  </a:cubicBezTo>
                  <a:cubicBezTo>
                    <a:pt x="21262" y="271"/>
                    <a:pt x="25634" y="3293"/>
                    <a:pt x="24283" y="5543"/>
                  </a:cubicBezTo>
                  <a:cubicBezTo>
                    <a:pt x="22933" y="7794"/>
                    <a:pt x="17404" y="3293"/>
                    <a:pt x="15218" y="3036"/>
                  </a:cubicBezTo>
                  <a:cubicBezTo>
                    <a:pt x="13032" y="2779"/>
                    <a:pt x="16568" y="7729"/>
                    <a:pt x="15218" y="9915"/>
                  </a:cubicBezTo>
                  <a:cubicBezTo>
                    <a:pt x="13868" y="12101"/>
                    <a:pt x="9689" y="3486"/>
                    <a:pt x="5831" y="3486"/>
                  </a:cubicBezTo>
                  <a:cubicBezTo>
                    <a:pt x="1974" y="3486"/>
                    <a:pt x="3388" y="7922"/>
                    <a:pt x="623" y="8179"/>
                  </a:cubicBezTo>
                  <a:cubicBezTo>
                    <a:pt x="-2141" y="8437"/>
                    <a:pt x="5060" y="11587"/>
                    <a:pt x="7181" y="13516"/>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82" name="Freeform 72">
              <a:extLst>
                <a:ext uri="{FF2B5EF4-FFF2-40B4-BE49-F238E27FC236}">
                  <a16:creationId xmlns:a16="http://schemas.microsoft.com/office/drawing/2014/main" id="{03997F99-FBBE-42E1-B9A0-487F967CCCB4}"/>
                </a:ext>
              </a:extLst>
            </p:cNvPr>
            <p:cNvSpPr/>
            <p:nvPr/>
          </p:nvSpPr>
          <p:spPr>
            <a:xfrm>
              <a:off x="4533961" y="1625782"/>
              <a:ext cx="167164" cy="90011"/>
            </a:xfrm>
            <a:custGeom>
              <a:avLst/>
              <a:gdLst>
                <a:gd name="connsiteX0" fmla="*/ 15273 w 167163"/>
                <a:gd name="connsiteY0" fmla="*/ 23608 h 90011"/>
                <a:gd name="connsiteX1" fmla="*/ 8136 w 167163"/>
                <a:gd name="connsiteY1" fmla="*/ 35759 h 90011"/>
                <a:gd name="connsiteX2" fmla="*/ 20545 w 167163"/>
                <a:gd name="connsiteY2" fmla="*/ 49518 h 90011"/>
                <a:gd name="connsiteX3" fmla="*/ 38162 w 167163"/>
                <a:gd name="connsiteY3" fmla="*/ 50611 h 90011"/>
                <a:gd name="connsiteX4" fmla="*/ 45298 w 167163"/>
                <a:gd name="connsiteY4" fmla="*/ 40967 h 90011"/>
                <a:gd name="connsiteX5" fmla="*/ 51406 w 167163"/>
                <a:gd name="connsiteY5" fmla="*/ 35438 h 90011"/>
                <a:gd name="connsiteX6" fmla="*/ 52499 w 167163"/>
                <a:gd name="connsiteY6" fmla="*/ 42896 h 90011"/>
                <a:gd name="connsiteX7" fmla="*/ 63236 w 167163"/>
                <a:gd name="connsiteY7" fmla="*/ 41803 h 90011"/>
                <a:gd name="connsiteX8" fmla="*/ 68187 w 167163"/>
                <a:gd name="connsiteY8" fmla="*/ 45918 h 90011"/>
                <a:gd name="connsiteX9" fmla="*/ 53271 w 167163"/>
                <a:gd name="connsiteY9" fmla="*/ 52797 h 90011"/>
                <a:gd name="connsiteX10" fmla="*/ 33983 w 167163"/>
                <a:gd name="connsiteY10" fmla="*/ 59226 h 90011"/>
                <a:gd name="connsiteX11" fmla="*/ 45298 w 167163"/>
                <a:gd name="connsiteY11" fmla="*/ 63663 h 90011"/>
                <a:gd name="connsiteX12" fmla="*/ 70116 w 167163"/>
                <a:gd name="connsiteY12" fmla="*/ 62570 h 90011"/>
                <a:gd name="connsiteX13" fmla="*/ 58800 w 167163"/>
                <a:gd name="connsiteY13" fmla="*/ 65334 h 90011"/>
                <a:gd name="connsiteX14" fmla="*/ 48063 w 167163"/>
                <a:gd name="connsiteY14" fmla="*/ 69964 h 90011"/>
                <a:gd name="connsiteX15" fmla="*/ 35911 w 167163"/>
                <a:gd name="connsiteY15" fmla="*/ 72471 h 90011"/>
                <a:gd name="connsiteX16" fmla="*/ 48320 w 167163"/>
                <a:gd name="connsiteY16" fmla="*/ 82372 h 90011"/>
                <a:gd name="connsiteX17" fmla="*/ 60472 w 167163"/>
                <a:gd name="connsiteY17" fmla="*/ 83787 h 90011"/>
                <a:gd name="connsiteX18" fmla="*/ 54364 w 167163"/>
                <a:gd name="connsiteY18" fmla="*/ 88480 h 90011"/>
                <a:gd name="connsiteX19" fmla="*/ 64586 w 167163"/>
                <a:gd name="connsiteY19" fmla="*/ 94524 h 90011"/>
                <a:gd name="connsiteX20" fmla="*/ 72880 w 167163"/>
                <a:gd name="connsiteY20" fmla="*/ 92016 h 90011"/>
                <a:gd name="connsiteX21" fmla="*/ 87154 w 167163"/>
                <a:gd name="connsiteY21" fmla="*/ 69706 h 90011"/>
                <a:gd name="connsiteX22" fmla="*/ 91847 w 167163"/>
                <a:gd name="connsiteY22" fmla="*/ 59226 h 90011"/>
                <a:gd name="connsiteX23" fmla="*/ 97633 w 167163"/>
                <a:gd name="connsiteY23" fmla="*/ 54533 h 90011"/>
                <a:gd name="connsiteX24" fmla="*/ 102070 w 167163"/>
                <a:gd name="connsiteY24" fmla="*/ 44117 h 90011"/>
                <a:gd name="connsiteX25" fmla="*/ 116921 w 167163"/>
                <a:gd name="connsiteY25" fmla="*/ 39681 h 90011"/>
                <a:gd name="connsiteX26" fmla="*/ 119429 w 167163"/>
                <a:gd name="connsiteY26" fmla="*/ 42446 h 90011"/>
                <a:gd name="connsiteX27" fmla="*/ 121358 w 167163"/>
                <a:gd name="connsiteY27" fmla="*/ 51768 h 90011"/>
                <a:gd name="connsiteX28" fmla="*/ 125730 w 167163"/>
                <a:gd name="connsiteY28" fmla="*/ 56205 h 90011"/>
                <a:gd name="connsiteX29" fmla="*/ 123544 w 167163"/>
                <a:gd name="connsiteY29" fmla="*/ 68035 h 90011"/>
                <a:gd name="connsiteX30" fmla="*/ 135438 w 167163"/>
                <a:gd name="connsiteY30" fmla="*/ 70542 h 90011"/>
                <a:gd name="connsiteX31" fmla="*/ 142318 w 167163"/>
                <a:gd name="connsiteY31" fmla="*/ 76972 h 90011"/>
                <a:gd name="connsiteX32" fmla="*/ 158005 w 167163"/>
                <a:gd name="connsiteY32" fmla="*/ 69513 h 90011"/>
                <a:gd name="connsiteX33" fmla="*/ 168742 w 167163"/>
                <a:gd name="connsiteY33" fmla="*/ 62313 h 90011"/>
                <a:gd name="connsiteX34" fmla="*/ 159934 w 167163"/>
                <a:gd name="connsiteY34" fmla="*/ 60127 h 90011"/>
                <a:gd name="connsiteX35" fmla="*/ 149711 w 167163"/>
                <a:gd name="connsiteY35" fmla="*/ 57683 h 90011"/>
                <a:gd name="connsiteX36" fmla="*/ 147525 w 167163"/>
                <a:gd name="connsiteY36" fmla="*/ 52668 h 90011"/>
                <a:gd name="connsiteX37" fmla="*/ 137881 w 167163"/>
                <a:gd name="connsiteY37" fmla="*/ 49132 h 90011"/>
                <a:gd name="connsiteX38" fmla="*/ 131002 w 167163"/>
                <a:gd name="connsiteY38" fmla="*/ 42189 h 90011"/>
                <a:gd name="connsiteX39" fmla="*/ 128494 w 167163"/>
                <a:gd name="connsiteY39" fmla="*/ 35052 h 90011"/>
                <a:gd name="connsiteX40" fmla="*/ 119686 w 167163"/>
                <a:gd name="connsiteY40" fmla="*/ 29523 h 90011"/>
                <a:gd name="connsiteX41" fmla="*/ 113257 w 167163"/>
                <a:gd name="connsiteY41" fmla="*/ 28173 h 90011"/>
                <a:gd name="connsiteX42" fmla="*/ 109727 w 167163"/>
                <a:gd name="connsiteY42" fmla="*/ 29368 h 90011"/>
                <a:gd name="connsiteX43" fmla="*/ 108306 w 167163"/>
                <a:gd name="connsiteY43" fmla="*/ 26501 h 90011"/>
                <a:gd name="connsiteX44" fmla="*/ 96669 w 167163"/>
                <a:gd name="connsiteY44" fmla="*/ 24315 h 90011"/>
                <a:gd name="connsiteX45" fmla="*/ 91718 w 167163"/>
                <a:gd name="connsiteY45" fmla="*/ 14671 h 90011"/>
                <a:gd name="connsiteX46" fmla="*/ 81560 w 167163"/>
                <a:gd name="connsiteY46" fmla="*/ 19043 h 90011"/>
                <a:gd name="connsiteX47" fmla="*/ 84839 w 167163"/>
                <a:gd name="connsiteY47" fmla="*/ 10235 h 90011"/>
                <a:gd name="connsiteX48" fmla="*/ 71980 w 167163"/>
                <a:gd name="connsiteY48" fmla="*/ 5863 h 90011"/>
                <a:gd name="connsiteX49" fmla="*/ 65551 w 167163"/>
                <a:gd name="connsiteY49" fmla="*/ 76 h 90011"/>
                <a:gd name="connsiteX50" fmla="*/ 62529 w 167163"/>
                <a:gd name="connsiteY50" fmla="*/ 6120 h 90011"/>
                <a:gd name="connsiteX51" fmla="*/ 60857 w 167163"/>
                <a:gd name="connsiteY51" fmla="*/ 11906 h 90011"/>
                <a:gd name="connsiteX52" fmla="*/ 68573 w 167163"/>
                <a:gd name="connsiteY52" fmla="*/ 30616 h 90011"/>
                <a:gd name="connsiteX53" fmla="*/ 54814 w 167163"/>
                <a:gd name="connsiteY53" fmla="*/ 14928 h 90011"/>
                <a:gd name="connsiteX54" fmla="*/ 46263 w 167163"/>
                <a:gd name="connsiteY54" fmla="*/ 8499 h 90011"/>
                <a:gd name="connsiteX55" fmla="*/ 41312 w 167163"/>
                <a:gd name="connsiteY55" fmla="*/ 18400 h 90011"/>
                <a:gd name="connsiteX56" fmla="*/ 37969 w 167163"/>
                <a:gd name="connsiteY56" fmla="*/ 20586 h 90011"/>
                <a:gd name="connsiteX57" fmla="*/ 28582 w 167163"/>
                <a:gd name="connsiteY57" fmla="*/ 13128 h 90011"/>
                <a:gd name="connsiteX58" fmla="*/ 39062 w 167163"/>
                <a:gd name="connsiteY58" fmla="*/ 9270 h 90011"/>
                <a:gd name="connsiteX59" fmla="*/ 31925 w 167163"/>
                <a:gd name="connsiteY59" fmla="*/ 6827 h 90011"/>
                <a:gd name="connsiteX60" fmla="*/ 21445 w 167163"/>
                <a:gd name="connsiteY60" fmla="*/ 8499 h 90011"/>
                <a:gd name="connsiteX61" fmla="*/ 12637 w 167163"/>
                <a:gd name="connsiteY61" fmla="*/ 7663 h 90011"/>
                <a:gd name="connsiteX62" fmla="*/ 2736 w 167163"/>
                <a:gd name="connsiteY62" fmla="*/ 12035 h 90011"/>
                <a:gd name="connsiteX63" fmla="*/ 2736 w 167163"/>
                <a:gd name="connsiteY63" fmla="*/ 24444 h 90011"/>
                <a:gd name="connsiteX64" fmla="*/ 15273 w 167163"/>
                <a:gd name="connsiteY64" fmla="*/ 23608 h 9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67163" h="90011">
                  <a:moveTo>
                    <a:pt x="15273" y="23608"/>
                  </a:moveTo>
                  <a:cubicBezTo>
                    <a:pt x="20545" y="24701"/>
                    <a:pt x="9744" y="30487"/>
                    <a:pt x="8136" y="35759"/>
                  </a:cubicBezTo>
                  <a:cubicBezTo>
                    <a:pt x="6529" y="41031"/>
                    <a:pt x="16366" y="45660"/>
                    <a:pt x="20545" y="49518"/>
                  </a:cubicBezTo>
                  <a:cubicBezTo>
                    <a:pt x="25849" y="52861"/>
                    <a:pt x="32484" y="53273"/>
                    <a:pt x="38162" y="50611"/>
                  </a:cubicBezTo>
                  <a:cubicBezTo>
                    <a:pt x="41762" y="48425"/>
                    <a:pt x="40669" y="40710"/>
                    <a:pt x="45298" y="40967"/>
                  </a:cubicBezTo>
                  <a:cubicBezTo>
                    <a:pt x="49927" y="41224"/>
                    <a:pt x="47549" y="36852"/>
                    <a:pt x="51406" y="35438"/>
                  </a:cubicBezTo>
                  <a:cubicBezTo>
                    <a:pt x="55264" y="34023"/>
                    <a:pt x="55778" y="39038"/>
                    <a:pt x="52499" y="42896"/>
                  </a:cubicBezTo>
                  <a:cubicBezTo>
                    <a:pt x="49220" y="46754"/>
                    <a:pt x="58286" y="46496"/>
                    <a:pt x="63236" y="41803"/>
                  </a:cubicBezTo>
                  <a:cubicBezTo>
                    <a:pt x="68187" y="37109"/>
                    <a:pt x="69280" y="41803"/>
                    <a:pt x="68187" y="45918"/>
                  </a:cubicBezTo>
                  <a:cubicBezTo>
                    <a:pt x="67094" y="50032"/>
                    <a:pt x="56871" y="47846"/>
                    <a:pt x="53271" y="52797"/>
                  </a:cubicBezTo>
                  <a:cubicBezTo>
                    <a:pt x="49670" y="57748"/>
                    <a:pt x="38676" y="53890"/>
                    <a:pt x="33983" y="59226"/>
                  </a:cubicBezTo>
                  <a:cubicBezTo>
                    <a:pt x="29289" y="64563"/>
                    <a:pt x="38419" y="65013"/>
                    <a:pt x="45298" y="63663"/>
                  </a:cubicBezTo>
                  <a:cubicBezTo>
                    <a:pt x="53470" y="62087"/>
                    <a:pt x="61835" y="61721"/>
                    <a:pt x="70116" y="62570"/>
                  </a:cubicBezTo>
                  <a:cubicBezTo>
                    <a:pt x="75066" y="63663"/>
                    <a:pt x="67094" y="65334"/>
                    <a:pt x="58800" y="65334"/>
                  </a:cubicBezTo>
                  <a:cubicBezTo>
                    <a:pt x="50506" y="65334"/>
                    <a:pt x="47806" y="67778"/>
                    <a:pt x="48063" y="69964"/>
                  </a:cubicBezTo>
                  <a:cubicBezTo>
                    <a:pt x="48320" y="72149"/>
                    <a:pt x="36490" y="67520"/>
                    <a:pt x="35911" y="72471"/>
                  </a:cubicBezTo>
                  <a:cubicBezTo>
                    <a:pt x="35333" y="77422"/>
                    <a:pt x="46970" y="79350"/>
                    <a:pt x="48320" y="82372"/>
                  </a:cubicBezTo>
                  <a:cubicBezTo>
                    <a:pt x="49670" y="85394"/>
                    <a:pt x="57450" y="82694"/>
                    <a:pt x="60472" y="83787"/>
                  </a:cubicBezTo>
                  <a:cubicBezTo>
                    <a:pt x="63493" y="84880"/>
                    <a:pt x="55521" y="87066"/>
                    <a:pt x="54364" y="88480"/>
                  </a:cubicBezTo>
                  <a:cubicBezTo>
                    <a:pt x="53206" y="89895"/>
                    <a:pt x="62915" y="91759"/>
                    <a:pt x="64586" y="94524"/>
                  </a:cubicBezTo>
                  <a:cubicBezTo>
                    <a:pt x="66258" y="97288"/>
                    <a:pt x="73137" y="95874"/>
                    <a:pt x="72880" y="92016"/>
                  </a:cubicBezTo>
                  <a:cubicBezTo>
                    <a:pt x="72623" y="88159"/>
                    <a:pt x="78924" y="72728"/>
                    <a:pt x="87154" y="69706"/>
                  </a:cubicBezTo>
                  <a:cubicBezTo>
                    <a:pt x="95383" y="66684"/>
                    <a:pt x="90754" y="63920"/>
                    <a:pt x="91847" y="59226"/>
                  </a:cubicBezTo>
                  <a:cubicBezTo>
                    <a:pt x="92940" y="54533"/>
                    <a:pt x="99562" y="58391"/>
                    <a:pt x="97633" y="54533"/>
                  </a:cubicBezTo>
                  <a:cubicBezTo>
                    <a:pt x="95705" y="50675"/>
                    <a:pt x="96798" y="49068"/>
                    <a:pt x="102070" y="44117"/>
                  </a:cubicBezTo>
                  <a:cubicBezTo>
                    <a:pt x="107342" y="39167"/>
                    <a:pt x="110621" y="42703"/>
                    <a:pt x="116921" y="39681"/>
                  </a:cubicBezTo>
                  <a:cubicBezTo>
                    <a:pt x="123222" y="36659"/>
                    <a:pt x="126308" y="41867"/>
                    <a:pt x="119429" y="42446"/>
                  </a:cubicBezTo>
                  <a:cubicBezTo>
                    <a:pt x="112549" y="43024"/>
                    <a:pt x="116407" y="49904"/>
                    <a:pt x="121358" y="51768"/>
                  </a:cubicBezTo>
                  <a:cubicBezTo>
                    <a:pt x="126308" y="53633"/>
                    <a:pt x="121872" y="55369"/>
                    <a:pt x="125730" y="56205"/>
                  </a:cubicBezTo>
                  <a:cubicBezTo>
                    <a:pt x="129587" y="57040"/>
                    <a:pt x="128494" y="62634"/>
                    <a:pt x="123544" y="68035"/>
                  </a:cubicBezTo>
                  <a:cubicBezTo>
                    <a:pt x="118593" y="73435"/>
                    <a:pt x="124958" y="74464"/>
                    <a:pt x="135438" y="70542"/>
                  </a:cubicBezTo>
                  <a:cubicBezTo>
                    <a:pt x="145918" y="66620"/>
                    <a:pt x="139296" y="73821"/>
                    <a:pt x="142318" y="76972"/>
                  </a:cubicBezTo>
                  <a:cubicBezTo>
                    <a:pt x="145339" y="80122"/>
                    <a:pt x="153569" y="74721"/>
                    <a:pt x="158005" y="69513"/>
                  </a:cubicBezTo>
                  <a:cubicBezTo>
                    <a:pt x="162442" y="64306"/>
                    <a:pt x="168999" y="65141"/>
                    <a:pt x="168742" y="62313"/>
                  </a:cubicBezTo>
                  <a:cubicBezTo>
                    <a:pt x="168485" y="59484"/>
                    <a:pt x="163792" y="58455"/>
                    <a:pt x="159934" y="60127"/>
                  </a:cubicBezTo>
                  <a:cubicBezTo>
                    <a:pt x="156076" y="61798"/>
                    <a:pt x="146432" y="60705"/>
                    <a:pt x="149711" y="57683"/>
                  </a:cubicBezTo>
                  <a:cubicBezTo>
                    <a:pt x="152990" y="54662"/>
                    <a:pt x="152476" y="52154"/>
                    <a:pt x="147525" y="52668"/>
                  </a:cubicBezTo>
                  <a:cubicBezTo>
                    <a:pt x="142575" y="53183"/>
                    <a:pt x="133767" y="50740"/>
                    <a:pt x="137881" y="49132"/>
                  </a:cubicBezTo>
                  <a:cubicBezTo>
                    <a:pt x="141996" y="47525"/>
                    <a:pt x="134859" y="41932"/>
                    <a:pt x="131002" y="42189"/>
                  </a:cubicBezTo>
                  <a:cubicBezTo>
                    <a:pt x="127144" y="42446"/>
                    <a:pt x="128237" y="38074"/>
                    <a:pt x="128494" y="35052"/>
                  </a:cubicBezTo>
                  <a:cubicBezTo>
                    <a:pt x="128751" y="32030"/>
                    <a:pt x="117500" y="30616"/>
                    <a:pt x="119686" y="29523"/>
                  </a:cubicBezTo>
                  <a:cubicBezTo>
                    <a:pt x="121872" y="28430"/>
                    <a:pt x="114993" y="25987"/>
                    <a:pt x="113257" y="28173"/>
                  </a:cubicBezTo>
                  <a:cubicBezTo>
                    <a:pt x="112614" y="29478"/>
                    <a:pt x="111032" y="30011"/>
                    <a:pt x="109727" y="29368"/>
                  </a:cubicBezTo>
                  <a:cubicBezTo>
                    <a:pt x="108660" y="28841"/>
                    <a:pt x="108081" y="27665"/>
                    <a:pt x="108306" y="26501"/>
                  </a:cubicBezTo>
                  <a:cubicBezTo>
                    <a:pt x="108306" y="23222"/>
                    <a:pt x="100012" y="24058"/>
                    <a:pt x="96669" y="24315"/>
                  </a:cubicBezTo>
                  <a:cubicBezTo>
                    <a:pt x="93326" y="24572"/>
                    <a:pt x="95062" y="17114"/>
                    <a:pt x="91718" y="14671"/>
                  </a:cubicBezTo>
                  <a:cubicBezTo>
                    <a:pt x="88375" y="12228"/>
                    <a:pt x="84003" y="19621"/>
                    <a:pt x="81560" y="19043"/>
                  </a:cubicBezTo>
                  <a:cubicBezTo>
                    <a:pt x="79117" y="18464"/>
                    <a:pt x="83489" y="13578"/>
                    <a:pt x="84839" y="10235"/>
                  </a:cubicBezTo>
                  <a:cubicBezTo>
                    <a:pt x="86189" y="6891"/>
                    <a:pt x="73266" y="2519"/>
                    <a:pt x="71980" y="5863"/>
                  </a:cubicBezTo>
                  <a:cubicBezTo>
                    <a:pt x="70694" y="9206"/>
                    <a:pt x="68122" y="912"/>
                    <a:pt x="65551" y="76"/>
                  </a:cubicBezTo>
                  <a:cubicBezTo>
                    <a:pt x="62979" y="-760"/>
                    <a:pt x="64972" y="5541"/>
                    <a:pt x="62529" y="6120"/>
                  </a:cubicBezTo>
                  <a:cubicBezTo>
                    <a:pt x="60086" y="6698"/>
                    <a:pt x="56743" y="9142"/>
                    <a:pt x="60857" y="11906"/>
                  </a:cubicBezTo>
                  <a:cubicBezTo>
                    <a:pt x="65287" y="17204"/>
                    <a:pt x="67981" y="23736"/>
                    <a:pt x="68573" y="30616"/>
                  </a:cubicBezTo>
                  <a:cubicBezTo>
                    <a:pt x="67994" y="32866"/>
                    <a:pt x="55328" y="20714"/>
                    <a:pt x="54814" y="14928"/>
                  </a:cubicBezTo>
                  <a:cubicBezTo>
                    <a:pt x="54299" y="9142"/>
                    <a:pt x="47934" y="4448"/>
                    <a:pt x="46263" y="8499"/>
                  </a:cubicBezTo>
                  <a:cubicBezTo>
                    <a:pt x="44591" y="12549"/>
                    <a:pt x="39833" y="14285"/>
                    <a:pt x="41312" y="18400"/>
                  </a:cubicBezTo>
                  <a:cubicBezTo>
                    <a:pt x="42791" y="22515"/>
                    <a:pt x="37969" y="23929"/>
                    <a:pt x="37969" y="20586"/>
                  </a:cubicBezTo>
                  <a:cubicBezTo>
                    <a:pt x="37969" y="17243"/>
                    <a:pt x="31089" y="13449"/>
                    <a:pt x="28582" y="13128"/>
                  </a:cubicBezTo>
                  <a:cubicBezTo>
                    <a:pt x="26075" y="12806"/>
                    <a:pt x="35011" y="11199"/>
                    <a:pt x="39062" y="9270"/>
                  </a:cubicBezTo>
                  <a:cubicBezTo>
                    <a:pt x="43112" y="7341"/>
                    <a:pt x="35526" y="4641"/>
                    <a:pt x="31925" y="6827"/>
                  </a:cubicBezTo>
                  <a:cubicBezTo>
                    <a:pt x="28325" y="9013"/>
                    <a:pt x="23631" y="5413"/>
                    <a:pt x="21445" y="8499"/>
                  </a:cubicBezTo>
                  <a:cubicBezTo>
                    <a:pt x="19259" y="11585"/>
                    <a:pt x="16495" y="8499"/>
                    <a:pt x="12637" y="7663"/>
                  </a:cubicBezTo>
                  <a:cubicBezTo>
                    <a:pt x="8779" y="6827"/>
                    <a:pt x="5500" y="13128"/>
                    <a:pt x="2736" y="12035"/>
                  </a:cubicBezTo>
                  <a:cubicBezTo>
                    <a:pt x="-29" y="10942"/>
                    <a:pt x="-1700" y="17564"/>
                    <a:pt x="2736" y="24444"/>
                  </a:cubicBezTo>
                  <a:cubicBezTo>
                    <a:pt x="7172" y="31323"/>
                    <a:pt x="10065" y="22515"/>
                    <a:pt x="15273" y="23608"/>
                  </a:cubicBezTo>
                  <a:close/>
                </a:path>
              </a:pathLst>
            </a:custGeom>
            <a:solidFill>
              <a:srgbClr val="3B97DE"/>
            </a:solidFill>
            <a:ln w="6429" cap="flat">
              <a:solidFill>
                <a:srgbClr val="3B97DE"/>
              </a:solidFill>
              <a:prstDash val="solid"/>
              <a:miter/>
            </a:ln>
          </p:spPr>
          <p:txBody>
            <a:bodyPr rtlCol="0" anchor="ctr"/>
            <a:lstStyle/>
            <a:p>
              <a:endParaRPr lang="en-GB" sz="2400">
                <a:solidFill>
                  <a:srgbClr val="FFFFFF"/>
                </a:solidFill>
              </a:endParaRPr>
            </a:p>
          </p:txBody>
        </p:sp>
        <p:sp>
          <p:nvSpPr>
            <p:cNvPr id="283" name="Freeform 73">
              <a:extLst>
                <a:ext uri="{FF2B5EF4-FFF2-40B4-BE49-F238E27FC236}">
                  <a16:creationId xmlns:a16="http://schemas.microsoft.com/office/drawing/2014/main" id="{4779688D-EFEF-4650-8A70-10EC5F8B84AE}"/>
                </a:ext>
              </a:extLst>
            </p:cNvPr>
            <p:cNvSpPr/>
            <p:nvPr/>
          </p:nvSpPr>
          <p:spPr>
            <a:xfrm>
              <a:off x="5996673" y="2336404"/>
              <a:ext cx="205740" cy="205740"/>
            </a:xfrm>
            <a:custGeom>
              <a:avLst/>
              <a:gdLst>
                <a:gd name="connsiteX0" fmla="*/ 199701 w 205740"/>
                <a:gd name="connsiteY0" fmla="*/ 19895 h 205740"/>
                <a:gd name="connsiteX1" fmla="*/ 187228 w 205740"/>
                <a:gd name="connsiteY1" fmla="*/ 22853 h 205740"/>
                <a:gd name="connsiteX2" fmla="*/ 159967 w 205740"/>
                <a:gd name="connsiteY2" fmla="*/ 3051 h 205740"/>
                <a:gd name="connsiteX3" fmla="*/ 151930 w 205740"/>
                <a:gd name="connsiteY3" fmla="*/ 6715 h 205740"/>
                <a:gd name="connsiteX4" fmla="*/ 151159 w 205740"/>
                <a:gd name="connsiteY4" fmla="*/ 19574 h 205740"/>
                <a:gd name="connsiteX5" fmla="*/ 147494 w 205740"/>
                <a:gd name="connsiteY5" fmla="*/ 30568 h 205740"/>
                <a:gd name="connsiteX6" fmla="*/ 137207 w 205740"/>
                <a:gd name="connsiteY6" fmla="*/ 35005 h 205740"/>
                <a:gd name="connsiteX7" fmla="*/ 132450 w 205740"/>
                <a:gd name="connsiteY7" fmla="*/ 42334 h 205740"/>
                <a:gd name="connsiteX8" fmla="*/ 130263 w 205740"/>
                <a:gd name="connsiteY8" fmla="*/ 49728 h 205740"/>
                <a:gd name="connsiteX9" fmla="*/ 130263 w 205740"/>
                <a:gd name="connsiteY9" fmla="*/ 59243 h 205740"/>
                <a:gd name="connsiteX10" fmla="*/ 136693 w 205740"/>
                <a:gd name="connsiteY10" fmla="*/ 56671 h 205740"/>
                <a:gd name="connsiteX11" fmla="*/ 143122 w 205740"/>
                <a:gd name="connsiteY11" fmla="*/ 55193 h 205740"/>
                <a:gd name="connsiteX12" fmla="*/ 135729 w 205740"/>
                <a:gd name="connsiteY12" fmla="*/ 45999 h 205740"/>
                <a:gd name="connsiteX13" fmla="*/ 146015 w 205740"/>
                <a:gd name="connsiteY13" fmla="*/ 44906 h 205740"/>
                <a:gd name="connsiteX14" fmla="*/ 164789 w 205740"/>
                <a:gd name="connsiteY14" fmla="*/ 49342 h 205740"/>
                <a:gd name="connsiteX15" fmla="*/ 172890 w 205740"/>
                <a:gd name="connsiteY15" fmla="*/ 46384 h 205740"/>
                <a:gd name="connsiteX16" fmla="*/ 190828 w 205740"/>
                <a:gd name="connsiteY16" fmla="*/ 37962 h 205740"/>
                <a:gd name="connsiteX17" fmla="*/ 197258 w 205740"/>
                <a:gd name="connsiteY17" fmla="*/ 32047 h 205740"/>
                <a:gd name="connsiteX18" fmla="*/ 210888 w 205740"/>
                <a:gd name="connsiteY18" fmla="*/ 16617 h 205740"/>
                <a:gd name="connsiteX19" fmla="*/ 199701 w 205740"/>
                <a:gd name="connsiteY19" fmla="*/ 19895 h 205740"/>
                <a:gd name="connsiteX20" fmla="*/ 132064 w 205740"/>
                <a:gd name="connsiteY20" fmla="*/ 70238 h 205740"/>
                <a:gd name="connsiteX21" fmla="*/ 129878 w 205740"/>
                <a:gd name="connsiteY21" fmla="*/ 86825 h 205740"/>
                <a:gd name="connsiteX22" fmla="*/ 123448 w 205740"/>
                <a:gd name="connsiteY22" fmla="*/ 103349 h 205740"/>
                <a:gd name="connsiteX23" fmla="*/ 115733 w 205740"/>
                <a:gd name="connsiteY23" fmla="*/ 115436 h 205740"/>
                <a:gd name="connsiteX24" fmla="*/ 104353 w 205740"/>
                <a:gd name="connsiteY24" fmla="*/ 124309 h 205740"/>
                <a:gd name="connsiteX25" fmla="*/ 96252 w 205740"/>
                <a:gd name="connsiteY25" fmla="*/ 120258 h 205740"/>
                <a:gd name="connsiteX26" fmla="*/ 87058 w 205740"/>
                <a:gd name="connsiteY26" fmla="*/ 130159 h 205740"/>
                <a:gd name="connsiteX27" fmla="*/ 79343 w 205740"/>
                <a:gd name="connsiteY27" fmla="*/ 142632 h 205740"/>
                <a:gd name="connsiteX28" fmla="*/ 71627 w 205740"/>
                <a:gd name="connsiteY28" fmla="*/ 145204 h 205740"/>
                <a:gd name="connsiteX29" fmla="*/ 56583 w 205740"/>
                <a:gd name="connsiteY29" fmla="*/ 147068 h 205740"/>
                <a:gd name="connsiteX30" fmla="*/ 38195 w 205740"/>
                <a:gd name="connsiteY30" fmla="*/ 148162 h 205740"/>
                <a:gd name="connsiteX31" fmla="*/ 18907 w 205740"/>
                <a:gd name="connsiteY31" fmla="*/ 162499 h 205740"/>
                <a:gd name="connsiteX32" fmla="*/ 18907 w 205740"/>
                <a:gd name="connsiteY32" fmla="*/ 169829 h 205740"/>
                <a:gd name="connsiteX33" fmla="*/ 32473 w 205740"/>
                <a:gd name="connsiteY33" fmla="*/ 166549 h 205740"/>
                <a:gd name="connsiteX34" fmla="*/ 63719 w 205740"/>
                <a:gd name="connsiteY34" fmla="*/ 158834 h 205740"/>
                <a:gd name="connsiteX35" fmla="*/ 68863 w 205740"/>
                <a:gd name="connsiteY35" fmla="*/ 169829 h 205740"/>
                <a:gd name="connsiteX36" fmla="*/ 83586 w 205740"/>
                <a:gd name="connsiteY36" fmla="*/ 169121 h 205740"/>
                <a:gd name="connsiteX37" fmla="*/ 87958 w 205740"/>
                <a:gd name="connsiteY37" fmla="*/ 160635 h 205740"/>
                <a:gd name="connsiteX38" fmla="*/ 91623 w 205740"/>
                <a:gd name="connsiteY38" fmla="*/ 158834 h 205740"/>
                <a:gd name="connsiteX39" fmla="*/ 105980 w 205740"/>
                <a:gd name="connsiteY39" fmla="*/ 159419 h 205740"/>
                <a:gd name="connsiteX40" fmla="*/ 107439 w 205740"/>
                <a:gd name="connsiteY40" fmla="*/ 157741 h 205740"/>
                <a:gd name="connsiteX41" fmla="*/ 116633 w 205740"/>
                <a:gd name="connsiteY41" fmla="*/ 158449 h 205740"/>
                <a:gd name="connsiteX42" fmla="*/ 123963 w 205740"/>
                <a:gd name="connsiteY42" fmla="*/ 151119 h 205740"/>
                <a:gd name="connsiteX43" fmla="*/ 135729 w 205740"/>
                <a:gd name="connsiteY43" fmla="*/ 149254 h 205740"/>
                <a:gd name="connsiteX44" fmla="*/ 139008 w 205740"/>
                <a:gd name="connsiteY44" fmla="*/ 131638 h 205740"/>
                <a:gd name="connsiteX45" fmla="*/ 141965 w 205740"/>
                <a:gd name="connsiteY45" fmla="*/ 112350 h 205740"/>
                <a:gd name="connsiteX46" fmla="*/ 153345 w 205740"/>
                <a:gd name="connsiteY46" fmla="*/ 98720 h 205740"/>
                <a:gd name="connsiteX47" fmla="*/ 147494 w 205740"/>
                <a:gd name="connsiteY47" fmla="*/ 65673 h 205740"/>
                <a:gd name="connsiteX48" fmla="*/ 132064 w 205740"/>
                <a:gd name="connsiteY48" fmla="*/ 70238 h 205740"/>
                <a:gd name="connsiteX49" fmla="*/ 51246 w 205740"/>
                <a:gd name="connsiteY49" fmla="*/ 165778 h 205740"/>
                <a:gd name="connsiteX50" fmla="*/ 39481 w 205740"/>
                <a:gd name="connsiteY50" fmla="*/ 169121 h 205740"/>
                <a:gd name="connsiteX51" fmla="*/ 37616 w 205740"/>
                <a:gd name="connsiteY51" fmla="*/ 185645 h 205740"/>
                <a:gd name="connsiteX52" fmla="*/ 44624 w 205740"/>
                <a:gd name="connsiteY52" fmla="*/ 182366 h 205740"/>
                <a:gd name="connsiteX53" fmla="*/ 54506 w 205740"/>
                <a:gd name="connsiteY53" fmla="*/ 177962 h 205740"/>
                <a:gd name="connsiteX54" fmla="*/ 55297 w 205740"/>
                <a:gd name="connsiteY54" fmla="*/ 178315 h 205740"/>
                <a:gd name="connsiteX55" fmla="*/ 63719 w 205740"/>
                <a:gd name="connsiteY55" fmla="*/ 167257 h 205740"/>
                <a:gd name="connsiteX56" fmla="*/ 51246 w 205740"/>
                <a:gd name="connsiteY56" fmla="*/ 165778 h 205740"/>
                <a:gd name="connsiteX57" fmla="*/ 25915 w 205740"/>
                <a:gd name="connsiteY57" fmla="*/ 180116 h 205740"/>
                <a:gd name="connsiteX58" fmla="*/ 17428 w 205740"/>
                <a:gd name="connsiteY58" fmla="*/ 173686 h 205740"/>
                <a:gd name="connsiteX59" fmla="*/ 6048 w 205740"/>
                <a:gd name="connsiteY59" fmla="*/ 176258 h 205740"/>
                <a:gd name="connsiteX60" fmla="*/ 904 w 205740"/>
                <a:gd name="connsiteY60" fmla="*/ 185066 h 205740"/>
                <a:gd name="connsiteX61" fmla="*/ 7848 w 205740"/>
                <a:gd name="connsiteY61" fmla="*/ 181401 h 205740"/>
                <a:gd name="connsiteX62" fmla="*/ 9713 w 205740"/>
                <a:gd name="connsiteY62" fmla="*/ 193874 h 205740"/>
                <a:gd name="connsiteX63" fmla="*/ 14471 w 205740"/>
                <a:gd name="connsiteY63" fmla="*/ 208983 h 205740"/>
                <a:gd name="connsiteX64" fmla="*/ 28487 w 205740"/>
                <a:gd name="connsiteY64" fmla="*/ 188024 h 205740"/>
                <a:gd name="connsiteX65" fmla="*/ 25915 w 205740"/>
                <a:gd name="connsiteY65" fmla="*/ 180116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05740" h="205740">
                  <a:moveTo>
                    <a:pt x="199701" y="19895"/>
                  </a:moveTo>
                  <a:cubicBezTo>
                    <a:pt x="197129" y="16617"/>
                    <a:pt x="192693" y="21760"/>
                    <a:pt x="187228" y="22853"/>
                  </a:cubicBezTo>
                  <a:cubicBezTo>
                    <a:pt x="181763" y="23946"/>
                    <a:pt x="164403" y="9673"/>
                    <a:pt x="159967" y="3051"/>
                  </a:cubicBezTo>
                  <a:cubicBezTo>
                    <a:pt x="155531" y="-3572"/>
                    <a:pt x="148266" y="1958"/>
                    <a:pt x="151930" y="6715"/>
                  </a:cubicBezTo>
                  <a:cubicBezTo>
                    <a:pt x="155595" y="11473"/>
                    <a:pt x="151159" y="13145"/>
                    <a:pt x="151159" y="19574"/>
                  </a:cubicBezTo>
                  <a:cubicBezTo>
                    <a:pt x="151159" y="26003"/>
                    <a:pt x="146787" y="26003"/>
                    <a:pt x="147494" y="30568"/>
                  </a:cubicBezTo>
                  <a:cubicBezTo>
                    <a:pt x="148202" y="35133"/>
                    <a:pt x="141643" y="34233"/>
                    <a:pt x="137207" y="35005"/>
                  </a:cubicBezTo>
                  <a:cubicBezTo>
                    <a:pt x="132771" y="35776"/>
                    <a:pt x="137593" y="40148"/>
                    <a:pt x="132450" y="42334"/>
                  </a:cubicBezTo>
                  <a:cubicBezTo>
                    <a:pt x="127306" y="44520"/>
                    <a:pt x="127692" y="48249"/>
                    <a:pt x="130263" y="49728"/>
                  </a:cubicBezTo>
                  <a:cubicBezTo>
                    <a:pt x="132835" y="51206"/>
                    <a:pt x="130971" y="56157"/>
                    <a:pt x="130263" y="59243"/>
                  </a:cubicBezTo>
                  <a:cubicBezTo>
                    <a:pt x="129556" y="62329"/>
                    <a:pt x="133542" y="60015"/>
                    <a:pt x="136693" y="56671"/>
                  </a:cubicBezTo>
                  <a:cubicBezTo>
                    <a:pt x="139843" y="53328"/>
                    <a:pt x="142672" y="58279"/>
                    <a:pt x="143122" y="55193"/>
                  </a:cubicBezTo>
                  <a:cubicBezTo>
                    <a:pt x="143572" y="52107"/>
                    <a:pt x="135407" y="49728"/>
                    <a:pt x="135729" y="45999"/>
                  </a:cubicBezTo>
                  <a:cubicBezTo>
                    <a:pt x="136050" y="42270"/>
                    <a:pt x="141643" y="47092"/>
                    <a:pt x="146015" y="44906"/>
                  </a:cubicBezTo>
                  <a:cubicBezTo>
                    <a:pt x="152619" y="43093"/>
                    <a:pt x="159691" y="44764"/>
                    <a:pt x="164789" y="49342"/>
                  </a:cubicBezTo>
                  <a:cubicBezTo>
                    <a:pt x="170254" y="54100"/>
                    <a:pt x="171733" y="52300"/>
                    <a:pt x="172890" y="46384"/>
                  </a:cubicBezTo>
                  <a:cubicBezTo>
                    <a:pt x="174047" y="40470"/>
                    <a:pt x="182406" y="37962"/>
                    <a:pt x="190828" y="37962"/>
                  </a:cubicBezTo>
                  <a:cubicBezTo>
                    <a:pt x="199251" y="37962"/>
                    <a:pt x="200022" y="33912"/>
                    <a:pt x="197258" y="32047"/>
                  </a:cubicBezTo>
                  <a:cubicBezTo>
                    <a:pt x="194493" y="30182"/>
                    <a:pt x="211274" y="19574"/>
                    <a:pt x="210888" y="16617"/>
                  </a:cubicBezTo>
                  <a:cubicBezTo>
                    <a:pt x="210502" y="13659"/>
                    <a:pt x="202272" y="23175"/>
                    <a:pt x="199701" y="19895"/>
                  </a:cubicBezTo>
                  <a:close/>
                  <a:moveTo>
                    <a:pt x="132064" y="70238"/>
                  </a:moveTo>
                  <a:cubicBezTo>
                    <a:pt x="128399" y="72102"/>
                    <a:pt x="125634" y="83482"/>
                    <a:pt x="129878" y="86825"/>
                  </a:cubicBezTo>
                  <a:cubicBezTo>
                    <a:pt x="134121" y="90169"/>
                    <a:pt x="123448" y="96341"/>
                    <a:pt x="123448" y="103349"/>
                  </a:cubicBezTo>
                  <a:cubicBezTo>
                    <a:pt x="123448" y="110357"/>
                    <a:pt x="117019" y="110292"/>
                    <a:pt x="115733" y="115436"/>
                  </a:cubicBezTo>
                  <a:cubicBezTo>
                    <a:pt x="114447" y="120579"/>
                    <a:pt x="110589" y="119487"/>
                    <a:pt x="104353" y="124309"/>
                  </a:cubicBezTo>
                  <a:cubicBezTo>
                    <a:pt x="98116" y="129131"/>
                    <a:pt x="94773" y="123537"/>
                    <a:pt x="96252" y="120258"/>
                  </a:cubicBezTo>
                  <a:cubicBezTo>
                    <a:pt x="97731" y="116979"/>
                    <a:pt x="86672" y="122058"/>
                    <a:pt x="87058" y="130159"/>
                  </a:cubicBezTo>
                  <a:cubicBezTo>
                    <a:pt x="87444" y="138260"/>
                    <a:pt x="76771" y="138968"/>
                    <a:pt x="79343" y="142632"/>
                  </a:cubicBezTo>
                  <a:cubicBezTo>
                    <a:pt x="81915" y="146297"/>
                    <a:pt x="71242" y="148547"/>
                    <a:pt x="71627" y="145204"/>
                  </a:cubicBezTo>
                  <a:cubicBezTo>
                    <a:pt x="72013" y="141861"/>
                    <a:pt x="65198" y="143790"/>
                    <a:pt x="56583" y="147068"/>
                  </a:cubicBezTo>
                  <a:cubicBezTo>
                    <a:pt x="47967" y="150348"/>
                    <a:pt x="42953" y="143404"/>
                    <a:pt x="38195" y="148162"/>
                  </a:cubicBezTo>
                  <a:cubicBezTo>
                    <a:pt x="33437" y="152919"/>
                    <a:pt x="25336" y="161406"/>
                    <a:pt x="18907" y="162499"/>
                  </a:cubicBezTo>
                  <a:cubicBezTo>
                    <a:pt x="12478" y="163592"/>
                    <a:pt x="16271" y="171179"/>
                    <a:pt x="18907" y="169829"/>
                  </a:cubicBezTo>
                  <a:cubicBezTo>
                    <a:pt x="23279" y="167643"/>
                    <a:pt x="30287" y="169829"/>
                    <a:pt x="32473" y="166549"/>
                  </a:cubicBezTo>
                  <a:cubicBezTo>
                    <a:pt x="34659" y="163271"/>
                    <a:pt x="52661" y="159220"/>
                    <a:pt x="63719" y="158834"/>
                  </a:cubicBezTo>
                  <a:cubicBezTo>
                    <a:pt x="74778" y="158449"/>
                    <a:pt x="68091" y="163978"/>
                    <a:pt x="68863" y="169829"/>
                  </a:cubicBezTo>
                  <a:cubicBezTo>
                    <a:pt x="69634" y="175679"/>
                    <a:pt x="78764" y="174651"/>
                    <a:pt x="83586" y="169121"/>
                  </a:cubicBezTo>
                  <a:cubicBezTo>
                    <a:pt x="88408" y="163592"/>
                    <a:pt x="92009" y="163978"/>
                    <a:pt x="87958" y="160635"/>
                  </a:cubicBezTo>
                  <a:cubicBezTo>
                    <a:pt x="83908" y="157291"/>
                    <a:pt x="88730" y="154205"/>
                    <a:pt x="91623" y="158834"/>
                  </a:cubicBezTo>
                  <a:cubicBezTo>
                    <a:pt x="95423" y="162962"/>
                    <a:pt x="101852" y="163226"/>
                    <a:pt x="105980" y="159419"/>
                  </a:cubicBezTo>
                  <a:cubicBezTo>
                    <a:pt x="106526" y="158918"/>
                    <a:pt x="107015" y="158352"/>
                    <a:pt x="107439" y="157741"/>
                  </a:cubicBezTo>
                  <a:cubicBezTo>
                    <a:pt x="111104" y="151826"/>
                    <a:pt x="112197" y="158834"/>
                    <a:pt x="116633" y="158449"/>
                  </a:cubicBezTo>
                  <a:cubicBezTo>
                    <a:pt x="121069" y="158063"/>
                    <a:pt x="123577" y="147068"/>
                    <a:pt x="123963" y="151119"/>
                  </a:cubicBezTo>
                  <a:cubicBezTo>
                    <a:pt x="124348" y="155170"/>
                    <a:pt x="131292" y="154076"/>
                    <a:pt x="135729" y="149254"/>
                  </a:cubicBezTo>
                  <a:cubicBezTo>
                    <a:pt x="140165" y="144432"/>
                    <a:pt x="136114" y="136010"/>
                    <a:pt x="139008" y="131638"/>
                  </a:cubicBezTo>
                  <a:cubicBezTo>
                    <a:pt x="142968" y="126032"/>
                    <a:pt x="144061" y="118889"/>
                    <a:pt x="141965" y="112350"/>
                  </a:cubicBezTo>
                  <a:cubicBezTo>
                    <a:pt x="139008" y="106821"/>
                    <a:pt x="148394" y="103156"/>
                    <a:pt x="153345" y="98720"/>
                  </a:cubicBezTo>
                  <a:cubicBezTo>
                    <a:pt x="158296" y="94283"/>
                    <a:pt x="147880" y="72295"/>
                    <a:pt x="147494" y="65673"/>
                  </a:cubicBezTo>
                  <a:cubicBezTo>
                    <a:pt x="147108" y="59050"/>
                    <a:pt x="135729" y="68180"/>
                    <a:pt x="132064" y="70238"/>
                  </a:cubicBezTo>
                  <a:close/>
                  <a:moveTo>
                    <a:pt x="51246" y="165778"/>
                  </a:moveTo>
                  <a:cubicBezTo>
                    <a:pt x="49768" y="169829"/>
                    <a:pt x="45332" y="168028"/>
                    <a:pt x="39481" y="169121"/>
                  </a:cubicBezTo>
                  <a:cubicBezTo>
                    <a:pt x="33630" y="170214"/>
                    <a:pt x="33051" y="184230"/>
                    <a:pt x="37616" y="185645"/>
                  </a:cubicBezTo>
                  <a:cubicBezTo>
                    <a:pt x="42181" y="187059"/>
                    <a:pt x="43531" y="186738"/>
                    <a:pt x="44624" y="182366"/>
                  </a:cubicBezTo>
                  <a:cubicBezTo>
                    <a:pt x="46135" y="178418"/>
                    <a:pt x="50559" y="176451"/>
                    <a:pt x="54506" y="177962"/>
                  </a:cubicBezTo>
                  <a:cubicBezTo>
                    <a:pt x="54776" y="178065"/>
                    <a:pt x="55040" y="178180"/>
                    <a:pt x="55297" y="178315"/>
                  </a:cubicBezTo>
                  <a:cubicBezTo>
                    <a:pt x="58962" y="180116"/>
                    <a:pt x="63719" y="172786"/>
                    <a:pt x="63719" y="167257"/>
                  </a:cubicBezTo>
                  <a:cubicBezTo>
                    <a:pt x="63719" y="161727"/>
                    <a:pt x="52725" y="161727"/>
                    <a:pt x="51246" y="165778"/>
                  </a:cubicBezTo>
                  <a:close/>
                  <a:moveTo>
                    <a:pt x="25915" y="180116"/>
                  </a:moveTo>
                  <a:cubicBezTo>
                    <a:pt x="25915" y="176451"/>
                    <a:pt x="17814" y="177222"/>
                    <a:pt x="17428" y="173686"/>
                  </a:cubicBezTo>
                  <a:cubicBezTo>
                    <a:pt x="17042" y="170150"/>
                    <a:pt x="11577" y="172207"/>
                    <a:pt x="6048" y="176258"/>
                  </a:cubicBezTo>
                  <a:cubicBezTo>
                    <a:pt x="519" y="180308"/>
                    <a:pt x="-1281" y="181016"/>
                    <a:pt x="904" y="185066"/>
                  </a:cubicBezTo>
                  <a:cubicBezTo>
                    <a:pt x="3091" y="189117"/>
                    <a:pt x="6434" y="185452"/>
                    <a:pt x="7848" y="181401"/>
                  </a:cubicBezTo>
                  <a:cubicBezTo>
                    <a:pt x="9263" y="177351"/>
                    <a:pt x="13056" y="187316"/>
                    <a:pt x="9713" y="193874"/>
                  </a:cubicBezTo>
                  <a:cubicBezTo>
                    <a:pt x="6370" y="200432"/>
                    <a:pt x="10163" y="209819"/>
                    <a:pt x="14471" y="208983"/>
                  </a:cubicBezTo>
                  <a:cubicBezTo>
                    <a:pt x="18778" y="208148"/>
                    <a:pt x="22957" y="195032"/>
                    <a:pt x="28487" y="188024"/>
                  </a:cubicBezTo>
                  <a:cubicBezTo>
                    <a:pt x="34016" y="181016"/>
                    <a:pt x="25915" y="183909"/>
                    <a:pt x="25915" y="180116"/>
                  </a:cubicBezTo>
                  <a:close/>
                </a:path>
              </a:pathLst>
            </a:custGeom>
            <a:solidFill>
              <a:srgbClr val="005AD2"/>
            </a:solidFill>
            <a:ln w="6429" cap="flat">
              <a:solidFill>
                <a:srgbClr val="005AD2"/>
              </a:solidFill>
              <a:prstDash val="solid"/>
              <a:miter/>
            </a:ln>
          </p:spPr>
          <p:txBody>
            <a:bodyPr rtlCol="0" anchor="ctr"/>
            <a:lstStyle/>
            <a:p>
              <a:endParaRPr lang="en-GB" sz="2400">
                <a:solidFill>
                  <a:srgbClr val="FFFFFF"/>
                </a:solidFill>
              </a:endParaRPr>
            </a:p>
          </p:txBody>
        </p:sp>
        <p:sp>
          <p:nvSpPr>
            <p:cNvPr id="284" name="Freeform 74">
              <a:extLst>
                <a:ext uri="{FF2B5EF4-FFF2-40B4-BE49-F238E27FC236}">
                  <a16:creationId xmlns:a16="http://schemas.microsoft.com/office/drawing/2014/main" id="{374A5D47-3B9D-4270-A1F3-09984BCFA803}"/>
                </a:ext>
              </a:extLst>
            </p:cNvPr>
            <p:cNvSpPr/>
            <p:nvPr/>
          </p:nvSpPr>
          <p:spPr>
            <a:xfrm>
              <a:off x="5733762" y="2693165"/>
              <a:ext cx="25718" cy="19288"/>
            </a:xfrm>
            <a:custGeom>
              <a:avLst/>
              <a:gdLst>
                <a:gd name="connsiteX0" fmla="*/ 13198 w 25717"/>
                <a:gd name="connsiteY0" fmla="*/ 741 h 19288"/>
                <a:gd name="connsiteX1" fmla="*/ 1111 w 25717"/>
                <a:gd name="connsiteY1" fmla="*/ 17586 h 19288"/>
                <a:gd name="connsiteX2" fmla="*/ 22071 w 25717"/>
                <a:gd name="connsiteY2" fmla="*/ 16493 h 19288"/>
                <a:gd name="connsiteX3" fmla="*/ 28500 w 25717"/>
                <a:gd name="connsiteY3" fmla="*/ 1834 h 19288"/>
                <a:gd name="connsiteX4" fmla="*/ 13198 w 25717"/>
                <a:gd name="connsiteY4" fmla="*/ 741 h 19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 h="19288">
                  <a:moveTo>
                    <a:pt x="13198" y="741"/>
                  </a:moveTo>
                  <a:cubicBezTo>
                    <a:pt x="8440" y="741"/>
                    <a:pt x="-3711" y="7684"/>
                    <a:pt x="1111" y="17586"/>
                  </a:cubicBezTo>
                  <a:cubicBezTo>
                    <a:pt x="5933" y="27487"/>
                    <a:pt x="21685" y="20929"/>
                    <a:pt x="22071" y="16493"/>
                  </a:cubicBezTo>
                  <a:cubicBezTo>
                    <a:pt x="22456" y="12057"/>
                    <a:pt x="29593" y="5177"/>
                    <a:pt x="28500" y="1834"/>
                  </a:cubicBezTo>
                  <a:cubicBezTo>
                    <a:pt x="27407" y="-1509"/>
                    <a:pt x="18020" y="741"/>
                    <a:pt x="13198" y="741"/>
                  </a:cubicBezTo>
                  <a:close/>
                </a:path>
              </a:pathLst>
            </a:custGeom>
            <a:solidFill>
              <a:srgbClr val="FF444E"/>
            </a:solidFill>
            <a:ln w="6429" cap="flat">
              <a:noFill/>
              <a:prstDash val="solid"/>
              <a:miter/>
            </a:ln>
          </p:spPr>
          <p:txBody>
            <a:bodyPr rtlCol="0" anchor="ctr"/>
            <a:lstStyle/>
            <a:p>
              <a:endParaRPr lang="en-GB" sz="2400"/>
            </a:p>
          </p:txBody>
        </p:sp>
        <p:sp>
          <p:nvSpPr>
            <p:cNvPr id="285" name="Freeform 75">
              <a:extLst>
                <a:ext uri="{FF2B5EF4-FFF2-40B4-BE49-F238E27FC236}">
                  <a16:creationId xmlns:a16="http://schemas.microsoft.com/office/drawing/2014/main" id="{5AEF0BE1-0D9B-49F7-90E0-993095B6340F}"/>
                </a:ext>
              </a:extLst>
            </p:cNvPr>
            <p:cNvSpPr/>
            <p:nvPr/>
          </p:nvSpPr>
          <p:spPr>
            <a:xfrm>
              <a:off x="5877175" y="2625514"/>
              <a:ext cx="19288" cy="38576"/>
            </a:xfrm>
            <a:custGeom>
              <a:avLst/>
              <a:gdLst>
                <a:gd name="connsiteX0" fmla="*/ 1008 w 19288"/>
                <a:gd name="connsiteY0" fmla="*/ 18501 h 38576"/>
                <a:gd name="connsiteX1" fmla="*/ 7438 w 19288"/>
                <a:gd name="connsiteY1" fmla="*/ 39846 h 38576"/>
                <a:gd name="connsiteX2" fmla="*/ 22868 w 19288"/>
                <a:gd name="connsiteY2" fmla="*/ 1270 h 38576"/>
                <a:gd name="connsiteX3" fmla="*/ 1008 w 19288"/>
                <a:gd name="connsiteY3" fmla="*/ 18501 h 38576"/>
              </a:gdLst>
              <a:ahLst/>
              <a:cxnLst>
                <a:cxn ang="0">
                  <a:pos x="connsiteX0" y="connsiteY0"/>
                </a:cxn>
                <a:cxn ang="0">
                  <a:pos x="connsiteX1" y="connsiteY1"/>
                </a:cxn>
                <a:cxn ang="0">
                  <a:pos x="connsiteX2" y="connsiteY2"/>
                </a:cxn>
                <a:cxn ang="0">
                  <a:pos x="connsiteX3" y="connsiteY3"/>
                </a:cxn>
              </a:cxnLst>
              <a:rect l="l" t="t" r="r" b="b"/>
              <a:pathLst>
                <a:path w="19288" h="38576">
                  <a:moveTo>
                    <a:pt x="1008" y="18501"/>
                  </a:moveTo>
                  <a:cubicBezTo>
                    <a:pt x="-3042" y="33224"/>
                    <a:pt x="6345" y="40682"/>
                    <a:pt x="7438" y="39846"/>
                  </a:cubicBezTo>
                  <a:cubicBezTo>
                    <a:pt x="11167" y="37274"/>
                    <a:pt x="26212" y="5642"/>
                    <a:pt x="22868" y="1270"/>
                  </a:cubicBezTo>
                  <a:cubicBezTo>
                    <a:pt x="19525" y="-3102"/>
                    <a:pt x="4995" y="4099"/>
                    <a:pt x="1008" y="18501"/>
                  </a:cubicBezTo>
                  <a:close/>
                </a:path>
              </a:pathLst>
            </a:custGeom>
            <a:solidFill>
              <a:srgbClr val="FF444E"/>
            </a:solidFill>
            <a:ln w="6429" cap="flat">
              <a:noFill/>
              <a:prstDash val="solid"/>
              <a:miter/>
            </a:ln>
          </p:spPr>
          <p:txBody>
            <a:bodyPr rtlCol="0" anchor="ctr"/>
            <a:lstStyle/>
            <a:p>
              <a:endParaRPr lang="en-GB" sz="2400"/>
            </a:p>
          </p:txBody>
        </p:sp>
        <p:sp>
          <p:nvSpPr>
            <p:cNvPr id="286" name="Freeform 76">
              <a:extLst>
                <a:ext uri="{FF2B5EF4-FFF2-40B4-BE49-F238E27FC236}">
                  <a16:creationId xmlns:a16="http://schemas.microsoft.com/office/drawing/2014/main" id="{55EF84C5-EC52-4477-AED9-BEAF4F1F2791}"/>
                </a:ext>
              </a:extLst>
            </p:cNvPr>
            <p:cNvSpPr/>
            <p:nvPr/>
          </p:nvSpPr>
          <p:spPr>
            <a:xfrm>
              <a:off x="5315679" y="2205199"/>
              <a:ext cx="739377" cy="482203"/>
            </a:xfrm>
            <a:custGeom>
              <a:avLst/>
              <a:gdLst>
                <a:gd name="connsiteX0" fmla="*/ 742528 w 739378"/>
                <a:gd name="connsiteY0" fmla="*/ 90858 h 482203"/>
                <a:gd name="connsiteX1" fmla="*/ 732627 w 739378"/>
                <a:gd name="connsiteY1" fmla="*/ 88286 h 482203"/>
                <a:gd name="connsiteX2" fmla="*/ 720476 w 739378"/>
                <a:gd name="connsiteY2" fmla="*/ 92722 h 482203"/>
                <a:gd name="connsiteX3" fmla="*/ 709482 w 739378"/>
                <a:gd name="connsiteY3" fmla="*/ 95294 h 482203"/>
                <a:gd name="connsiteX4" fmla="*/ 697330 w 739378"/>
                <a:gd name="connsiteY4" fmla="*/ 90536 h 482203"/>
                <a:gd name="connsiteX5" fmla="*/ 694758 w 739378"/>
                <a:gd name="connsiteY5" fmla="*/ 79864 h 482203"/>
                <a:gd name="connsiteX6" fmla="*/ 685950 w 739378"/>
                <a:gd name="connsiteY6" fmla="*/ 73948 h 482203"/>
                <a:gd name="connsiteX7" fmla="*/ 673091 w 739378"/>
                <a:gd name="connsiteY7" fmla="*/ 68484 h 482203"/>
                <a:gd name="connsiteX8" fmla="*/ 661004 w 739378"/>
                <a:gd name="connsiteY8" fmla="*/ 64047 h 482203"/>
                <a:gd name="connsiteX9" fmla="*/ 656246 w 739378"/>
                <a:gd name="connsiteY9" fmla="*/ 57039 h 482203"/>
                <a:gd name="connsiteX10" fmla="*/ 649817 w 739378"/>
                <a:gd name="connsiteY10" fmla="*/ 41994 h 482203"/>
                <a:gd name="connsiteX11" fmla="*/ 642487 w 739378"/>
                <a:gd name="connsiteY11" fmla="*/ 27336 h 482203"/>
                <a:gd name="connsiteX12" fmla="*/ 636637 w 739378"/>
                <a:gd name="connsiteY12" fmla="*/ 15956 h 482203"/>
                <a:gd name="connsiteX13" fmla="*/ 628536 w 739378"/>
                <a:gd name="connsiteY13" fmla="*/ 6762 h 482203"/>
                <a:gd name="connsiteX14" fmla="*/ 613491 w 739378"/>
                <a:gd name="connsiteY14" fmla="*/ 2325 h 482203"/>
                <a:gd name="connsiteX15" fmla="*/ 599539 w 739378"/>
                <a:gd name="connsiteY15" fmla="*/ 139 h 482203"/>
                <a:gd name="connsiteX16" fmla="*/ 581151 w 739378"/>
                <a:gd name="connsiteY16" fmla="*/ 1618 h 482203"/>
                <a:gd name="connsiteX17" fmla="*/ 565335 w 739378"/>
                <a:gd name="connsiteY17" fmla="*/ 6762 h 482203"/>
                <a:gd name="connsiteX18" fmla="*/ 566428 w 739378"/>
                <a:gd name="connsiteY18" fmla="*/ 13191 h 482203"/>
                <a:gd name="connsiteX19" fmla="*/ 570093 w 739378"/>
                <a:gd name="connsiteY19" fmla="*/ 22064 h 482203"/>
                <a:gd name="connsiteX20" fmla="*/ 564628 w 739378"/>
                <a:gd name="connsiteY20" fmla="*/ 28493 h 482203"/>
                <a:gd name="connsiteX21" fmla="*/ 556912 w 739378"/>
                <a:gd name="connsiteY21" fmla="*/ 40259 h 482203"/>
                <a:gd name="connsiteX22" fmla="*/ 550998 w 739378"/>
                <a:gd name="connsiteY22" fmla="*/ 53117 h 482203"/>
                <a:gd name="connsiteX23" fmla="*/ 545468 w 739378"/>
                <a:gd name="connsiteY23" fmla="*/ 58582 h 482203"/>
                <a:gd name="connsiteX24" fmla="*/ 533767 w 739378"/>
                <a:gd name="connsiteY24" fmla="*/ 65012 h 482203"/>
                <a:gd name="connsiteX25" fmla="*/ 521615 w 739378"/>
                <a:gd name="connsiteY25" fmla="*/ 61668 h 482203"/>
                <a:gd name="connsiteX26" fmla="*/ 518851 w 739378"/>
                <a:gd name="connsiteY26" fmla="*/ 59611 h 482203"/>
                <a:gd name="connsiteX27" fmla="*/ 508885 w 739378"/>
                <a:gd name="connsiteY27" fmla="*/ 79478 h 482203"/>
                <a:gd name="connsiteX28" fmla="*/ 508114 w 739378"/>
                <a:gd name="connsiteY28" fmla="*/ 85907 h 482203"/>
                <a:gd name="connsiteX29" fmla="*/ 506506 w 739378"/>
                <a:gd name="connsiteY29" fmla="*/ 92337 h 482203"/>
                <a:gd name="connsiteX30" fmla="*/ 519365 w 739378"/>
                <a:gd name="connsiteY30" fmla="*/ 93172 h 482203"/>
                <a:gd name="connsiteX31" fmla="*/ 531388 w 739378"/>
                <a:gd name="connsiteY31" fmla="*/ 94780 h 482203"/>
                <a:gd name="connsiteX32" fmla="*/ 540685 w 739378"/>
                <a:gd name="connsiteY32" fmla="*/ 91089 h 482203"/>
                <a:gd name="connsiteX33" fmla="*/ 543411 w 739378"/>
                <a:gd name="connsiteY33" fmla="*/ 93172 h 482203"/>
                <a:gd name="connsiteX34" fmla="*/ 559420 w 739378"/>
                <a:gd name="connsiteY34" fmla="*/ 109953 h 482203"/>
                <a:gd name="connsiteX35" fmla="*/ 546561 w 739378"/>
                <a:gd name="connsiteY35" fmla="*/ 111560 h 482203"/>
                <a:gd name="connsiteX36" fmla="*/ 530552 w 739378"/>
                <a:gd name="connsiteY36" fmla="*/ 114775 h 482203"/>
                <a:gd name="connsiteX37" fmla="*/ 515315 w 739378"/>
                <a:gd name="connsiteY37" fmla="*/ 121204 h 482203"/>
                <a:gd name="connsiteX38" fmla="*/ 504128 w 739378"/>
                <a:gd name="connsiteY38" fmla="*/ 131556 h 482203"/>
                <a:gd name="connsiteX39" fmla="*/ 485675 w 739378"/>
                <a:gd name="connsiteY39" fmla="*/ 137214 h 482203"/>
                <a:gd name="connsiteX40" fmla="*/ 465680 w 739378"/>
                <a:gd name="connsiteY40" fmla="*/ 138757 h 482203"/>
                <a:gd name="connsiteX41" fmla="*/ 453715 w 739378"/>
                <a:gd name="connsiteY41" fmla="*/ 141875 h 482203"/>
                <a:gd name="connsiteX42" fmla="*/ 453657 w 739378"/>
                <a:gd name="connsiteY42" fmla="*/ 141971 h 482203"/>
                <a:gd name="connsiteX43" fmla="*/ 456871 w 739378"/>
                <a:gd name="connsiteY43" fmla="*/ 156373 h 482203"/>
                <a:gd name="connsiteX44" fmla="*/ 441634 w 739378"/>
                <a:gd name="connsiteY44" fmla="*/ 168396 h 482203"/>
                <a:gd name="connsiteX45" fmla="*/ 419260 w 739378"/>
                <a:gd name="connsiteY45" fmla="*/ 178040 h 482203"/>
                <a:gd name="connsiteX46" fmla="*/ 391228 w 739378"/>
                <a:gd name="connsiteY46" fmla="*/ 178812 h 482203"/>
                <a:gd name="connsiteX47" fmla="*/ 369625 w 739378"/>
                <a:gd name="connsiteY47" fmla="*/ 189999 h 482203"/>
                <a:gd name="connsiteX48" fmla="*/ 359981 w 739378"/>
                <a:gd name="connsiteY48" fmla="*/ 185241 h 482203"/>
                <a:gd name="connsiteX49" fmla="*/ 347122 w 739378"/>
                <a:gd name="connsiteY49" fmla="*/ 182026 h 482203"/>
                <a:gd name="connsiteX50" fmla="*/ 333556 w 739378"/>
                <a:gd name="connsiteY50" fmla="*/ 178812 h 482203"/>
                <a:gd name="connsiteX51" fmla="*/ 311118 w 739378"/>
                <a:gd name="connsiteY51" fmla="*/ 173990 h 482203"/>
                <a:gd name="connsiteX52" fmla="*/ 281478 w 739378"/>
                <a:gd name="connsiteY52" fmla="*/ 173218 h 482203"/>
                <a:gd name="connsiteX53" fmla="*/ 265469 w 739378"/>
                <a:gd name="connsiteY53" fmla="*/ 171611 h 482203"/>
                <a:gd name="connsiteX54" fmla="*/ 258268 w 739378"/>
                <a:gd name="connsiteY54" fmla="*/ 158752 h 482203"/>
                <a:gd name="connsiteX55" fmla="*/ 248688 w 739378"/>
                <a:gd name="connsiteY55" fmla="*/ 148336 h 482203"/>
                <a:gd name="connsiteX56" fmla="*/ 240651 w 739378"/>
                <a:gd name="connsiteY56" fmla="*/ 142743 h 482203"/>
                <a:gd name="connsiteX57" fmla="*/ 231329 w 739378"/>
                <a:gd name="connsiteY57" fmla="*/ 137085 h 482203"/>
                <a:gd name="connsiteX58" fmla="*/ 203361 w 739378"/>
                <a:gd name="connsiteY58" fmla="*/ 130270 h 482203"/>
                <a:gd name="connsiteX59" fmla="*/ 206190 w 739378"/>
                <a:gd name="connsiteY59" fmla="*/ 120047 h 482203"/>
                <a:gd name="connsiteX60" fmla="*/ 206962 w 739378"/>
                <a:gd name="connsiteY60" fmla="*/ 107639 h 482203"/>
                <a:gd name="connsiteX61" fmla="*/ 200532 w 739378"/>
                <a:gd name="connsiteY61" fmla="*/ 98187 h 482203"/>
                <a:gd name="connsiteX62" fmla="*/ 189860 w 739378"/>
                <a:gd name="connsiteY62" fmla="*/ 89572 h 482203"/>
                <a:gd name="connsiteX63" fmla="*/ 178673 w 739378"/>
                <a:gd name="connsiteY63" fmla="*/ 83464 h 482203"/>
                <a:gd name="connsiteX64" fmla="*/ 169736 w 739378"/>
                <a:gd name="connsiteY64" fmla="*/ 72020 h 482203"/>
                <a:gd name="connsiteX65" fmla="*/ 169350 w 739378"/>
                <a:gd name="connsiteY65" fmla="*/ 70541 h 482203"/>
                <a:gd name="connsiteX66" fmla="*/ 164592 w 739378"/>
                <a:gd name="connsiteY66" fmla="*/ 69769 h 482203"/>
                <a:gd name="connsiteX67" fmla="*/ 161313 w 739378"/>
                <a:gd name="connsiteY67" fmla="*/ 67841 h 482203"/>
                <a:gd name="connsiteX68" fmla="*/ 157006 w 739378"/>
                <a:gd name="connsiteY68" fmla="*/ 75813 h 482203"/>
                <a:gd name="connsiteX69" fmla="*/ 151669 w 739378"/>
                <a:gd name="connsiteY69" fmla="*/ 82693 h 482203"/>
                <a:gd name="connsiteX70" fmla="*/ 143568 w 739378"/>
                <a:gd name="connsiteY70" fmla="*/ 92079 h 482203"/>
                <a:gd name="connsiteX71" fmla="*/ 145304 w 739378"/>
                <a:gd name="connsiteY71" fmla="*/ 102045 h 482203"/>
                <a:gd name="connsiteX72" fmla="*/ 133603 w 739378"/>
                <a:gd name="connsiteY72" fmla="*/ 106353 h 482203"/>
                <a:gd name="connsiteX73" fmla="*/ 122158 w 739378"/>
                <a:gd name="connsiteY73" fmla="*/ 105324 h 482203"/>
                <a:gd name="connsiteX74" fmla="*/ 113800 w 739378"/>
                <a:gd name="connsiteY74" fmla="*/ 105324 h 482203"/>
                <a:gd name="connsiteX75" fmla="*/ 106149 w 739378"/>
                <a:gd name="connsiteY75" fmla="*/ 129241 h 482203"/>
                <a:gd name="connsiteX76" fmla="*/ 106149 w 739378"/>
                <a:gd name="connsiteY76" fmla="*/ 135092 h 482203"/>
                <a:gd name="connsiteX77" fmla="*/ 97276 w 739378"/>
                <a:gd name="connsiteY77" fmla="*/ 132777 h 482203"/>
                <a:gd name="connsiteX78" fmla="*/ 85575 w 739378"/>
                <a:gd name="connsiteY78" fmla="*/ 135092 h 482203"/>
                <a:gd name="connsiteX79" fmla="*/ 78438 w 739378"/>
                <a:gd name="connsiteY79" fmla="*/ 139914 h 482203"/>
                <a:gd name="connsiteX80" fmla="*/ 81203 w 739378"/>
                <a:gd name="connsiteY80" fmla="*/ 150651 h 482203"/>
                <a:gd name="connsiteX81" fmla="*/ 86154 w 739378"/>
                <a:gd name="connsiteY81" fmla="*/ 164474 h 482203"/>
                <a:gd name="connsiteX82" fmla="*/ 79724 w 739378"/>
                <a:gd name="connsiteY82" fmla="*/ 173797 h 482203"/>
                <a:gd name="connsiteX83" fmla="*/ 78889 w 739378"/>
                <a:gd name="connsiteY83" fmla="*/ 181576 h 482203"/>
                <a:gd name="connsiteX84" fmla="*/ 67894 w 739378"/>
                <a:gd name="connsiteY84" fmla="*/ 187041 h 482203"/>
                <a:gd name="connsiteX85" fmla="*/ 58250 w 739378"/>
                <a:gd name="connsiteY85" fmla="*/ 192571 h 482203"/>
                <a:gd name="connsiteX86" fmla="*/ 48285 w 739378"/>
                <a:gd name="connsiteY86" fmla="*/ 198100 h 482203"/>
                <a:gd name="connsiteX87" fmla="*/ 37033 w 739378"/>
                <a:gd name="connsiteY87" fmla="*/ 201379 h 482203"/>
                <a:gd name="connsiteX88" fmla="*/ 29575 w 739378"/>
                <a:gd name="connsiteY88" fmla="*/ 206329 h 482203"/>
                <a:gd name="connsiteX89" fmla="*/ 21860 w 739378"/>
                <a:gd name="connsiteY89" fmla="*/ 203886 h 482203"/>
                <a:gd name="connsiteX90" fmla="*/ 14402 w 739378"/>
                <a:gd name="connsiteY90" fmla="*/ 206329 h 482203"/>
                <a:gd name="connsiteX91" fmla="*/ 7523 w 739378"/>
                <a:gd name="connsiteY91" fmla="*/ 210766 h 482203"/>
                <a:gd name="connsiteX92" fmla="*/ 1993 w 739378"/>
                <a:gd name="connsiteY92" fmla="*/ 214045 h 482203"/>
                <a:gd name="connsiteX93" fmla="*/ 0 w 739378"/>
                <a:gd name="connsiteY93" fmla="*/ 220474 h 482203"/>
                <a:gd name="connsiteX94" fmla="*/ 0 w 739378"/>
                <a:gd name="connsiteY94" fmla="*/ 220474 h 482203"/>
                <a:gd name="connsiteX95" fmla="*/ 1929 w 739378"/>
                <a:gd name="connsiteY95" fmla="*/ 231275 h 482203"/>
                <a:gd name="connsiteX96" fmla="*/ 14209 w 739378"/>
                <a:gd name="connsiteY96" fmla="*/ 239119 h 482203"/>
                <a:gd name="connsiteX97" fmla="*/ 16652 w 739378"/>
                <a:gd name="connsiteY97" fmla="*/ 255836 h 482203"/>
                <a:gd name="connsiteX98" fmla="*/ 16652 w 739378"/>
                <a:gd name="connsiteY98" fmla="*/ 255836 h 482203"/>
                <a:gd name="connsiteX99" fmla="*/ 27968 w 739378"/>
                <a:gd name="connsiteY99" fmla="*/ 265030 h 482203"/>
                <a:gd name="connsiteX100" fmla="*/ 34397 w 739378"/>
                <a:gd name="connsiteY100" fmla="*/ 274417 h 482203"/>
                <a:gd name="connsiteX101" fmla="*/ 44106 w 739378"/>
                <a:gd name="connsiteY101" fmla="*/ 279560 h 482203"/>
                <a:gd name="connsiteX102" fmla="*/ 44620 w 739378"/>
                <a:gd name="connsiteY102" fmla="*/ 278403 h 482203"/>
                <a:gd name="connsiteX103" fmla="*/ 49506 w 739378"/>
                <a:gd name="connsiteY103" fmla="*/ 277888 h 482203"/>
                <a:gd name="connsiteX104" fmla="*/ 52335 w 739378"/>
                <a:gd name="connsiteY104" fmla="*/ 280267 h 482203"/>
                <a:gd name="connsiteX105" fmla="*/ 66416 w 739378"/>
                <a:gd name="connsiteY105" fmla="*/ 272166 h 482203"/>
                <a:gd name="connsiteX106" fmla="*/ 80689 w 739378"/>
                <a:gd name="connsiteY106" fmla="*/ 284061 h 482203"/>
                <a:gd name="connsiteX107" fmla="*/ 68344 w 739378"/>
                <a:gd name="connsiteY107" fmla="*/ 298912 h 482203"/>
                <a:gd name="connsiteX108" fmla="*/ 63008 w 739378"/>
                <a:gd name="connsiteY108" fmla="*/ 299491 h 482203"/>
                <a:gd name="connsiteX109" fmla="*/ 62236 w 739378"/>
                <a:gd name="connsiteY109" fmla="*/ 303927 h 482203"/>
                <a:gd name="connsiteX110" fmla="*/ 69116 w 739378"/>
                <a:gd name="connsiteY110" fmla="*/ 314664 h 482203"/>
                <a:gd name="connsiteX111" fmla="*/ 61787 w 739378"/>
                <a:gd name="connsiteY111" fmla="*/ 319101 h 482203"/>
                <a:gd name="connsiteX112" fmla="*/ 58829 w 739378"/>
                <a:gd name="connsiteY112" fmla="*/ 324501 h 482203"/>
                <a:gd name="connsiteX113" fmla="*/ 63265 w 739378"/>
                <a:gd name="connsiteY113" fmla="*/ 334338 h 482203"/>
                <a:gd name="connsiteX114" fmla="*/ 73552 w 739378"/>
                <a:gd name="connsiteY114" fmla="*/ 341668 h 482203"/>
                <a:gd name="connsiteX115" fmla="*/ 80882 w 739378"/>
                <a:gd name="connsiteY115" fmla="*/ 348097 h 482203"/>
                <a:gd name="connsiteX116" fmla="*/ 86282 w 739378"/>
                <a:gd name="connsiteY116" fmla="*/ 353498 h 482203"/>
                <a:gd name="connsiteX117" fmla="*/ 86282 w 739378"/>
                <a:gd name="connsiteY117" fmla="*/ 354269 h 482203"/>
                <a:gd name="connsiteX118" fmla="*/ 93933 w 739378"/>
                <a:gd name="connsiteY118" fmla="*/ 351890 h 482203"/>
                <a:gd name="connsiteX119" fmla="*/ 103835 w 739378"/>
                <a:gd name="connsiteY119" fmla="*/ 353819 h 482203"/>
                <a:gd name="connsiteX120" fmla="*/ 129231 w 739378"/>
                <a:gd name="connsiteY120" fmla="*/ 372272 h 482203"/>
                <a:gd name="connsiteX121" fmla="*/ 153148 w 739378"/>
                <a:gd name="connsiteY121" fmla="*/ 381916 h 482203"/>
                <a:gd name="connsiteX122" fmla="*/ 169414 w 739378"/>
                <a:gd name="connsiteY122" fmla="*/ 384937 h 482203"/>
                <a:gd name="connsiteX123" fmla="*/ 172307 w 739378"/>
                <a:gd name="connsiteY123" fmla="*/ 384937 h 482203"/>
                <a:gd name="connsiteX124" fmla="*/ 176358 w 739378"/>
                <a:gd name="connsiteY124" fmla="*/ 381851 h 482203"/>
                <a:gd name="connsiteX125" fmla="*/ 180280 w 739378"/>
                <a:gd name="connsiteY125" fmla="*/ 388281 h 482203"/>
                <a:gd name="connsiteX126" fmla="*/ 180987 w 739378"/>
                <a:gd name="connsiteY126" fmla="*/ 393746 h 482203"/>
                <a:gd name="connsiteX127" fmla="*/ 183752 w 739378"/>
                <a:gd name="connsiteY127" fmla="*/ 388474 h 482203"/>
                <a:gd name="connsiteX128" fmla="*/ 192560 w 739378"/>
                <a:gd name="connsiteY128" fmla="*/ 380758 h 482203"/>
                <a:gd name="connsiteX129" fmla="*/ 202783 w 739378"/>
                <a:gd name="connsiteY129" fmla="*/ 382430 h 482203"/>
                <a:gd name="connsiteX130" fmla="*/ 217120 w 739378"/>
                <a:gd name="connsiteY130" fmla="*/ 386352 h 482203"/>
                <a:gd name="connsiteX131" fmla="*/ 221492 w 739378"/>
                <a:gd name="connsiteY131" fmla="*/ 384873 h 482203"/>
                <a:gd name="connsiteX132" fmla="*/ 227343 w 739378"/>
                <a:gd name="connsiteY132" fmla="*/ 379473 h 482203"/>
                <a:gd name="connsiteX133" fmla="*/ 232293 w 739378"/>
                <a:gd name="connsiteY133" fmla="*/ 374522 h 482203"/>
                <a:gd name="connsiteX134" fmla="*/ 243095 w 739378"/>
                <a:gd name="connsiteY134" fmla="*/ 367643 h 482203"/>
                <a:gd name="connsiteX135" fmla="*/ 257754 w 739378"/>
                <a:gd name="connsiteY135" fmla="*/ 367192 h 482203"/>
                <a:gd name="connsiteX136" fmla="*/ 264183 w 739378"/>
                <a:gd name="connsiteY136" fmla="*/ 366228 h 482203"/>
                <a:gd name="connsiteX137" fmla="*/ 269070 w 739378"/>
                <a:gd name="connsiteY137" fmla="*/ 374522 h 482203"/>
                <a:gd name="connsiteX138" fmla="*/ 276206 w 739378"/>
                <a:gd name="connsiteY138" fmla="*/ 378444 h 482203"/>
                <a:gd name="connsiteX139" fmla="*/ 278264 w 739378"/>
                <a:gd name="connsiteY139" fmla="*/ 377222 h 482203"/>
                <a:gd name="connsiteX140" fmla="*/ 285812 w 739378"/>
                <a:gd name="connsiteY140" fmla="*/ 378894 h 482203"/>
                <a:gd name="connsiteX141" fmla="*/ 286557 w 739378"/>
                <a:gd name="connsiteY141" fmla="*/ 380758 h 482203"/>
                <a:gd name="connsiteX142" fmla="*/ 289322 w 739378"/>
                <a:gd name="connsiteY142" fmla="*/ 387638 h 482203"/>
                <a:gd name="connsiteX143" fmla="*/ 294273 w 739378"/>
                <a:gd name="connsiteY143" fmla="*/ 394067 h 482203"/>
                <a:gd name="connsiteX144" fmla="*/ 291251 w 739378"/>
                <a:gd name="connsiteY144" fmla="*/ 412262 h 482203"/>
                <a:gd name="connsiteX145" fmla="*/ 281028 w 739378"/>
                <a:gd name="connsiteY145" fmla="*/ 429622 h 482203"/>
                <a:gd name="connsiteX146" fmla="*/ 283278 w 739378"/>
                <a:gd name="connsiteY146" fmla="*/ 435665 h 482203"/>
                <a:gd name="connsiteX147" fmla="*/ 294530 w 739378"/>
                <a:gd name="connsiteY147" fmla="*/ 437851 h 482203"/>
                <a:gd name="connsiteX148" fmla="*/ 298388 w 739378"/>
                <a:gd name="connsiteY148" fmla="*/ 448074 h 482203"/>
                <a:gd name="connsiteX149" fmla="*/ 303081 w 739378"/>
                <a:gd name="connsiteY149" fmla="*/ 453539 h 482203"/>
                <a:gd name="connsiteX150" fmla="*/ 303081 w 739378"/>
                <a:gd name="connsiteY150" fmla="*/ 461833 h 482203"/>
                <a:gd name="connsiteX151" fmla="*/ 309960 w 739378"/>
                <a:gd name="connsiteY151" fmla="*/ 465176 h 482203"/>
                <a:gd name="connsiteX152" fmla="*/ 317676 w 739378"/>
                <a:gd name="connsiteY152" fmla="*/ 469291 h 482203"/>
                <a:gd name="connsiteX153" fmla="*/ 323269 w 739378"/>
                <a:gd name="connsiteY153" fmla="*/ 468133 h 482203"/>
                <a:gd name="connsiteX154" fmla="*/ 329699 w 739378"/>
                <a:gd name="connsiteY154" fmla="*/ 473984 h 482203"/>
                <a:gd name="connsiteX155" fmla="*/ 330149 w 739378"/>
                <a:gd name="connsiteY155" fmla="*/ 464147 h 482203"/>
                <a:gd name="connsiteX156" fmla="*/ 332142 w 739378"/>
                <a:gd name="connsiteY156" fmla="*/ 457718 h 482203"/>
                <a:gd name="connsiteX157" fmla="*/ 340500 w 739378"/>
                <a:gd name="connsiteY157" fmla="*/ 454760 h 482203"/>
                <a:gd name="connsiteX158" fmla="*/ 349823 w 739378"/>
                <a:gd name="connsiteY158" fmla="*/ 453796 h 482203"/>
                <a:gd name="connsiteX159" fmla="*/ 360559 w 739378"/>
                <a:gd name="connsiteY159" fmla="*/ 453796 h 482203"/>
                <a:gd name="connsiteX160" fmla="*/ 368918 w 739378"/>
                <a:gd name="connsiteY160" fmla="*/ 452317 h 482203"/>
                <a:gd name="connsiteX161" fmla="*/ 378755 w 739378"/>
                <a:gd name="connsiteY161" fmla="*/ 445888 h 482203"/>
                <a:gd name="connsiteX162" fmla="*/ 389042 w 739378"/>
                <a:gd name="connsiteY162" fmla="*/ 451289 h 482203"/>
                <a:gd name="connsiteX163" fmla="*/ 392449 w 739378"/>
                <a:gd name="connsiteY163" fmla="*/ 458618 h 482203"/>
                <a:gd name="connsiteX164" fmla="*/ 404729 w 739378"/>
                <a:gd name="connsiteY164" fmla="*/ 467941 h 482203"/>
                <a:gd name="connsiteX165" fmla="*/ 407301 w 739378"/>
                <a:gd name="connsiteY165" fmla="*/ 469998 h 482203"/>
                <a:gd name="connsiteX166" fmla="*/ 414888 w 739378"/>
                <a:gd name="connsiteY166" fmla="*/ 467941 h 482203"/>
                <a:gd name="connsiteX167" fmla="*/ 421317 w 739378"/>
                <a:gd name="connsiteY167" fmla="*/ 468326 h 482203"/>
                <a:gd name="connsiteX168" fmla="*/ 428518 w 739378"/>
                <a:gd name="connsiteY168" fmla="*/ 468326 h 482203"/>
                <a:gd name="connsiteX169" fmla="*/ 431797 w 739378"/>
                <a:gd name="connsiteY169" fmla="*/ 473470 h 482203"/>
                <a:gd name="connsiteX170" fmla="*/ 434562 w 739378"/>
                <a:gd name="connsiteY170" fmla="*/ 484336 h 482203"/>
                <a:gd name="connsiteX171" fmla="*/ 437905 w 739378"/>
                <a:gd name="connsiteY171" fmla="*/ 478999 h 482203"/>
                <a:gd name="connsiteX172" fmla="*/ 455328 w 739378"/>
                <a:gd name="connsiteY172" fmla="*/ 468519 h 482203"/>
                <a:gd name="connsiteX173" fmla="*/ 479567 w 739378"/>
                <a:gd name="connsiteY173" fmla="*/ 454375 h 482203"/>
                <a:gd name="connsiteX174" fmla="*/ 491719 w 739378"/>
                <a:gd name="connsiteY174" fmla="*/ 454760 h 482203"/>
                <a:gd name="connsiteX175" fmla="*/ 513193 w 739378"/>
                <a:gd name="connsiteY175" fmla="*/ 451224 h 482203"/>
                <a:gd name="connsiteX176" fmla="*/ 520587 w 739378"/>
                <a:gd name="connsiteY176" fmla="*/ 444795 h 482203"/>
                <a:gd name="connsiteX177" fmla="*/ 527916 w 739378"/>
                <a:gd name="connsiteY177" fmla="*/ 438944 h 482203"/>
                <a:gd name="connsiteX178" fmla="*/ 535053 w 739378"/>
                <a:gd name="connsiteY178" fmla="*/ 431422 h 482203"/>
                <a:gd name="connsiteX179" fmla="*/ 543540 w 739378"/>
                <a:gd name="connsiteY179" fmla="*/ 426086 h 482203"/>
                <a:gd name="connsiteX180" fmla="*/ 549969 w 739378"/>
                <a:gd name="connsiteY180" fmla="*/ 420042 h 482203"/>
                <a:gd name="connsiteX181" fmla="*/ 555305 w 739378"/>
                <a:gd name="connsiteY181" fmla="*/ 415413 h 482203"/>
                <a:gd name="connsiteX182" fmla="*/ 556977 w 739378"/>
                <a:gd name="connsiteY182" fmla="*/ 405833 h 482203"/>
                <a:gd name="connsiteX183" fmla="*/ 555305 w 739378"/>
                <a:gd name="connsiteY183" fmla="*/ 399789 h 482203"/>
                <a:gd name="connsiteX184" fmla="*/ 563921 w 739378"/>
                <a:gd name="connsiteY184" fmla="*/ 395739 h 482203"/>
                <a:gd name="connsiteX185" fmla="*/ 569643 w 739378"/>
                <a:gd name="connsiteY185" fmla="*/ 387124 h 482203"/>
                <a:gd name="connsiteX186" fmla="*/ 577680 w 739378"/>
                <a:gd name="connsiteY186" fmla="*/ 379601 h 482203"/>
                <a:gd name="connsiteX187" fmla="*/ 580251 w 739378"/>
                <a:gd name="connsiteY187" fmla="*/ 369507 h 482203"/>
                <a:gd name="connsiteX188" fmla="*/ 582309 w 739378"/>
                <a:gd name="connsiteY188" fmla="*/ 364685 h 482203"/>
                <a:gd name="connsiteX189" fmla="*/ 587645 w 739378"/>
                <a:gd name="connsiteY189" fmla="*/ 357163 h 482203"/>
                <a:gd name="connsiteX190" fmla="*/ 582502 w 739378"/>
                <a:gd name="connsiteY190" fmla="*/ 355684 h 482203"/>
                <a:gd name="connsiteX191" fmla="*/ 575301 w 739378"/>
                <a:gd name="connsiteY191" fmla="*/ 353112 h 482203"/>
                <a:gd name="connsiteX192" fmla="*/ 570928 w 739378"/>
                <a:gd name="connsiteY192" fmla="*/ 350540 h 482203"/>
                <a:gd name="connsiteX193" fmla="*/ 583787 w 739378"/>
                <a:gd name="connsiteY193" fmla="*/ 344111 h 482203"/>
                <a:gd name="connsiteX194" fmla="*/ 576201 w 739378"/>
                <a:gd name="connsiteY194" fmla="*/ 337360 h 482203"/>
                <a:gd name="connsiteX195" fmla="*/ 565207 w 739378"/>
                <a:gd name="connsiteY195" fmla="*/ 329259 h 482203"/>
                <a:gd name="connsiteX196" fmla="*/ 572214 w 739378"/>
                <a:gd name="connsiteY196" fmla="*/ 328873 h 482203"/>
                <a:gd name="connsiteX197" fmla="*/ 583209 w 739378"/>
                <a:gd name="connsiteY197" fmla="*/ 331059 h 482203"/>
                <a:gd name="connsiteX198" fmla="*/ 572729 w 739378"/>
                <a:gd name="connsiteY198" fmla="*/ 319358 h 482203"/>
                <a:gd name="connsiteX199" fmla="*/ 570543 w 739378"/>
                <a:gd name="connsiteY199" fmla="*/ 311771 h 482203"/>
                <a:gd name="connsiteX200" fmla="*/ 562120 w 739378"/>
                <a:gd name="connsiteY200" fmla="*/ 295826 h 482203"/>
                <a:gd name="connsiteX201" fmla="*/ 551062 w 739378"/>
                <a:gd name="connsiteY201" fmla="*/ 288111 h 482203"/>
                <a:gd name="connsiteX202" fmla="*/ 556977 w 739378"/>
                <a:gd name="connsiteY202" fmla="*/ 276538 h 482203"/>
                <a:gd name="connsiteX203" fmla="*/ 562828 w 739378"/>
                <a:gd name="connsiteY203" fmla="*/ 270109 h 482203"/>
                <a:gd name="connsiteX204" fmla="*/ 569643 w 739378"/>
                <a:gd name="connsiteY204" fmla="*/ 265351 h 482203"/>
                <a:gd name="connsiteX205" fmla="*/ 577165 w 739378"/>
                <a:gd name="connsiteY205" fmla="*/ 261493 h 482203"/>
                <a:gd name="connsiteX206" fmla="*/ 591310 w 739378"/>
                <a:gd name="connsiteY206" fmla="*/ 257250 h 482203"/>
                <a:gd name="connsiteX207" fmla="*/ 584173 w 739378"/>
                <a:gd name="connsiteY207" fmla="*/ 249342 h 482203"/>
                <a:gd name="connsiteX208" fmla="*/ 572022 w 739378"/>
                <a:gd name="connsiteY208" fmla="*/ 244391 h 482203"/>
                <a:gd name="connsiteX209" fmla="*/ 555498 w 739378"/>
                <a:gd name="connsiteY209" fmla="*/ 255257 h 482203"/>
                <a:gd name="connsiteX210" fmla="*/ 547783 w 739378"/>
                <a:gd name="connsiteY210" fmla="*/ 245292 h 482203"/>
                <a:gd name="connsiteX211" fmla="*/ 534924 w 739378"/>
                <a:gd name="connsiteY211" fmla="*/ 240919 h 482203"/>
                <a:gd name="connsiteX212" fmla="*/ 534924 w 739378"/>
                <a:gd name="connsiteY212" fmla="*/ 225489 h 482203"/>
                <a:gd name="connsiteX213" fmla="*/ 550355 w 739378"/>
                <a:gd name="connsiteY213" fmla="*/ 220860 h 482203"/>
                <a:gd name="connsiteX214" fmla="*/ 564885 w 739378"/>
                <a:gd name="connsiteY214" fmla="*/ 210766 h 482203"/>
                <a:gd name="connsiteX215" fmla="*/ 585973 w 739378"/>
                <a:gd name="connsiteY215" fmla="*/ 202536 h 482203"/>
                <a:gd name="connsiteX216" fmla="*/ 577551 w 739378"/>
                <a:gd name="connsiteY216" fmla="*/ 219381 h 482203"/>
                <a:gd name="connsiteX217" fmla="*/ 575687 w 739378"/>
                <a:gd name="connsiteY217" fmla="*/ 228961 h 482203"/>
                <a:gd name="connsiteX218" fmla="*/ 584366 w 739378"/>
                <a:gd name="connsiteY218" fmla="*/ 228961 h 482203"/>
                <a:gd name="connsiteX219" fmla="*/ 607319 w 739378"/>
                <a:gd name="connsiteY219" fmla="*/ 216102 h 482203"/>
                <a:gd name="connsiteX220" fmla="*/ 613298 w 739378"/>
                <a:gd name="connsiteY220" fmla="*/ 215331 h 482203"/>
                <a:gd name="connsiteX221" fmla="*/ 616834 w 739378"/>
                <a:gd name="connsiteY221" fmla="*/ 209930 h 482203"/>
                <a:gd name="connsiteX222" fmla="*/ 640044 w 739378"/>
                <a:gd name="connsiteY222" fmla="*/ 197071 h 482203"/>
                <a:gd name="connsiteX223" fmla="*/ 648017 w 739378"/>
                <a:gd name="connsiteY223" fmla="*/ 188263 h 482203"/>
                <a:gd name="connsiteX224" fmla="*/ 656054 w 739378"/>
                <a:gd name="connsiteY224" fmla="*/ 191477 h 482203"/>
                <a:gd name="connsiteX225" fmla="*/ 664026 w 739378"/>
                <a:gd name="connsiteY225" fmla="*/ 189099 h 482203"/>
                <a:gd name="connsiteX226" fmla="*/ 668848 w 739378"/>
                <a:gd name="connsiteY226" fmla="*/ 184277 h 482203"/>
                <a:gd name="connsiteX227" fmla="*/ 677656 w 739378"/>
                <a:gd name="connsiteY227" fmla="*/ 177847 h 482203"/>
                <a:gd name="connsiteX228" fmla="*/ 684857 w 739378"/>
                <a:gd name="connsiteY228" fmla="*/ 168203 h 482203"/>
                <a:gd name="connsiteX229" fmla="*/ 695273 w 739378"/>
                <a:gd name="connsiteY229" fmla="*/ 172189 h 482203"/>
                <a:gd name="connsiteX230" fmla="*/ 698680 w 739378"/>
                <a:gd name="connsiteY230" fmla="*/ 172704 h 482203"/>
                <a:gd name="connsiteX231" fmla="*/ 701702 w 739378"/>
                <a:gd name="connsiteY231" fmla="*/ 170453 h 482203"/>
                <a:gd name="connsiteX232" fmla="*/ 700866 w 739378"/>
                <a:gd name="connsiteY232" fmla="*/ 158559 h 482203"/>
                <a:gd name="connsiteX233" fmla="*/ 700095 w 739378"/>
                <a:gd name="connsiteY233" fmla="*/ 148272 h 482203"/>
                <a:gd name="connsiteX234" fmla="*/ 701959 w 739378"/>
                <a:gd name="connsiteY234" fmla="*/ 139464 h 482203"/>
                <a:gd name="connsiteX235" fmla="*/ 712182 w 739378"/>
                <a:gd name="connsiteY235" fmla="*/ 134642 h 482203"/>
                <a:gd name="connsiteX236" fmla="*/ 723240 w 739378"/>
                <a:gd name="connsiteY236" fmla="*/ 134642 h 482203"/>
                <a:gd name="connsiteX237" fmla="*/ 729091 w 739378"/>
                <a:gd name="connsiteY237" fmla="*/ 126605 h 482203"/>
                <a:gd name="connsiteX238" fmla="*/ 736485 w 739378"/>
                <a:gd name="connsiteY238" fmla="*/ 117025 h 482203"/>
                <a:gd name="connsiteX239" fmla="*/ 742914 w 739378"/>
                <a:gd name="connsiteY239" fmla="*/ 101209 h 482203"/>
                <a:gd name="connsiteX240" fmla="*/ 742528 w 739378"/>
                <a:gd name="connsiteY240" fmla="*/ 90858 h 48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739378" h="482203">
                  <a:moveTo>
                    <a:pt x="742528" y="90858"/>
                  </a:moveTo>
                  <a:cubicBezTo>
                    <a:pt x="742914" y="84428"/>
                    <a:pt x="735199" y="86486"/>
                    <a:pt x="732627" y="88286"/>
                  </a:cubicBezTo>
                  <a:cubicBezTo>
                    <a:pt x="730055" y="90086"/>
                    <a:pt x="722662" y="88286"/>
                    <a:pt x="720476" y="92722"/>
                  </a:cubicBezTo>
                  <a:cubicBezTo>
                    <a:pt x="718290" y="97159"/>
                    <a:pt x="714625" y="94523"/>
                    <a:pt x="709482" y="95294"/>
                  </a:cubicBezTo>
                  <a:cubicBezTo>
                    <a:pt x="704338" y="96066"/>
                    <a:pt x="696944" y="93815"/>
                    <a:pt x="697330" y="90536"/>
                  </a:cubicBezTo>
                  <a:cubicBezTo>
                    <a:pt x="697716" y="87257"/>
                    <a:pt x="694373" y="84107"/>
                    <a:pt x="694758" y="79864"/>
                  </a:cubicBezTo>
                  <a:cubicBezTo>
                    <a:pt x="695144" y="75620"/>
                    <a:pt x="689615" y="77678"/>
                    <a:pt x="685950" y="73948"/>
                  </a:cubicBezTo>
                  <a:cubicBezTo>
                    <a:pt x="682498" y="70586"/>
                    <a:pt x="677907" y="68631"/>
                    <a:pt x="673091" y="68484"/>
                  </a:cubicBezTo>
                  <a:cubicBezTo>
                    <a:pt x="671677" y="69191"/>
                    <a:pt x="667241" y="64433"/>
                    <a:pt x="661004" y="64047"/>
                  </a:cubicBezTo>
                  <a:cubicBezTo>
                    <a:pt x="654768" y="63662"/>
                    <a:pt x="655475" y="59611"/>
                    <a:pt x="656246" y="57039"/>
                  </a:cubicBezTo>
                  <a:cubicBezTo>
                    <a:pt x="657018" y="54467"/>
                    <a:pt x="651103" y="46431"/>
                    <a:pt x="649817" y="41994"/>
                  </a:cubicBezTo>
                  <a:cubicBezTo>
                    <a:pt x="648531" y="37558"/>
                    <a:pt x="644352" y="36851"/>
                    <a:pt x="642487" y="27336"/>
                  </a:cubicBezTo>
                  <a:cubicBezTo>
                    <a:pt x="640623" y="17820"/>
                    <a:pt x="635544" y="20328"/>
                    <a:pt x="636637" y="15956"/>
                  </a:cubicBezTo>
                  <a:cubicBezTo>
                    <a:pt x="637730" y="11584"/>
                    <a:pt x="630207" y="9526"/>
                    <a:pt x="628536" y="6762"/>
                  </a:cubicBezTo>
                  <a:cubicBezTo>
                    <a:pt x="626864" y="3997"/>
                    <a:pt x="618956" y="5283"/>
                    <a:pt x="613491" y="2325"/>
                  </a:cubicBezTo>
                  <a:cubicBezTo>
                    <a:pt x="608026" y="-632"/>
                    <a:pt x="604683" y="1618"/>
                    <a:pt x="599539" y="139"/>
                  </a:cubicBezTo>
                  <a:cubicBezTo>
                    <a:pt x="593374" y="-272"/>
                    <a:pt x="587176" y="229"/>
                    <a:pt x="581151" y="1618"/>
                  </a:cubicBezTo>
                  <a:cubicBezTo>
                    <a:pt x="575339" y="416"/>
                    <a:pt x="569328" y="2370"/>
                    <a:pt x="565335" y="6762"/>
                  </a:cubicBezTo>
                  <a:cubicBezTo>
                    <a:pt x="560192" y="13705"/>
                    <a:pt x="564242" y="13191"/>
                    <a:pt x="566428" y="13191"/>
                  </a:cubicBezTo>
                  <a:cubicBezTo>
                    <a:pt x="568614" y="13191"/>
                    <a:pt x="569771" y="19620"/>
                    <a:pt x="570093" y="22064"/>
                  </a:cubicBezTo>
                  <a:cubicBezTo>
                    <a:pt x="570414" y="24507"/>
                    <a:pt x="566428" y="27528"/>
                    <a:pt x="564628" y="28493"/>
                  </a:cubicBezTo>
                  <a:cubicBezTo>
                    <a:pt x="561169" y="31753"/>
                    <a:pt x="558526" y="35784"/>
                    <a:pt x="556912" y="40259"/>
                  </a:cubicBezTo>
                  <a:cubicBezTo>
                    <a:pt x="556141" y="43152"/>
                    <a:pt x="550483" y="50546"/>
                    <a:pt x="550998" y="53117"/>
                  </a:cubicBezTo>
                  <a:cubicBezTo>
                    <a:pt x="551512" y="55689"/>
                    <a:pt x="548040" y="58261"/>
                    <a:pt x="545468" y="58582"/>
                  </a:cubicBezTo>
                  <a:cubicBezTo>
                    <a:pt x="541443" y="60492"/>
                    <a:pt x="537534" y="62639"/>
                    <a:pt x="533767" y="65012"/>
                  </a:cubicBezTo>
                  <a:cubicBezTo>
                    <a:pt x="531517" y="65719"/>
                    <a:pt x="522708" y="64240"/>
                    <a:pt x="521615" y="61668"/>
                  </a:cubicBezTo>
                  <a:cubicBezTo>
                    <a:pt x="520992" y="60653"/>
                    <a:pt x="520002" y="59913"/>
                    <a:pt x="518851" y="59611"/>
                  </a:cubicBezTo>
                  <a:lnTo>
                    <a:pt x="508885" y="79478"/>
                  </a:lnTo>
                  <a:lnTo>
                    <a:pt x="508114" y="85907"/>
                  </a:lnTo>
                  <a:cubicBezTo>
                    <a:pt x="508114" y="85907"/>
                    <a:pt x="501684" y="87515"/>
                    <a:pt x="506506" y="92337"/>
                  </a:cubicBezTo>
                  <a:cubicBezTo>
                    <a:pt x="511328" y="97159"/>
                    <a:pt x="512100" y="93172"/>
                    <a:pt x="519365" y="93172"/>
                  </a:cubicBezTo>
                  <a:cubicBezTo>
                    <a:pt x="526630" y="93172"/>
                    <a:pt x="529781" y="98766"/>
                    <a:pt x="531388" y="94780"/>
                  </a:cubicBezTo>
                  <a:cubicBezTo>
                    <a:pt x="532937" y="91192"/>
                    <a:pt x="537097" y="89540"/>
                    <a:pt x="540685" y="91089"/>
                  </a:cubicBezTo>
                  <a:cubicBezTo>
                    <a:pt x="541752" y="91546"/>
                    <a:pt x="542685" y="92266"/>
                    <a:pt x="543411" y="93172"/>
                  </a:cubicBezTo>
                  <a:cubicBezTo>
                    <a:pt x="547397" y="97930"/>
                    <a:pt x="560192" y="106031"/>
                    <a:pt x="559420" y="109953"/>
                  </a:cubicBezTo>
                  <a:cubicBezTo>
                    <a:pt x="558649" y="113875"/>
                    <a:pt x="551383" y="113168"/>
                    <a:pt x="546561" y="111560"/>
                  </a:cubicBezTo>
                  <a:cubicBezTo>
                    <a:pt x="541739" y="109953"/>
                    <a:pt x="535310" y="114775"/>
                    <a:pt x="530552" y="114775"/>
                  </a:cubicBezTo>
                  <a:cubicBezTo>
                    <a:pt x="524811" y="114769"/>
                    <a:pt x="519314" y="117090"/>
                    <a:pt x="515315" y="121204"/>
                  </a:cubicBezTo>
                  <a:cubicBezTo>
                    <a:pt x="510493" y="125962"/>
                    <a:pt x="511328" y="130784"/>
                    <a:pt x="504128" y="131556"/>
                  </a:cubicBezTo>
                  <a:cubicBezTo>
                    <a:pt x="497512" y="131286"/>
                    <a:pt x="491005" y="133279"/>
                    <a:pt x="485675" y="137214"/>
                  </a:cubicBezTo>
                  <a:cubicBezTo>
                    <a:pt x="479754" y="141226"/>
                    <a:pt x="472148" y="141811"/>
                    <a:pt x="465680" y="138757"/>
                  </a:cubicBezTo>
                  <a:cubicBezTo>
                    <a:pt x="461514" y="136314"/>
                    <a:pt x="456158" y="137709"/>
                    <a:pt x="453715" y="141875"/>
                  </a:cubicBezTo>
                  <a:cubicBezTo>
                    <a:pt x="453696" y="141907"/>
                    <a:pt x="453676" y="141939"/>
                    <a:pt x="453657" y="141971"/>
                  </a:cubicBezTo>
                  <a:cubicBezTo>
                    <a:pt x="450442" y="147565"/>
                    <a:pt x="457643" y="150008"/>
                    <a:pt x="456871" y="156373"/>
                  </a:cubicBezTo>
                  <a:cubicBezTo>
                    <a:pt x="456100" y="162738"/>
                    <a:pt x="448063" y="161195"/>
                    <a:pt x="441634" y="168396"/>
                  </a:cubicBezTo>
                  <a:cubicBezTo>
                    <a:pt x="435944" y="174723"/>
                    <a:pt x="427766" y="178252"/>
                    <a:pt x="419260" y="178040"/>
                  </a:cubicBezTo>
                  <a:cubicBezTo>
                    <a:pt x="413666" y="177204"/>
                    <a:pt x="401643" y="173990"/>
                    <a:pt x="391228" y="178812"/>
                  </a:cubicBezTo>
                  <a:cubicBezTo>
                    <a:pt x="380812" y="183634"/>
                    <a:pt x="373611" y="190835"/>
                    <a:pt x="369625" y="189999"/>
                  </a:cubicBezTo>
                  <a:cubicBezTo>
                    <a:pt x="365639" y="189163"/>
                    <a:pt x="365639" y="184405"/>
                    <a:pt x="359981" y="185241"/>
                  </a:cubicBezTo>
                  <a:cubicBezTo>
                    <a:pt x="355442" y="185890"/>
                    <a:pt x="350826" y="184739"/>
                    <a:pt x="347122" y="182026"/>
                  </a:cubicBezTo>
                  <a:cubicBezTo>
                    <a:pt x="343136" y="179583"/>
                    <a:pt x="339921" y="183634"/>
                    <a:pt x="333556" y="178812"/>
                  </a:cubicBezTo>
                  <a:cubicBezTo>
                    <a:pt x="327191" y="173990"/>
                    <a:pt x="315940" y="174825"/>
                    <a:pt x="311118" y="173990"/>
                  </a:cubicBezTo>
                  <a:cubicBezTo>
                    <a:pt x="306296" y="173154"/>
                    <a:pt x="287908" y="173990"/>
                    <a:pt x="281478" y="173218"/>
                  </a:cubicBezTo>
                  <a:cubicBezTo>
                    <a:pt x="275049" y="172447"/>
                    <a:pt x="266305" y="174825"/>
                    <a:pt x="265469" y="171611"/>
                  </a:cubicBezTo>
                  <a:cubicBezTo>
                    <a:pt x="264633" y="168396"/>
                    <a:pt x="259876" y="166017"/>
                    <a:pt x="258268" y="158752"/>
                  </a:cubicBezTo>
                  <a:cubicBezTo>
                    <a:pt x="257735" y="153544"/>
                    <a:pt x="253838" y="149307"/>
                    <a:pt x="248688" y="148336"/>
                  </a:cubicBezTo>
                  <a:cubicBezTo>
                    <a:pt x="244702" y="147501"/>
                    <a:pt x="244188" y="143322"/>
                    <a:pt x="240651" y="142743"/>
                  </a:cubicBezTo>
                  <a:cubicBezTo>
                    <a:pt x="238980" y="142422"/>
                    <a:pt x="236923" y="137085"/>
                    <a:pt x="231329" y="137085"/>
                  </a:cubicBezTo>
                  <a:cubicBezTo>
                    <a:pt x="225736" y="137085"/>
                    <a:pt x="206190" y="134835"/>
                    <a:pt x="203361" y="130270"/>
                  </a:cubicBezTo>
                  <a:cubicBezTo>
                    <a:pt x="200532" y="125705"/>
                    <a:pt x="206190" y="124612"/>
                    <a:pt x="206190" y="120047"/>
                  </a:cubicBezTo>
                  <a:cubicBezTo>
                    <a:pt x="206190" y="115482"/>
                    <a:pt x="209212" y="109374"/>
                    <a:pt x="206962" y="107639"/>
                  </a:cubicBezTo>
                  <a:cubicBezTo>
                    <a:pt x="203869" y="105247"/>
                    <a:pt x="201619" y="101942"/>
                    <a:pt x="200532" y="98187"/>
                  </a:cubicBezTo>
                  <a:cubicBezTo>
                    <a:pt x="198719" y="93655"/>
                    <a:pt x="194675" y="90388"/>
                    <a:pt x="189860" y="89572"/>
                  </a:cubicBezTo>
                  <a:cubicBezTo>
                    <a:pt x="185558" y="88826"/>
                    <a:pt x="181624" y="86679"/>
                    <a:pt x="178673" y="83464"/>
                  </a:cubicBezTo>
                  <a:cubicBezTo>
                    <a:pt x="174815" y="80121"/>
                    <a:pt x="171279" y="80378"/>
                    <a:pt x="169736" y="72020"/>
                  </a:cubicBezTo>
                  <a:cubicBezTo>
                    <a:pt x="169652" y="71518"/>
                    <a:pt x="169523" y="71023"/>
                    <a:pt x="169350" y="70541"/>
                  </a:cubicBezTo>
                  <a:cubicBezTo>
                    <a:pt x="167807" y="70541"/>
                    <a:pt x="165878" y="69769"/>
                    <a:pt x="164592" y="69769"/>
                  </a:cubicBezTo>
                  <a:cubicBezTo>
                    <a:pt x="163306" y="69532"/>
                    <a:pt x="162149" y="68850"/>
                    <a:pt x="161313" y="67841"/>
                  </a:cubicBezTo>
                  <a:cubicBezTo>
                    <a:pt x="160349" y="71312"/>
                    <a:pt x="157006" y="73048"/>
                    <a:pt x="157006" y="75813"/>
                  </a:cubicBezTo>
                  <a:cubicBezTo>
                    <a:pt x="157006" y="78578"/>
                    <a:pt x="155784" y="82693"/>
                    <a:pt x="151669" y="82693"/>
                  </a:cubicBezTo>
                  <a:cubicBezTo>
                    <a:pt x="147554" y="82693"/>
                    <a:pt x="143825" y="85714"/>
                    <a:pt x="143568" y="92079"/>
                  </a:cubicBezTo>
                  <a:cubicBezTo>
                    <a:pt x="143311" y="98444"/>
                    <a:pt x="147104" y="99216"/>
                    <a:pt x="145304" y="102045"/>
                  </a:cubicBezTo>
                  <a:cubicBezTo>
                    <a:pt x="142327" y="105285"/>
                    <a:pt x="137968" y="106886"/>
                    <a:pt x="133603" y="106353"/>
                  </a:cubicBezTo>
                  <a:cubicBezTo>
                    <a:pt x="129841" y="105555"/>
                    <a:pt x="126003" y="105208"/>
                    <a:pt x="122158" y="105324"/>
                  </a:cubicBezTo>
                  <a:cubicBezTo>
                    <a:pt x="118108" y="104810"/>
                    <a:pt x="115086" y="99730"/>
                    <a:pt x="113800" y="105324"/>
                  </a:cubicBezTo>
                  <a:cubicBezTo>
                    <a:pt x="112514" y="110917"/>
                    <a:pt x="104092" y="127441"/>
                    <a:pt x="106149" y="129241"/>
                  </a:cubicBezTo>
                  <a:cubicBezTo>
                    <a:pt x="108206" y="131041"/>
                    <a:pt x="109749" y="135092"/>
                    <a:pt x="106149" y="135092"/>
                  </a:cubicBezTo>
                  <a:cubicBezTo>
                    <a:pt x="103005" y="135439"/>
                    <a:pt x="99848" y="134616"/>
                    <a:pt x="97276" y="132777"/>
                  </a:cubicBezTo>
                  <a:cubicBezTo>
                    <a:pt x="95476" y="130977"/>
                    <a:pt x="89626" y="135285"/>
                    <a:pt x="85575" y="135092"/>
                  </a:cubicBezTo>
                  <a:cubicBezTo>
                    <a:pt x="83646" y="135092"/>
                    <a:pt x="75674" y="138564"/>
                    <a:pt x="78438" y="139914"/>
                  </a:cubicBezTo>
                  <a:cubicBezTo>
                    <a:pt x="81203" y="141264"/>
                    <a:pt x="81203" y="147951"/>
                    <a:pt x="81203" y="150651"/>
                  </a:cubicBezTo>
                  <a:cubicBezTo>
                    <a:pt x="81203" y="153351"/>
                    <a:pt x="87247" y="161710"/>
                    <a:pt x="86154" y="164474"/>
                  </a:cubicBezTo>
                  <a:cubicBezTo>
                    <a:pt x="85061" y="167239"/>
                    <a:pt x="79724" y="170261"/>
                    <a:pt x="79724" y="173797"/>
                  </a:cubicBezTo>
                  <a:cubicBezTo>
                    <a:pt x="79724" y="177333"/>
                    <a:pt x="80817" y="180741"/>
                    <a:pt x="78889" y="181576"/>
                  </a:cubicBezTo>
                  <a:cubicBezTo>
                    <a:pt x="75070" y="183068"/>
                    <a:pt x="71392" y="184894"/>
                    <a:pt x="67894" y="187041"/>
                  </a:cubicBezTo>
                  <a:cubicBezTo>
                    <a:pt x="64873" y="189292"/>
                    <a:pt x="59857" y="189292"/>
                    <a:pt x="58250" y="192571"/>
                  </a:cubicBezTo>
                  <a:cubicBezTo>
                    <a:pt x="56688" y="196570"/>
                    <a:pt x="52502" y="198891"/>
                    <a:pt x="48285" y="198100"/>
                  </a:cubicBezTo>
                  <a:cubicBezTo>
                    <a:pt x="43334" y="197521"/>
                    <a:pt x="40891" y="196685"/>
                    <a:pt x="37033" y="201379"/>
                  </a:cubicBezTo>
                  <a:cubicBezTo>
                    <a:pt x="33176" y="206072"/>
                    <a:pt x="32340" y="204143"/>
                    <a:pt x="29575" y="206329"/>
                  </a:cubicBezTo>
                  <a:cubicBezTo>
                    <a:pt x="26811" y="208515"/>
                    <a:pt x="24046" y="204722"/>
                    <a:pt x="21860" y="203886"/>
                  </a:cubicBezTo>
                  <a:cubicBezTo>
                    <a:pt x="19674" y="203050"/>
                    <a:pt x="16588" y="206329"/>
                    <a:pt x="14402" y="206329"/>
                  </a:cubicBezTo>
                  <a:cubicBezTo>
                    <a:pt x="12216" y="206329"/>
                    <a:pt x="10287" y="209930"/>
                    <a:pt x="7523" y="210766"/>
                  </a:cubicBezTo>
                  <a:cubicBezTo>
                    <a:pt x="4758" y="211601"/>
                    <a:pt x="1993" y="210766"/>
                    <a:pt x="1993" y="214045"/>
                  </a:cubicBezTo>
                  <a:cubicBezTo>
                    <a:pt x="2128" y="216359"/>
                    <a:pt x="1421" y="218642"/>
                    <a:pt x="0" y="220474"/>
                  </a:cubicBezTo>
                  <a:lnTo>
                    <a:pt x="0" y="220474"/>
                  </a:lnTo>
                  <a:lnTo>
                    <a:pt x="1929" y="231275"/>
                  </a:lnTo>
                  <a:cubicBezTo>
                    <a:pt x="1929" y="231275"/>
                    <a:pt x="13759" y="235197"/>
                    <a:pt x="14209" y="239119"/>
                  </a:cubicBezTo>
                  <a:cubicBezTo>
                    <a:pt x="14659" y="243041"/>
                    <a:pt x="16652" y="255836"/>
                    <a:pt x="16652" y="255836"/>
                  </a:cubicBezTo>
                  <a:lnTo>
                    <a:pt x="16652" y="255836"/>
                  </a:lnTo>
                  <a:cubicBezTo>
                    <a:pt x="21410" y="259565"/>
                    <a:pt x="27968" y="263615"/>
                    <a:pt x="27968" y="265030"/>
                  </a:cubicBezTo>
                  <a:cubicBezTo>
                    <a:pt x="28026" y="269164"/>
                    <a:pt x="30559" y="272867"/>
                    <a:pt x="34397" y="274417"/>
                  </a:cubicBezTo>
                  <a:cubicBezTo>
                    <a:pt x="37753" y="275895"/>
                    <a:pt x="41000" y="277612"/>
                    <a:pt x="44106" y="279560"/>
                  </a:cubicBezTo>
                  <a:lnTo>
                    <a:pt x="44620" y="278403"/>
                  </a:lnTo>
                  <a:lnTo>
                    <a:pt x="49506" y="277888"/>
                  </a:lnTo>
                  <a:cubicBezTo>
                    <a:pt x="50535" y="278576"/>
                    <a:pt x="51480" y="279374"/>
                    <a:pt x="52335" y="280267"/>
                  </a:cubicBezTo>
                  <a:cubicBezTo>
                    <a:pt x="55421" y="275426"/>
                    <a:pt x="60680" y="272404"/>
                    <a:pt x="66416" y="272166"/>
                  </a:cubicBezTo>
                  <a:cubicBezTo>
                    <a:pt x="71109" y="272488"/>
                    <a:pt x="81846" y="281039"/>
                    <a:pt x="80689" y="284061"/>
                  </a:cubicBezTo>
                  <a:cubicBezTo>
                    <a:pt x="79531" y="287082"/>
                    <a:pt x="71880" y="298077"/>
                    <a:pt x="68344" y="298912"/>
                  </a:cubicBezTo>
                  <a:cubicBezTo>
                    <a:pt x="66589" y="299266"/>
                    <a:pt x="64802" y="299459"/>
                    <a:pt x="63008" y="299491"/>
                  </a:cubicBezTo>
                  <a:cubicBezTo>
                    <a:pt x="62661" y="300950"/>
                    <a:pt x="62403" y="302436"/>
                    <a:pt x="62236" y="303927"/>
                  </a:cubicBezTo>
                  <a:cubicBezTo>
                    <a:pt x="62236" y="306371"/>
                    <a:pt x="66673" y="310357"/>
                    <a:pt x="69116" y="314664"/>
                  </a:cubicBezTo>
                  <a:cubicBezTo>
                    <a:pt x="71559" y="318972"/>
                    <a:pt x="65194" y="322058"/>
                    <a:pt x="61787" y="319101"/>
                  </a:cubicBezTo>
                  <a:cubicBezTo>
                    <a:pt x="58379" y="316143"/>
                    <a:pt x="56836" y="322058"/>
                    <a:pt x="58829" y="324501"/>
                  </a:cubicBezTo>
                  <a:cubicBezTo>
                    <a:pt x="60822" y="326944"/>
                    <a:pt x="59793" y="333824"/>
                    <a:pt x="63265" y="334338"/>
                  </a:cubicBezTo>
                  <a:cubicBezTo>
                    <a:pt x="66737" y="334853"/>
                    <a:pt x="69695" y="341668"/>
                    <a:pt x="73552" y="341668"/>
                  </a:cubicBezTo>
                  <a:cubicBezTo>
                    <a:pt x="77410" y="341668"/>
                    <a:pt x="80882" y="348097"/>
                    <a:pt x="80882" y="348097"/>
                  </a:cubicBezTo>
                  <a:cubicBezTo>
                    <a:pt x="80882" y="348097"/>
                    <a:pt x="86282" y="351569"/>
                    <a:pt x="86282" y="353498"/>
                  </a:cubicBezTo>
                  <a:cubicBezTo>
                    <a:pt x="86366" y="353749"/>
                    <a:pt x="86366" y="354019"/>
                    <a:pt x="86282" y="354269"/>
                  </a:cubicBezTo>
                  <a:cubicBezTo>
                    <a:pt x="90590" y="353819"/>
                    <a:pt x="93419" y="353691"/>
                    <a:pt x="93933" y="351890"/>
                  </a:cubicBezTo>
                  <a:cubicBezTo>
                    <a:pt x="94448" y="350090"/>
                    <a:pt x="99977" y="349962"/>
                    <a:pt x="103835" y="353819"/>
                  </a:cubicBezTo>
                  <a:cubicBezTo>
                    <a:pt x="107692" y="357677"/>
                    <a:pt x="123123" y="367578"/>
                    <a:pt x="129231" y="372272"/>
                  </a:cubicBezTo>
                  <a:cubicBezTo>
                    <a:pt x="136290" y="377409"/>
                    <a:pt x="144500" y="380720"/>
                    <a:pt x="153148" y="381916"/>
                  </a:cubicBezTo>
                  <a:cubicBezTo>
                    <a:pt x="157841" y="381916"/>
                    <a:pt x="162277" y="385259"/>
                    <a:pt x="169414" y="384937"/>
                  </a:cubicBezTo>
                  <a:cubicBezTo>
                    <a:pt x="170378" y="384867"/>
                    <a:pt x="171343" y="384867"/>
                    <a:pt x="172307" y="384937"/>
                  </a:cubicBezTo>
                  <a:cubicBezTo>
                    <a:pt x="173336" y="383844"/>
                    <a:pt x="175008" y="383780"/>
                    <a:pt x="176358" y="381851"/>
                  </a:cubicBezTo>
                  <a:cubicBezTo>
                    <a:pt x="178287" y="378894"/>
                    <a:pt x="181244" y="384295"/>
                    <a:pt x="180280" y="388281"/>
                  </a:cubicBezTo>
                  <a:cubicBezTo>
                    <a:pt x="179894" y="390132"/>
                    <a:pt x="180145" y="392055"/>
                    <a:pt x="180987" y="393746"/>
                  </a:cubicBezTo>
                  <a:cubicBezTo>
                    <a:pt x="182099" y="392093"/>
                    <a:pt x="183032" y="390325"/>
                    <a:pt x="183752" y="388474"/>
                  </a:cubicBezTo>
                  <a:cubicBezTo>
                    <a:pt x="186259" y="382430"/>
                    <a:pt x="190181" y="382687"/>
                    <a:pt x="192560" y="380758"/>
                  </a:cubicBezTo>
                  <a:cubicBezTo>
                    <a:pt x="194939" y="378830"/>
                    <a:pt x="197575" y="379665"/>
                    <a:pt x="202783" y="382430"/>
                  </a:cubicBezTo>
                  <a:cubicBezTo>
                    <a:pt x="207991" y="385195"/>
                    <a:pt x="209726" y="379537"/>
                    <a:pt x="217120" y="386352"/>
                  </a:cubicBezTo>
                  <a:cubicBezTo>
                    <a:pt x="218496" y="385645"/>
                    <a:pt x="219968" y="385150"/>
                    <a:pt x="221492" y="384873"/>
                  </a:cubicBezTo>
                  <a:cubicBezTo>
                    <a:pt x="222971" y="384873"/>
                    <a:pt x="224900" y="381916"/>
                    <a:pt x="227343" y="379473"/>
                  </a:cubicBezTo>
                  <a:cubicBezTo>
                    <a:pt x="229786" y="377029"/>
                    <a:pt x="229336" y="374072"/>
                    <a:pt x="232293" y="374522"/>
                  </a:cubicBezTo>
                  <a:cubicBezTo>
                    <a:pt x="235251" y="374972"/>
                    <a:pt x="236665" y="371114"/>
                    <a:pt x="243095" y="367643"/>
                  </a:cubicBezTo>
                  <a:cubicBezTo>
                    <a:pt x="249524" y="364171"/>
                    <a:pt x="254861" y="369636"/>
                    <a:pt x="257754" y="367192"/>
                  </a:cubicBezTo>
                  <a:cubicBezTo>
                    <a:pt x="260647" y="364749"/>
                    <a:pt x="264183" y="363720"/>
                    <a:pt x="264183" y="366228"/>
                  </a:cubicBezTo>
                  <a:cubicBezTo>
                    <a:pt x="264183" y="368735"/>
                    <a:pt x="268105" y="371629"/>
                    <a:pt x="269070" y="374522"/>
                  </a:cubicBezTo>
                  <a:cubicBezTo>
                    <a:pt x="270034" y="377415"/>
                    <a:pt x="275113" y="378251"/>
                    <a:pt x="276206" y="378444"/>
                  </a:cubicBezTo>
                  <a:lnTo>
                    <a:pt x="278264" y="377222"/>
                  </a:lnTo>
                  <a:cubicBezTo>
                    <a:pt x="280810" y="375602"/>
                    <a:pt x="284185" y="376348"/>
                    <a:pt x="285812" y="378894"/>
                  </a:cubicBezTo>
                  <a:cubicBezTo>
                    <a:pt x="286172" y="379466"/>
                    <a:pt x="286422" y="380096"/>
                    <a:pt x="286557" y="380758"/>
                  </a:cubicBezTo>
                  <a:cubicBezTo>
                    <a:pt x="286557" y="384102"/>
                    <a:pt x="286557" y="387638"/>
                    <a:pt x="289322" y="387638"/>
                  </a:cubicBezTo>
                  <a:cubicBezTo>
                    <a:pt x="292086" y="387638"/>
                    <a:pt x="294273" y="387638"/>
                    <a:pt x="294273" y="394067"/>
                  </a:cubicBezTo>
                  <a:cubicBezTo>
                    <a:pt x="294273" y="400497"/>
                    <a:pt x="296459" y="406926"/>
                    <a:pt x="291251" y="412262"/>
                  </a:cubicBezTo>
                  <a:cubicBezTo>
                    <a:pt x="286043" y="417599"/>
                    <a:pt x="279935" y="426857"/>
                    <a:pt x="281028" y="429622"/>
                  </a:cubicBezTo>
                  <a:cubicBezTo>
                    <a:pt x="282121" y="432386"/>
                    <a:pt x="279421" y="437594"/>
                    <a:pt x="283278" y="435665"/>
                  </a:cubicBezTo>
                  <a:cubicBezTo>
                    <a:pt x="287136" y="433736"/>
                    <a:pt x="296137" y="435665"/>
                    <a:pt x="294530" y="437851"/>
                  </a:cubicBezTo>
                  <a:cubicBezTo>
                    <a:pt x="292922" y="440037"/>
                    <a:pt x="294851" y="447752"/>
                    <a:pt x="298388" y="448074"/>
                  </a:cubicBezTo>
                  <a:cubicBezTo>
                    <a:pt x="301924" y="448395"/>
                    <a:pt x="304174" y="450260"/>
                    <a:pt x="303081" y="453539"/>
                  </a:cubicBezTo>
                  <a:cubicBezTo>
                    <a:pt x="301988" y="456818"/>
                    <a:pt x="300059" y="461833"/>
                    <a:pt x="303081" y="461833"/>
                  </a:cubicBezTo>
                  <a:cubicBezTo>
                    <a:pt x="306103" y="461833"/>
                    <a:pt x="310539" y="461833"/>
                    <a:pt x="309960" y="465176"/>
                  </a:cubicBezTo>
                  <a:cubicBezTo>
                    <a:pt x="309382" y="468519"/>
                    <a:pt x="312210" y="471605"/>
                    <a:pt x="317676" y="469291"/>
                  </a:cubicBezTo>
                  <a:cubicBezTo>
                    <a:pt x="320955" y="468005"/>
                    <a:pt x="322562" y="466783"/>
                    <a:pt x="323269" y="468133"/>
                  </a:cubicBezTo>
                  <a:cubicBezTo>
                    <a:pt x="325455" y="468133"/>
                    <a:pt x="325648" y="473020"/>
                    <a:pt x="329699" y="473984"/>
                  </a:cubicBezTo>
                  <a:cubicBezTo>
                    <a:pt x="333749" y="474949"/>
                    <a:pt x="331627" y="465626"/>
                    <a:pt x="330149" y="464147"/>
                  </a:cubicBezTo>
                  <a:cubicBezTo>
                    <a:pt x="328670" y="462669"/>
                    <a:pt x="330663" y="456303"/>
                    <a:pt x="332142" y="457718"/>
                  </a:cubicBezTo>
                  <a:cubicBezTo>
                    <a:pt x="333620" y="459132"/>
                    <a:pt x="337992" y="457718"/>
                    <a:pt x="340500" y="454760"/>
                  </a:cubicBezTo>
                  <a:cubicBezTo>
                    <a:pt x="343007" y="451803"/>
                    <a:pt x="347829" y="457204"/>
                    <a:pt x="349823" y="453796"/>
                  </a:cubicBezTo>
                  <a:cubicBezTo>
                    <a:pt x="351816" y="450389"/>
                    <a:pt x="356252" y="456239"/>
                    <a:pt x="360559" y="453796"/>
                  </a:cubicBezTo>
                  <a:cubicBezTo>
                    <a:pt x="364867" y="451353"/>
                    <a:pt x="366989" y="455725"/>
                    <a:pt x="368918" y="452317"/>
                  </a:cubicBezTo>
                  <a:cubicBezTo>
                    <a:pt x="370846" y="448910"/>
                    <a:pt x="377276" y="444473"/>
                    <a:pt x="378755" y="445888"/>
                  </a:cubicBezTo>
                  <a:cubicBezTo>
                    <a:pt x="381127" y="449225"/>
                    <a:pt x="384946" y="451231"/>
                    <a:pt x="389042" y="451289"/>
                  </a:cubicBezTo>
                  <a:cubicBezTo>
                    <a:pt x="396886" y="452253"/>
                    <a:pt x="392449" y="456175"/>
                    <a:pt x="392449" y="458618"/>
                  </a:cubicBezTo>
                  <a:cubicBezTo>
                    <a:pt x="392449" y="461061"/>
                    <a:pt x="401322" y="467491"/>
                    <a:pt x="404729" y="467941"/>
                  </a:cubicBezTo>
                  <a:cubicBezTo>
                    <a:pt x="405751" y="468391"/>
                    <a:pt x="406639" y="469098"/>
                    <a:pt x="407301" y="469998"/>
                  </a:cubicBezTo>
                  <a:cubicBezTo>
                    <a:pt x="409680" y="468841"/>
                    <a:pt x="413731" y="470770"/>
                    <a:pt x="414888" y="467941"/>
                  </a:cubicBezTo>
                  <a:cubicBezTo>
                    <a:pt x="416045" y="465112"/>
                    <a:pt x="420031" y="465562"/>
                    <a:pt x="421317" y="468326"/>
                  </a:cubicBezTo>
                  <a:cubicBezTo>
                    <a:pt x="422603" y="471091"/>
                    <a:pt x="424853" y="471605"/>
                    <a:pt x="428518" y="468326"/>
                  </a:cubicBezTo>
                  <a:cubicBezTo>
                    <a:pt x="432183" y="465048"/>
                    <a:pt x="434047" y="471605"/>
                    <a:pt x="431797" y="473470"/>
                  </a:cubicBezTo>
                  <a:cubicBezTo>
                    <a:pt x="429547" y="475335"/>
                    <a:pt x="431090" y="480992"/>
                    <a:pt x="434562" y="484336"/>
                  </a:cubicBezTo>
                  <a:cubicBezTo>
                    <a:pt x="438033" y="487679"/>
                    <a:pt x="438612" y="482278"/>
                    <a:pt x="437905" y="478999"/>
                  </a:cubicBezTo>
                  <a:cubicBezTo>
                    <a:pt x="437198" y="475720"/>
                    <a:pt x="443756" y="472570"/>
                    <a:pt x="455328" y="468519"/>
                  </a:cubicBezTo>
                  <a:cubicBezTo>
                    <a:pt x="466901" y="464469"/>
                    <a:pt x="479374" y="456175"/>
                    <a:pt x="479567" y="454375"/>
                  </a:cubicBezTo>
                  <a:cubicBezTo>
                    <a:pt x="479760" y="452574"/>
                    <a:pt x="487861" y="457654"/>
                    <a:pt x="491719" y="454760"/>
                  </a:cubicBezTo>
                  <a:cubicBezTo>
                    <a:pt x="495576" y="451867"/>
                    <a:pt x="509528" y="451417"/>
                    <a:pt x="513193" y="451224"/>
                  </a:cubicBezTo>
                  <a:cubicBezTo>
                    <a:pt x="516858" y="451032"/>
                    <a:pt x="516665" y="447945"/>
                    <a:pt x="520587" y="444795"/>
                  </a:cubicBezTo>
                  <a:cubicBezTo>
                    <a:pt x="524509" y="441644"/>
                    <a:pt x="523480" y="440230"/>
                    <a:pt x="527916" y="438944"/>
                  </a:cubicBezTo>
                  <a:cubicBezTo>
                    <a:pt x="531523" y="437980"/>
                    <a:pt x="534281" y="435074"/>
                    <a:pt x="535053" y="431422"/>
                  </a:cubicBezTo>
                  <a:cubicBezTo>
                    <a:pt x="535053" y="429171"/>
                    <a:pt x="543347" y="428464"/>
                    <a:pt x="543540" y="426086"/>
                  </a:cubicBezTo>
                  <a:cubicBezTo>
                    <a:pt x="543732" y="423707"/>
                    <a:pt x="549969" y="422935"/>
                    <a:pt x="549969" y="420042"/>
                  </a:cubicBezTo>
                  <a:cubicBezTo>
                    <a:pt x="549969" y="417149"/>
                    <a:pt x="553634" y="417599"/>
                    <a:pt x="555305" y="415413"/>
                  </a:cubicBezTo>
                  <a:cubicBezTo>
                    <a:pt x="556977" y="413227"/>
                    <a:pt x="554020" y="406797"/>
                    <a:pt x="556977" y="405833"/>
                  </a:cubicBezTo>
                  <a:cubicBezTo>
                    <a:pt x="559934" y="404868"/>
                    <a:pt x="555820" y="401461"/>
                    <a:pt x="555305" y="399789"/>
                  </a:cubicBezTo>
                  <a:cubicBezTo>
                    <a:pt x="554791" y="398118"/>
                    <a:pt x="560835" y="397796"/>
                    <a:pt x="563921" y="395739"/>
                  </a:cubicBezTo>
                  <a:cubicBezTo>
                    <a:pt x="566949" y="393797"/>
                    <a:pt x="569026" y="390673"/>
                    <a:pt x="569643" y="387124"/>
                  </a:cubicBezTo>
                  <a:cubicBezTo>
                    <a:pt x="570157" y="383652"/>
                    <a:pt x="575301" y="380694"/>
                    <a:pt x="577680" y="379601"/>
                  </a:cubicBezTo>
                  <a:cubicBezTo>
                    <a:pt x="580058" y="378508"/>
                    <a:pt x="581023" y="373686"/>
                    <a:pt x="580251" y="369507"/>
                  </a:cubicBezTo>
                  <a:cubicBezTo>
                    <a:pt x="579480" y="365328"/>
                    <a:pt x="584495" y="366357"/>
                    <a:pt x="582309" y="364685"/>
                  </a:cubicBezTo>
                  <a:cubicBezTo>
                    <a:pt x="580123" y="363013"/>
                    <a:pt x="583209" y="358255"/>
                    <a:pt x="587645" y="357163"/>
                  </a:cubicBezTo>
                  <a:cubicBezTo>
                    <a:pt x="592081" y="356070"/>
                    <a:pt x="584880" y="353884"/>
                    <a:pt x="582502" y="355684"/>
                  </a:cubicBezTo>
                  <a:cubicBezTo>
                    <a:pt x="580123" y="357484"/>
                    <a:pt x="577487" y="350412"/>
                    <a:pt x="575301" y="353112"/>
                  </a:cubicBezTo>
                  <a:cubicBezTo>
                    <a:pt x="573115" y="355812"/>
                    <a:pt x="566878" y="351505"/>
                    <a:pt x="570928" y="350540"/>
                  </a:cubicBezTo>
                  <a:cubicBezTo>
                    <a:pt x="575339" y="348663"/>
                    <a:pt x="579634" y="346516"/>
                    <a:pt x="583787" y="344111"/>
                  </a:cubicBezTo>
                  <a:cubicBezTo>
                    <a:pt x="586488" y="343211"/>
                    <a:pt x="579737" y="337167"/>
                    <a:pt x="576201" y="337360"/>
                  </a:cubicBezTo>
                  <a:cubicBezTo>
                    <a:pt x="572665" y="337553"/>
                    <a:pt x="568871" y="329259"/>
                    <a:pt x="565207" y="329259"/>
                  </a:cubicBezTo>
                  <a:cubicBezTo>
                    <a:pt x="561542" y="329259"/>
                    <a:pt x="567971" y="326687"/>
                    <a:pt x="572214" y="328873"/>
                  </a:cubicBezTo>
                  <a:cubicBezTo>
                    <a:pt x="576458" y="331059"/>
                    <a:pt x="581344" y="332924"/>
                    <a:pt x="583209" y="331059"/>
                  </a:cubicBezTo>
                  <a:cubicBezTo>
                    <a:pt x="585073" y="329195"/>
                    <a:pt x="576008" y="321930"/>
                    <a:pt x="572729" y="319358"/>
                  </a:cubicBezTo>
                  <a:cubicBezTo>
                    <a:pt x="569450" y="316786"/>
                    <a:pt x="572729" y="313250"/>
                    <a:pt x="570543" y="311771"/>
                  </a:cubicBezTo>
                  <a:cubicBezTo>
                    <a:pt x="566839" y="306981"/>
                    <a:pt x="563985" y="301587"/>
                    <a:pt x="562120" y="295826"/>
                  </a:cubicBezTo>
                  <a:cubicBezTo>
                    <a:pt x="560642" y="291583"/>
                    <a:pt x="552926" y="290876"/>
                    <a:pt x="551062" y="288111"/>
                  </a:cubicBezTo>
                  <a:cubicBezTo>
                    <a:pt x="549198" y="285346"/>
                    <a:pt x="551062" y="278917"/>
                    <a:pt x="556977" y="276538"/>
                  </a:cubicBezTo>
                  <a:cubicBezTo>
                    <a:pt x="562892" y="274159"/>
                    <a:pt x="560256" y="269402"/>
                    <a:pt x="562828" y="270109"/>
                  </a:cubicBezTo>
                  <a:cubicBezTo>
                    <a:pt x="565399" y="270816"/>
                    <a:pt x="567650" y="269595"/>
                    <a:pt x="569643" y="265351"/>
                  </a:cubicBezTo>
                  <a:cubicBezTo>
                    <a:pt x="571636" y="261108"/>
                    <a:pt x="575172" y="263679"/>
                    <a:pt x="577165" y="261493"/>
                  </a:cubicBezTo>
                  <a:cubicBezTo>
                    <a:pt x="579158" y="259307"/>
                    <a:pt x="588223" y="259436"/>
                    <a:pt x="591310" y="257250"/>
                  </a:cubicBezTo>
                  <a:cubicBezTo>
                    <a:pt x="594396" y="255064"/>
                    <a:pt x="588352" y="248249"/>
                    <a:pt x="584173" y="249342"/>
                  </a:cubicBezTo>
                  <a:cubicBezTo>
                    <a:pt x="579480" y="250467"/>
                    <a:pt x="574593" y="248474"/>
                    <a:pt x="572022" y="244391"/>
                  </a:cubicBezTo>
                  <a:cubicBezTo>
                    <a:pt x="569064" y="240019"/>
                    <a:pt x="561349" y="252492"/>
                    <a:pt x="555498" y="255257"/>
                  </a:cubicBezTo>
                  <a:cubicBezTo>
                    <a:pt x="549647" y="258022"/>
                    <a:pt x="545790" y="250306"/>
                    <a:pt x="547783" y="245292"/>
                  </a:cubicBezTo>
                  <a:cubicBezTo>
                    <a:pt x="549776" y="240276"/>
                    <a:pt x="543218" y="240534"/>
                    <a:pt x="534924" y="240919"/>
                  </a:cubicBezTo>
                  <a:cubicBezTo>
                    <a:pt x="526630" y="241305"/>
                    <a:pt x="529781" y="226196"/>
                    <a:pt x="534924" y="225489"/>
                  </a:cubicBezTo>
                  <a:cubicBezTo>
                    <a:pt x="540068" y="224782"/>
                    <a:pt x="547268" y="230054"/>
                    <a:pt x="550355" y="220860"/>
                  </a:cubicBezTo>
                  <a:cubicBezTo>
                    <a:pt x="553441" y="211666"/>
                    <a:pt x="557877" y="218867"/>
                    <a:pt x="564885" y="210766"/>
                  </a:cubicBezTo>
                  <a:cubicBezTo>
                    <a:pt x="571893" y="202665"/>
                    <a:pt x="579930" y="197907"/>
                    <a:pt x="585973" y="202536"/>
                  </a:cubicBezTo>
                  <a:cubicBezTo>
                    <a:pt x="592017" y="207165"/>
                    <a:pt x="579544" y="214816"/>
                    <a:pt x="577551" y="219381"/>
                  </a:cubicBezTo>
                  <a:cubicBezTo>
                    <a:pt x="575558" y="223946"/>
                    <a:pt x="579415" y="225489"/>
                    <a:pt x="575687" y="228961"/>
                  </a:cubicBezTo>
                  <a:cubicBezTo>
                    <a:pt x="571957" y="232433"/>
                    <a:pt x="577165" y="233397"/>
                    <a:pt x="584366" y="228961"/>
                  </a:cubicBezTo>
                  <a:cubicBezTo>
                    <a:pt x="591631" y="224023"/>
                    <a:pt x="599314" y="219722"/>
                    <a:pt x="607319" y="216102"/>
                  </a:cubicBezTo>
                  <a:cubicBezTo>
                    <a:pt x="609235" y="215427"/>
                    <a:pt x="611273" y="215163"/>
                    <a:pt x="613298" y="215331"/>
                  </a:cubicBezTo>
                  <a:cubicBezTo>
                    <a:pt x="613838" y="213183"/>
                    <a:pt x="615079" y="211280"/>
                    <a:pt x="616834" y="209930"/>
                  </a:cubicBezTo>
                  <a:cubicBezTo>
                    <a:pt x="624987" y="206445"/>
                    <a:pt x="632766" y="202131"/>
                    <a:pt x="640044" y="197071"/>
                  </a:cubicBezTo>
                  <a:cubicBezTo>
                    <a:pt x="642423" y="193921"/>
                    <a:pt x="644866" y="188263"/>
                    <a:pt x="648017" y="188263"/>
                  </a:cubicBezTo>
                  <a:cubicBezTo>
                    <a:pt x="651167" y="188263"/>
                    <a:pt x="651232" y="191477"/>
                    <a:pt x="656054" y="191477"/>
                  </a:cubicBezTo>
                  <a:cubicBezTo>
                    <a:pt x="660876" y="191477"/>
                    <a:pt x="666469" y="193085"/>
                    <a:pt x="664026" y="189099"/>
                  </a:cubicBezTo>
                  <a:cubicBezTo>
                    <a:pt x="661583" y="185112"/>
                    <a:pt x="663255" y="185112"/>
                    <a:pt x="668848" y="184277"/>
                  </a:cubicBezTo>
                  <a:cubicBezTo>
                    <a:pt x="674442" y="183441"/>
                    <a:pt x="673670" y="177847"/>
                    <a:pt x="677656" y="177847"/>
                  </a:cubicBezTo>
                  <a:cubicBezTo>
                    <a:pt x="681642" y="177847"/>
                    <a:pt x="680871" y="168203"/>
                    <a:pt x="684857" y="168203"/>
                  </a:cubicBezTo>
                  <a:cubicBezTo>
                    <a:pt x="688843" y="168203"/>
                    <a:pt x="690451" y="173797"/>
                    <a:pt x="695273" y="172189"/>
                  </a:cubicBezTo>
                  <a:cubicBezTo>
                    <a:pt x="696437" y="171971"/>
                    <a:pt x="697639" y="172151"/>
                    <a:pt x="698680" y="172704"/>
                  </a:cubicBezTo>
                  <a:lnTo>
                    <a:pt x="701702" y="170453"/>
                  </a:lnTo>
                  <a:cubicBezTo>
                    <a:pt x="701779" y="166474"/>
                    <a:pt x="701503" y="162494"/>
                    <a:pt x="700866" y="158559"/>
                  </a:cubicBezTo>
                  <a:cubicBezTo>
                    <a:pt x="699002" y="154123"/>
                    <a:pt x="700866" y="150844"/>
                    <a:pt x="700095" y="148272"/>
                  </a:cubicBezTo>
                  <a:cubicBezTo>
                    <a:pt x="699323" y="145700"/>
                    <a:pt x="699002" y="139464"/>
                    <a:pt x="701959" y="139464"/>
                  </a:cubicBezTo>
                  <a:cubicBezTo>
                    <a:pt x="704917" y="139464"/>
                    <a:pt x="708389" y="132070"/>
                    <a:pt x="712182" y="134642"/>
                  </a:cubicBezTo>
                  <a:cubicBezTo>
                    <a:pt x="715976" y="137214"/>
                    <a:pt x="723240" y="137985"/>
                    <a:pt x="723240" y="134642"/>
                  </a:cubicBezTo>
                  <a:cubicBezTo>
                    <a:pt x="723240" y="131299"/>
                    <a:pt x="728384" y="130977"/>
                    <a:pt x="729091" y="126605"/>
                  </a:cubicBezTo>
                  <a:cubicBezTo>
                    <a:pt x="729798" y="122233"/>
                    <a:pt x="735521" y="121076"/>
                    <a:pt x="736485" y="117025"/>
                  </a:cubicBezTo>
                  <a:cubicBezTo>
                    <a:pt x="737449" y="112975"/>
                    <a:pt x="739443" y="103459"/>
                    <a:pt x="742914" y="101209"/>
                  </a:cubicBezTo>
                  <a:cubicBezTo>
                    <a:pt x="746386" y="98959"/>
                    <a:pt x="742143" y="97480"/>
                    <a:pt x="742528" y="90858"/>
                  </a:cubicBezTo>
                  <a:close/>
                </a:path>
              </a:pathLst>
            </a:custGeom>
            <a:solidFill>
              <a:srgbClr val="FF444E"/>
            </a:solidFill>
            <a:ln w="6429" cap="flat">
              <a:noFill/>
              <a:prstDash val="solid"/>
              <a:miter/>
            </a:ln>
          </p:spPr>
          <p:txBody>
            <a:bodyPr rtlCol="0" anchor="ctr"/>
            <a:lstStyle/>
            <a:p>
              <a:endParaRPr lang="en-GB" sz="2400"/>
            </a:p>
          </p:txBody>
        </p:sp>
        <p:sp>
          <p:nvSpPr>
            <p:cNvPr id="287" name="Freeform 77">
              <a:extLst>
                <a:ext uri="{FF2B5EF4-FFF2-40B4-BE49-F238E27FC236}">
                  <a16:creationId xmlns:a16="http://schemas.microsoft.com/office/drawing/2014/main" id="{544289B3-3671-4468-B7DB-AF282AEF6BEF}"/>
                </a:ext>
              </a:extLst>
            </p:cNvPr>
            <p:cNvSpPr/>
            <p:nvPr/>
          </p:nvSpPr>
          <p:spPr>
            <a:xfrm>
              <a:off x="3463671" y="2690728"/>
              <a:ext cx="70723" cy="25718"/>
            </a:xfrm>
            <a:custGeom>
              <a:avLst/>
              <a:gdLst>
                <a:gd name="connsiteX0" fmla="*/ 92 w 70723"/>
                <a:gd name="connsiteY0" fmla="*/ 22465 h 25717"/>
                <a:gd name="connsiteX1" fmla="*/ 16037 w 70723"/>
                <a:gd name="connsiteY1" fmla="*/ 26322 h 25717"/>
                <a:gd name="connsiteX2" fmla="*/ 33332 w 70723"/>
                <a:gd name="connsiteY2" fmla="*/ 28573 h 25717"/>
                <a:gd name="connsiteX3" fmla="*/ 34232 w 70723"/>
                <a:gd name="connsiteY3" fmla="*/ 29087 h 25717"/>
                <a:gd name="connsiteX4" fmla="*/ 49663 w 70723"/>
                <a:gd name="connsiteY4" fmla="*/ 23558 h 25717"/>
                <a:gd name="connsiteX5" fmla="*/ 75380 w 70723"/>
                <a:gd name="connsiteY5" fmla="*/ 18607 h 25717"/>
                <a:gd name="connsiteX6" fmla="*/ 42333 w 70723"/>
                <a:gd name="connsiteY6" fmla="*/ 4848 h 25717"/>
                <a:gd name="connsiteX7" fmla="*/ 35904 w 70723"/>
                <a:gd name="connsiteY7" fmla="*/ 4398 h 25717"/>
                <a:gd name="connsiteX8" fmla="*/ 16166 w 70723"/>
                <a:gd name="connsiteY8" fmla="*/ 991 h 25717"/>
                <a:gd name="connsiteX9" fmla="*/ 24460 w 70723"/>
                <a:gd name="connsiteY9" fmla="*/ 18028 h 25717"/>
                <a:gd name="connsiteX10" fmla="*/ 92 w 70723"/>
                <a:gd name="connsiteY10" fmla="*/ 22465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723" h="25717">
                  <a:moveTo>
                    <a:pt x="92" y="22465"/>
                  </a:moveTo>
                  <a:cubicBezTo>
                    <a:pt x="-1001" y="25229"/>
                    <a:pt x="7808" y="28894"/>
                    <a:pt x="16037" y="26322"/>
                  </a:cubicBezTo>
                  <a:cubicBezTo>
                    <a:pt x="21849" y="24471"/>
                    <a:pt x="28189" y="25294"/>
                    <a:pt x="33332" y="28573"/>
                  </a:cubicBezTo>
                  <a:lnTo>
                    <a:pt x="34232" y="29087"/>
                  </a:lnTo>
                  <a:cubicBezTo>
                    <a:pt x="38669" y="31273"/>
                    <a:pt x="39762" y="26837"/>
                    <a:pt x="49663" y="23558"/>
                  </a:cubicBezTo>
                  <a:cubicBezTo>
                    <a:pt x="59564" y="20279"/>
                    <a:pt x="75380" y="26322"/>
                    <a:pt x="75380" y="18607"/>
                  </a:cubicBezTo>
                  <a:cubicBezTo>
                    <a:pt x="75380" y="10892"/>
                    <a:pt x="48956" y="2598"/>
                    <a:pt x="42333" y="4848"/>
                  </a:cubicBezTo>
                  <a:cubicBezTo>
                    <a:pt x="40186" y="5247"/>
                    <a:pt x="37974" y="5093"/>
                    <a:pt x="35904" y="4398"/>
                  </a:cubicBezTo>
                  <a:cubicBezTo>
                    <a:pt x="28896" y="2662"/>
                    <a:pt x="20216" y="-2031"/>
                    <a:pt x="16166" y="991"/>
                  </a:cubicBezTo>
                  <a:cubicBezTo>
                    <a:pt x="10701" y="4848"/>
                    <a:pt x="24460" y="13078"/>
                    <a:pt x="24460" y="18028"/>
                  </a:cubicBezTo>
                  <a:cubicBezTo>
                    <a:pt x="24460" y="22979"/>
                    <a:pt x="2471" y="17064"/>
                    <a:pt x="92" y="22465"/>
                  </a:cubicBezTo>
                  <a:close/>
                </a:path>
              </a:pathLst>
            </a:custGeom>
            <a:solidFill>
              <a:srgbClr val="F3AB00"/>
            </a:solidFill>
            <a:ln w="6429" cap="flat">
              <a:solidFill>
                <a:srgbClr val="F3AB00"/>
              </a:solidFill>
              <a:prstDash val="solid"/>
              <a:miter/>
            </a:ln>
          </p:spPr>
          <p:txBody>
            <a:bodyPr rtlCol="0" anchor="ctr"/>
            <a:lstStyle/>
            <a:p>
              <a:endParaRPr lang="en-GB" sz="2400">
                <a:solidFill>
                  <a:srgbClr val="000000"/>
                </a:solidFill>
              </a:endParaRPr>
            </a:p>
          </p:txBody>
        </p:sp>
        <p:sp>
          <p:nvSpPr>
            <p:cNvPr id="288" name="Freeform 78">
              <a:extLst>
                <a:ext uri="{FF2B5EF4-FFF2-40B4-BE49-F238E27FC236}">
                  <a16:creationId xmlns:a16="http://schemas.microsoft.com/office/drawing/2014/main" id="{747AEFA6-442F-4C3B-AB8B-2D1210F3460A}"/>
                </a:ext>
              </a:extLst>
            </p:cNvPr>
            <p:cNvSpPr/>
            <p:nvPr/>
          </p:nvSpPr>
          <p:spPr>
            <a:xfrm>
              <a:off x="2933856" y="2520827"/>
              <a:ext cx="1022270" cy="1202292"/>
            </a:xfrm>
            <a:custGeom>
              <a:avLst/>
              <a:gdLst>
                <a:gd name="connsiteX0" fmla="*/ 1024007 w 1022270"/>
                <a:gd name="connsiteY0" fmla="*/ 497055 h 1202293"/>
                <a:gd name="connsiteX1" fmla="*/ 1013269 w 1022270"/>
                <a:gd name="connsiteY1" fmla="*/ 489918 h 1202293"/>
                <a:gd name="connsiteX2" fmla="*/ 983501 w 1022270"/>
                <a:gd name="connsiteY2" fmla="*/ 473909 h 1202293"/>
                <a:gd name="connsiteX3" fmla="*/ 947111 w 1022270"/>
                <a:gd name="connsiteY3" fmla="*/ 462658 h 1202293"/>
                <a:gd name="connsiteX4" fmla="*/ 922615 w 1022270"/>
                <a:gd name="connsiteY4" fmla="*/ 456872 h 1202293"/>
                <a:gd name="connsiteX5" fmla="*/ 906349 w 1022270"/>
                <a:gd name="connsiteY5" fmla="*/ 464844 h 1202293"/>
                <a:gd name="connsiteX6" fmla="*/ 908792 w 1022270"/>
                <a:gd name="connsiteY6" fmla="*/ 453014 h 1202293"/>
                <a:gd name="connsiteX7" fmla="*/ 879603 w 1022270"/>
                <a:gd name="connsiteY7" fmla="*/ 435333 h 1202293"/>
                <a:gd name="connsiteX8" fmla="*/ 861408 w 1022270"/>
                <a:gd name="connsiteY8" fmla="*/ 440862 h 1202293"/>
                <a:gd name="connsiteX9" fmla="*/ 852599 w 1022270"/>
                <a:gd name="connsiteY9" fmla="*/ 446906 h 1202293"/>
                <a:gd name="connsiteX10" fmla="*/ 846170 w 1022270"/>
                <a:gd name="connsiteY10" fmla="*/ 447228 h 1202293"/>
                <a:gd name="connsiteX11" fmla="*/ 856907 w 1022270"/>
                <a:gd name="connsiteY11" fmla="*/ 432890 h 1202293"/>
                <a:gd name="connsiteX12" fmla="*/ 831833 w 1022270"/>
                <a:gd name="connsiteY12" fmla="*/ 426461 h 1202293"/>
                <a:gd name="connsiteX13" fmla="*/ 823860 w 1022270"/>
                <a:gd name="connsiteY13" fmla="*/ 436105 h 1202293"/>
                <a:gd name="connsiteX14" fmla="*/ 827203 w 1022270"/>
                <a:gd name="connsiteY14" fmla="*/ 425882 h 1202293"/>
                <a:gd name="connsiteX15" fmla="*/ 839548 w 1022270"/>
                <a:gd name="connsiteY15" fmla="*/ 410451 h 1202293"/>
                <a:gd name="connsiteX16" fmla="*/ 829389 w 1022270"/>
                <a:gd name="connsiteY16" fmla="*/ 397207 h 1202293"/>
                <a:gd name="connsiteX17" fmla="*/ 820453 w 1022270"/>
                <a:gd name="connsiteY17" fmla="*/ 373354 h 1202293"/>
                <a:gd name="connsiteX18" fmla="*/ 820453 w 1022270"/>
                <a:gd name="connsiteY18" fmla="*/ 373354 h 1202293"/>
                <a:gd name="connsiteX19" fmla="*/ 799236 w 1022270"/>
                <a:gd name="connsiteY19" fmla="*/ 356766 h 1202293"/>
                <a:gd name="connsiteX20" fmla="*/ 788820 w 1022270"/>
                <a:gd name="connsiteY20" fmla="*/ 353294 h 1202293"/>
                <a:gd name="connsiteX21" fmla="*/ 776411 w 1022270"/>
                <a:gd name="connsiteY21" fmla="*/ 350465 h 1202293"/>
                <a:gd name="connsiteX22" fmla="*/ 760402 w 1022270"/>
                <a:gd name="connsiteY22" fmla="*/ 350465 h 1202293"/>
                <a:gd name="connsiteX23" fmla="*/ 751015 w 1022270"/>
                <a:gd name="connsiteY23" fmla="*/ 350465 h 1202293"/>
                <a:gd name="connsiteX24" fmla="*/ 749794 w 1022270"/>
                <a:gd name="connsiteY24" fmla="*/ 350787 h 1202293"/>
                <a:gd name="connsiteX25" fmla="*/ 738349 w 1022270"/>
                <a:gd name="connsiteY25" fmla="*/ 340564 h 1202293"/>
                <a:gd name="connsiteX26" fmla="*/ 731836 w 1022270"/>
                <a:gd name="connsiteY26" fmla="*/ 334218 h 1202293"/>
                <a:gd name="connsiteX27" fmla="*/ 731920 w 1022270"/>
                <a:gd name="connsiteY27" fmla="*/ 333106 h 1202293"/>
                <a:gd name="connsiteX28" fmla="*/ 719511 w 1022270"/>
                <a:gd name="connsiteY28" fmla="*/ 322626 h 1202293"/>
                <a:gd name="connsiteX29" fmla="*/ 714947 w 1022270"/>
                <a:gd name="connsiteY29" fmla="*/ 319733 h 1202293"/>
                <a:gd name="connsiteX30" fmla="*/ 696880 w 1022270"/>
                <a:gd name="connsiteY30" fmla="*/ 317933 h 1202293"/>
                <a:gd name="connsiteX31" fmla="*/ 700223 w 1022270"/>
                <a:gd name="connsiteY31" fmla="*/ 307710 h 1202293"/>
                <a:gd name="connsiteX32" fmla="*/ 681707 w 1022270"/>
                <a:gd name="connsiteY32" fmla="*/ 300831 h 1202293"/>
                <a:gd name="connsiteX33" fmla="*/ 683378 w 1022270"/>
                <a:gd name="connsiteY33" fmla="*/ 293951 h 1202293"/>
                <a:gd name="connsiteX34" fmla="*/ 672898 w 1022270"/>
                <a:gd name="connsiteY34" fmla="*/ 290929 h 1202293"/>
                <a:gd name="connsiteX35" fmla="*/ 648917 w 1022270"/>
                <a:gd name="connsiteY35" fmla="*/ 299480 h 1202293"/>
                <a:gd name="connsiteX36" fmla="*/ 625514 w 1022270"/>
                <a:gd name="connsiteY36" fmla="*/ 292601 h 1202293"/>
                <a:gd name="connsiteX37" fmla="*/ 609248 w 1022270"/>
                <a:gd name="connsiteY37" fmla="*/ 289836 h 1202293"/>
                <a:gd name="connsiteX38" fmla="*/ 602413 w 1022270"/>
                <a:gd name="connsiteY38" fmla="*/ 280192 h 1202293"/>
                <a:gd name="connsiteX39" fmla="*/ 599604 w 1022270"/>
                <a:gd name="connsiteY39" fmla="*/ 280192 h 1202293"/>
                <a:gd name="connsiteX40" fmla="*/ 589124 w 1022270"/>
                <a:gd name="connsiteY40" fmla="*/ 273313 h 1202293"/>
                <a:gd name="connsiteX41" fmla="*/ 585587 w 1022270"/>
                <a:gd name="connsiteY41" fmla="*/ 281285 h 1202293"/>
                <a:gd name="connsiteX42" fmla="*/ 568742 w 1022270"/>
                <a:gd name="connsiteY42" fmla="*/ 290929 h 1202293"/>
                <a:gd name="connsiteX43" fmla="*/ 572857 w 1022270"/>
                <a:gd name="connsiteY43" fmla="*/ 309124 h 1202293"/>
                <a:gd name="connsiteX44" fmla="*/ 559677 w 1022270"/>
                <a:gd name="connsiteY44" fmla="*/ 304688 h 1202293"/>
                <a:gd name="connsiteX45" fmla="*/ 565142 w 1022270"/>
                <a:gd name="connsiteY45" fmla="*/ 288486 h 1202293"/>
                <a:gd name="connsiteX46" fmla="*/ 563535 w 1022270"/>
                <a:gd name="connsiteY46" fmla="*/ 279871 h 1202293"/>
                <a:gd name="connsiteX47" fmla="*/ 566557 w 1022270"/>
                <a:gd name="connsiteY47" fmla="*/ 277428 h 1202293"/>
                <a:gd name="connsiteX48" fmla="*/ 569578 w 1022270"/>
                <a:gd name="connsiteY48" fmla="*/ 269712 h 1202293"/>
                <a:gd name="connsiteX49" fmla="*/ 555498 w 1022270"/>
                <a:gd name="connsiteY49" fmla="*/ 276142 h 1202293"/>
                <a:gd name="connsiteX50" fmla="*/ 544761 w 1022270"/>
                <a:gd name="connsiteY50" fmla="*/ 282571 h 1202293"/>
                <a:gd name="connsiteX51" fmla="*/ 533445 w 1022270"/>
                <a:gd name="connsiteY51" fmla="*/ 286172 h 1202293"/>
                <a:gd name="connsiteX52" fmla="*/ 527723 w 1022270"/>
                <a:gd name="connsiteY52" fmla="*/ 285336 h 1202293"/>
                <a:gd name="connsiteX53" fmla="*/ 516086 w 1022270"/>
                <a:gd name="connsiteY53" fmla="*/ 296137 h 1202293"/>
                <a:gd name="connsiteX54" fmla="*/ 511714 w 1022270"/>
                <a:gd name="connsiteY54" fmla="*/ 307967 h 1202293"/>
                <a:gd name="connsiteX55" fmla="*/ 499305 w 1022270"/>
                <a:gd name="connsiteY55" fmla="*/ 322305 h 1202293"/>
                <a:gd name="connsiteX56" fmla="*/ 496605 w 1022270"/>
                <a:gd name="connsiteY56" fmla="*/ 322948 h 1202293"/>
                <a:gd name="connsiteX57" fmla="*/ 488825 w 1022270"/>
                <a:gd name="connsiteY57" fmla="*/ 313175 h 1202293"/>
                <a:gd name="connsiteX58" fmla="*/ 471466 w 1022270"/>
                <a:gd name="connsiteY58" fmla="*/ 304945 h 1202293"/>
                <a:gd name="connsiteX59" fmla="*/ 453850 w 1022270"/>
                <a:gd name="connsiteY59" fmla="*/ 311375 h 1202293"/>
                <a:gd name="connsiteX60" fmla="*/ 433983 w 1022270"/>
                <a:gd name="connsiteY60" fmla="*/ 310796 h 1202293"/>
                <a:gd name="connsiteX61" fmla="*/ 427553 w 1022270"/>
                <a:gd name="connsiteY61" fmla="*/ 305074 h 1202293"/>
                <a:gd name="connsiteX62" fmla="*/ 415273 w 1022270"/>
                <a:gd name="connsiteY62" fmla="*/ 289772 h 1202293"/>
                <a:gd name="connsiteX63" fmla="*/ 413537 w 1022270"/>
                <a:gd name="connsiteY63" fmla="*/ 287072 h 1202293"/>
                <a:gd name="connsiteX64" fmla="*/ 416559 w 1022270"/>
                <a:gd name="connsiteY64" fmla="*/ 271127 h 1202293"/>
                <a:gd name="connsiteX65" fmla="*/ 418231 w 1022270"/>
                <a:gd name="connsiteY65" fmla="*/ 249910 h 1202293"/>
                <a:gd name="connsiteX66" fmla="*/ 420995 w 1022270"/>
                <a:gd name="connsiteY66" fmla="*/ 237051 h 1202293"/>
                <a:gd name="connsiteX67" fmla="*/ 420995 w 1022270"/>
                <a:gd name="connsiteY67" fmla="*/ 235830 h 1202293"/>
                <a:gd name="connsiteX68" fmla="*/ 407172 w 1022270"/>
                <a:gd name="connsiteY68" fmla="*/ 226057 h 1202293"/>
                <a:gd name="connsiteX69" fmla="*/ 380748 w 1022270"/>
                <a:gd name="connsiteY69" fmla="*/ 225478 h 1202293"/>
                <a:gd name="connsiteX70" fmla="*/ 357602 w 1022270"/>
                <a:gd name="connsiteY70" fmla="*/ 226893 h 1202293"/>
                <a:gd name="connsiteX71" fmla="*/ 357602 w 1022270"/>
                <a:gd name="connsiteY71" fmla="*/ 226893 h 1202293"/>
                <a:gd name="connsiteX72" fmla="*/ 352587 w 1022270"/>
                <a:gd name="connsiteY72" fmla="*/ 223935 h 1202293"/>
                <a:gd name="connsiteX73" fmla="*/ 356444 w 1022270"/>
                <a:gd name="connsiteY73" fmla="*/ 217506 h 1202293"/>
                <a:gd name="connsiteX74" fmla="*/ 359788 w 1022270"/>
                <a:gd name="connsiteY74" fmla="*/ 196868 h 1202293"/>
                <a:gd name="connsiteX75" fmla="*/ 362552 w 1022270"/>
                <a:gd name="connsiteY75" fmla="*/ 195260 h 1202293"/>
                <a:gd name="connsiteX76" fmla="*/ 362552 w 1022270"/>
                <a:gd name="connsiteY76" fmla="*/ 195260 h 1202293"/>
                <a:gd name="connsiteX77" fmla="*/ 368017 w 1022270"/>
                <a:gd name="connsiteY77" fmla="*/ 178415 h 1202293"/>
                <a:gd name="connsiteX78" fmla="*/ 370268 w 1022270"/>
                <a:gd name="connsiteY78" fmla="*/ 164335 h 1202293"/>
                <a:gd name="connsiteX79" fmla="*/ 377147 w 1022270"/>
                <a:gd name="connsiteY79" fmla="*/ 154112 h 1202293"/>
                <a:gd name="connsiteX80" fmla="*/ 366410 w 1022270"/>
                <a:gd name="connsiteY80" fmla="*/ 151412 h 1202293"/>
                <a:gd name="connsiteX81" fmla="*/ 347122 w 1022270"/>
                <a:gd name="connsiteY81" fmla="*/ 152183 h 1202293"/>
                <a:gd name="connsiteX82" fmla="*/ 331177 w 1022270"/>
                <a:gd name="connsiteY82" fmla="*/ 166521 h 1202293"/>
                <a:gd name="connsiteX83" fmla="*/ 327577 w 1022270"/>
                <a:gd name="connsiteY83" fmla="*/ 177837 h 1202293"/>
                <a:gd name="connsiteX84" fmla="*/ 319347 w 1022270"/>
                <a:gd name="connsiteY84" fmla="*/ 189152 h 1202293"/>
                <a:gd name="connsiteX85" fmla="*/ 309960 w 1022270"/>
                <a:gd name="connsiteY85" fmla="*/ 187738 h 1202293"/>
                <a:gd name="connsiteX86" fmla="*/ 280706 w 1022270"/>
                <a:gd name="connsiteY86" fmla="*/ 194167 h 1202293"/>
                <a:gd name="connsiteX87" fmla="*/ 266690 w 1022270"/>
                <a:gd name="connsiteY87" fmla="*/ 187738 h 1202293"/>
                <a:gd name="connsiteX88" fmla="*/ 259490 w 1022270"/>
                <a:gd name="connsiteY88" fmla="*/ 174879 h 1202293"/>
                <a:gd name="connsiteX89" fmla="*/ 246309 w 1022270"/>
                <a:gd name="connsiteY89" fmla="*/ 158613 h 1202293"/>
                <a:gd name="connsiteX90" fmla="*/ 241616 w 1022270"/>
                <a:gd name="connsiteY90" fmla="*/ 134374 h 1202293"/>
                <a:gd name="connsiteX91" fmla="*/ 245731 w 1022270"/>
                <a:gd name="connsiteY91" fmla="*/ 99655 h 1202293"/>
                <a:gd name="connsiteX92" fmla="*/ 246824 w 1022270"/>
                <a:gd name="connsiteY92" fmla="*/ 94448 h 1202293"/>
                <a:gd name="connsiteX93" fmla="*/ 241680 w 1022270"/>
                <a:gd name="connsiteY93" fmla="*/ 92519 h 1202293"/>
                <a:gd name="connsiteX94" fmla="*/ 224321 w 1022270"/>
                <a:gd name="connsiteY94" fmla="*/ 86089 h 1202293"/>
                <a:gd name="connsiteX95" fmla="*/ 220785 w 1022270"/>
                <a:gd name="connsiteY95" fmla="*/ 78438 h 1202293"/>
                <a:gd name="connsiteX96" fmla="*/ 217827 w 1022270"/>
                <a:gd name="connsiteY96" fmla="*/ 68987 h 1202293"/>
                <a:gd name="connsiteX97" fmla="*/ 206061 w 1022270"/>
                <a:gd name="connsiteY97" fmla="*/ 52207 h 1202293"/>
                <a:gd name="connsiteX98" fmla="*/ 184009 w 1022270"/>
                <a:gd name="connsiteY98" fmla="*/ 39348 h 1202293"/>
                <a:gd name="connsiteX99" fmla="*/ 174236 w 1022270"/>
                <a:gd name="connsiteY99" fmla="*/ 50856 h 1202293"/>
                <a:gd name="connsiteX100" fmla="*/ 159834 w 1022270"/>
                <a:gd name="connsiteY100" fmla="*/ 43463 h 1202293"/>
                <a:gd name="connsiteX101" fmla="*/ 155398 w 1022270"/>
                <a:gd name="connsiteY101" fmla="*/ 35554 h 1202293"/>
                <a:gd name="connsiteX102" fmla="*/ 147490 w 1022270"/>
                <a:gd name="connsiteY102" fmla="*/ 25846 h 1202293"/>
                <a:gd name="connsiteX103" fmla="*/ 133345 w 1022270"/>
                <a:gd name="connsiteY103" fmla="*/ 12987 h 1202293"/>
                <a:gd name="connsiteX104" fmla="*/ 114057 w 1022270"/>
                <a:gd name="connsiteY104" fmla="*/ 12987 h 1202293"/>
                <a:gd name="connsiteX105" fmla="*/ 109942 w 1022270"/>
                <a:gd name="connsiteY105" fmla="*/ 18260 h 1202293"/>
                <a:gd name="connsiteX106" fmla="*/ 74581 w 1022270"/>
                <a:gd name="connsiteY106" fmla="*/ 18581 h 1202293"/>
                <a:gd name="connsiteX107" fmla="*/ 42434 w 1022270"/>
                <a:gd name="connsiteY107" fmla="*/ 7394 h 1202293"/>
                <a:gd name="connsiteX108" fmla="*/ 28611 w 1022270"/>
                <a:gd name="connsiteY108" fmla="*/ 0 h 1202293"/>
                <a:gd name="connsiteX109" fmla="*/ 0 w 1022270"/>
                <a:gd name="connsiteY109" fmla="*/ 3794 h 1202293"/>
                <a:gd name="connsiteX110" fmla="*/ 6429 w 1022270"/>
                <a:gd name="connsiteY110" fmla="*/ 14145 h 1202293"/>
                <a:gd name="connsiteX111" fmla="*/ 16909 w 1022270"/>
                <a:gd name="connsiteY111" fmla="*/ 38383 h 1202293"/>
                <a:gd name="connsiteX112" fmla="*/ 32340 w 1022270"/>
                <a:gd name="connsiteY112" fmla="*/ 50792 h 1202293"/>
                <a:gd name="connsiteX113" fmla="*/ 38383 w 1022270"/>
                <a:gd name="connsiteY113" fmla="*/ 67316 h 1202293"/>
                <a:gd name="connsiteX114" fmla="*/ 28482 w 1022270"/>
                <a:gd name="connsiteY114" fmla="*/ 68151 h 1202293"/>
                <a:gd name="connsiteX115" fmla="*/ 43913 w 1022270"/>
                <a:gd name="connsiteY115" fmla="*/ 79724 h 1202293"/>
                <a:gd name="connsiteX116" fmla="*/ 57414 w 1022270"/>
                <a:gd name="connsiteY116" fmla="*/ 87954 h 1202293"/>
                <a:gd name="connsiteX117" fmla="*/ 60950 w 1022270"/>
                <a:gd name="connsiteY117" fmla="*/ 103384 h 1202293"/>
                <a:gd name="connsiteX118" fmla="*/ 75288 w 1022270"/>
                <a:gd name="connsiteY118" fmla="*/ 116243 h 1202293"/>
                <a:gd name="connsiteX119" fmla="*/ 88532 w 1022270"/>
                <a:gd name="connsiteY119" fmla="*/ 132252 h 1202293"/>
                <a:gd name="connsiteX120" fmla="*/ 94576 w 1022270"/>
                <a:gd name="connsiteY120" fmla="*/ 128395 h 1202293"/>
                <a:gd name="connsiteX121" fmla="*/ 91811 w 1022270"/>
                <a:gd name="connsiteY121" fmla="*/ 118494 h 1202293"/>
                <a:gd name="connsiteX122" fmla="*/ 81332 w 1022270"/>
                <a:gd name="connsiteY122" fmla="*/ 114057 h 1202293"/>
                <a:gd name="connsiteX123" fmla="*/ 78310 w 1022270"/>
                <a:gd name="connsiteY123" fmla="*/ 103063 h 1202293"/>
                <a:gd name="connsiteX124" fmla="*/ 70337 w 1022270"/>
                <a:gd name="connsiteY124" fmla="*/ 85382 h 1202293"/>
                <a:gd name="connsiteX125" fmla="*/ 56578 w 1022270"/>
                <a:gd name="connsiteY125" fmla="*/ 66673 h 1202293"/>
                <a:gd name="connsiteX126" fmla="*/ 46613 w 1022270"/>
                <a:gd name="connsiteY126" fmla="*/ 53171 h 1202293"/>
                <a:gd name="connsiteX127" fmla="*/ 48027 w 1022270"/>
                <a:gd name="connsiteY127" fmla="*/ 46742 h 1202293"/>
                <a:gd name="connsiteX128" fmla="*/ 38383 w 1022270"/>
                <a:gd name="connsiteY128" fmla="*/ 42627 h 1202293"/>
                <a:gd name="connsiteX129" fmla="*/ 31504 w 1022270"/>
                <a:gd name="connsiteY129" fmla="*/ 32983 h 1202293"/>
                <a:gd name="connsiteX130" fmla="*/ 27325 w 1022270"/>
                <a:gd name="connsiteY130" fmla="*/ 14530 h 1202293"/>
                <a:gd name="connsiteX131" fmla="*/ 31761 w 1022270"/>
                <a:gd name="connsiteY131" fmla="*/ 13116 h 1202293"/>
                <a:gd name="connsiteX132" fmla="*/ 36197 w 1022270"/>
                <a:gd name="connsiteY132" fmla="*/ 15302 h 1202293"/>
                <a:gd name="connsiteX133" fmla="*/ 42627 w 1022270"/>
                <a:gd name="connsiteY133" fmla="*/ 18067 h 1202293"/>
                <a:gd name="connsiteX134" fmla="*/ 50921 w 1022270"/>
                <a:gd name="connsiteY134" fmla="*/ 19738 h 1202293"/>
                <a:gd name="connsiteX135" fmla="*/ 53107 w 1022270"/>
                <a:gd name="connsiteY135" fmla="*/ 35426 h 1202293"/>
                <a:gd name="connsiteX136" fmla="*/ 55357 w 1022270"/>
                <a:gd name="connsiteY136" fmla="*/ 49506 h 1202293"/>
                <a:gd name="connsiteX137" fmla="*/ 61143 w 1022270"/>
                <a:gd name="connsiteY137" fmla="*/ 52785 h 1202293"/>
                <a:gd name="connsiteX138" fmla="*/ 69952 w 1022270"/>
                <a:gd name="connsiteY138" fmla="*/ 59986 h 1202293"/>
                <a:gd name="connsiteX139" fmla="*/ 80431 w 1022270"/>
                <a:gd name="connsiteY139" fmla="*/ 67123 h 1202293"/>
                <a:gd name="connsiteX140" fmla="*/ 86475 w 1022270"/>
                <a:gd name="connsiteY140" fmla="*/ 75417 h 1202293"/>
                <a:gd name="connsiteX141" fmla="*/ 95026 w 1022270"/>
                <a:gd name="connsiteY141" fmla="*/ 81846 h 1202293"/>
                <a:gd name="connsiteX142" fmla="*/ 96955 w 1022270"/>
                <a:gd name="connsiteY142" fmla="*/ 89240 h 1202293"/>
                <a:gd name="connsiteX143" fmla="*/ 104670 w 1022270"/>
                <a:gd name="connsiteY143" fmla="*/ 98884 h 1202293"/>
                <a:gd name="connsiteX144" fmla="*/ 114829 w 1022270"/>
                <a:gd name="connsiteY144" fmla="*/ 108271 h 1202293"/>
                <a:gd name="connsiteX145" fmla="*/ 141575 w 1022270"/>
                <a:gd name="connsiteY145" fmla="*/ 138039 h 1202293"/>
                <a:gd name="connsiteX146" fmla="*/ 147618 w 1022270"/>
                <a:gd name="connsiteY146" fmla="*/ 151540 h 1202293"/>
                <a:gd name="connsiteX147" fmla="*/ 147104 w 1022270"/>
                <a:gd name="connsiteY147" fmla="*/ 160606 h 1202293"/>
                <a:gd name="connsiteX148" fmla="*/ 143246 w 1022270"/>
                <a:gd name="connsiteY148" fmla="*/ 165042 h 1202293"/>
                <a:gd name="connsiteX149" fmla="*/ 153148 w 1022270"/>
                <a:gd name="connsiteY149" fmla="*/ 180473 h 1202293"/>
                <a:gd name="connsiteX150" fmla="*/ 171086 w 1022270"/>
                <a:gd name="connsiteY150" fmla="*/ 192624 h 1202293"/>
                <a:gd name="connsiteX151" fmla="*/ 190888 w 1022270"/>
                <a:gd name="connsiteY151" fmla="*/ 198668 h 1202293"/>
                <a:gd name="connsiteX152" fmla="*/ 215448 w 1022270"/>
                <a:gd name="connsiteY152" fmla="*/ 211076 h 1202293"/>
                <a:gd name="connsiteX153" fmla="*/ 243545 w 1022270"/>
                <a:gd name="connsiteY153" fmla="*/ 223228 h 1202293"/>
                <a:gd name="connsiteX154" fmla="*/ 268619 w 1022270"/>
                <a:gd name="connsiteY154" fmla="*/ 221813 h 1202293"/>
                <a:gd name="connsiteX155" fmla="*/ 291251 w 1022270"/>
                <a:gd name="connsiteY155" fmla="*/ 225092 h 1202293"/>
                <a:gd name="connsiteX156" fmla="*/ 304624 w 1022270"/>
                <a:gd name="connsiteY156" fmla="*/ 235508 h 1202293"/>
                <a:gd name="connsiteX157" fmla="*/ 304624 w 1022270"/>
                <a:gd name="connsiteY157" fmla="*/ 235508 h 1202293"/>
                <a:gd name="connsiteX158" fmla="*/ 318254 w 1022270"/>
                <a:gd name="connsiteY158" fmla="*/ 247145 h 1202293"/>
                <a:gd name="connsiteX159" fmla="*/ 335613 w 1022270"/>
                <a:gd name="connsiteY159" fmla="*/ 250231 h 1202293"/>
                <a:gd name="connsiteX160" fmla="*/ 335999 w 1022270"/>
                <a:gd name="connsiteY160" fmla="*/ 250231 h 1202293"/>
                <a:gd name="connsiteX161" fmla="*/ 360109 w 1022270"/>
                <a:gd name="connsiteY161" fmla="*/ 258461 h 1202293"/>
                <a:gd name="connsiteX162" fmla="*/ 364160 w 1022270"/>
                <a:gd name="connsiteY162" fmla="*/ 256854 h 1202293"/>
                <a:gd name="connsiteX163" fmla="*/ 367825 w 1022270"/>
                <a:gd name="connsiteY163" fmla="*/ 256854 h 1202293"/>
                <a:gd name="connsiteX164" fmla="*/ 368982 w 1022270"/>
                <a:gd name="connsiteY164" fmla="*/ 261483 h 1202293"/>
                <a:gd name="connsiteX165" fmla="*/ 370846 w 1022270"/>
                <a:gd name="connsiteY165" fmla="*/ 266176 h 1202293"/>
                <a:gd name="connsiteX166" fmla="*/ 386020 w 1022270"/>
                <a:gd name="connsiteY166" fmla="*/ 280835 h 1202293"/>
                <a:gd name="connsiteX167" fmla="*/ 390263 w 1022270"/>
                <a:gd name="connsiteY167" fmla="*/ 285850 h 1202293"/>
                <a:gd name="connsiteX168" fmla="*/ 389363 w 1022270"/>
                <a:gd name="connsiteY168" fmla="*/ 290736 h 1202293"/>
                <a:gd name="connsiteX169" fmla="*/ 389549 w 1022270"/>
                <a:gd name="connsiteY169" fmla="*/ 299828 h 1202293"/>
                <a:gd name="connsiteX170" fmla="*/ 392642 w 1022270"/>
                <a:gd name="connsiteY170" fmla="*/ 301474 h 1202293"/>
                <a:gd name="connsiteX171" fmla="*/ 399779 w 1022270"/>
                <a:gd name="connsiteY171" fmla="*/ 300123 h 1202293"/>
                <a:gd name="connsiteX172" fmla="*/ 405308 w 1022270"/>
                <a:gd name="connsiteY172" fmla="*/ 304753 h 1202293"/>
                <a:gd name="connsiteX173" fmla="*/ 414116 w 1022270"/>
                <a:gd name="connsiteY173" fmla="*/ 312532 h 1202293"/>
                <a:gd name="connsiteX174" fmla="*/ 421317 w 1022270"/>
                <a:gd name="connsiteY174" fmla="*/ 318961 h 1202293"/>
                <a:gd name="connsiteX175" fmla="*/ 424339 w 1022270"/>
                <a:gd name="connsiteY175" fmla="*/ 318961 h 1202293"/>
                <a:gd name="connsiteX176" fmla="*/ 440284 w 1022270"/>
                <a:gd name="connsiteY176" fmla="*/ 326162 h 1202293"/>
                <a:gd name="connsiteX177" fmla="*/ 449413 w 1022270"/>
                <a:gd name="connsiteY177" fmla="*/ 332206 h 1202293"/>
                <a:gd name="connsiteX178" fmla="*/ 459057 w 1022270"/>
                <a:gd name="connsiteY178" fmla="*/ 329763 h 1202293"/>
                <a:gd name="connsiteX179" fmla="*/ 455457 w 1022270"/>
                <a:gd name="connsiteY179" fmla="*/ 322819 h 1202293"/>
                <a:gd name="connsiteX180" fmla="*/ 461886 w 1022270"/>
                <a:gd name="connsiteY180" fmla="*/ 316775 h 1202293"/>
                <a:gd name="connsiteX181" fmla="*/ 475645 w 1022270"/>
                <a:gd name="connsiteY181" fmla="*/ 312404 h 1202293"/>
                <a:gd name="connsiteX182" fmla="*/ 479246 w 1022270"/>
                <a:gd name="connsiteY182" fmla="*/ 320890 h 1202293"/>
                <a:gd name="connsiteX183" fmla="*/ 486575 w 1022270"/>
                <a:gd name="connsiteY183" fmla="*/ 333749 h 1202293"/>
                <a:gd name="connsiteX184" fmla="*/ 490561 w 1022270"/>
                <a:gd name="connsiteY184" fmla="*/ 337607 h 1202293"/>
                <a:gd name="connsiteX185" fmla="*/ 493004 w 1022270"/>
                <a:gd name="connsiteY185" fmla="*/ 347251 h 1202293"/>
                <a:gd name="connsiteX186" fmla="*/ 493004 w 1022270"/>
                <a:gd name="connsiteY186" fmla="*/ 354130 h 1202293"/>
                <a:gd name="connsiteX187" fmla="*/ 495255 w 1022270"/>
                <a:gd name="connsiteY187" fmla="*/ 373418 h 1202293"/>
                <a:gd name="connsiteX188" fmla="*/ 492490 w 1022270"/>
                <a:gd name="connsiteY188" fmla="*/ 384155 h 1202293"/>
                <a:gd name="connsiteX189" fmla="*/ 482267 w 1022270"/>
                <a:gd name="connsiteY189" fmla="*/ 392449 h 1202293"/>
                <a:gd name="connsiteX190" fmla="*/ 475838 w 1022270"/>
                <a:gd name="connsiteY190" fmla="*/ 400421 h 1202293"/>
                <a:gd name="connsiteX191" fmla="*/ 473331 w 1022270"/>
                <a:gd name="connsiteY191" fmla="*/ 405629 h 1202293"/>
                <a:gd name="connsiteX192" fmla="*/ 473331 w 1022270"/>
                <a:gd name="connsiteY192" fmla="*/ 407301 h 1202293"/>
                <a:gd name="connsiteX193" fmla="*/ 464779 w 1022270"/>
                <a:gd name="connsiteY193" fmla="*/ 411737 h 1202293"/>
                <a:gd name="connsiteX194" fmla="*/ 460665 w 1022270"/>
                <a:gd name="connsiteY194" fmla="*/ 420803 h 1202293"/>
                <a:gd name="connsiteX195" fmla="*/ 455135 w 1022270"/>
                <a:gd name="connsiteY195" fmla="*/ 428261 h 1202293"/>
                <a:gd name="connsiteX196" fmla="*/ 451856 w 1022270"/>
                <a:gd name="connsiteY196" fmla="*/ 434690 h 1202293"/>
                <a:gd name="connsiteX197" fmla="*/ 448275 w 1022270"/>
                <a:gd name="connsiteY197" fmla="*/ 441640 h 1202293"/>
                <a:gd name="connsiteX198" fmla="*/ 449092 w 1022270"/>
                <a:gd name="connsiteY198" fmla="*/ 443241 h 1202293"/>
                <a:gd name="connsiteX199" fmla="*/ 448256 w 1022270"/>
                <a:gd name="connsiteY199" fmla="*/ 451471 h 1202293"/>
                <a:gd name="connsiteX200" fmla="*/ 455393 w 1022270"/>
                <a:gd name="connsiteY200" fmla="*/ 457900 h 1202293"/>
                <a:gd name="connsiteX201" fmla="*/ 461501 w 1022270"/>
                <a:gd name="connsiteY201" fmla="*/ 459250 h 1202293"/>
                <a:gd name="connsiteX202" fmla="*/ 457977 w 1022270"/>
                <a:gd name="connsiteY202" fmla="*/ 466638 h 1202293"/>
                <a:gd name="connsiteX203" fmla="*/ 455971 w 1022270"/>
                <a:gd name="connsiteY203" fmla="*/ 466966 h 1202293"/>
                <a:gd name="connsiteX204" fmla="*/ 454943 w 1022270"/>
                <a:gd name="connsiteY204" fmla="*/ 466966 h 1202293"/>
                <a:gd name="connsiteX205" fmla="*/ 444656 w 1022270"/>
                <a:gd name="connsiteY205" fmla="*/ 477831 h 1202293"/>
                <a:gd name="connsiteX206" fmla="*/ 449349 w 1022270"/>
                <a:gd name="connsiteY206" fmla="*/ 494933 h 1202293"/>
                <a:gd name="connsiteX207" fmla="*/ 445491 w 1022270"/>
                <a:gd name="connsiteY207" fmla="*/ 498212 h 1202293"/>
                <a:gd name="connsiteX208" fmla="*/ 458993 w 1022270"/>
                <a:gd name="connsiteY208" fmla="*/ 508949 h 1202293"/>
                <a:gd name="connsiteX209" fmla="*/ 471402 w 1022270"/>
                <a:gd name="connsiteY209" fmla="*/ 526052 h 1202293"/>
                <a:gd name="connsiteX210" fmla="*/ 480210 w 1022270"/>
                <a:gd name="connsiteY210" fmla="*/ 545340 h 1202293"/>
                <a:gd name="connsiteX211" fmla="*/ 499498 w 1022270"/>
                <a:gd name="connsiteY211" fmla="*/ 581987 h 1202293"/>
                <a:gd name="connsiteX212" fmla="*/ 506956 w 1022270"/>
                <a:gd name="connsiteY212" fmla="*/ 597932 h 1202293"/>
                <a:gd name="connsiteX213" fmla="*/ 511650 w 1022270"/>
                <a:gd name="connsiteY213" fmla="*/ 609248 h 1202293"/>
                <a:gd name="connsiteX214" fmla="*/ 530938 w 1022270"/>
                <a:gd name="connsiteY214" fmla="*/ 623007 h 1202293"/>
                <a:gd name="connsiteX215" fmla="*/ 566749 w 1022270"/>
                <a:gd name="connsiteY215" fmla="*/ 645059 h 1202293"/>
                <a:gd name="connsiteX216" fmla="*/ 581665 w 1022270"/>
                <a:gd name="connsiteY216" fmla="*/ 656375 h 1202293"/>
                <a:gd name="connsiteX217" fmla="*/ 582373 w 1022270"/>
                <a:gd name="connsiteY217" fmla="*/ 658690 h 1202293"/>
                <a:gd name="connsiteX218" fmla="*/ 582373 w 1022270"/>
                <a:gd name="connsiteY218" fmla="*/ 669877 h 1202293"/>
                <a:gd name="connsiteX219" fmla="*/ 583209 w 1022270"/>
                <a:gd name="connsiteY219" fmla="*/ 702024 h 1202293"/>
                <a:gd name="connsiteX220" fmla="*/ 578194 w 1022270"/>
                <a:gd name="connsiteY220" fmla="*/ 720797 h 1202293"/>
                <a:gd name="connsiteX221" fmla="*/ 579865 w 1022270"/>
                <a:gd name="connsiteY221" fmla="*/ 727934 h 1202293"/>
                <a:gd name="connsiteX222" fmla="*/ 578515 w 1022270"/>
                <a:gd name="connsiteY222" fmla="*/ 744457 h 1202293"/>
                <a:gd name="connsiteX223" fmla="*/ 572986 w 1022270"/>
                <a:gd name="connsiteY223" fmla="*/ 772875 h 1202293"/>
                <a:gd name="connsiteX224" fmla="*/ 569707 w 1022270"/>
                <a:gd name="connsiteY224" fmla="*/ 785734 h 1202293"/>
                <a:gd name="connsiteX225" fmla="*/ 564178 w 1022270"/>
                <a:gd name="connsiteY225" fmla="*/ 796471 h 1202293"/>
                <a:gd name="connsiteX226" fmla="*/ 568871 w 1022270"/>
                <a:gd name="connsiteY226" fmla="*/ 811387 h 1202293"/>
                <a:gd name="connsiteX227" fmla="*/ 564178 w 1022270"/>
                <a:gd name="connsiteY227" fmla="*/ 824889 h 1202293"/>
                <a:gd name="connsiteX228" fmla="*/ 564178 w 1022270"/>
                <a:gd name="connsiteY228" fmla="*/ 852149 h 1202293"/>
                <a:gd name="connsiteX229" fmla="*/ 561413 w 1022270"/>
                <a:gd name="connsiteY229" fmla="*/ 860701 h 1202293"/>
                <a:gd name="connsiteX230" fmla="*/ 556977 w 1022270"/>
                <a:gd name="connsiteY230" fmla="*/ 876131 h 1202293"/>
                <a:gd name="connsiteX231" fmla="*/ 547333 w 1022270"/>
                <a:gd name="connsiteY231" fmla="*/ 902620 h 1202293"/>
                <a:gd name="connsiteX232" fmla="*/ 541546 w 1022270"/>
                <a:gd name="connsiteY232" fmla="*/ 912521 h 1202293"/>
                <a:gd name="connsiteX233" fmla="*/ 539939 w 1022270"/>
                <a:gd name="connsiteY233" fmla="*/ 921587 h 1202293"/>
                <a:gd name="connsiteX234" fmla="*/ 541546 w 1022270"/>
                <a:gd name="connsiteY234" fmla="*/ 937339 h 1202293"/>
                <a:gd name="connsiteX235" fmla="*/ 542125 w 1022270"/>
                <a:gd name="connsiteY235" fmla="*/ 950197 h 1202293"/>
                <a:gd name="connsiteX236" fmla="*/ 538267 w 1022270"/>
                <a:gd name="connsiteY236" fmla="*/ 960677 h 1202293"/>
                <a:gd name="connsiteX237" fmla="*/ 536596 w 1022270"/>
                <a:gd name="connsiteY237" fmla="*/ 975272 h 1202293"/>
                <a:gd name="connsiteX238" fmla="*/ 535503 w 1022270"/>
                <a:gd name="connsiteY238" fmla="*/ 982730 h 1202293"/>
                <a:gd name="connsiteX239" fmla="*/ 530295 w 1022270"/>
                <a:gd name="connsiteY239" fmla="*/ 996232 h 1202293"/>
                <a:gd name="connsiteX240" fmla="*/ 536081 w 1022270"/>
                <a:gd name="connsiteY240" fmla="*/ 1004461 h 1202293"/>
                <a:gd name="connsiteX241" fmla="*/ 541546 w 1022270"/>
                <a:gd name="connsiteY241" fmla="*/ 982152 h 1202293"/>
                <a:gd name="connsiteX242" fmla="*/ 546240 w 1022270"/>
                <a:gd name="connsiteY242" fmla="*/ 977458 h 1202293"/>
                <a:gd name="connsiteX243" fmla="*/ 549583 w 1022270"/>
                <a:gd name="connsiteY243" fmla="*/ 982152 h 1202293"/>
                <a:gd name="connsiteX244" fmla="*/ 550419 w 1022270"/>
                <a:gd name="connsiteY244" fmla="*/ 987681 h 1202293"/>
                <a:gd name="connsiteX245" fmla="*/ 549261 w 1022270"/>
                <a:gd name="connsiteY245" fmla="*/ 998161 h 1202293"/>
                <a:gd name="connsiteX246" fmla="*/ 546240 w 1022270"/>
                <a:gd name="connsiteY246" fmla="*/ 1008062 h 1202293"/>
                <a:gd name="connsiteX247" fmla="*/ 544054 w 1022270"/>
                <a:gd name="connsiteY247" fmla="*/ 1016034 h 1202293"/>
                <a:gd name="connsiteX248" fmla="*/ 544568 w 1022270"/>
                <a:gd name="connsiteY248" fmla="*/ 1022078 h 1202293"/>
                <a:gd name="connsiteX249" fmla="*/ 544568 w 1022270"/>
                <a:gd name="connsiteY249" fmla="*/ 1027350 h 1202293"/>
                <a:gd name="connsiteX250" fmla="*/ 545147 w 1022270"/>
                <a:gd name="connsiteY250" fmla="*/ 1034808 h 1202293"/>
                <a:gd name="connsiteX251" fmla="*/ 538717 w 1022270"/>
                <a:gd name="connsiteY251" fmla="*/ 1038344 h 1202293"/>
                <a:gd name="connsiteX252" fmla="*/ 539810 w 1022270"/>
                <a:gd name="connsiteY252" fmla="*/ 1046638 h 1202293"/>
                <a:gd name="connsiteX253" fmla="*/ 531838 w 1022270"/>
                <a:gd name="connsiteY253" fmla="*/ 1043359 h 1202293"/>
                <a:gd name="connsiteX254" fmla="*/ 537367 w 1022270"/>
                <a:gd name="connsiteY254" fmla="*/ 1035065 h 1202293"/>
                <a:gd name="connsiteX255" fmla="*/ 530938 w 1022270"/>
                <a:gd name="connsiteY255" fmla="*/ 1025936 h 1202293"/>
                <a:gd name="connsiteX256" fmla="*/ 535053 w 1022270"/>
                <a:gd name="connsiteY256" fmla="*/ 1035901 h 1202293"/>
                <a:gd name="connsiteX257" fmla="*/ 528623 w 1022270"/>
                <a:gd name="connsiteY257" fmla="*/ 1038923 h 1202293"/>
                <a:gd name="connsiteX258" fmla="*/ 521487 w 1022270"/>
                <a:gd name="connsiteY258" fmla="*/ 1044130 h 1202293"/>
                <a:gd name="connsiteX259" fmla="*/ 522001 w 1022270"/>
                <a:gd name="connsiteY259" fmla="*/ 1050239 h 1202293"/>
                <a:gd name="connsiteX260" fmla="*/ 514286 w 1022270"/>
                <a:gd name="connsiteY260" fmla="*/ 1057632 h 1202293"/>
                <a:gd name="connsiteX261" fmla="*/ 517372 w 1022270"/>
                <a:gd name="connsiteY261" fmla="*/ 1058211 h 1202293"/>
                <a:gd name="connsiteX262" fmla="*/ 523158 w 1022270"/>
                <a:gd name="connsiteY262" fmla="*/ 1058211 h 1202293"/>
                <a:gd name="connsiteX263" fmla="*/ 530295 w 1022270"/>
                <a:gd name="connsiteY263" fmla="*/ 1059047 h 1202293"/>
                <a:gd name="connsiteX264" fmla="*/ 531388 w 1022270"/>
                <a:gd name="connsiteY264" fmla="*/ 1065476 h 1202293"/>
                <a:gd name="connsiteX265" fmla="*/ 527530 w 1022270"/>
                <a:gd name="connsiteY265" fmla="*/ 1073191 h 1202293"/>
                <a:gd name="connsiteX266" fmla="*/ 539103 w 1022270"/>
                <a:gd name="connsiteY266" fmla="*/ 1074349 h 1202293"/>
                <a:gd name="connsiteX267" fmla="*/ 539425 w 1022270"/>
                <a:gd name="connsiteY267" fmla="*/ 1079299 h 1202293"/>
                <a:gd name="connsiteX268" fmla="*/ 531131 w 1022270"/>
                <a:gd name="connsiteY268" fmla="*/ 1077371 h 1202293"/>
                <a:gd name="connsiteX269" fmla="*/ 523673 w 1022270"/>
                <a:gd name="connsiteY269" fmla="*/ 1077885 h 1202293"/>
                <a:gd name="connsiteX270" fmla="*/ 515443 w 1022270"/>
                <a:gd name="connsiteY270" fmla="*/ 1084829 h 1202293"/>
                <a:gd name="connsiteX271" fmla="*/ 520072 w 1022270"/>
                <a:gd name="connsiteY271" fmla="*/ 1090293 h 1202293"/>
                <a:gd name="connsiteX272" fmla="*/ 526180 w 1022270"/>
                <a:gd name="connsiteY272" fmla="*/ 1086436 h 1202293"/>
                <a:gd name="connsiteX273" fmla="*/ 531388 w 1022270"/>
                <a:gd name="connsiteY273" fmla="*/ 1087015 h 1202293"/>
                <a:gd name="connsiteX274" fmla="*/ 524958 w 1022270"/>
                <a:gd name="connsiteY274" fmla="*/ 1092223 h 1202293"/>
                <a:gd name="connsiteX275" fmla="*/ 518529 w 1022270"/>
                <a:gd name="connsiteY275" fmla="*/ 1099680 h 1202293"/>
                <a:gd name="connsiteX276" fmla="*/ 517629 w 1022270"/>
                <a:gd name="connsiteY276" fmla="*/ 1103763 h 1202293"/>
                <a:gd name="connsiteX277" fmla="*/ 521294 w 1022270"/>
                <a:gd name="connsiteY277" fmla="*/ 1104888 h 1202293"/>
                <a:gd name="connsiteX278" fmla="*/ 524315 w 1022270"/>
                <a:gd name="connsiteY278" fmla="*/ 1108746 h 1202293"/>
                <a:gd name="connsiteX279" fmla="*/ 528173 w 1022270"/>
                <a:gd name="connsiteY279" fmla="*/ 1103795 h 1202293"/>
                <a:gd name="connsiteX280" fmla="*/ 533381 w 1022270"/>
                <a:gd name="connsiteY280" fmla="*/ 1098009 h 1202293"/>
                <a:gd name="connsiteX281" fmla="*/ 531709 w 1022270"/>
                <a:gd name="connsiteY281" fmla="*/ 1106817 h 1202293"/>
                <a:gd name="connsiteX282" fmla="*/ 529780 w 1022270"/>
                <a:gd name="connsiteY282" fmla="*/ 1116204 h 1202293"/>
                <a:gd name="connsiteX283" fmla="*/ 526502 w 1022270"/>
                <a:gd name="connsiteY283" fmla="*/ 1120897 h 1202293"/>
                <a:gd name="connsiteX284" fmla="*/ 522387 w 1022270"/>
                <a:gd name="connsiteY284" fmla="*/ 1124176 h 1202293"/>
                <a:gd name="connsiteX285" fmla="*/ 522065 w 1022270"/>
                <a:gd name="connsiteY285" fmla="*/ 1131635 h 1202293"/>
                <a:gd name="connsiteX286" fmla="*/ 528495 w 1022270"/>
                <a:gd name="connsiteY286" fmla="*/ 1129705 h 1202293"/>
                <a:gd name="connsiteX287" fmla="*/ 534924 w 1022270"/>
                <a:gd name="connsiteY287" fmla="*/ 1129705 h 1202293"/>
                <a:gd name="connsiteX288" fmla="*/ 537367 w 1022270"/>
                <a:gd name="connsiteY288" fmla="*/ 1133885 h 1202293"/>
                <a:gd name="connsiteX289" fmla="*/ 531581 w 1022270"/>
                <a:gd name="connsiteY289" fmla="*/ 1139671 h 1202293"/>
                <a:gd name="connsiteX290" fmla="*/ 539039 w 1022270"/>
                <a:gd name="connsiteY290" fmla="*/ 1140443 h 1202293"/>
                <a:gd name="connsiteX291" fmla="*/ 543218 w 1022270"/>
                <a:gd name="connsiteY291" fmla="*/ 1139093 h 1202293"/>
                <a:gd name="connsiteX292" fmla="*/ 551190 w 1022270"/>
                <a:gd name="connsiteY292" fmla="*/ 1141857 h 1202293"/>
                <a:gd name="connsiteX293" fmla="*/ 540132 w 1022270"/>
                <a:gd name="connsiteY293" fmla="*/ 1146293 h 1202293"/>
                <a:gd name="connsiteX294" fmla="*/ 536596 w 1022270"/>
                <a:gd name="connsiteY294" fmla="*/ 1153687 h 1202293"/>
                <a:gd name="connsiteX295" fmla="*/ 545661 w 1022270"/>
                <a:gd name="connsiteY295" fmla="*/ 1150665 h 1202293"/>
                <a:gd name="connsiteX296" fmla="*/ 564949 w 1022270"/>
                <a:gd name="connsiteY296" fmla="*/ 1151758 h 1202293"/>
                <a:gd name="connsiteX297" fmla="*/ 557234 w 1022270"/>
                <a:gd name="connsiteY297" fmla="*/ 1154266 h 1202293"/>
                <a:gd name="connsiteX298" fmla="*/ 549519 w 1022270"/>
                <a:gd name="connsiteY298" fmla="*/ 1155616 h 1202293"/>
                <a:gd name="connsiteX299" fmla="*/ 542639 w 1022270"/>
                <a:gd name="connsiteY299" fmla="*/ 1160052 h 1202293"/>
                <a:gd name="connsiteX300" fmla="*/ 542639 w 1022270"/>
                <a:gd name="connsiteY300" fmla="*/ 1165003 h 1202293"/>
                <a:gd name="connsiteX301" fmla="*/ 553955 w 1022270"/>
                <a:gd name="connsiteY301" fmla="*/ 1160309 h 1202293"/>
                <a:gd name="connsiteX302" fmla="*/ 567971 w 1022270"/>
                <a:gd name="connsiteY302" fmla="*/ 1157545 h 1202293"/>
                <a:gd name="connsiteX303" fmla="*/ 558648 w 1022270"/>
                <a:gd name="connsiteY303" fmla="*/ 1162817 h 1202293"/>
                <a:gd name="connsiteX304" fmla="*/ 552219 w 1022270"/>
                <a:gd name="connsiteY304" fmla="*/ 1168861 h 1202293"/>
                <a:gd name="connsiteX305" fmla="*/ 538974 w 1022270"/>
                <a:gd name="connsiteY305" fmla="*/ 1167189 h 1202293"/>
                <a:gd name="connsiteX306" fmla="*/ 540389 w 1022270"/>
                <a:gd name="connsiteY306" fmla="*/ 1175483 h 1202293"/>
                <a:gd name="connsiteX307" fmla="*/ 551126 w 1022270"/>
                <a:gd name="connsiteY307" fmla="*/ 1177926 h 1202293"/>
                <a:gd name="connsiteX308" fmla="*/ 559098 w 1022270"/>
                <a:gd name="connsiteY308" fmla="*/ 1181269 h 1202293"/>
                <a:gd name="connsiteX309" fmla="*/ 556912 w 1022270"/>
                <a:gd name="connsiteY309" fmla="*/ 1177154 h 1202293"/>
                <a:gd name="connsiteX310" fmla="*/ 561863 w 1022270"/>
                <a:gd name="connsiteY310" fmla="*/ 1173554 h 1202293"/>
                <a:gd name="connsiteX311" fmla="*/ 571276 w 1022270"/>
                <a:gd name="connsiteY311" fmla="*/ 1169909 h 1202293"/>
                <a:gd name="connsiteX312" fmla="*/ 571507 w 1022270"/>
                <a:gd name="connsiteY312" fmla="*/ 1164746 h 1202293"/>
                <a:gd name="connsiteX313" fmla="*/ 582501 w 1022270"/>
                <a:gd name="connsiteY313" fmla="*/ 1152851 h 1202293"/>
                <a:gd name="connsiteX314" fmla="*/ 580894 w 1022270"/>
                <a:gd name="connsiteY314" fmla="*/ 1159281 h 1202293"/>
                <a:gd name="connsiteX315" fmla="*/ 578965 w 1022270"/>
                <a:gd name="connsiteY315" fmla="*/ 1166417 h 1202293"/>
                <a:gd name="connsiteX316" fmla="*/ 590217 w 1022270"/>
                <a:gd name="connsiteY316" fmla="*/ 1166996 h 1202293"/>
                <a:gd name="connsiteX317" fmla="*/ 583337 w 1022270"/>
                <a:gd name="connsiteY317" fmla="*/ 1172525 h 1202293"/>
                <a:gd name="connsiteX318" fmla="*/ 583916 w 1022270"/>
                <a:gd name="connsiteY318" fmla="*/ 1181334 h 1202293"/>
                <a:gd name="connsiteX319" fmla="*/ 578644 w 1022270"/>
                <a:gd name="connsiteY319" fmla="*/ 1171111 h 1202293"/>
                <a:gd name="connsiteX320" fmla="*/ 576201 w 1022270"/>
                <a:gd name="connsiteY320" fmla="*/ 1178826 h 1202293"/>
                <a:gd name="connsiteX321" fmla="*/ 570157 w 1022270"/>
                <a:gd name="connsiteY321" fmla="*/ 1176640 h 1202293"/>
                <a:gd name="connsiteX322" fmla="*/ 566814 w 1022270"/>
                <a:gd name="connsiteY322" fmla="*/ 1181334 h 1202293"/>
                <a:gd name="connsiteX323" fmla="*/ 560384 w 1022270"/>
                <a:gd name="connsiteY323" fmla="*/ 1186284 h 1202293"/>
                <a:gd name="connsiteX324" fmla="*/ 569450 w 1022270"/>
                <a:gd name="connsiteY324" fmla="*/ 1188213 h 1202293"/>
                <a:gd name="connsiteX325" fmla="*/ 575879 w 1022270"/>
                <a:gd name="connsiteY325" fmla="*/ 1199207 h 1202293"/>
                <a:gd name="connsiteX326" fmla="*/ 580251 w 1022270"/>
                <a:gd name="connsiteY326" fmla="*/ 1189563 h 1202293"/>
                <a:gd name="connsiteX327" fmla="*/ 589059 w 1022270"/>
                <a:gd name="connsiteY327" fmla="*/ 1201136 h 1202293"/>
                <a:gd name="connsiteX328" fmla="*/ 593496 w 1022270"/>
                <a:gd name="connsiteY328" fmla="*/ 1196764 h 1202293"/>
                <a:gd name="connsiteX329" fmla="*/ 606354 w 1022270"/>
                <a:gd name="connsiteY329" fmla="*/ 1206086 h 1202293"/>
                <a:gd name="connsiteX330" fmla="*/ 604747 w 1022270"/>
                <a:gd name="connsiteY330" fmla="*/ 1197857 h 1202293"/>
                <a:gd name="connsiteX331" fmla="*/ 611884 w 1022270"/>
                <a:gd name="connsiteY331" fmla="*/ 1197857 h 1202293"/>
                <a:gd name="connsiteX332" fmla="*/ 620177 w 1022270"/>
                <a:gd name="connsiteY332" fmla="*/ 1196764 h 1202293"/>
                <a:gd name="connsiteX333" fmla="*/ 622235 w 1022270"/>
                <a:gd name="connsiteY333" fmla="*/ 1195928 h 1202293"/>
                <a:gd name="connsiteX334" fmla="*/ 627893 w 1022270"/>
                <a:gd name="connsiteY334" fmla="*/ 1195928 h 1202293"/>
                <a:gd name="connsiteX335" fmla="*/ 643323 w 1022270"/>
                <a:gd name="connsiteY335" fmla="*/ 1191813 h 1202293"/>
                <a:gd name="connsiteX336" fmla="*/ 635029 w 1022270"/>
                <a:gd name="connsiteY336" fmla="*/ 1187892 h 1202293"/>
                <a:gd name="connsiteX337" fmla="*/ 610533 w 1022270"/>
                <a:gd name="connsiteY337" fmla="*/ 1171689 h 1202293"/>
                <a:gd name="connsiteX338" fmla="*/ 604426 w 1022270"/>
                <a:gd name="connsiteY338" fmla="*/ 1165903 h 1202293"/>
                <a:gd name="connsiteX339" fmla="*/ 605519 w 1022270"/>
                <a:gd name="connsiteY339" fmla="*/ 1160631 h 1202293"/>
                <a:gd name="connsiteX340" fmla="*/ 601211 w 1022270"/>
                <a:gd name="connsiteY340" fmla="*/ 1153880 h 1202293"/>
                <a:gd name="connsiteX341" fmla="*/ 601211 w 1022270"/>
                <a:gd name="connsiteY341" fmla="*/ 1153880 h 1202293"/>
                <a:gd name="connsiteX342" fmla="*/ 600311 w 1022270"/>
                <a:gd name="connsiteY342" fmla="*/ 1153880 h 1202293"/>
                <a:gd name="connsiteX343" fmla="*/ 590088 w 1022270"/>
                <a:gd name="connsiteY343" fmla="*/ 1149187 h 1202293"/>
                <a:gd name="connsiteX344" fmla="*/ 591567 w 1022270"/>
                <a:gd name="connsiteY344" fmla="*/ 1147322 h 1202293"/>
                <a:gd name="connsiteX345" fmla="*/ 603333 w 1022270"/>
                <a:gd name="connsiteY345" fmla="*/ 1148930 h 1202293"/>
                <a:gd name="connsiteX346" fmla="*/ 596903 w 1022270"/>
                <a:gd name="connsiteY346" fmla="*/ 1137356 h 1202293"/>
                <a:gd name="connsiteX347" fmla="*/ 595553 w 1022270"/>
                <a:gd name="connsiteY347" fmla="*/ 1127970 h 1202293"/>
                <a:gd name="connsiteX348" fmla="*/ 597996 w 1022270"/>
                <a:gd name="connsiteY348" fmla="*/ 1116397 h 1202293"/>
                <a:gd name="connsiteX349" fmla="*/ 604426 w 1022270"/>
                <a:gd name="connsiteY349" fmla="*/ 1111446 h 1202293"/>
                <a:gd name="connsiteX350" fmla="*/ 612141 w 1022270"/>
                <a:gd name="connsiteY350" fmla="*/ 1102638 h 1202293"/>
                <a:gd name="connsiteX351" fmla="*/ 621013 w 1022270"/>
                <a:gd name="connsiteY351" fmla="*/ 1088815 h 1202293"/>
                <a:gd name="connsiteX352" fmla="*/ 635608 w 1022270"/>
                <a:gd name="connsiteY352" fmla="*/ 1076728 h 1202293"/>
                <a:gd name="connsiteX353" fmla="*/ 637794 w 1022270"/>
                <a:gd name="connsiteY353" fmla="*/ 1064576 h 1202293"/>
                <a:gd name="connsiteX354" fmla="*/ 625385 w 1022270"/>
                <a:gd name="connsiteY354" fmla="*/ 1061297 h 1202293"/>
                <a:gd name="connsiteX355" fmla="*/ 616834 w 1022270"/>
                <a:gd name="connsiteY355" fmla="*/ 1042009 h 1202293"/>
                <a:gd name="connsiteX356" fmla="*/ 637215 w 1022270"/>
                <a:gd name="connsiteY356" fmla="*/ 1030436 h 1202293"/>
                <a:gd name="connsiteX357" fmla="*/ 640301 w 1022270"/>
                <a:gd name="connsiteY357" fmla="*/ 1024007 h 1202293"/>
                <a:gd name="connsiteX358" fmla="*/ 643580 w 1022270"/>
                <a:gd name="connsiteY358" fmla="*/ 1015456 h 1202293"/>
                <a:gd name="connsiteX359" fmla="*/ 648531 w 1022270"/>
                <a:gd name="connsiteY359" fmla="*/ 1002597 h 1202293"/>
                <a:gd name="connsiteX360" fmla="*/ 651874 w 1022270"/>
                <a:gd name="connsiteY360" fmla="*/ 998482 h 1202293"/>
                <a:gd name="connsiteX361" fmla="*/ 652389 w 1022270"/>
                <a:gd name="connsiteY361" fmla="*/ 993531 h 1202293"/>
                <a:gd name="connsiteX362" fmla="*/ 659268 w 1022270"/>
                <a:gd name="connsiteY362" fmla="*/ 997646 h 1202293"/>
                <a:gd name="connsiteX363" fmla="*/ 664219 w 1022270"/>
                <a:gd name="connsiteY363" fmla="*/ 988002 h 1202293"/>
                <a:gd name="connsiteX364" fmla="*/ 655732 w 1022270"/>
                <a:gd name="connsiteY364" fmla="*/ 990188 h 1202293"/>
                <a:gd name="connsiteX365" fmla="*/ 648788 w 1022270"/>
                <a:gd name="connsiteY365" fmla="*/ 986909 h 1202293"/>
                <a:gd name="connsiteX366" fmla="*/ 646859 w 1022270"/>
                <a:gd name="connsiteY366" fmla="*/ 977522 h 1202293"/>
                <a:gd name="connsiteX367" fmla="*/ 646345 w 1022270"/>
                <a:gd name="connsiteY367" fmla="*/ 965949 h 1202293"/>
                <a:gd name="connsiteX368" fmla="*/ 666148 w 1022270"/>
                <a:gd name="connsiteY368" fmla="*/ 971222 h 1202293"/>
                <a:gd name="connsiteX369" fmla="*/ 680485 w 1022270"/>
                <a:gd name="connsiteY369" fmla="*/ 964021 h 1202293"/>
                <a:gd name="connsiteX370" fmla="*/ 681578 w 1022270"/>
                <a:gd name="connsiteY370" fmla="*/ 952191 h 1202293"/>
                <a:gd name="connsiteX371" fmla="*/ 681064 w 1022270"/>
                <a:gd name="connsiteY371" fmla="*/ 943382 h 1202293"/>
                <a:gd name="connsiteX372" fmla="*/ 685436 w 1022270"/>
                <a:gd name="connsiteY372" fmla="*/ 938368 h 1202293"/>
                <a:gd name="connsiteX373" fmla="*/ 717583 w 1022270"/>
                <a:gd name="connsiteY373" fmla="*/ 936503 h 1202293"/>
                <a:gd name="connsiteX374" fmla="*/ 741243 w 1022270"/>
                <a:gd name="connsiteY374" fmla="*/ 924866 h 1202293"/>
                <a:gd name="connsiteX375" fmla="*/ 752558 w 1022270"/>
                <a:gd name="connsiteY375" fmla="*/ 908664 h 1202293"/>
                <a:gd name="connsiteX376" fmla="*/ 747351 w 1022270"/>
                <a:gd name="connsiteY376" fmla="*/ 900370 h 1202293"/>
                <a:gd name="connsiteX377" fmla="*/ 745100 w 1022270"/>
                <a:gd name="connsiteY377" fmla="*/ 889633 h 1202293"/>
                <a:gd name="connsiteX378" fmla="*/ 738221 w 1022270"/>
                <a:gd name="connsiteY378" fmla="*/ 882175 h 1202293"/>
                <a:gd name="connsiteX379" fmla="*/ 729413 w 1022270"/>
                <a:gd name="connsiteY379" fmla="*/ 873624 h 1202293"/>
                <a:gd name="connsiteX380" fmla="*/ 733849 w 1022270"/>
                <a:gd name="connsiteY380" fmla="*/ 872916 h 1202293"/>
                <a:gd name="connsiteX381" fmla="*/ 738799 w 1022270"/>
                <a:gd name="connsiteY381" fmla="*/ 875295 h 1202293"/>
                <a:gd name="connsiteX382" fmla="*/ 754744 w 1022270"/>
                <a:gd name="connsiteY382" fmla="*/ 879410 h 1202293"/>
                <a:gd name="connsiteX383" fmla="*/ 764388 w 1022270"/>
                <a:gd name="connsiteY383" fmla="*/ 879410 h 1202293"/>
                <a:gd name="connsiteX384" fmla="*/ 783162 w 1022270"/>
                <a:gd name="connsiteY384" fmla="*/ 876967 h 1202293"/>
                <a:gd name="connsiteX385" fmla="*/ 793063 w 1022270"/>
                <a:gd name="connsiteY385" fmla="*/ 865330 h 1202293"/>
                <a:gd name="connsiteX386" fmla="*/ 798850 w 1022270"/>
                <a:gd name="connsiteY386" fmla="*/ 859608 h 1202293"/>
                <a:gd name="connsiteX387" fmla="*/ 808237 w 1022270"/>
                <a:gd name="connsiteY387" fmla="*/ 844177 h 1202293"/>
                <a:gd name="connsiteX388" fmla="*/ 814666 w 1022270"/>
                <a:gd name="connsiteY388" fmla="*/ 829004 h 1202293"/>
                <a:gd name="connsiteX389" fmla="*/ 821096 w 1022270"/>
                <a:gd name="connsiteY389" fmla="*/ 815759 h 1202293"/>
                <a:gd name="connsiteX390" fmla="*/ 821096 w 1022270"/>
                <a:gd name="connsiteY390" fmla="*/ 827075 h 1202293"/>
                <a:gd name="connsiteX391" fmla="*/ 821931 w 1022270"/>
                <a:gd name="connsiteY391" fmla="*/ 831190 h 1202293"/>
                <a:gd name="connsiteX392" fmla="*/ 837876 w 1022270"/>
                <a:gd name="connsiteY392" fmla="*/ 806951 h 1202293"/>
                <a:gd name="connsiteX393" fmla="*/ 850285 w 1022270"/>
                <a:gd name="connsiteY393" fmla="*/ 793707 h 1202293"/>
                <a:gd name="connsiteX394" fmla="*/ 853885 w 1022270"/>
                <a:gd name="connsiteY394" fmla="*/ 775833 h 1202293"/>
                <a:gd name="connsiteX395" fmla="*/ 853885 w 1022270"/>
                <a:gd name="connsiteY395" fmla="*/ 757316 h 1202293"/>
                <a:gd name="connsiteX396" fmla="*/ 857743 w 1022270"/>
                <a:gd name="connsiteY396" fmla="*/ 748251 h 1202293"/>
                <a:gd name="connsiteX397" fmla="*/ 873431 w 1022270"/>
                <a:gd name="connsiteY397" fmla="*/ 736421 h 1202293"/>
                <a:gd name="connsiteX398" fmla="*/ 889697 w 1022270"/>
                <a:gd name="connsiteY398" fmla="*/ 729220 h 1202293"/>
                <a:gd name="connsiteX399" fmla="*/ 896641 w 1022270"/>
                <a:gd name="connsiteY399" fmla="*/ 725362 h 1202293"/>
                <a:gd name="connsiteX400" fmla="*/ 906285 w 1022270"/>
                <a:gd name="connsiteY400" fmla="*/ 717904 h 1202293"/>
                <a:gd name="connsiteX401" fmla="*/ 926923 w 1022270"/>
                <a:gd name="connsiteY401" fmla="*/ 717904 h 1202293"/>
                <a:gd name="connsiteX402" fmla="*/ 937917 w 1022270"/>
                <a:gd name="connsiteY402" fmla="*/ 714304 h 1202293"/>
                <a:gd name="connsiteX403" fmla="*/ 944855 w 1022270"/>
                <a:gd name="connsiteY403" fmla="*/ 706846 h 1202293"/>
                <a:gd name="connsiteX404" fmla="*/ 944861 w 1022270"/>
                <a:gd name="connsiteY404" fmla="*/ 706846 h 1202293"/>
                <a:gd name="connsiteX405" fmla="*/ 950326 w 1022270"/>
                <a:gd name="connsiteY405" fmla="*/ 700416 h 1202293"/>
                <a:gd name="connsiteX406" fmla="*/ 955277 w 1022270"/>
                <a:gd name="connsiteY406" fmla="*/ 689165 h 1202293"/>
                <a:gd name="connsiteX407" fmla="*/ 960291 w 1022270"/>
                <a:gd name="connsiteY407" fmla="*/ 677592 h 1202293"/>
                <a:gd name="connsiteX408" fmla="*/ 964985 w 1022270"/>
                <a:gd name="connsiteY408" fmla="*/ 671163 h 1202293"/>
                <a:gd name="connsiteX409" fmla="*/ 966914 w 1022270"/>
                <a:gd name="connsiteY409" fmla="*/ 655989 h 1202293"/>
                <a:gd name="connsiteX410" fmla="*/ 973343 w 1022270"/>
                <a:gd name="connsiteY410" fmla="*/ 649560 h 1202293"/>
                <a:gd name="connsiteX411" fmla="*/ 974758 w 1022270"/>
                <a:gd name="connsiteY411" fmla="*/ 634129 h 1202293"/>
                <a:gd name="connsiteX412" fmla="*/ 974758 w 1022270"/>
                <a:gd name="connsiteY412" fmla="*/ 609891 h 1202293"/>
                <a:gd name="connsiteX413" fmla="*/ 977458 w 1022270"/>
                <a:gd name="connsiteY413" fmla="*/ 591695 h 1202293"/>
                <a:gd name="connsiteX414" fmla="*/ 976686 w 1022270"/>
                <a:gd name="connsiteY414" fmla="*/ 586745 h 1202293"/>
                <a:gd name="connsiteX415" fmla="*/ 978872 w 1022270"/>
                <a:gd name="connsiteY415" fmla="*/ 583144 h 1202293"/>
                <a:gd name="connsiteX416" fmla="*/ 986588 w 1022270"/>
                <a:gd name="connsiteY416" fmla="*/ 585652 h 1202293"/>
                <a:gd name="connsiteX417" fmla="*/ 996489 w 1022270"/>
                <a:gd name="connsiteY417" fmla="*/ 566364 h 1202293"/>
                <a:gd name="connsiteX418" fmla="*/ 1008319 w 1022270"/>
                <a:gd name="connsiteY418" fmla="*/ 557234 h 1202293"/>
                <a:gd name="connsiteX419" fmla="*/ 1025742 w 1022270"/>
                <a:gd name="connsiteY419" fmla="*/ 532738 h 1202293"/>
                <a:gd name="connsiteX420" fmla="*/ 1024007 w 1022270"/>
                <a:gd name="connsiteY420" fmla="*/ 497055 h 1202293"/>
                <a:gd name="connsiteX421" fmla="*/ 348922 w 1022270"/>
                <a:gd name="connsiteY421" fmla="*/ 235444 h 1202293"/>
                <a:gd name="connsiteX422" fmla="*/ 348601 w 1022270"/>
                <a:gd name="connsiteY422" fmla="*/ 235830 h 1202293"/>
                <a:gd name="connsiteX423" fmla="*/ 347701 w 1022270"/>
                <a:gd name="connsiteY423" fmla="*/ 237115 h 1202293"/>
                <a:gd name="connsiteX424" fmla="*/ 347701 w 1022270"/>
                <a:gd name="connsiteY424" fmla="*/ 237115 h 1202293"/>
                <a:gd name="connsiteX425" fmla="*/ 347701 w 1022270"/>
                <a:gd name="connsiteY425" fmla="*/ 199632 h 1202293"/>
                <a:gd name="connsiteX426" fmla="*/ 347701 w 1022270"/>
                <a:gd name="connsiteY426" fmla="*/ 199632 h 1202293"/>
                <a:gd name="connsiteX427" fmla="*/ 327062 w 1022270"/>
                <a:gd name="connsiteY427" fmla="*/ 199632 h 1202293"/>
                <a:gd name="connsiteX428" fmla="*/ 327062 w 1022270"/>
                <a:gd name="connsiteY428" fmla="*/ 199632 h 1202293"/>
                <a:gd name="connsiteX429" fmla="*/ 327062 w 1022270"/>
                <a:gd name="connsiteY429" fmla="*/ 199632 h 1202293"/>
                <a:gd name="connsiteX430" fmla="*/ 336449 w 1022270"/>
                <a:gd name="connsiteY430" fmla="*/ 199632 h 1202293"/>
                <a:gd name="connsiteX431" fmla="*/ 341657 w 1022270"/>
                <a:gd name="connsiteY431" fmla="*/ 199632 h 1202293"/>
                <a:gd name="connsiteX432" fmla="*/ 341657 w 1022270"/>
                <a:gd name="connsiteY432" fmla="*/ 199632 h 1202293"/>
                <a:gd name="connsiteX433" fmla="*/ 338892 w 1022270"/>
                <a:gd name="connsiteY433" fmla="*/ 199632 h 1202293"/>
                <a:gd name="connsiteX434" fmla="*/ 338892 w 1022270"/>
                <a:gd name="connsiteY434" fmla="*/ 199632 h 1202293"/>
                <a:gd name="connsiteX435" fmla="*/ 601404 w 1022270"/>
                <a:gd name="connsiteY435" fmla="*/ 1195350 h 1202293"/>
                <a:gd name="connsiteX436" fmla="*/ 601082 w 1022270"/>
                <a:gd name="connsiteY436" fmla="*/ 1194899 h 1202293"/>
                <a:gd name="connsiteX437" fmla="*/ 601404 w 1022270"/>
                <a:gd name="connsiteY437" fmla="*/ 1195350 h 1202293"/>
                <a:gd name="connsiteX438" fmla="*/ 617220 w 1022270"/>
                <a:gd name="connsiteY438" fmla="*/ 401515 h 1202293"/>
                <a:gd name="connsiteX439" fmla="*/ 616448 w 1022270"/>
                <a:gd name="connsiteY439" fmla="*/ 401515 h 1202293"/>
                <a:gd name="connsiteX440" fmla="*/ 613684 w 1022270"/>
                <a:gd name="connsiteY440" fmla="*/ 402801 h 1202293"/>
                <a:gd name="connsiteX441" fmla="*/ 613169 w 1022270"/>
                <a:gd name="connsiteY441" fmla="*/ 402801 h 1202293"/>
                <a:gd name="connsiteX442" fmla="*/ 597482 w 1022270"/>
                <a:gd name="connsiteY442" fmla="*/ 564821 h 1202293"/>
                <a:gd name="connsiteX443" fmla="*/ 595617 w 1022270"/>
                <a:gd name="connsiteY443" fmla="*/ 564242 h 1202293"/>
                <a:gd name="connsiteX444" fmla="*/ 595424 w 1022270"/>
                <a:gd name="connsiteY444" fmla="*/ 564242 h 1202293"/>
                <a:gd name="connsiteX445" fmla="*/ 593367 w 1022270"/>
                <a:gd name="connsiteY445" fmla="*/ 563856 h 1202293"/>
                <a:gd name="connsiteX446" fmla="*/ 590152 w 1022270"/>
                <a:gd name="connsiteY446" fmla="*/ 563535 h 1202293"/>
                <a:gd name="connsiteX447" fmla="*/ 595424 w 1022270"/>
                <a:gd name="connsiteY447" fmla="*/ 564306 h 1202293"/>
                <a:gd name="connsiteX448" fmla="*/ 577294 w 1022270"/>
                <a:gd name="connsiteY448" fmla="*/ 477831 h 1202293"/>
                <a:gd name="connsiteX449" fmla="*/ 575750 w 1022270"/>
                <a:gd name="connsiteY449" fmla="*/ 478924 h 1202293"/>
                <a:gd name="connsiteX450" fmla="*/ 577294 w 1022270"/>
                <a:gd name="connsiteY450" fmla="*/ 477831 h 1202293"/>
                <a:gd name="connsiteX451" fmla="*/ 578772 w 1022270"/>
                <a:gd name="connsiteY451" fmla="*/ 477317 h 1202293"/>
                <a:gd name="connsiteX452" fmla="*/ 577551 w 1022270"/>
                <a:gd name="connsiteY452" fmla="*/ 477767 h 1202293"/>
                <a:gd name="connsiteX453" fmla="*/ 585780 w 1022270"/>
                <a:gd name="connsiteY453" fmla="*/ 478217 h 1202293"/>
                <a:gd name="connsiteX454" fmla="*/ 578965 w 1022270"/>
                <a:gd name="connsiteY454" fmla="*/ 477317 h 1202293"/>
                <a:gd name="connsiteX455" fmla="*/ 585845 w 1022270"/>
                <a:gd name="connsiteY455" fmla="*/ 478217 h 1202293"/>
                <a:gd name="connsiteX456" fmla="*/ 590088 w 1022270"/>
                <a:gd name="connsiteY456" fmla="*/ 563599 h 1202293"/>
                <a:gd name="connsiteX457" fmla="*/ 584109 w 1022270"/>
                <a:gd name="connsiteY457" fmla="*/ 563599 h 1202293"/>
                <a:gd name="connsiteX458" fmla="*/ 590152 w 1022270"/>
                <a:gd name="connsiteY458" fmla="*/ 563599 h 1202293"/>
                <a:gd name="connsiteX459" fmla="*/ 592403 w 1022270"/>
                <a:gd name="connsiteY459" fmla="*/ 649496 h 1202293"/>
                <a:gd name="connsiteX460" fmla="*/ 593560 w 1022270"/>
                <a:gd name="connsiteY460" fmla="*/ 651039 h 1202293"/>
                <a:gd name="connsiteX461" fmla="*/ 592467 w 1022270"/>
                <a:gd name="connsiteY461" fmla="*/ 649496 h 1202293"/>
                <a:gd name="connsiteX462" fmla="*/ 595939 w 1022270"/>
                <a:gd name="connsiteY462" fmla="*/ 653417 h 1202293"/>
                <a:gd name="connsiteX463" fmla="*/ 593881 w 1022270"/>
                <a:gd name="connsiteY463" fmla="*/ 651489 h 1202293"/>
                <a:gd name="connsiteX464" fmla="*/ 596003 w 1022270"/>
                <a:gd name="connsiteY464" fmla="*/ 653417 h 1202293"/>
                <a:gd name="connsiteX465" fmla="*/ 614134 w 1022270"/>
                <a:gd name="connsiteY465" fmla="*/ 718290 h 1202293"/>
                <a:gd name="connsiteX466" fmla="*/ 614134 w 1022270"/>
                <a:gd name="connsiteY466" fmla="*/ 718290 h 1202293"/>
                <a:gd name="connsiteX467" fmla="*/ 618442 w 1022270"/>
                <a:gd name="connsiteY467" fmla="*/ 716875 h 1202293"/>
                <a:gd name="connsiteX468" fmla="*/ 618442 w 1022270"/>
                <a:gd name="connsiteY468" fmla="*/ 716875 h 1202293"/>
                <a:gd name="connsiteX469" fmla="*/ 616256 w 1022270"/>
                <a:gd name="connsiteY469" fmla="*/ 717840 h 1202293"/>
                <a:gd name="connsiteX470" fmla="*/ 615806 w 1022270"/>
                <a:gd name="connsiteY470" fmla="*/ 717840 h 1202293"/>
                <a:gd name="connsiteX471" fmla="*/ 609826 w 1022270"/>
                <a:gd name="connsiteY471" fmla="*/ 403829 h 1202293"/>
                <a:gd name="connsiteX472" fmla="*/ 610598 w 1022270"/>
                <a:gd name="connsiteY472" fmla="*/ 403829 h 1202293"/>
                <a:gd name="connsiteX473" fmla="*/ 785863 w 1022270"/>
                <a:gd name="connsiteY473" fmla="*/ 399071 h 1202293"/>
                <a:gd name="connsiteX474" fmla="*/ 788563 w 1022270"/>
                <a:gd name="connsiteY474" fmla="*/ 399071 h 1202293"/>
                <a:gd name="connsiteX475" fmla="*/ 785927 w 1022270"/>
                <a:gd name="connsiteY475" fmla="*/ 399071 h 1202293"/>
                <a:gd name="connsiteX476" fmla="*/ 737449 w 1022270"/>
                <a:gd name="connsiteY476" fmla="*/ 674056 h 1202293"/>
                <a:gd name="connsiteX477" fmla="*/ 737449 w 1022270"/>
                <a:gd name="connsiteY477" fmla="*/ 674056 h 1202293"/>
                <a:gd name="connsiteX478" fmla="*/ 739635 w 1022270"/>
                <a:gd name="connsiteY478" fmla="*/ 669298 h 1202293"/>
                <a:gd name="connsiteX479" fmla="*/ 739635 w 1022270"/>
                <a:gd name="connsiteY479" fmla="*/ 669812 h 1202293"/>
                <a:gd name="connsiteX480" fmla="*/ 739700 w 1022270"/>
                <a:gd name="connsiteY480" fmla="*/ 669298 h 1202293"/>
                <a:gd name="connsiteX481" fmla="*/ 734813 w 1022270"/>
                <a:gd name="connsiteY481" fmla="*/ 675727 h 1202293"/>
                <a:gd name="connsiteX482" fmla="*/ 733785 w 1022270"/>
                <a:gd name="connsiteY482" fmla="*/ 675727 h 1202293"/>
                <a:gd name="connsiteX483" fmla="*/ 779819 w 1022270"/>
                <a:gd name="connsiteY483" fmla="*/ 751916 h 1202293"/>
                <a:gd name="connsiteX484" fmla="*/ 779819 w 1022270"/>
                <a:gd name="connsiteY484" fmla="*/ 750501 h 1202293"/>
                <a:gd name="connsiteX485" fmla="*/ 779755 w 1022270"/>
                <a:gd name="connsiteY485" fmla="*/ 752173 h 1202293"/>
                <a:gd name="connsiteX486" fmla="*/ 780140 w 1022270"/>
                <a:gd name="connsiteY486" fmla="*/ 749022 h 1202293"/>
                <a:gd name="connsiteX487" fmla="*/ 780526 w 1022270"/>
                <a:gd name="connsiteY487" fmla="*/ 747158 h 1202293"/>
                <a:gd name="connsiteX488" fmla="*/ 780783 w 1022270"/>
                <a:gd name="connsiteY488" fmla="*/ 745679 h 1202293"/>
                <a:gd name="connsiteX489" fmla="*/ 781491 w 1022270"/>
                <a:gd name="connsiteY489" fmla="*/ 742079 h 1202293"/>
                <a:gd name="connsiteX490" fmla="*/ 780719 w 1022270"/>
                <a:gd name="connsiteY490" fmla="*/ 745936 h 1202293"/>
                <a:gd name="connsiteX491" fmla="*/ 781812 w 1022270"/>
                <a:gd name="connsiteY491" fmla="*/ 740728 h 1202293"/>
                <a:gd name="connsiteX492" fmla="*/ 782133 w 1022270"/>
                <a:gd name="connsiteY492" fmla="*/ 738543 h 1202293"/>
                <a:gd name="connsiteX493" fmla="*/ 781748 w 1022270"/>
                <a:gd name="connsiteY493" fmla="*/ 740986 h 1202293"/>
                <a:gd name="connsiteX494" fmla="*/ 782326 w 1022270"/>
                <a:gd name="connsiteY494" fmla="*/ 737128 h 1202293"/>
                <a:gd name="connsiteX495" fmla="*/ 782326 w 1022270"/>
                <a:gd name="connsiteY495" fmla="*/ 735263 h 1202293"/>
                <a:gd name="connsiteX496" fmla="*/ 782262 w 1022270"/>
                <a:gd name="connsiteY496" fmla="*/ 737385 h 1202293"/>
                <a:gd name="connsiteX497" fmla="*/ 782326 w 1022270"/>
                <a:gd name="connsiteY497" fmla="*/ 734106 h 1202293"/>
                <a:gd name="connsiteX498" fmla="*/ 782326 w 1022270"/>
                <a:gd name="connsiteY498" fmla="*/ 732499 h 1202293"/>
                <a:gd name="connsiteX499" fmla="*/ 782455 w 1022270"/>
                <a:gd name="connsiteY499" fmla="*/ 734363 h 1202293"/>
                <a:gd name="connsiteX500" fmla="*/ 780719 w 1022270"/>
                <a:gd name="connsiteY500" fmla="*/ 730313 h 1202293"/>
                <a:gd name="connsiteX501" fmla="*/ 781876 w 1022270"/>
                <a:gd name="connsiteY501" fmla="*/ 731727 h 1202293"/>
                <a:gd name="connsiteX502" fmla="*/ 780848 w 1022270"/>
                <a:gd name="connsiteY502" fmla="*/ 730570 h 1202293"/>
                <a:gd name="connsiteX503" fmla="*/ 759309 w 1022270"/>
                <a:gd name="connsiteY503" fmla="*/ 402415 h 1202293"/>
                <a:gd name="connsiteX504" fmla="*/ 759309 w 1022270"/>
                <a:gd name="connsiteY504" fmla="*/ 402415 h 1202293"/>
                <a:gd name="connsiteX505" fmla="*/ 757316 w 1022270"/>
                <a:gd name="connsiteY505" fmla="*/ 402415 h 1202293"/>
                <a:gd name="connsiteX506" fmla="*/ 758216 w 1022270"/>
                <a:gd name="connsiteY506" fmla="*/ 402415 h 1202293"/>
                <a:gd name="connsiteX507" fmla="*/ 749858 w 1022270"/>
                <a:gd name="connsiteY507" fmla="*/ 400872 h 1202293"/>
                <a:gd name="connsiteX508" fmla="*/ 750887 w 1022270"/>
                <a:gd name="connsiteY508" fmla="*/ 400872 h 1202293"/>
                <a:gd name="connsiteX509" fmla="*/ 752173 w 1022270"/>
                <a:gd name="connsiteY509" fmla="*/ 401193 h 1202293"/>
                <a:gd name="connsiteX510" fmla="*/ 753458 w 1022270"/>
                <a:gd name="connsiteY510" fmla="*/ 401193 h 1202293"/>
                <a:gd name="connsiteX511" fmla="*/ 747929 w 1022270"/>
                <a:gd name="connsiteY511" fmla="*/ 401193 h 1202293"/>
                <a:gd name="connsiteX512" fmla="*/ 748572 w 1022270"/>
                <a:gd name="connsiteY512" fmla="*/ 401193 h 1202293"/>
                <a:gd name="connsiteX513" fmla="*/ 702924 w 1022270"/>
                <a:gd name="connsiteY513" fmla="*/ 366539 h 1202293"/>
                <a:gd name="connsiteX514" fmla="*/ 703309 w 1022270"/>
                <a:gd name="connsiteY514" fmla="*/ 366024 h 1202293"/>
                <a:gd name="connsiteX515" fmla="*/ 707553 w 1022270"/>
                <a:gd name="connsiteY515" fmla="*/ 360688 h 1202293"/>
                <a:gd name="connsiteX516" fmla="*/ 709224 w 1022270"/>
                <a:gd name="connsiteY516" fmla="*/ 360688 h 1202293"/>
                <a:gd name="connsiteX517" fmla="*/ 707939 w 1022270"/>
                <a:gd name="connsiteY517" fmla="*/ 360559 h 1202293"/>
                <a:gd name="connsiteX518" fmla="*/ 706331 w 1022270"/>
                <a:gd name="connsiteY518" fmla="*/ 361267 h 1202293"/>
                <a:gd name="connsiteX519" fmla="*/ 706974 w 1022270"/>
                <a:gd name="connsiteY519" fmla="*/ 360945 h 1202293"/>
                <a:gd name="connsiteX520" fmla="*/ 705624 w 1022270"/>
                <a:gd name="connsiteY520" fmla="*/ 361910 h 1202293"/>
                <a:gd name="connsiteX521" fmla="*/ 705624 w 1022270"/>
                <a:gd name="connsiteY521" fmla="*/ 361910 h 1202293"/>
                <a:gd name="connsiteX522" fmla="*/ 702474 w 1022270"/>
                <a:gd name="connsiteY522" fmla="*/ 367053 h 1202293"/>
                <a:gd name="connsiteX523" fmla="*/ 701381 w 1022270"/>
                <a:gd name="connsiteY523" fmla="*/ 367760 h 1202293"/>
                <a:gd name="connsiteX524" fmla="*/ 702859 w 1022270"/>
                <a:gd name="connsiteY524" fmla="*/ 366924 h 1202293"/>
                <a:gd name="connsiteX525" fmla="*/ 679071 w 1022270"/>
                <a:gd name="connsiteY525" fmla="*/ 706074 h 1202293"/>
                <a:gd name="connsiteX526" fmla="*/ 677978 w 1022270"/>
                <a:gd name="connsiteY526" fmla="*/ 706074 h 1202293"/>
                <a:gd name="connsiteX527" fmla="*/ 679456 w 1022270"/>
                <a:gd name="connsiteY527" fmla="*/ 705946 h 1202293"/>
                <a:gd name="connsiteX528" fmla="*/ 677463 w 1022270"/>
                <a:gd name="connsiteY528" fmla="*/ 706074 h 1202293"/>
                <a:gd name="connsiteX529" fmla="*/ 677463 w 1022270"/>
                <a:gd name="connsiteY529" fmla="*/ 706074 h 1202293"/>
                <a:gd name="connsiteX530" fmla="*/ 663897 w 1022270"/>
                <a:gd name="connsiteY530" fmla="*/ 705303 h 1202293"/>
                <a:gd name="connsiteX531" fmla="*/ 663576 w 1022270"/>
                <a:gd name="connsiteY531" fmla="*/ 705303 h 1202293"/>
                <a:gd name="connsiteX532" fmla="*/ 665633 w 1022270"/>
                <a:gd name="connsiteY532" fmla="*/ 705303 h 1202293"/>
                <a:gd name="connsiteX533" fmla="*/ 665633 w 1022270"/>
                <a:gd name="connsiteY533" fmla="*/ 705303 h 1202293"/>
                <a:gd name="connsiteX534" fmla="*/ 742078 w 1022270"/>
                <a:gd name="connsiteY534" fmla="*/ 816595 h 1202293"/>
                <a:gd name="connsiteX535" fmla="*/ 741050 w 1022270"/>
                <a:gd name="connsiteY535" fmla="*/ 817881 h 1202293"/>
                <a:gd name="connsiteX536" fmla="*/ 745615 w 1022270"/>
                <a:gd name="connsiteY536" fmla="*/ 812737 h 1202293"/>
                <a:gd name="connsiteX537" fmla="*/ 742336 w 1022270"/>
                <a:gd name="connsiteY537" fmla="*/ 816338 h 1202293"/>
                <a:gd name="connsiteX538" fmla="*/ 747993 w 1022270"/>
                <a:gd name="connsiteY538" fmla="*/ 810101 h 1202293"/>
                <a:gd name="connsiteX539" fmla="*/ 746386 w 1022270"/>
                <a:gd name="connsiteY539" fmla="*/ 811966 h 1202293"/>
                <a:gd name="connsiteX540" fmla="*/ 750694 w 1022270"/>
                <a:gd name="connsiteY540" fmla="*/ 806951 h 1202293"/>
                <a:gd name="connsiteX541" fmla="*/ 749665 w 1022270"/>
                <a:gd name="connsiteY541" fmla="*/ 808173 h 1202293"/>
                <a:gd name="connsiteX542" fmla="*/ 789463 w 1022270"/>
                <a:gd name="connsiteY542" fmla="*/ 399264 h 1202293"/>
                <a:gd name="connsiteX543" fmla="*/ 793063 w 1022270"/>
                <a:gd name="connsiteY543" fmla="*/ 398557 h 1202293"/>
                <a:gd name="connsiteX544" fmla="*/ 789463 w 1022270"/>
                <a:gd name="connsiteY544" fmla="*/ 399264 h 1202293"/>
                <a:gd name="connsiteX545" fmla="*/ 781940 w 1022270"/>
                <a:gd name="connsiteY545" fmla="*/ 396435 h 1202293"/>
                <a:gd name="connsiteX546" fmla="*/ 785863 w 1022270"/>
                <a:gd name="connsiteY546" fmla="*/ 399007 h 1202293"/>
                <a:gd name="connsiteX547" fmla="*/ 780719 w 1022270"/>
                <a:gd name="connsiteY547" fmla="*/ 394828 h 1202293"/>
                <a:gd name="connsiteX548" fmla="*/ 781683 w 1022270"/>
                <a:gd name="connsiteY548" fmla="*/ 396435 h 1202293"/>
                <a:gd name="connsiteX549" fmla="*/ 756737 w 1022270"/>
                <a:gd name="connsiteY549" fmla="*/ 402222 h 1202293"/>
                <a:gd name="connsiteX550" fmla="*/ 755194 w 1022270"/>
                <a:gd name="connsiteY550" fmla="*/ 401836 h 1202293"/>
                <a:gd name="connsiteX551" fmla="*/ 755194 w 1022270"/>
                <a:gd name="connsiteY551" fmla="*/ 401836 h 1202293"/>
                <a:gd name="connsiteX552" fmla="*/ 515700 w 1022270"/>
                <a:gd name="connsiteY552" fmla="*/ 428518 h 1202293"/>
                <a:gd name="connsiteX553" fmla="*/ 515700 w 1022270"/>
                <a:gd name="connsiteY553" fmla="*/ 428518 h 1202293"/>
                <a:gd name="connsiteX554" fmla="*/ 514929 w 1022270"/>
                <a:gd name="connsiteY554" fmla="*/ 427618 h 1202293"/>
                <a:gd name="connsiteX555" fmla="*/ 519815 w 1022270"/>
                <a:gd name="connsiteY555" fmla="*/ 434112 h 1202293"/>
                <a:gd name="connsiteX556" fmla="*/ 519815 w 1022270"/>
                <a:gd name="connsiteY556" fmla="*/ 433790 h 1202293"/>
                <a:gd name="connsiteX557" fmla="*/ 519429 w 1022270"/>
                <a:gd name="connsiteY557" fmla="*/ 434112 h 1202293"/>
                <a:gd name="connsiteX558" fmla="*/ 519365 w 1022270"/>
                <a:gd name="connsiteY558" fmla="*/ 433083 h 1202293"/>
                <a:gd name="connsiteX559" fmla="*/ 519365 w 1022270"/>
                <a:gd name="connsiteY559" fmla="*/ 432697 h 1202293"/>
                <a:gd name="connsiteX560" fmla="*/ 518529 w 1022270"/>
                <a:gd name="connsiteY560" fmla="*/ 431926 h 1202293"/>
                <a:gd name="connsiteX561" fmla="*/ 518143 w 1022270"/>
                <a:gd name="connsiteY561" fmla="*/ 431411 h 1202293"/>
                <a:gd name="connsiteX562" fmla="*/ 518272 w 1022270"/>
                <a:gd name="connsiteY562" fmla="*/ 431926 h 1202293"/>
                <a:gd name="connsiteX563" fmla="*/ 517436 w 1022270"/>
                <a:gd name="connsiteY563" fmla="*/ 430511 h 1202293"/>
                <a:gd name="connsiteX564" fmla="*/ 516922 w 1022270"/>
                <a:gd name="connsiteY564" fmla="*/ 429932 h 1202293"/>
                <a:gd name="connsiteX565" fmla="*/ 518593 w 1022270"/>
                <a:gd name="connsiteY565" fmla="*/ 437390 h 1202293"/>
                <a:gd name="connsiteX566" fmla="*/ 519429 w 1022270"/>
                <a:gd name="connsiteY566" fmla="*/ 436683 h 1202293"/>
                <a:gd name="connsiteX567" fmla="*/ 519944 w 1022270"/>
                <a:gd name="connsiteY567" fmla="*/ 435076 h 1202293"/>
                <a:gd name="connsiteX568" fmla="*/ 519944 w 1022270"/>
                <a:gd name="connsiteY568" fmla="*/ 435076 h 1202293"/>
                <a:gd name="connsiteX569" fmla="*/ 519429 w 1022270"/>
                <a:gd name="connsiteY569" fmla="*/ 435076 h 1202293"/>
                <a:gd name="connsiteX570" fmla="*/ 519944 w 1022270"/>
                <a:gd name="connsiteY570" fmla="*/ 435912 h 1202293"/>
                <a:gd name="connsiteX571" fmla="*/ 519944 w 1022270"/>
                <a:gd name="connsiteY571" fmla="*/ 435912 h 1202293"/>
                <a:gd name="connsiteX572" fmla="*/ 581794 w 1022270"/>
                <a:gd name="connsiteY572" fmla="*/ 564499 h 1202293"/>
                <a:gd name="connsiteX573" fmla="*/ 584109 w 1022270"/>
                <a:gd name="connsiteY573" fmla="*/ 563921 h 1202293"/>
                <a:gd name="connsiteX574" fmla="*/ 581344 w 1022270"/>
                <a:gd name="connsiteY574" fmla="*/ 564499 h 1202293"/>
                <a:gd name="connsiteX575" fmla="*/ 621463 w 1022270"/>
                <a:gd name="connsiteY575" fmla="*/ 715332 h 1202293"/>
                <a:gd name="connsiteX576" fmla="*/ 621463 w 1022270"/>
                <a:gd name="connsiteY576" fmla="*/ 715332 h 1202293"/>
                <a:gd name="connsiteX577" fmla="*/ 626157 w 1022270"/>
                <a:gd name="connsiteY577" fmla="*/ 711925 h 1202293"/>
                <a:gd name="connsiteX578" fmla="*/ 626478 w 1022270"/>
                <a:gd name="connsiteY578" fmla="*/ 711925 h 1202293"/>
                <a:gd name="connsiteX579" fmla="*/ 741178 w 1022270"/>
                <a:gd name="connsiteY579" fmla="*/ 818652 h 1202293"/>
                <a:gd name="connsiteX580" fmla="*/ 740535 w 1022270"/>
                <a:gd name="connsiteY580" fmla="*/ 819681 h 1202293"/>
                <a:gd name="connsiteX581" fmla="*/ 740728 w 1022270"/>
                <a:gd name="connsiteY581" fmla="*/ 818652 h 1202293"/>
                <a:gd name="connsiteX582" fmla="*/ 739893 w 1022270"/>
                <a:gd name="connsiteY582" fmla="*/ 820838 h 1202293"/>
                <a:gd name="connsiteX583" fmla="*/ 739507 w 1022270"/>
                <a:gd name="connsiteY583" fmla="*/ 821610 h 120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Lst>
              <a:rect l="l" t="t" r="r" b="b"/>
              <a:pathLst>
                <a:path w="1022270" h="1202293">
                  <a:moveTo>
                    <a:pt x="1024007" y="497055"/>
                  </a:moveTo>
                  <a:cubicBezTo>
                    <a:pt x="1021821" y="487733"/>
                    <a:pt x="1018734" y="489661"/>
                    <a:pt x="1013269" y="489918"/>
                  </a:cubicBezTo>
                  <a:cubicBezTo>
                    <a:pt x="1007804" y="490176"/>
                    <a:pt x="997260" y="488825"/>
                    <a:pt x="983501" y="473909"/>
                  </a:cubicBezTo>
                  <a:cubicBezTo>
                    <a:pt x="974848" y="463018"/>
                    <a:pt x="960401" y="458550"/>
                    <a:pt x="947111" y="462658"/>
                  </a:cubicBezTo>
                  <a:cubicBezTo>
                    <a:pt x="938046" y="465101"/>
                    <a:pt x="928659" y="458222"/>
                    <a:pt x="922615" y="456872"/>
                  </a:cubicBezTo>
                  <a:cubicBezTo>
                    <a:pt x="916572" y="455521"/>
                    <a:pt x="910721" y="463301"/>
                    <a:pt x="906349" y="464844"/>
                  </a:cubicBezTo>
                  <a:cubicBezTo>
                    <a:pt x="901977" y="466387"/>
                    <a:pt x="908535" y="458415"/>
                    <a:pt x="908792" y="453014"/>
                  </a:cubicBezTo>
                  <a:cubicBezTo>
                    <a:pt x="909049" y="447613"/>
                    <a:pt x="892269" y="440155"/>
                    <a:pt x="879603" y="435333"/>
                  </a:cubicBezTo>
                  <a:cubicBezTo>
                    <a:pt x="866937" y="430511"/>
                    <a:pt x="861408" y="432890"/>
                    <a:pt x="861408" y="440862"/>
                  </a:cubicBezTo>
                  <a:cubicBezTo>
                    <a:pt x="861408" y="448835"/>
                    <a:pt x="856457" y="438355"/>
                    <a:pt x="852599" y="446906"/>
                  </a:cubicBezTo>
                  <a:cubicBezTo>
                    <a:pt x="848742" y="455457"/>
                    <a:pt x="841541" y="449928"/>
                    <a:pt x="846170" y="447228"/>
                  </a:cubicBezTo>
                  <a:cubicBezTo>
                    <a:pt x="851230" y="443756"/>
                    <a:pt x="855004" y="438721"/>
                    <a:pt x="856907" y="432890"/>
                  </a:cubicBezTo>
                  <a:cubicBezTo>
                    <a:pt x="858579" y="427618"/>
                    <a:pt x="838776" y="423503"/>
                    <a:pt x="831833" y="426461"/>
                  </a:cubicBezTo>
                  <a:cubicBezTo>
                    <a:pt x="824889" y="429418"/>
                    <a:pt x="829389" y="439319"/>
                    <a:pt x="823860" y="436105"/>
                  </a:cubicBezTo>
                  <a:cubicBezTo>
                    <a:pt x="818331" y="432890"/>
                    <a:pt x="822767" y="425625"/>
                    <a:pt x="827203" y="425882"/>
                  </a:cubicBezTo>
                  <a:cubicBezTo>
                    <a:pt x="831640" y="426139"/>
                    <a:pt x="836526" y="417074"/>
                    <a:pt x="839548" y="410451"/>
                  </a:cubicBezTo>
                  <a:cubicBezTo>
                    <a:pt x="842570" y="403829"/>
                    <a:pt x="834340" y="402736"/>
                    <a:pt x="829389" y="397207"/>
                  </a:cubicBezTo>
                  <a:cubicBezTo>
                    <a:pt x="824439" y="391678"/>
                    <a:pt x="825467" y="375861"/>
                    <a:pt x="820453" y="373354"/>
                  </a:cubicBezTo>
                  <a:lnTo>
                    <a:pt x="820453" y="373354"/>
                  </a:lnTo>
                  <a:cubicBezTo>
                    <a:pt x="815245" y="371104"/>
                    <a:pt x="807272" y="358438"/>
                    <a:pt x="799236" y="356766"/>
                  </a:cubicBezTo>
                  <a:cubicBezTo>
                    <a:pt x="795667" y="355911"/>
                    <a:pt x="792183" y="354747"/>
                    <a:pt x="788820" y="353294"/>
                  </a:cubicBezTo>
                  <a:cubicBezTo>
                    <a:pt x="784962" y="351397"/>
                    <a:pt x="780713" y="350427"/>
                    <a:pt x="776411" y="350465"/>
                  </a:cubicBezTo>
                  <a:cubicBezTo>
                    <a:pt x="769982" y="351301"/>
                    <a:pt x="762910" y="354323"/>
                    <a:pt x="760402" y="350465"/>
                  </a:cubicBezTo>
                  <a:cubicBezTo>
                    <a:pt x="757895" y="346608"/>
                    <a:pt x="754359" y="347443"/>
                    <a:pt x="751015" y="350465"/>
                  </a:cubicBezTo>
                  <a:cubicBezTo>
                    <a:pt x="750681" y="350761"/>
                    <a:pt x="750231" y="350877"/>
                    <a:pt x="749794" y="350787"/>
                  </a:cubicBezTo>
                  <a:cubicBezTo>
                    <a:pt x="746386" y="350465"/>
                    <a:pt x="741307" y="340564"/>
                    <a:pt x="738349" y="340564"/>
                  </a:cubicBezTo>
                  <a:cubicBezTo>
                    <a:pt x="734800" y="340609"/>
                    <a:pt x="731882" y="337767"/>
                    <a:pt x="731836" y="334218"/>
                  </a:cubicBezTo>
                  <a:cubicBezTo>
                    <a:pt x="731830" y="333845"/>
                    <a:pt x="731862" y="333472"/>
                    <a:pt x="731920" y="333106"/>
                  </a:cubicBezTo>
                  <a:cubicBezTo>
                    <a:pt x="732692" y="328413"/>
                    <a:pt x="724205" y="327834"/>
                    <a:pt x="719511" y="322626"/>
                  </a:cubicBezTo>
                  <a:cubicBezTo>
                    <a:pt x="718232" y="321321"/>
                    <a:pt x="716670" y="320331"/>
                    <a:pt x="714947" y="319733"/>
                  </a:cubicBezTo>
                  <a:cubicBezTo>
                    <a:pt x="709076" y="318068"/>
                    <a:pt x="702962" y="317457"/>
                    <a:pt x="696880" y="317933"/>
                  </a:cubicBezTo>
                  <a:cubicBezTo>
                    <a:pt x="692186" y="317933"/>
                    <a:pt x="699902" y="312725"/>
                    <a:pt x="700223" y="307710"/>
                  </a:cubicBezTo>
                  <a:cubicBezTo>
                    <a:pt x="700545" y="302695"/>
                    <a:pt x="686979" y="301924"/>
                    <a:pt x="681707" y="300831"/>
                  </a:cubicBezTo>
                  <a:cubicBezTo>
                    <a:pt x="676435" y="299738"/>
                    <a:pt x="677849" y="294401"/>
                    <a:pt x="683378" y="293951"/>
                  </a:cubicBezTo>
                  <a:cubicBezTo>
                    <a:pt x="688908" y="293501"/>
                    <a:pt x="680356" y="289836"/>
                    <a:pt x="672898" y="290929"/>
                  </a:cubicBezTo>
                  <a:cubicBezTo>
                    <a:pt x="664527" y="292588"/>
                    <a:pt x="656452" y="295469"/>
                    <a:pt x="648917" y="299480"/>
                  </a:cubicBezTo>
                  <a:cubicBezTo>
                    <a:pt x="642873" y="302759"/>
                    <a:pt x="632393" y="289836"/>
                    <a:pt x="625514" y="292601"/>
                  </a:cubicBezTo>
                  <a:cubicBezTo>
                    <a:pt x="618634" y="295366"/>
                    <a:pt x="608990" y="295366"/>
                    <a:pt x="609248" y="289836"/>
                  </a:cubicBezTo>
                  <a:cubicBezTo>
                    <a:pt x="610026" y="285284"/>
                    <a:pt x="606965" y="280970"/>
                    <a:pt x="602413" y="280192"/>
                  </a:cubicBezTo>
                  <a:cubicBezTo>
                    <a:pt x="601481" y="280032"/>
                    <a:pt x="600536" y="280032"/>
                    <a:pt x="599604" y="280192"/>
                  </a:cubicBezTo>
                  <a:cubicBezTo>
                    <a:pt x="592724" y="280707"/>
                    <a:pt x="594396" y="273313"/>
                    <a:pt x="589124" y="273313"/>
                  </a:cubicBezTo>
                  <a:cubicBezTo>
                    <a:pt x="583852" y="273313"/>
                    <a:pt x="589124" y="279742"/>
                    <a:pt x="585587" y="281285"/>
                  </a:cubicBezTo>
                  <a:cubicBezTo>
                    <a:pt x="582051" y="282828"/>
                    <a:pt x="569578" y="285979"/>
                    <a:pt x="568742" y="290929"/>
                  </a:cubicBezTo>
                  <a:cubicBezTo>
                    <a:pt x="567907" y="295880"/>
                    <a:pt x="575172" y="304174"/>
                    <a:pt x="572857" y="309124"/>
                  </a:cubicBezTo>
                  <a:cubicBezTo>
                    <a:pt x="570543" y="314075"/>
                    <a:pt x="562120" y="309960"/>
                    <a:pt x="559677" y="304688"/>
                  </a:cubicBezTo>
                  <a:cubicBezTo>
                    <a:pt x="557234" y="299416"/>
                    <a:pt x="566814" y="291508"/>
                    <a:pt x="565142" y="288486"/>
                  </a:cubicBezTo>
                  <a:cubicBezTo>
                    <a:pt x="563612" y="285889"/>
                    <a:pt x="563046" y="282841"/>
                    <a:pt x="563535" y="279871"/>
                  </a:cubicBezTo>
                  <a:cubicBezTo>
                    <a:pt x="564004" y="278553"/>
                    <a:pt x="565174" y="277614"/>
                    <a:pt x="566557" y="277428"/>
                  </a:cubicBezTo>
                  <a:cubicBezTo>
                    <a:pt x="572086" y="276335"/>
                    <a:pt x="574786" y="272734"/>
                    <a:pt x="569578" y="269712"/>
                  </a:cubicBezTo>
                  <a:cubicBezTo>
                    <a:pt x="564371" y="266691"/>
                    <a:pt x="561284" y="275499"/>
                    <a:pt x="555498" y="276142"/>
                  </a:cubicBezTo>
                  <a:cubicBezTo>
                    <a:pt x="549712" y="276785"/>
                    <a:pt x="548619" y="280514"/>
                    <a:pt x="544761" y="282571"/>
                  </a:cubicBezTo>
                  <a:cubicBezTo>
                    <a:pt x="540903" y="284629"/>
                    <a:pt x="533767" y="282893"/>
                    <a:pt x="533445" y="286172"/>
                  </a:cubicBezTo>
                  <a:cubicBezTo>
                    <a:pt x="533124" y="289451"/>
                    <a:pt x="531002" y="286172"/>
                    <a:pt x="527723" y="285336"/>
                  </a:cubicBezTo>
                  <a:cubicBezTo>
                    <a:pt x="524444" y="284500"/>
                    <a:pt x="515829" y="291765"/>
                    <a:pt x="516086" y="296137"/>
                  </a:cubicBezTo>
                  <a:cubicBezTo>
                    <a:pt x="516343" y="300509"/>
                    <a:pt x="517758" y="304110"/>
                    <a:pt x="511714" y="307967"/>
                  </a:cubicBezTo>
                  <a:cubicBezTo>
                    <a:pt x="506789" y="312005"/>
                    <a:pt x="502591" y="316853"/>
                    <a:pt x="499305" y="322305"/>
                  </a:cubicBezTo>
                  <a:cubicBezTo>
                    <a:pt x="498707" y="323185"/>
                    <a:pt x="497537" y="323462"/>
                    <a:pt x="496605" y="322948"/>
                  </a:cubicBezTo>
                  <a:cubicBezTo>
                    <a:pt x="493422" y="320202"/>
                    <a:pt x="490786" y="316891"/>
                    <a:pt x="488825" y="313175"/>
                  </a:cubicBezTo>
                  <a:cubicBezTo>
                    <a:pt x="484453" y="306746"/>
                    <a:pt x="476417" y="307131"/>
                    <a:pt x="471466" y="304945"/>
                  </a:cubicBezTo>
                  <a:cubicBezTo>
                    <a:pt x="466515" y="302759"/>
                    <a:pt x="460150" y="305717"/>
                    <a:pt x="453850" y="311375"/>
                  </a:cubicBezTo>
                  <a:cubicBezTo>
                    <a:pt x="447549" y="317033"/>
                    <a:pt x="439512" y="313818"/>
                    <a:pt x="433983" y="310796"/>
                  </a:cubicBezTo>
                  <a:cubicBezTo>
                    <a:pt x="431598" y="309182"/>
                    <a:pt x="429437" y="307260"/>
                    <a:pt x="427553" y="305074"/>
                  </a:cubicBezTo>
                  <a:cubicBezTo>
                    <a:pt x="423136" y="300245"/>
                    <a:pt x="419034" y="295134"/>
                    <a:pt x="415273" y="289772"/>
                  </a:cubicBezTo>
                  <a:cubicBezTo>
                    <a:pt x="414643" y="288904"/>
                    <a:pt x="414065" y="288004"/>
                    <a:pt x="413537" y="287072"/>
                  </a:cubicBezTo>
                  <a:cubicBezTo>
                    <a:pt x="411609" y="283535"/>
                    <a:pt x="414888" y="276335"/>
                    <a:pt x="416559" y="271127"/>
                  </a:cubicBezTo>
                  <a:cubicBezTo>
                    <a:pt x="418231" y="265919"/>
                    <a:pt x="415209" y="253189"/>
                    <a:pt x="418231" y="249910"/>
                  </a:cubicBezTo>
                  <a:cubicBezTo>
                    <a:pt x="421253" y="246631"/>
                    <a:pt x="419581" y="244638"/>
                    <a:pt x="420995" y="237051"/>
                  </a:cubicBezTo>
                  <a:cubicBezTo>
                    <a:pt x="421028" y="236646"/>
                    <a:pt x="421028" y="236235"/>
                    <a:pt x="420995" y="235830"/>
                  </a:cubicBezTo>
                  <a:cubicBezTo>
                    <a:pt x="420995" y="229786"/>
                    <a:pt x="412894" y="231715"/>
                    <a:pt x="407172" y="226057"/>
                  </a:cubicBezTo>
                  <a:cubicBezTo>
                    <a:pt x="401450" y="220399"/>
                    <a:pt x="387884" y="222714"/>
                    <a:pt x="380748" y="225478"/>
                  </a:cubicBezTo>
                  <a:cubicBezTo>
                    <a:pt x="373611" y="228243"/>
                    <a:pt x="365317" y="222456"/>
                    <a:pt x="357602" y="226893"/>
                  </a:cubicBezTo>
                  <a:lnTo>
                    <a:pt x="357602" y="226893"/>
                  </a:lnTo>
                  <a:cubicBezTo>
                    <a:pt x="353230" y="229207"/>
                    <a:pt x="351944" y="226893"/>
                    <a:pt x="352587" y="223935"/>
                  </a:cubicBezTo>
                  <a:cubicBezTo>
                    <a:pt x="353121" y="221421"/>
                    <a:pt x="354477" y="219158"/>
                    <a:pt x="356444" y="217506"/>
                  </a:cubicBezTo>
                  <a:cubicBezTo>
                    <a:pt x="361459" y="213648"/>
                    <a:pt x="354001" y="198218"/>
                    <a:pt x="359788" y="196868"/>
                  </a:cubicBezTo>
                  <a:cubicBezTo>
                    <a:pt x="360823" y="196553"/>
                    <a:pt x="361768" y="196000"/>
                    <a:pt x="362552" y="195260"/>
                  </a:cubicBezTo>
                  <a:lnTo>
                    <a:pt x="362552" y="195260"/>
                  </a:lnTo>
                  <a:cubicBezTo>
                    <a:pt x="366044" y="190329"/>
                    <a:pt x="367953" y="184453"/>
                    <a:pt x="368017" y="178415"/>
                  </a:cubicBezTo>
                  <a:cubicBezTo>
                    <a:pt x="368853" y="170957"/>
                    <a:pt x="366410" y="168450"/>
                    <a:pt x="370268" y="164335"/>
                  </a:cubicBezTo>
                  <a:cubicBezTo>
                    <a:pt x="374125" y="160220"/>
                    <a:pt x="378240" y="159899"/>
                    <a:pt x="377147" y="154112"/>
                  </a:cubicBezTo>
                  <a:cubicBezTo>
                    <a:pt x="376054" y="148326"/>
                    <a:pt x="370718" y="154112"/>
                    <a:pt x="366410" y="151412"/>
                  </a:cubicBezTo>
                  <a:cubicBezTo>
                    <a:pt x="362102" y="148711"/>
                    <a:pt x="358116" y="150576"/>
                    <a:pt x="347122" y="152183"/>
                  </a:cubicBezTo>
                  <a:cubicBezTo>
                    <a:pt x="336128" y="153791"/>
                    <a:pt x="330598" y="158613"/>
                    <a:pt x="331177" y="166521"/>
                  </a:cubicBezTo>
                  <a:cubicBezTo>
                    <a:pt x="331756" y="174429"/>
                    <a:pt x="327319" y="170957"/>
                    <a:pt x="327577" y="177837"/>
                  </a:cubicBezTo>
                  <a:cubicBezTo>
                    <a:pt x="327834" y="184716"/>
                    <a:pt x="318768" y="184973"/>
                    <a:pt x="319347" y="189152"/>
                  </a:cubicBezTo>
                  <a:cubicBezTo>
                    <a:pt x="319926" y="193331"/>
                    <a:pt x="312146" y="189152"/>
                    <a:pt x="309960" y="187738"/>
                  </a:cubicBezTo>
                  <a:cubicBezTo>
                    <a:pt x="307774" y="186323"/>
                    <a:pt x="284243" y="193524"/>
                    <a:pt x="280706" y="194167"/>
                  </a:cubicBezTo>
                  <a:cubicBezTo>
                    <a:pt x="277170" y="194810"/>
                    <a:pt x="271384" y="187288"/>
                    <a:pt x="266690" y="187738"/>
                  </a:cubicBezTo>
                  <a:cubicBezTo>
                    <a:pt x="261997" y="188188"/>
                    <a:pt x="260261" y="180858"/>
                    <a:pt x="259490" y="174879"/>
                  </a:cubicBezTo>
                  <a:cubicBezTo>
                    <a:pt x="258718" y="168900"/>
                    <a:pt x="250167" y="163821"/>
                    <a:pt x="246309" y="158613"/>
                  </a:cubicBezTo>
                  <a:cubicBezTo>
                    <a:pt x="242452" y="153405"/>
                    <a:pt x="241873" y="141768"/>
                    <a:pt x="241616" y="134374"/>
                  </a:cubicBezTo>
                  <a:cubicBezTo>
                    <a:pt x="240632" y="122640"/>
                    <a:pt x="242034" y="110830"/>
                    <a:pt x="245731" y="99655"/>
                  </a:cubicBezTo>
                  <a:cubicBezTo>
                    <a:pt x="246354" y="97984"/>
                    <a:pt x="246727" y="96229"/>
                    <a:pt x="246824" y="94448"/>
                  </a:cubicBezTo>
                  <a:cubicBezTo>
                    <a:pt x="245313" y="93348"/>
                    <a:pt x="243538" y="92686"/>
                    <a:pt x="241680" y="92519"/>
                  </a:cubicBezTo>
                  <a:cubicBezTo>
                    <a:pt x="236987" y="92519"/>
                    <a:pt x="226378" y="86089"/>
                    <a:pt x="224321" y="86089"/>
                  </a:cubicBezTo>
                  <a:cubicBezTo>
                    <a:pt x="222263" y="86089"/>
                    <a:pt x="222521" y="81075"/>
                    <a:pt x="220785" y="78438"/>
                  </a:cubicBezTo>
                  <a:cubicBezTo>
                    <a:pt x="219049" y="75802"/>
                    <a:pt x="220206" y="70787"/>
                    <a:pt x="217827" y="68987"/>
                  </a:cubicBezTo>
                  <a:cubicBezTo>
                    <a:pt x="212401" y="64615"/>
                    <a:pt x="208318" y="58797"/>
                    <a:pt x="206061" y="52207"/>
                  </a:cubicBezTo>
                  <a:cubicBezTo>
                    <a:pt x="203683" y="43977"/>
                    <a:pt x="189281" y="39862"/>
                    <a:pt x="184009" y="39348"/>
                  </a:cubicBezTo>
                  <a:cubicBezTo>
                    <a:pt x="178737" y="38833"/>
                    <a:pt x="175715" y="50278"/>
                    <a:pt x="174236" y="50856"/>
                  </a:cubicBezTo>
                  <a:cubicBezTo>
                    <a:pt x="169189" y="48902"/>
                    <a:pt x="164361" y="46427"/>
                    <a:pt x="159834" y="43463"/>
                  </a:cubicBezTo>
                  <a:cubicBezTo>
                    <a:pt x="156915" y="41939"/>
                    <a:pt x="155179" y="38840"/>
                    <a:pt x="155398" y="35554"/>
                  </a:cubicBezTo>
                  <a:cubicBezTo>
                    <a:pt x="155398" y="32018"/>
                    <a:pt x="148969" y="26425"/>
                    <a:pt x="147490" y="25846"/>
                  </a:cubicBezTo>
                  <a:cubicBezTo>
                    <a:pt x="142533" y="21834"/>
                    <a:pt x="137807" y="17540"/>
                    <a:pt x="133345" y="12987"/>
                  </a:cubicBezTo>
                  <a:lnTo>
                    <a:pt x="114057" y="12987"/>
                  </a:lnTo>
                  <a:lnTo>
                    <a:pt x="109942" y="18260"/>
                  </a:lnTo>
                  <a:lnTo>
                    <a:pt x="74581" y="18581"/>
                  </a:lnTo>
                  <a:cubicBezTo>
                    <a:pt x="74581" y="18581"/>
                    <a:pt x="47513" y="8551"/>
                    <a:pt x="42434" y="7394"/>
                  </a:cubicBezTo>
                  <a:cubicBezTo>
                    <a:pt x="37522" y="5542"/>
                    <a:pt x="32880" y="3054"/>
                    <a:pt x="28611" y="0"/>
                  </a:cubicBezTo>
                  <a:lnTo>
                    <a:pt x="0" y="3794"/>
                  </a:lnTo>
                  <a:cubicBezTo>
                    <a:pt x="1742" y="7478"/>
                    <a:pt x="3896" y="10949"/>
                    <a:pt x="6429" y="14145"/>
                  </a:cubicBezTo>
                  <a:cubicBezTo>
                    <a:pt x="11611" y="21384"/>
                    <a:pt x="15186" y="29646"/>
                    <a:pt x="16909" y="38383"/>
                  </a:cubicBezTo>
                  <a:cubicBezTo>
                    <a:pt x="17424" y="42756"/>
                    <a:pt x="25396" y="46356"/>
                    <a:pt x="32340" y="50792"/>
                  </a:cubicBezTo>
                  <a:cubicBezTo>
                    <a:pt x="37387" y="54663"/>
                    <a:pt x="39746" y="61105"/>
                    <a:pt x="38383" y="67316"/>
                  </a:cubicBezTo>
                  <a:cubicBezTo>
                    <a:pt x="37548" y="69759"/>
                    <a:pt x="28996" y="65644"/>
                    <a:pt x="28482" y="68151"/>
                  </a:cubicBezTo>
                  <a:cubicBezTo>
                    <a:pt x="27968" y="70659"/>
                    <a:pt x="39476" y="80239"/>
                    <a:pt x="43913" y="79724"/>
                  </a:cubicBezTo>
                  <a:cubicBezTo>
                    <a:pt x="48349" y="79210"/>
                    <a:pt x="50342" y="81910"/>
                    <a:pt x="57414" y="87954"/>
                  </a:cubicBezTo>
                  <a:cubicBezTo>
                    <a:pt x="64487" y="93998"/>
                    <a:pt x="63844" y="101198"/>
                    <a:pt x="60950" y="103384"/>
                  </a:cubicBezTo>
                  <a:cubicBezTo>
                    <a:pt x="58057" y="105570"/>
                    <a:pt x="66480" y="110264"/>
                    <a:pt x="75288" y="116243"/>
                  </a:cubicBezTo>
                  <a:cubicBezTo>
                    <a:pt x="81383" y="119934"/>
                    <a:pt x="86051" y="125572"/>
                    <a:pt x="88532" y="132252"/>
                  </a:cubicBezTo>
                  <a:cubicBezTo>
                    <a:pt x="89368" y="135274"/>
                    <a:pt x="93226" y="132252"/>
                    <a:pt x="94576" y="128395"/>
                  </a:cubicBezTo>
                  <a:cubicBezTo>
                    <a:pt x="95926" y="124537"/>
                    <a:pt x="91811" y="123187"/>
                    <a:pt x="91811" y="118494"/>
                  </a:cubicBezTo>
                  <a:cubicBezTo>
                    <a:pt x="91811" y="113800"/>
                    <a:pt x="84675" y="114636"/>
                    <a:pt x="81332" y="114057"/>
                  </a:cubicBezTo>
                  <a:cubicBezTo>
                    <a:pt x="77988" y="113479"/>
                    <a:pt x="81332" y="106342"/>
                    <a:pt x="78310" y="103063"/>
                  </a:cubicBezTo>
                  <a:cubicBezTo>
                    <a:pt x="74484" y="97765"/>
                    <a:pt x="71777" y="91754"/>
                    <a:pt x="70337" y="85382"/>
                  </a:cubicBezTo>
                  <a:cubicBezTo>
                    <a:pt x="68666" y="79339"/>
                    <a:pt x="60115" y="73295"/>
                    <a:pt x="56578" y="66673"/>
                  </a:cubicBezTo>
                  <a:cubicBezTo>
                    <a:pt x="54155" y="61574"/>
                    <a:pt x="50766" y="56990"/>
                    <a:pt x="46613" y="53171"/>
                  </a:cubicBezTo>
                  <a:cubicBezTo>
                    <a:pt x="44170" y="51499"/>
                    <a:pt x="50213" y="49056"/>
                    <a:pt x="48027" y="46742"/>
                  </a:cubicBezTo>
                  <a:cubicBezTo>
                    <a:pt x="45841" y="44427"/>
                    <a:pt x="42498" y="44556"/>
                    <a:pt x="38383" y="42627"/>
                  </a:cubicBezTo>
                  <a:cubicBezTo>
                    <a:pt x="34352" y="41097"/>
                    <a:pt x="31639" y="37290"/>
                    <a:pt x="31504" y="32983"/>
                  </a:cubicBezTo>
                  <a:cubicBezTo>
                    <a:pt x="30887" y="26682"/>
                    <a:pt x="29485" y="20484"/>
                    <a:pt x="27325" y="14530"/>
                  </a:cubicBezTo>
                  <a:cubicBezTo>
                    <a:pt x="25975" y="10930"/>
                    <a:pt x="30411" y="11444"/>
                    <a:pt x="31761" y="13116"/>
                  </a:cubicBezTo>
                  <a:cubicBezTo>
                    <a:pt x="33111" y="14788"/>
                    <a:pt x="34268" y="16459"/>
                    <a:pt x="36197" y="15302"/>
                  </a:cubicBezTo>
                  <a:cubicBezTo>
                    <a:pt x="38737" y="14293"/>
                    <a:pt x="41611" y="15527"/>
                    <a:pt x="42627" y="18067"/>
                  </a:cubicBezTo>
                  <a:cubicBezTo>
                    <a:pt x="44041" y="21088"/>
                    <a:pt x="48735" y="18388"/>
                    <a:pt x="50921" y="19738"/>
                  </a:cubicBezTo>
                  <a:cubicBezTo>
                    <a:pt x="53107" y="21088"/>
                    <a:pt x="45970" y="22760"/>
                    <a:pt x="53107" y="35426"/>
                  </a:cubicBezTo>
                  <a:cubicBezTo>
                    <a:pt x="60243" y="48092"/>
                    <a:pt x="55357" y="40955"/>
                    <a:pt x="55357" y="49506"/>
                  </a:cubicBezTo>
                  <a:cubicBezTo>
                    <a:pt x="55357" y="58057"/>
                    <a:pt x="59729" y="54200"/>
                    <a:pt x="61143" y="52785"/>
                  </a:cubicBezTo>
                  <a:cubicBezTo>
                    <a:pt x="62558" y="51371"/>
                    <a:pt x="66351" y="55550"/>
                    <a:pt x="69952" y="59986"/>
                  </a:cubicBezTo>
                  <a:cubicBezTo>
                    <a:pt x="73552" y="64422"/>
                    <a:pt x="80431" y="64680"/>
                    <a:pt x="80431" y="67123"/>
                  </a:cubicBezTo>
                  <a:cubicBezTo>
                    <a:pt x="80239" y="70968"/>
                    <a:pt x="82759" y="74420"/>
                    <a:pt x="86475" y="75417"/>
                  </a:cubicBezTo>
                  <a:cubicBezTo>
                    <a:pt x="91168" y="76252"/>
                    <a:pt x="92004" y="81460"/>
                    <a:pt x="95026" y="81846"/>
                  </a:cubicBezTo>
                  <a:cubicBezTo>
                    <a:pt x="98048" y="82232"/>
                    <a:pt x="98627" y="85704"/>
                    <a:pt x="96955" y="89240"/>
                  </a:cubicBezTo>
                  <a:cubicBezTo>
                    <a:pt x="95283" y="92776"/>
                    <a:pt x="96955" y="95669"/>
                    <a:pt x="104670" y="98884"/>
                  </a:cubicBezTo>
                  <a:cubicBezTo>
                    <a:pt x="112385" y="102099"/>
                    <a:pt x="108785" y="102484"/>
                    <a:pt x="114829" y="108271"/>
                  </a:cubicBezTo>
                  <a:cubicBezTo>
                    <a:pt x="124286" y="117690"/>
                    <a:pt x="133217" y="127630"/>
                    <a:pt x="141575" y="138039"/>
                  </a:cubicBezTo>
                  <a:cubicBezTo>
                    <a:pt x="144269" y="142205"/>
                    <a:pt x="146307" y="146757"/>
                    <a:pt x="147618" y="151540"/>
                  </a:cubicBezTo>
                  <a:cubicBezTo>
                    <a:pt x="149033" y="155398"/>
                    <a:pt x="144918" y="157327"/>
                    <a:pt x="147104" y="160606"/>
                  </a:cubicBezTo>
                  <a:cubicBezTo>
                    <a:pt x="149290" y="163885"/>
                    <a:pt x="142989" y="162599"/>
                    <a:pt x="143246" y="165042"/>
                  </a:cubicBezTo>
                  <a:cubicBezTo>
                    <a:pt x="143504" y="167485"/>
                    <a:pt x="147104" y="179958"/>
                    <a:pt x="153148" y="180473"/>
                  </a:cubicBezTo>
                  <a:cubicBezTo>
                    <a:pt x="159191" y="180987"/>
                    <a:pt x="166006" y="188445"/>
                    <a:pt x="171086" y="192624"/>
                  </a:cubicBezTo>
                  <a:cubicBezTo>
                    <a:pt x="176165" y="196803"/>
                    <a:pt x="183494" y="195903"/>
                    <a:pt x="190888" y="198668"/>
                  </a:cubicBezTo>
                  <a:cubicBezTo>
                    <a:pt x="198282" y="201432"/>
                    <a:pt x="204711" y="208055"/>
                    <a:pt x="215448" y="211076"/>
                  </a:cubicBezTo>
                  <a:cubicBezTo>
                    <a:pt x="225330" y="213803"/>
                    <a:pt x="234788" y="217892"/>
                    <a:pt x="243545" y="223228"/>
                  </a:cubicBezTo>
                  <a:cubicBezTo>
                    <a:pt x="250424" y="227600"/>
                    <a:pt x="258975" y="225671"/>
                    <a:pt x="268619" y="221813"/>
                  </a:cubicBezTo>
                  <a:cubicBezTo>
                    <a:pt x="278263" y="217956"/>
                    <a:pt x="285721" y="222907"/>
                    <a:pt x="291251" y="225092"/>
                  </a:cubicBezTo>
                  <a:cubicBezTo>
                    <a:pt x="296098" y="228031"/>
                    <a:pt x="300586" y="231528"/>
                    <a:pt x="304624" y="235508"/>
                  </a:cubicBezTo>
                  <a:lnTo>
                    <a:pt x="304624" y="235508"/>
                  </a:lnTo>
                  <a:cubicBezTo>
                    <a:pt x="308944" y="239642"/>
                    <a:pt x="313496" y="243526"/>
                    <a:pt x="318254" y="247145"/>
                  </a:cubicBezTo>
                  <a:cubicBezTo>
                    <a:pt x="323462" y="250489"/>
                    <a:pt x="332013" y="247145"/>
                    <a:pt x="335613" y="250231"/>
                  </a:cubicBezTo>
                  <a:lnTo>
                    <a:pt x="335999" y="250231"/>
                  </a:lnTo>
                  <a:cubicBezTo>
                    <a:pt x="343451" y="254462"/>
                    <a:pt x="351629" y="257252"/>
                    <a:pt x="360109" y="258461"/>
                  </a:cubicBezTo>
                  <a:cubicBezTo>
                    <a:pt x="361614" y="258448"/>
                    <a:pt x="363054" y="257876"/>
                    <a:pt x="364160" y="256854"/>
                  </a:cubicBezTo>
                  <a:cubicBezTo>
                    <a:pt x="365188" y="255954"/>
                    <a:pt x="366024" y="255311"/>
                    <a:pt x="367825" y="256854"/>
                  </a:cubicBezTo>
                  <a:cubicBezTo>
                    <a:pt x="369065" y="258050"/>
                    <a:pt x="369515" y="259843"/>
                    <a:pt x="368982" y="261483"/>
                  </a:cubicBezTo>
                  <a:cubicBezTo>
                    <a:pt x="368352" y="263296"/>
                    <a:pt x="369143" y="265295"/>
                    <a:pt x="370846" y="266176"/>
                  </a:cubicBezTo>
                  <a:cubicBezTo>
                    <a:pt x="375283" y="268684"/>
                    <a:pt x="381326" y="278328"/>
                    <a:pt x="386020" y="280835"/>
                  </a:cubicBezTo>
                  <a:cubicBezTo>
                    <a:pt x="388058" y="281864"/>
                    <a:pt x="389588" y="283670"/>
                    <a:pt x="390263" y="285850"/>
                  </a:cubicBezTo>
                  <a:cubicBezTo>
                    <a:pt x="391047" y="287502"/>
                    <a:pt x="390687" y="289470"/>
                    <a:pt x="389363" y="290736"/>
                  </a:cubicBezTo>
                  <a:cubicBezTo>
                    <a:pt x="386900" y="293295"/>
                    <a:pt x="386984" y="297365"/>
                    <a:pt x="389549" y="299828"/>
                  </a:cubicBezTo>
                  <a:cubicBezTo>
                    <a:pt x="390405" y="300651"/>
                    <a:pt x="391478" y="301223"/>
                    <a:pt x="392642" y="301474"/>
                  </a:cubicBezTo>
                  <a:cubicBezTo>
                    <a:pt x="398686" y="303981"/>
                    <a:pt x="396757" y="300123"/>
                    <a:pt x="399779" y="300123"/>
                  </a:cubicBezTo>
                  <a:cubicBezTo>
                    <a:pt x="402800" y="300123"/>
                    <a:pt x="402543" y="304753"/>
                    <a:pt x="405308" y="304753"/>
                  </a:cubicBezTo>
                  <a:cubicBezTo>
                    <a:pt x="408072" y="304753"/>
                    <a:pt x="414437" y="308096"/>
                    <a:pt x="414116" y="312532"/>
                  </a:cubicBezTo>
                  <a:cubicBezTo>
                    <a:pt x="413795" y="316968"/>
                    <a:pt x="416366" y="318961"/>
                    <a:pt x="421317" y="318961"/>
                  </a:cubicBezTo>
                  <a:cubicBezTo>
                    <a:pt x="422320" y="318871"/>
                    <a:pt x="423336" y="318871"/>
                    <a:pt x="424339" y="318961"/>
                  </a:cubicBezTo>
                  <a:cubicBezTo>
                    <a:pt x="430331" y="319424"/>
                    <a:pt x="435976" y="321970"/>
                    <a:pt x="440284" y="326162"/>
                  </a:cubicBezTo>
                  <a:cubicBezTo>
                    <a:pt x="444463" y="331113"/>
                    <a:pt x="446713" y="327770"/>
                    <a:pt x="449413" y="332206"/>
                  </a:cubicBezTo>
                  <a:cubicBezTo>
                    <a:pt x="452114" y="336642"/>
                    <a:pt x="457643" y="332206"/>
                    <a:pt x="459057" y="329763"/>
                  </a:cubicBezTo>
                  <a:cubicBezTo>
                    <a:pt x="460472" y="327320"/>
                    <a:pt x="456036" y="325905"/>
                    <a:pt x="455457" y="322819"/>
                  </a:cubicBezTo>
                  <a:cubicBezTo>
                    <a:pt x="454878" y="319733"/>
                    <a:pt x="460986" y="320890"/>
                    <a:pt x="461886" y="316775"/>
                  </a:cubicBezTo>
                  <a:cubicBezTo>
                    <a:pt x="462786" y="312661"/>
                    <a:pt x="471787" y="310732"/>
                    <a:pt x="475645" y="312404"/>
                  </a:cubicBezTo>
                  <a:cubicBezTo>
                    <a:pt x="479503" y="314075"/>
                    <a:pt x="482846" y="316775"/>
                    <a:pt x="479246" y="320890"/>
                  </a:cubicBezTo>
                  <a:cubicBezTo>
                    <a:pt x="476610" y="323976"/>
                    <a:pt x="482010" y="329505"/>
                    <a:pt x="486575" y="333749"/>
                  </a:cubicBezTo>
                  <a:cubicBezTo>
                    <a:pt x="488118" y="335228"/>
                    <a:pt x="489597" y="336514"/>
                    <a:pt x="490561" y="337607"/>
                  </a:cubicBezTo>
                  <a:cubicBezTo>
                    <a:pt x="494419" y="341721"/>
                    <a:pt x="491911" y="345065"/>
                    <a:pt x="493004" y="347251"/>
                  </a:cubicBezTo>
                  <a:cubicBezTo>
                    <a:pt x="494097" y="349437"/>
                    <a:pt x="495255" y="352780"/>
                    <a:pt x="493004" y="354130"/>
                  </a:cubicBezTo>
                  <a:cubicBezTo>
                    <a:pt x="490754" y="355480"/>
                    <a:pt x="493004" y="370654"/>
                    <a:pt x="495255" y="373418"/>
                  </a:cubicBezTo>
                  <a:cubicBezTo>
                    <a:pt x="497505" y="376183"/>
                    <a:pt x="495255" y="378626"/>
                    <a:pt x="492490" y="384155"/>
                  </a:cubicBezTo>
                  <a:cubicBezTo>
                    <a:pt x="489725" y="389685"/>
                    <a:pt x="487218" y="392128"/>
                    <a:pt x="482267" y="392449"/>
                  </a:cubicBezTo>
                  <a:cubicBezTo>
                    <a:pt x="477317" y="392771"/>
                    <a:pt x="477574" y="400421"/>
                    <a:pt x="475838" y="400421"/>
                  </a:cubicBezTo>
                  <a:cubicBezTo>
                    <a:pt x="474102" y="400421"/>
                    <a:pt x="473523" y="403186"/>
                    <a:pt x="473331" y="405629"/>
                  </a:cubicBezTo>
                  <a:cubicBezTo>
                    <a:pt x="473266" y="406182"/>
                    <a:pt x="473266" y="406748"/>
                    <a:pt x="473331" y="407301"/>
                  </a:cubicBezTo>
                  <a:cubicBezTo>
                    <a:pt x="473331" y="409809"/>
                    <a:pt x="469473" y="411480"/>
                    <a:pt x="464779" y="411737"/>
                  </a:cubicBezTo>
                  <a:cubicBezTo>
                    <a:pt x="460086" y="411994"/>
                    <a:pt x="460665" y="417267"/>
                    <a:pt x="460665" y="420803"/>
                  </a:cubicBezTo>
                  <a:cubicBezTo>
                    <a:pt x="460665" y="424339"/>
                    <a:pt x="456807" y="424403"/>
                    <a:pt x="455135" y="428261"/>
                  </a:cubicBezTo>
                  <a:cubicBezTo>
                    <a:pt x="453464" y="432118"/>
                    <a:pt x="455714" y="432954"/>
                    <a:pt x="451856" y="434690"/>
                  </a:cubicBezTo>
                  <a:cubicBezTo>
                    <a:pt x="448950" y="435622"/>
                    <a:pt x="447343" y="438734"/>
                    <a:pt x="448275" y="441640"/>
                  </a:cubicBezTo>
                  <a:cubicBezTo>
                    <a:pt x="448455" y="442212"/>
                    <a:pt x="448732" y="442759"/>
                    <a:pt x="449092" y="443241"/>
                  </a:cubicBezTo>
                  <a:cubicBezTo>
                    <a:pt x="451278" y="446520"/>
                    <a:pt x="449092" y="449671"/>
                    <a:pt x="448256" y="451471"/>
                  </a:cubicBezTo>
                  <a:cubicBezTo>
                    <a:pt x="447420" y="453271"/>
                    <a:pt x="451535" y="454236"/>
                    <a:pt x="455393" y="457900"/>
                  </a:cubicBezTo>
                  <a:cubicBezTo>
                    <a:pt x="459250" y="461565"/>
                    <a:pt x="459829" y="456486"/>
                    <a:pt x="461501" y="459250"/>
                  </a:cubicBezTo>
                  <a:cubicBezTo>
                    <a:pt x="462568" y="462266"/>
                    <a:pt x="460986" y="465571"/>
                    <a:pt x="457977" y="466638"/>
                  </a:cubicBezTo>
                  <a:cubicBezTo>
                    <a:pt x="457334" y="466863"/>
                    <a:pt x="456653" y="466972"/>
                    <a:pt x="455971" y="466966"/>
                  </a:cubicBezTo>
                  <a:lnTo>
                    <a:pt x="454943" y="466966"/>
                  </a:lnTo>
                  <a:cubicBezTo>
                    <a:pt x="450892" y="467801"/>
                    <a:pt x="446713" y="473395"/>
                    <a:pt x="444656" y="477831"/>
                  </a:cubicBezTo>
                  <a:cubicBezTo>
                    <a:pt x="442598" y="482267"/>
                    <a:pt x="448513" y="491590"/>
                    <a:pt x="449349" y="494933"/>
                  </a:cubicBezTo>
                  <a:cubicBezTo>
                    <a:pt x="450185" y="498277"/>
                    <a:pt x="446070" y="494933"/>
                    <a:pt x="445491" y="498212"/>
                  </a:cubicBezTo>
                  <a:cubicBezTo>
                    <a:pt x="444913" y="501491"/>
                    <a:pt x="454621" y="505671"/>
                    <a:pt x="458993" y="508949"/>
                  </a:cubicBezTo>
                  <a:cubicBezTo>
                    <a:pt x="463365" y="512228"/>
                    <a:pt x="467287" y="521808"/>
                    <a:pt x="471402" y="526052"/>
                  </a:cubicBezTo>
                  <a:cubicBezTo>
                    <a:pt x="475517" y="530295"/>
                    <a:pt x="475838" y="534281"/>
                    <a:pt x="480210" y="545340"/>
                  </a:cubicBezTo>
                  <a:cubicBezTo>
                    <a:pt x="485366" y="558186"/>
                    <a:pt x="491834" y="570466"/>
                    <a:pt x="499498" y="581987"/>
                  </a:cubicBezTo>
                  <a:cubicBezTo>
                    <a:pt x="505927" y="589702"/>
                    <a:pt x="508306" y="595746"/>
                    <a:pt x="506956" y="597932"/>
                  </a:cubicBezTo>
                  <a:cubicBezTo>
                    <a:pt x="505966" y="602317"/>
                    <a:pt x="507843" y="606850"/>
                    <a:pt x="511650" y="609248"/>
                  </a:cubicBezTo>
                  <a:cubicBezTo>
                    <a:pt x="517487" y="614616"/>
                    <a:pt x="523962" y="619233"/>
                    <a:pt x="530938" y="623007"/>
                  </a:cubicBezTo>
                  <a:cubicBezTo>
                    <a:pt x="542511" y="628793"/>
                    <a:pt x="563728" y="639852"/>
                    <a:pt x="566749" y="645059"/>
                  </a:cubicBezTo>
                  <a:cubicBezTo>
                    <a:pt x="570851" y="649856"/>
                    <a:pt x="575943" y="653713"/>
                    <a:pt x="581665" y="656375"/>
                  </a:cubicBezTo>
                  <a:cubicBezTo>
                    <a:pt x="582180" y="656696"/>
                    <a:pt x="582373" y="657532"/>
                    <a:pt x="582373" y="658690"/>
                  </a:cubicBezTo>
                  <a:cubicBezTo>
                    <a:pt x="581762" y="662393"/>
                    <a:pt x="581762" y="666173"/>
                    <a:pt x="582373" y="669877"/>
                  </a:cubicBezTo>
                  <a:cubicBezTo>
                    <a:pt x="584334" y="680485"/>
                    <a:pt x="584617" y="691331"/>
                    <a:pt x="583209" y="702024"/>
                  </a:cubicBezTo>
                  <a:cubicBezTo>
                    <a:pt x="581923" y="708376"/>
                    <a:pt x="580245" y="714644"/>
                    <a:pt x="578194" y="720797"/>
                  </a:cubicBezTo>
                  <a:cubicBezTo>
                    <a:pt x="576586" y="725491"/>
                    <a:pt x="582051" y="725748"/>
                    <a:pt x="579865" y="727934"/>
                  </a:cubicBezTo>
                  <a:cubicBezTo>
                    <a:pt x="577679" y="730120"/>
                    <a:pt x="578515" y="735649"/>
                    <a:pt x="578515" y="744457"/>
                  </a:cubicBezTo>
                  <a:cubicBezTo>
                    <a:pt x="578515" y="753266"/>
                    <a:pt x="573243" y="768182"/>
                    <a:pt x="572986" y="772875"/>
                  </a:cubicBezTo>
                  <a:cubicBezTo>
                    <a:pt x="572729" y="777569"/>
                    <a:pt x="569128" y="780590"/>
                    <a:pt x="569707" y="785734"/>
                  </a:cubicBezTo>
                  <a:cubicBezTo>
                    <a:pt x="569983" y="790061"/>
                    <a:pt x="567855" y="794182"/>
                    <a:pt x="564178" y="796471"/>
                  </a:cubicBezTo>
                  <a:cubicBezTo>
                    <a:pt x="561156" y="798978"/>
                    <a:pt x="569128" y="806951"/>
                    <a:pt x="568871" y="811387"/>
                  </a:cubicBezTo>
                  <a:cubicBezTo>
                    <a:pt x="568614" y="815823"/>
                    <a:pt x="562763" y="817817"/>
                    <a:pt x="564178" y="824889"/>
                  </a:cubicBezTo>
                  <a:cubicBezTo>
                    <a:pt x="565071" y="833954"/>
                    <a:pt x="565071" y="843084"/>
                    <a:pt x="564178" y="852149"/>
                  </a:cubicBezTo>
                  <a:cubicBezTo>
                    <a:pt x="564178" y="855171"/>
                    <a:pt x="560577" y="854914"/>
                    <a:pt x="561413" y="860701"/>
                  </a:cubicBezTo>
                  <a:cubicBezTo>
                    <a:pt x="562249" y="866487"/>
                    <a:pt x="557813" y="867837"/>
                    <a:pt x="556977" y="876131"/>
                  </a:cubicBezTo>
                  <a:cubicBezTo>
                    <a:pt x="554855" y="885319"/>
                    <a:pt x="551615" y="894217"/>
                    <a:pt x="547333" y="902620"/>
                  </a:cubicBezTo>
                  <a:cubicBezTo>
                    <a:pt x="544890" y="909049"/>
                    <a:pt x="544890" y="912521"/>
                    <a:pt x="541546" y="912521"/>
                  </a:cubicBezTo>
                  <a:cubicBezTo>
                    <a:pt x="538203" y="912521"/>
                    <a:pt x="537431" y="916122"/>
                    <a:pt x="539939" y="921587"/>
                  </a:cubicBezTo>
                  <a:cubicBezTo>
                    <a:pt x="542446" y="927052"/>
                    <a:pt x="538267" y="931809"/>
                    <a:pt x="541546" y="937339"/>
                  </a:cubicBezTo>
                  <a:cubicBezTo>
                    <a:pt x="544825" y="942868"/>
                    <a:pt x="543796" y="944733"/>
                    <a:pt x="542125" y="950197"/>
                  </a:cubicBezTo>
                  <a:cubicBezTo>
                    <a:pt x="540453" y="955662"/>
                    <a:pt x="538267" y="955662"/>
                    <a:pt x="538267" y="960677"/>
                  </a:cubicBezTo>
                  <a:cubicBezTo>
                    <a:pt x="538267" y="965692"/>
                    <a:pt x="534410" y="969743"/>
                    <a:pt x="536596" y="975272"/>
                  </a:cubicBezTo>
                  <a:cubicBezTo>
                    <a:pt x="538782" y="980801"/>
                    <a:pt x="538267" y="982730"/>
                    <a:pt x="535503" y="982730"/>
                  </a:cubicBezTo>
                  <a:cubicBezTo>
                    <a:pt x="532738" y="982730"/>
                    <a:pt x="531388" y="987102"/>
                    <a:pt x="530295" y="996232"/>
                  </a:cubicBezTo>
                  <a:cubicBezTo>
                    <a:pt x="529202" y="1005362"/>
                    <a:pt x="529459" y="1005040"/>
                    <a:pt x="536081" y="1004461"/>
                  </a:cubicBezTo>
                  <a:cubicBezTo>
                    <a:pt x="542704" y="1003883"/>
                    <a:pt x="537431" y="982152"/>
                    <a:pt x="541546" y="982152"/>
                  </a:cubicBezTo>
                  <a:cubicBezTo>
                    <a:pt x="545661" y="982152"/>
                    <a:pt x="542125" y="978551"/>
                    <a:pt x="546240" y="977458"/>
                  </a:cubicBezTo>
                  <a:cubicBezTo>
                    <a:pt x="550354" y="976365"/>
                    <a:pt x="546818" y="981316"/>
                    <a:pt x="549583" y="982152"/>
                  </a:cubicBezTo>
                  <a:cubicBezTo>
                    <a:pt x="552348" y="982987"/>
                    <a:pt x="554276" y="985173"/>
                    <a:pt x="550419" y="987681"/>
                  </a:cubicBezTo>
                  <a:cubicBezTo>
                    <a:pt x="546561" y="990188"/>
                    <a:pt x="551190" y="995074"/>
                    <a:pt x="549261" y="998161"/>
                  </a:cubicBezTo>
                  <a:cubicBezTo>
                    <a:pt x="547333" y="1001247"/>
                    <a:pt x="544568" y="1004590"/>
                    <a:pt x="546240" y="1008062"/>
                  </a:cubicBezTo>
                  <a:cubicBezTo>
                    <a:pt x="547911" y="1011534"/>
                    <a:pt x="544311" y="1011341"/>
                    <a:pt x="544054" y="1016034"/>
                  </a:cubicBezTo>
                  <a:cubicBezTo>
                    <a:pt x="543796" y="1020728"/>
                    <a:pt x="546497" y="1020985"/>
                    <a:pt x="544568" y="1022078"/>
                  </a:cubicBezTo>
                  <a:cubicBezTo>
                    <a:pt x="542639" y="1023171"/>
                    <a:pt x="547076" y="1026771"/>
                    <a:pt x="544568" y="1027350"/>
                  </a:cubicBezTo>
                  <a:cubicBezTo>
                    <a:pt x="542061" y="1027929"/>
                    <a:pt x="543475" y="1031465"/>
                    <a:pt x="545147" y="1034808"/>
                  </a:cubicBezTo>
                  <a:cubicBezTo>
                    <a:pt x="546818" y="1038151"/>
                    <a:pt x="541546" y="1036158"/>
                    <a:pt x="538717" y="1038344"/>
                  </a:cubicBezTo>
                  <a:cubicBezTo>
                    <a:pt x="535888" y="1040530"/>
                    <a:pt x="541482" y="1043616"/>
                    <a:pt x="539810" y="1046638"/>
                  </a:cubicBezTo>
                  <a:cubicBezTo>
                    <a:pt x="538139" y="1049660"/>
                    <a:pt x="533767" y="1044966"/>
                    <a:pt x="531838" y="1043359"/>
                  </a:cubicBezTo>
                  <a:cubicBezTo>
                    <a:pt x="529909" y="1041752"/>
                    <a:pt x="534860" y="1038344"/>
                    <a:pt x="537367" y="1035065"/>
                  </a:cubicBezTo>
                  <a:cubicBezTo>
                    <a:pt x="539875" y="1031786"/>
                    <a:pt x="534860" y="1024328"/>
                    <a:pt x="530938" y="1025936"/>
                  </a:cubicBezTo>
                  <a:cubicBezTo>
                    <a:pt x="527016" y="1027543"/>
                    <a:pt x="535053" y="1032365"/>
                    <a:pt x="535053" y="1035901"/>
                  </a:cubicBezTo>
                  <a:cubicBezTo>
                    <a:pt x="535053" y="1039437"/>
                    <a:pt x="528173" y="1035065"/>
                    <a:pt x="528623" y="1038923"/>
                  </a:cubicBezTo>
                  <a:cubicBezTo>
                    <a:pt x="529073" y="1042781"/>
                    <a:pt x="523930" y="1041366"/>
                    <a:pt x="521487" y="1044130"/>
                  </a:cubicBezTo>
                  <a:cubicBezTo>
                    <a:pt x="519043" y="1046895"/>
                    <a:pt x="524766" y="1049403"/>
                    <a:pt x="522001" y="1050239"/>
                  </a:cubicBezTo>
                  <a:cubicBezTo>
                    <a:pt x="519236" y="1051074"/>
                    <a:pt x="514607" y="1054932"/>
                    <a:pt x="514286" y="1057632"/>
                  </a:cubicBezTo>
                  <a:cubicBezTo>
                    <a:pt x="513964" y="1060333"/>
                    <a:pt x="517372" y="1060975"/>
                    <a:pt x="517372" y="1058211"/>
                  </a:cubicBezTo>
                  <a:cubicBezTo>
                    <a:pt x="517372" y="1055446"/>
                    <a:pt x="521744" y="1054610"/>
                    <a:pt x="523158" y="1058211"/>
                  </a:cubicBezTo>
                  <a:cubicBezTo>
                    <a:pt x="524573" y="1061811"/>
                    <a:pt x="526437" y="1058211"/>
                    <a:pt x="530295" y="1059047"/>
                  </a:cubicBezTo>
                  <a:cubicBezTo>
                    <a:pt x="534152" y="1059883"/>
                    <a:pt x="533574" y="1065476"/>
                    <a:pt x="531388" y="1065476"/>
                  </a:cubicBezTo>
                  <a:cubicBezTo>
                    <a:pt x="529202" y="1065476"/>
                    <a:pt x="527016" y="1069077"/>
                    <a:pt x="527530" y="1073191"/>
                  </a:cubicBezTo>
                  <a:cubicBezTo>
                    <a:pt x="528045" y="1077306"/>
                    <a:pt x="535824" y="1073191"/>
                    <a:pt x="539103" y="1074349"/>
                  </a:cubicBezTo>
                  <a:cubicBezTo>
                    <a:pt x="542382" y="1075506"/>
                    <a:pt x="541353" y="1081228"/>
                    <a:pt x="539425" y="1079299"/>
                  </a:cubicBezTo>
                  <a:cubicBezTo>
                    <a:pt x="537496" y="1077371"/>
                    <a:pt x="532995" y="1074027"/>
                    <a:pt x="531131" y="1077371"/>
                  </a:cubicBezTo>
                  <a:cubicBezTo>
                    <a:pt x="529266" y="1080714"/>
                    <a:pt x="526180" y="1078978"/>
                    <a:pt x="523673" y="1077885"/>
                  </a:cubicBezTo>
                  <a:cubicBezTo>
                    <a:pt x="521165" y="1076792"/>
                    <a:pt x="512357" y="1082578"/>
                    <a:pt x="515443" y="1084829"/>
                  </a:cubicBezTo>
                  <a:cubicBezTo>
                    <a:pt x="518529" y="1087079"/>
                    <a:pt x="518143" y="1090551"/>
                    <a:pt x="520072" y="1090293"/>
                  </a:cubicBezTo>
                  <a:cubicBezTo>
                    <a:pt x="522567" y="1089946"/>
                    <a:pt x="524798" y="1088545"/>
                    <a:pt x="526180" y="1086436"/>
                  </a:cubicBezTo>
                  <a:cubicBezTo>
                    <a:pt x="527273" y="1084250"/>
                    <a:pt x="531131" y="1082064"/>
                    <a:pt x="531388" y="1087015"/>
                  </a:cubicBezTo>
                  <a:cubicBezTo>
                    <a:pt x="531645" y="1091965"/>
                    <a:pt x="526180" y="1089458"/>
                    <a:pt x="524958" y="1092223"/>
                  </a:cubicBezTo>
                  <a:cubicBezTo>
                    <a:pt x="523499" y="1095225"/>
                    <a:pt x="521281" y="1097790"/>
                    <a:pt x="518529" y="1099680"/>
                  </a:cubicBezTo>
                  <a:cubicBezTo>
                    <a:pt x="517153" y="1100561"/>
                    <a:pt x="516748" y="1102387"/>
                    <a:pt x="517629" y="1103763"/>
                  </a:cubicBezTo>
                  <a:cubicBezTo>
                    <a:pt x="518407" y="1104991"/>
                    <a:pt x="519963" y="1105467"/>
                    <a:pt x="521294" y="1104888"/>
                  </a:cubicBezTo>
                  <a:cubicBezTo>
                    <a:pt x="523994" y="1103538"/>
                    <a:pt x="520458" y="1108232"/>
                    <a:pt x="524315" y="1108746"/>
                  </a:cubicBezTo>
                  <a:cubicBezTo>
                    <a:pt x="528173" y="1109260"/>
                    <a:pt x="529009" y="1106560"/>
                    <a:pt x="528173" y="1103795"/>
                  </a:cubicBezTo>
                  <a:cubicBezTo>
                    <a:pt x="527337" y="1101031"/>
                    <a:pt x="530102" y="1094987"/>
                    <a:pt x="533381" y="1098009"/>
                  </a:cubicBezTo>
                  <a:cubicBezTo>
                    <a:pt x="536660" y="1101031"/>
                    <a:pt x="531709" y="1104117"/>
                    <a:pt x="531709" y="1106817"/>
                  </a:cubicBezTo>
                  <a:cubicBezTo>
                    <a:pt x="531709" y="1109518"/>
                    <a:pt x="529780" y="1113246"/>
                    <a:pt x="529780" y="1116204"/>
                  </a:cubicBezTo>
                  <a:cubicBezTo>
                    <a:pt x="529780" y="1119162"/>
                    <a:pt x="526244" y="1117554"/>
                    <a:pt x="526502" y="1120897"/>
                  </a:cubicBezTo>
                  <a:cubicBezTo>
                    <a:pt x="526759" y="1124241"/>
                    <a:pt x="518786" y="1121991"/>
                    <a:pt x="522387" y="1124176"/>
                  </a:cubicBezTo>
                  <a:cubicBezTo>
                    <a:pt x="525987" y="1126362"/>
                    <a:pt x="520136" y="1129448"/>
                    <a:pt x="522065" y="1131635"/>
                  </a:cubicBezTo>
                  <a:cubicBezTo>
                    <a:pt x="523994" y="1133820"/>
                    <a:pt x="525666" y="1128613"/>
                    <a:pt x="528495" y="1129705"/>
                  </a:cubicBezTo>
                  <a:cubicBezTo>
                    <a:pt x="531324" y="1130799"/>
                    <a:pt x="531002" y="1131635"/>
                    <a:pt x="534924" y="1129705"/>
                  </a:cubicBezTo>
                  <a:cubicBezTo>
                    <a:pt x="538846" y="1127777"/>
                    <a:pt x="540968" y="1132727"/>
                    <a:pt x="537367" y="1133885"/>
                  </a:cubicBezTo>
                  <a:cubicBezTo>
                    <a:pt x="533767" y="1135042"/>
                    <a:pt x="529973" y="1139093"/>
                    <a:pt x="531581" y="1139671"/>
                  </a:cubicBezTo>
                  <a:cubicBezTo>
                    <a:pt x="533188" y="1140250"/>
                    <a:pt x="538010" y="1136906"/>
                    <a:pt x="539039" y="1140443"/>
                  </a:cubicBezTo>
                  <a:cubicBezTo>
                    <a:pt x="540068" y="1143979"/>
                    <a:pt x="542896" y="1142950"/>
                    <a:pt x="543218" y="1139093"/>
                  </a:cubicBezTo>
                  <a:cubicBezTo>
                    <a:pt x="543539" y="1135235"/>
                    <a:pt x="550097" y="1138578"/>
                    <a:pt x="551190" y="1141857"/>
                  </a:cubicBezTo>
                  <a:cubicBezTo>
                    <a:pt x="552283" y="1145136"/>
                    <a:pt x="544311" y="1147065"/>
                    <a:pt x="540132" y="1146293"/>
                  </a:cubicBezTo>
                  <a:cubicBezTo>
                    <a:pt x="535953" y="1145522"/>
                    <a:pt x="533702" y="1150151"/>
                    <a:pt x="536596" y="1153687"/>
                  </a:cubicBezTo>
                  <a:cubicBezTo>
                    <a:pt x="539489" y="1157223"/>
                    <a:pt x="542639" y="1153687"/>
                    <a:pt x="545661" y="1150665"/>
                  </a:cubicBezTo>
                  <a:cubicBezTo>
                    <a:pt x="548683" y="1147644"/>
                    <a:pt x="563599" y="1148480"/>
                    <a:pt x="564949" y="1151758"/>
                  </a:cubicBezTo>
                  <a:cubicBezTo>
                    <a:pt x="566299" y="1155037"/>
                    <a:pt x="558070" y="1152337"/>
                    <a:pt x="557234" y="1154266"/>
                  </a:cubicBezTo>
                  <a:cubicBezTo>
                    <a:pt x="556398" y="1156194"/>
                    <a:pt x="550354" y="1157866"/>
                    <a:pt x="549519" y="1155616"/>
                  </a:cubicBezTo>
                  <a:cubicBezTo>
                    <a:pt x="548683" y="1153366"/>
                    <a:pt x="543089" y="1156452"/>
                    <a:pt x="542639" y="1160052"/>
                  </a:cubicBezTo>
                  <a:cubicBezTo>
                    <a:pt x="542189" y="1163653"/>
                    <a:pt x="537946" y="1163653"/>
                    <a:pt x="542639" y="1165003"/>
                  </a:cubicBezTo>
                  <a:cubicBezTo>
                    <a:pt x="547333" y="1166353"/>
                    <a:pt x="546240" y="1159795"/>
                    <a:pt x="553955" y="1160309"/>
                  </a:cubicBezTo>
                  <a:cubicBezTo>
                    <a:pt x="561670" y="1160824"/>
                    <a:pt x="565785" y="1153173"/>
                    <a:pt x="567971" y="1157545"/>
                  </a:cubicBezTo>
                  <a:cubicBezTo>
                    <a:pt x="570157" y="1161917"/>
                    <a:pt x="561542" y="1165582"/>
                    <a:pt x="558648" y="1162817"/>
                  </a:cubicBezTo>
                  <a:cubicBezTo>
                    <a:pt x="555755" y="1160052"/>
                    <a:pt x="552219" y="1164746"/>
                    <a:pt x="552219" y="1168861"/>
                  </a:cubicBezTo>
                  <a:cubicBezTo>
                    <a:pt x="552219" y="1172975"/>
                    <a:pt x="543411" y="1167768"/>
                    <a:pt x="538974" y="1167189"/>
                  </a:cubicBezTo>
                  <a:cubicBezTo>
                    <a:pt x="534538" y="1166610"/>
                    <a:pt x="536531" y="1171368"/>
                    <a:pt x="540389" y="1175483"/>
                  </a:cubicBezTo>
                  <a:cubicBezTo>
                    <a:pt x="544247" y="1179598"/>
                    <a:pt x="546433" y="1174904"/>
                    <a:pt x="551126" y="1177926"/>
                  </a:cubicBezTo>
                  <a:cubicBezTo>
                    <a:pt x="555819" y="1180948"/>
                    <a:pt x="555819" y="1184355"/>
                    <a:pt x="559098" y="1181269"/>
                  </a:cubicBezTo>
                  <a:cubicBezTo>
                    <a:pt x="562377" y="1178183"/>
                    <a:pt x="559098" y="1178505"/>
                    <a:pt x="556912" y="1177154"/>
                  </a:cubicBezTo>
                  <a:cubicBezTo>
                    <a:pt x="554726" y="1175804"/>
                    <a:pt x="556912" y="1171046"/>
                    <a:pt x="561863" y="1173554"/>
                  </a:cubicBezTo>
                  <a:cubicBezTo>
                    <a:pt x="565470" y="1175142"/>
                    <a:pt x="569681" y="1173509"/>
                    <a:pt x="571276" y="1169909"/>
                  </a:cubicBezTo>
                  <a:cubicBezTo>
                    <a:pt x="571996" y="1168275"/>
                    <a:pt x="572079" y="1166437"/>
                    <a:pt x="571507" y="1164746"/>
                  </a:cubicBezTo>
                  <a:cubicBezTo>
                    <a:pt x="569835" y="1158316"/>
                    <a:pt x="576201" y="1155102"/>
                    <a:pt x="582501" y="1152851"/>
                  </a:cubicBezTo>
                  <a:cubicBezTo>
                    <a:pt x="588802" y="1150601"/>
                    <a:pt x="585587" y="1157030"/>
                    <a:pt x="580894" y="1159281"/>
                  </a:cubicBezTo>
                  <a:cubicBezTo>
                    <a:pt x="576201" y="1161531"/>
                    <a:pt x="575365" y="1162560"/>
                    <a:pt x="578965" y="1166417"/>
                  </a:cubicBezTo>
                  <a:cubicBezTo>
                    <a:pt x="582566" y="1170275"/>
                    <a:pt x="587195" y="1163974"/>
                    <a:pt x="590217" y="1166996"/>
                  </a:cubicBezTo>
                  <a:cubicBezTo>
                    <a:pt x="593238" y="1170018"/>
                    <a:pt x="584752" y="1169439"/>
                    <a:pt x="583337" y="1172525"/>
                  </a:cubicBezTo>
                  <a:cubicBezTo>
                    <a:pt x="581923" y="1175611"/>
                    <a:pt x="588609" y="1178955"/>
                    <a:pt x="583916" y="1181334"/>
                  </a:cubicBezTo>
                  <a:cubicBezTo>
                    <a:pt x="579222" y="1183712"/>
                    <a:pt x="581408" y="1172204"/>
                    <a:pt x="578644" y="1171111"/>
                  </a:cubicBezTo>
                  <a:cubicBezTo>
                    <a:pt x="575879" y="1170018"/>
                    <a:pt x="573436" y="1172525"/>
                    <a:pt x="576201" y="1178826"/>
                  </a:cubicBezTo>
                  <a:cubicBezTo>
                    <a:pt x="578965" y="1185127"/>
                    <a:pt x="572857" y="1179662"/>
                    <a:pt x="570157" y="1176640"/>
                  </a:cubicBezTo>
                  <a:cubicBezTo>
                    <a:pt x="567457" y="1173618"/>
                    <a:pt x="563728" y="1177990"/>
                    <a:pt x="566814" y="1181334"/>
                  </a:cubicBezTo>
                  <a:cubicBezTo>
                    <a:pt x="569900" y="1184677"/>
                    <a:pt x="560384" y="1181334"/>
                    <a:pt x="560384" y="1186284"/>
                  </a:cubicBezTo>
                  <a:cubicBezTo>
                    <a:pt x="560384" y="1191235"/>
                    <a:pt x="564499" y="1187120"/>
                    <a:pt x="569450" y="1188213"/>
                  </a:cubicBezTo>
                  <a:cubicBezTo>
                    <a:pt x="574400" y="1189306"/>
                    <a:pt x="572214" y="1196442"/>
                    <a:pt x="575879" y="1199207"/>
                  </a:cubicBezTo>
                  <a:cubicBezTo>
                    <a:pt x="579544" y="1201972"/>
                    <a:pt x="576393" y="1190399"/>
                    <a:pt x="580251" y="1189563"/>
                  </a:cubicBezTo>
                  <a:cubicBezTo>
                    <a:pt x="584109" y="1188727"/>
                    <a:pt x="580251" y="1198371"/>
                    <a:pt x="589059" y="1201136"/>
                  </a:cubicBezTo>
                  <a:cubicBezTo>
                    <a:pt x="597868" y="1203901"/>
                    <a:pt x="589638" y="1199529"/>
                    <a:pt x="593496" y="1196764"/>
                  </a:cubicBezTo>
                  <a:cubicBezTo>
                    <a:pt x="597353" y="1193999"/>
                    <a:pt x="602304" y="1204994"/>
                    <a:pt x="606354" y="1206086"/>
                  </a:cubicBezTo>
                  <a:cubicBezTo>
                    <a:pt x="610405" y="1207180"/>
                    <a:pt x="607769" y="1201136"/>
                    <a:pt x="604747" y="1197857"/>
                  </a:cubicBezTo>
                  <a:cubicBezTo>
                    <a:pt x="601725" y="1194578"/>
                    <a:pt x="607769" y="1196442"/>
                    <a:pt x="611884" y="1197857"/>
                  </a:cubicBezTo>
                  <a:cubicBezTo>
                    <a:pt x="615998" y="1199271"/>
                    <a:pt x="619342" y="1199786"/>
                    <a:pt x="620177" y="1196764"/>
                  </a:cubicBezTo>
                  <a:cubicBezTo>
                    <a:pt x="620177" y="1195607"/>
                    <a:pt x="621206" y="1195607"/>
                    <a:pt x="622235" y="1195928"/>
                  </a:cubicBezTo>
                  <a:cubicBezTo>
                    <a:pt x="623264" y="1196250"/>
                    <a:pt x="626157" y="1197793"/>
                    <a:pt x="627893" y="1195928"/>
                  </a:cubicBezTo>
                  <a:cubicBezTo>
                    <a:pt x="630593" y="1192906"/>
                    <a:pt x="638887" y="1194514"/>
                    <a:pt x="643323" y="1191813"/>
                  </a:cubicBezTo>
                  <a:cubicBezTo>
                    <a:pt x="647760" y="1189113"/>
                    <a:pt x="641909" y="1188213"/>
                    <a:pt x="635029" y="1187892"/>
                  </a:cubicBezTo>
                  <a:cubicBezTo>
                    <a:pt x="628150" y="1187570"/>
                    <a:pt x="614648" y="1175033"/>
                    <a:pt x="610533" y="1171689"/>
                  </a:cubicBezTo>
                  <a:cubicBezTo>
                    <a:pt x="606419" y="1168346"/>
                    <a:pt x="609376" y="1165260"/>
                    <a:pt x="604426" y="1165903"/>
                  </a:cubicBezTo>
                  <a:cubicBezTo>
                    <a:pt x="599475" y="1166546"/>
                    <a:pt x="602818" y="1162045"/>
                    <a:pt x="605519" y="1160631"/>
                  </a:cubicBezTo>
                  <a:cubicBezTo>
                    <a:pt x="608219" y="1159216"/>
                    <a:pt x="604554" y="1154651"/>
                    <a:pt x="601211" y="1153880"/>
                  </a:cubicBezTo>
                  <a:lnTo>
                    <a:pt x="601211" y="1153880"/>
                  </a:lnTo>
                  <a:lnTo>
                    <a:pt x="600311" y="1153880"/>
                  </a:lnTo>
                  <a:cubicBezTo>
                    <a:pt x="596710" y="1153880"/>
                    <a:pt x="588738" y="1154716"/>
                    <a:pt x="590088" y="1149187"/>
                  </a:cubicBezTo>
                  <a:cubicBezTo>
                    <a:pt x="590255" y="1148364"/>
                    <a:pt x="590808" y="1147676"/>
                    <a:pt x="591567" y="1147322"/>
                  </a:cubicBezTo>
                  <a:cubicBezTo>
                    <a:pt x="594781" y="1145908"/>
                    <a:pt x="601725" y="1150473"/>
                    <a:pt x="603333" y="1148930"/>
                  </a:cubicBezTo>
                  <a:cubicBezTo>
                    <a:pt x="604940" y="1147386"/>
                    <a:pt x="596453" y="1139800"/>
                    <a:pt x="596903" y="1137356"/>
                  </a:cubicBezTo>
                  <a:cubicBezTo>
                    <a:pt x="597353" y="1134913"/>
                    <a:pt x="595553" y="1130927"/>
                    <a:pt x="595553" y="1127970"/>
                  </a:cubicBezTo>
                  <a:cubicBezTo>
                    <a:pt x="595553" y="1125012"/>
                    <a:pt x="594139" y="1119162"/>
                    <a:pt x="597996" y="1116397"/>
                  </a:cubicBezTo>
                  <a:cubicBezTo>
                    <a:pt x="601854" y="1113632"/>
                    <a:pt x="602175" y="1110867"/>
                    <a:pt x="604426" y="1111446"/>
                  </a:cubicBezTo>
                  <a:cubicBezTo>
                    <a:pt x="606676" y="1112025"/>
                    <a:pt x="611884" y="1109260"/>
                    <a:pt x="612141" y="1102638"/>
                  </a:cubicBezTo>
                  <a:cubicBezTo>
                    <a:pt x="612398" y="1096016"/>
                    <a:pt x="615484" y="1093508"/>
                    <a:pt x="621013" y="1088815"/>
                  </a:cubicBezTo>
                  <a:cubicBezTo>
                    <a:pt x="626543" y="1084121"/>
                    <a:pt x="636958" y="1078914"/>
                    <a:pt x="635608" y="1076728"/>
                  </a:cubicBezTo>
                  <a:cubicBezTo>
                    <a:pt x="634258" y="1074542"/>
                    <a:pt x="637794" y="1067341"/>
                    <a:pt x="637794" y="1064576"/>
                  </a:cubicBezTo>
                  <a:cubicBezTo>
                    <a:pt x="637794" y="1061811"/>
                    <a:pt x="628407" y="1062390"/>
                    <a:pt x="625385" y="1061297"/>
                  </a:cubicBezTo>
                  <a:cubicBezTo>
                    <a:pt x="622363" y="1060204"/>
                    <a:pt x="611369" y="1052489"/>
                    <a:pt x="616834" y="1042009"/>
                  </a:cubicBezTo>
                  <a:cubicBezTo>
                    <a:pt x="621264" y="1034982"/>
                    <a:pt x="628915" y="1030642"/>
                    <a:pt x="637215" y="1030436"/>
                  </a:cubicBezTo>
                  <a:cubicBezTo>
                    <a:pt x="640559" y="1030436"/>
                    <a:pt x="637215" y="1025486"/>
                    <a:pt x="640301" y="1024007"/>
                  </a:cubicBezTo>
                  <a:cubicBezTo>
                    <a:pt x="643388" y="1022528"/>
                    <a:pt x="643580" y="1019635"/>
                    <a:pt x="643580" y="1015456"/>
                  </a:cubicBezTo>
                  <a:cubicBezTo>
                    <a:pt x="643580" y="1011276"/>
                    <a:pt x="643580" y="1003368"/>
                    <a:pt x="648531" y="1002597"/>
                  </a:cubicBezTo>
                  <a:cubicBezTo>
                    <a:pt x="653482" y="1001825"/>
                    <a:pt x="654960" y="999318"/>
                    <a:pt x="651874" y="998482"/>
                  </a:cubicBezTo>
                  <a:cubicBezTo>
                    <a:pt x="648788" y="997646"/>
                    <a:pt x="647438" y="994046"/>
                    <a:pt x="652389" y="993531"/>
                  </a:cubicBezTo>
                  <a:cubicBezTo>
                    <a:pt x="657339" y="993017"/>
                    <a:pt x="655732" y="997646"/>
                    <a:pt x="659268" y="997646"/>
                  </a:cubicBezTo>
                  <a:cubicBezTo>
                    <a:pt x="662804" y="997646"/>
                    <a:pt x="668912" y="991603"/>
                    <a:pt x="664219" y="988002"/>
                  </a:cubicBezTo>
                  <a:cubicBezTo>
                    <a:pt x="659525" y="984402"/>
                    <a:pt x="658175" y="989674"/>
                    <a:pt x="655732" y="990188"/>
                  </a:cubicBezTo>
                  <a:cubicBezTo>
                    <a:pt x="653289" y="990702"/>
                    <a:pt x="651296" y="986909"/>
                    <a:pt x="648788" y="986909"/>
                  </a:cubicBezTo>
                  <a:cubicBezTo>
                    <a:pt x="646281" y="986909"/>
                    <a:pt x="648017" y="980030"/>
                    <a:pt x="646859" y="977522"/>
                  </a:cubicBezTo>
                  <a:cubicBezTo>
                    <a:pt x="645046" y="973916"/>
                    <a:pt x="644853" y="969704"/>
                    <a:pt x="646345" y="965949"/>
                  </a:cubicBezTo>
                  <a:cubicBezTo>
                    <a:pt x="648531" y="962927"/>
                    <a:pt x="657918" y="970643"/>
                    <a:pt x="666148" y="971222"/>
                  </a:cubicBezTo>
                  <a:cubicBezTo>
                    <a:pt x="674377" y="971800"/>
                    <a:pt x="680485" y="967042"/>
                    <a:pt x="680485" y="964021"/>
                  </a:cubicBezTo>
                  <a:cubicBezTo>
                    <a:pt x="680485" y="960999"/>
                    <a:pt x="676627" y="955470"/>
                    <a:pt x="681578" y="952191"/>
                  </a:cubicBezTo>
                  <a:cubicBezTo>
                    <a:pt x="686529" y="948911"/>
                    <a:pt x="682414" y="947754"/>
                    <a:pt x="681064" y="943382"/>
                  </a:cubicBezTo>
                  <a:cubicBezTo>
                    <a:pt x="679713" y="939010"/>
                    <a:pt x="683250" y="936181"/>
                    <a:pt x="685436" y="938368"/>
                  </a:cubicBezTo>
                  <a:cubicBezTo>
                    <a:pt x="687622" y="940553"/>
                    <a:pt x="703952" y="939203"/>
                    <a:pt x="717583" y="936503"/>
                  </a:cubicBezTo>
                  <a:cubicBezTo>
                    <a:pt x="731213" y="933803"/>
                    <a:pt x="740407" y="928724"/>
                    <a:pt x="741243" y="924866"/>
                  </a:cubicBezTo>
                  <a:cubicBezTo>
                    <a:pt x="744502" y="919124"/>
                    <a:pt x="748289" y="913698"/>
                    <a:pt x="752558" y="908664"/>
                  </a:cubicBezTo>
                  <a:cubicBezTo>
                    <a:pt x="754487" y="905321"/>
                    <a:pt x="752558" y="901206"/>
                    <a:pt x="747351" y="900370"/>
                  </a:cubicBezTo>
                  <a:cubicBezTo>
                    <a:pt x="742143" y="899534"/>
                    <a:pt x="742078" y="893233"/>
                    <a:pt x="745100" y="889633"/>
                  </a:cubicBezTo>
                  <a:cubicBezTo>
                    <a:pt x="748122" y="886032"/>
                    <a:pt x="743493" y="882753"/>
                    <a:pt x="738221" y="882175"/>
                  </a:cubicBezTo>
                  <a:cubicBezTo>
                    <a:pt x="732949" y="881596"/>
                    <a:pt x="724719" y="878060"/>
                    <a:pt x="729413" y="873624"/>
                  </a:cubicBezTo>
                  <a:cubicBezTo>
                    <a:pt x="731663" y="871502"/>
                    <a:pt x="732756" y="871952"/>
                    <a:pt x="733849" y="872916"/>
                  </a:cubicBezTo>
                  <a:cubicBezTo>
                    <a:pt x="734942" y="873881"/>
                    <a:pt x="736228" y="875552"/>
                    <a:pt x="738799" y="875295"/>
                  </a:cubicBezTo>
                  <a:cubicBezTo>
                    <a:pt x="744387" y="875199"/>
                    <a:pt x="749903" y="876620"/>
                    <a:pt x="754744" y="879410"/>
                  </a:cubicBezTo>
                  <a:cubicBezTo>
                    <a:pt x="760852" y="882175"/>
                    <a:pt x="758602" y="878574"/>
                    <a:pt x="764388" y="879410"/>
                  </a:cubicBezTo>
                  <a:cubicBezTo>
                    <a:pt x="770734" y="880902"/>
                    <a:pt x="777408" y="880033"/>
                    <a:pt x="783162" y="876967"/>
                  </a:cubicBezTo>
                  <a:cubicBezTo>
                    <a:pt x="787110" y="873688"/>
                    <a:pt x="790459" y="869753"/>
                    <a:pt x="793063" y="865330"/>
                  </a:cubicBezTo>
                  <a:cubicBezTo>
                    <a:pt x="794677" y="863125"/>
                    <a:pt x="796632" y="861195"/>
                    <a:pt x="798850" y="859608"/>
                  </a:cubicBezTo>
                  <a:cubicBezTo>
                    <a:pt x="806565" y="854078"/>
                    <a:pt x="804636" y="850735"/>
                    <a:pt x="808237" y="844177"/>
                  </a:cubicBezTo>
                  <a:cubicBezTo>
                    <a:pt x="811837" y="837619"/>
                    <a:pt x="808751" y="834790"/>
                    <a:pt x="814666" y="829004"/>
                  </a:cubicBezTo>
                  <a:cubicBezTo>
                    <a:pt x="820581" y="823217"/>
                    <a:pt x="813573" y="819360"/>
                    <a:pt x="821096" y="815759"/>
                  </a:cubicBezTo>
                  <a:cubicBezTo>
                    <a:pt x="828618" y="812159"/>
                    <a:pt x="827525" y="819102"/>
                    <a:pt x="821096" y="827075"/>
                  </a:cubicBezTo>
                  <a:cubicBezTo>
                    <a:pt x="814666" y="835047"/>
                    <a:pt x="813637" y="837233"/>
                    <a:pt x="821931" y="831190"/>
                  </a:cubicBezTo>
                  <a:cubicBezTo>
                    <a:pt x="830225" y="825146"/>
                    <a:pt x="833183" y="816595"/>
                    <a:pt x="837876" y="806951"/>
                  </a:cubicBezTo>
                  <a:cubicBezTo>
                    <a:pt x="842570" y="797307"/>
                    <a:pt x="846170" y="794092"/>
                    <a:pt x="850285" y="793707"/>
                  </a:cubicBezTo>
                  <a:cubicBezTo>
                    <a:pt x="854400" y="793321"/>
                    <a:pt x="854400" y="782969"/>
                    <a:pt x="853885" y="775833"/>
                  </a:cubicBezTo>
                  <a:cubicBezTo>
                    <a:pt x="853371" y="768696"/>
                    <a:pt x="851121" y="762010"/>
                    <a:pt x="853885" y="757316"/>
                  </a:cubicBezTo>
                  <a:cubicBezTo>
                    <a:pt x="856650" y="752623"/>
                    <a:pt x="853885" y="748251"/>
                    <a:pt x="857743" y="748251"/>
                  </a:cubicBezTo>
                  <a:cubicBezTo>
                    <a:pt x="861601" y="748251"/>
                    <a:pt x="867387" y="742464"/>
                    <a:pt x="873431" y="736421"/>
                  </a:cubicBezTo>
                  <a:cubicBezTo>
                    <a:pt x="877545" y="731766"/>
                    <a:pt x="883486" y="729136"/>
                    <a:pt x="889697" y="729220"/>
                  </a:cubicBezTo>
                  <a:cubicBezTo>
                    <a:pt x="896126" y="728706"/>
                    <a:pt x="892461" y="726455"/>
                    <a:pt x="896641" y="725362"/>
                  </a:cubicBezTo>
                  <a:cubicBezTo>
                    <a:pt x="900820" y="724269"/>
                    <a:pt x="903520" y="720412"/>
                    <a:pt x="906285" y="717904"/>
                  </a:cubicBezTo>
                  <a:cubicBezTo>
                    <a:pt x="909049" y="715397"/>
                    <a:pt x="920301" y="717904"/>
                    <a:pt x="926923" y="717904"/>
                  </a:cubicBezTo>
                  <a:cubicBezTo>
                    <a:pt x="933545" y="717904"/>
                    <a:pt x="937917" y="718419"/>
                    <a:pt x="937917" y="714304"/>
                  </a:cubicBezTo>
                  <a:cubicBezTo>
                    <a:pt x="937776" y="710330"/>
                    <a:pt x="940875" y="706993"/>
                    <a:pt x="944855" y="706846"/>
                  </a:cubicBezTo>
                  <a:cubicBezTo>
                    <a:pt x="944855" y="706846"/>
                    <a:pt x="944861" y="706846"/>
                    <a:pt x="944861" y="706846"/>
                  </a:cubicBezTo>
                  <a:cubicBezTo>
                    <a:pt x="948718" y="706846"/>
                    <a:pt x="950326" y="705753"/>
                    <a:pt x="950326" y="700416"/>
                  </a:cubicBezTo>
                  <a:cubicBezTo>
                    <a:pt x="949960" y="696070"/>
                    <a:pt x="951824" y="691833"/>
                    <a:pt x="955277" y="689165"/>
                  </a:cubicBezTo>
                  <a:cubicBezTo>
                    <a:pt x="958620" y="686657"/>
                    <a:pt x="959198" y="681192"/>
                    <a:pt x="960291" y="677592"/>
                  </a:cubicBezTo>
                  <a:cubicBezTo>
                    <a:pt x="961384" y="673992"/>
                    <a:pt x="964985" y="676177"/>
                    <a:pt x="964985" y="671163"/>
                  </a:cubicBezTo>
                  <a:cubicBezTo>
                    <a:pt x="964985" y="666148"/>
                    <a:pt x="966914" y="660104"/>
                    <a:pt x="966914" y="655989"/>
                  </a:cubicBezTo>
                  <a:cubicBezTo>
                    <a:pt x="966914" y="651874"/>
                    <a:pt x="971286" y="652389"/>
                    <a:pt x="973343" y="649560"/>
                  </a:cubicBezTo>
                  <a:cubicBezTo>
                    <a:pt x="975401" y="646731"/>
                    <a:pt x="971671" y="642680"/>
                    <a:pt x="974758" y="634129"/>
                  </a:cubicBezTo>
                  <a:cubicBezTo>
                    <a:pt x="977844" y="625578"/>
                    <a:pt x="974758" y="617606"/>
                    <a:pt x="974758" y="609891"/>
                  </a:cubicBezTo>
                  <a:cubicBezTo>
                    <a:pt x="974758" y="602175"/>
                    <a:pt x="974758" y="594203"/>
                    <a:pt x="977458" y="591695"/>
                  </a:cubicBezTo>
                  <a:cubicBezTo>
                    <a:pt x="980158" y="589188"/>
                    <a:pt x="978872" y="587838"/>
                    <a:pt x="976686" y="586745"/>
                  </a:cubicBezTo>
                  <a:cubicBezTo>
                    <a:pt x="974500" y="585652"/>
                    <a:pt x="976686" y="582630"/>
                    <a:pt x="978872" y="583144"/>
                  </a:cubicBezTo>
                  <a:cubicBezTo>
                    <a:pt x="981058" y="583659"/>
                    <a:pt x="982987" y="587838"/>
                    <a:pt x="986588" y="585652"/>
                  </a:cubicBezTo>
                  <a:cubicBezTo>
                    <a:pt x="990188" y="583466"/>
                    <a:pt x="993467" y="574079"/>
                    <a:pt x="996489" y="566364"/>
                  </a:cubicBezTo>
                  <a:cubicBezTo>
                    <a:pt x="999511" y="558649"/>
                    <a:pt x="1004461" y="558906"/>
                    <a:pt x="1008319" y="557234"/>
                  </a:cubicBezTo>
                  <a:cubicBezTo>
                    <a:pt x="1016497" y="551042"/>
                    <a:pt x="1022579" y="542498"/>
                    <a:pt x="1025742" y="532738"/>
                  </a:cubicBezTo>
                  <a:cubicBezTo>
                    <a:pt x="1031722" y="519687"/>
                    <a:pt x="1026193" y="506442"/>
                    <a:pt x="1024007" y="497055"/>
                  </a:cubicBezTo>
                  <a:close/>
                  <a:moveTo>
                    <a:pt x="348922" y="235444"/>
                  </a:moveTo>
                  <a:lnTo>
                    <a:pt x="348601" y="235830"/>
                  </a:lnTo>
                  <a:close/>
                  <a:moveTo>
                    <a:pt x="347701" y="237115"/>
                  </a:moveTo>
                  <a:lnTo>
                    <a:pt x="347701" y="237115"/>
                  </a:lnTo>
                  <a:close/>
                  <a:moveTo>
                    <a:pt x="347701" y="199632"/>
                  </a:moveTo>
                  <a:lnTo>
                    <a:pt x="347701" y="199632"/>
                  </a:lnTo>
                  <a:close/>
                  <a:moveTo>
                    <a:pt x="327062" y="199632"/>
                  </a:moveTo>
                  <a:lnTo>
                    <a:pt x="327062" y="199632"/>
                  </a:lnTo>
                  <a:close/>
                  <a:moveTo>
                    <a:pt x="327062" y="199632"/>
                  </a:moveTo>
                  <a:lnTo>
                    <a:pt x="336449" y="199632"/>
                  </a:lnTo>
                  <a:close/>
                  <a:moveTo>
                    <a:pt x="341657" y="199632"/>
                  </a:moveTo>
                  <a:lnTo>
                    <a:pt x="341657" y="199632"/>
                  </a:lnTo>
                  <a:close/>
                  <a:moveTo>
                    <a:pt x="338892" y="199632"/>
                  </a:moveTo>
                  <a:lnTo>
                    <a:pt x="338892" y="199632"/>
                  </a:lnTo>
                  <a:close/>
                  <a:moveTo>
                    <a:pt x="601404" y="1195350"/>
                  </a:moveTo>
                  <a:cubicBezTo>
                    <a:pt x="601404" y="1195350"/>
                    <a:pt x="601404" y="1195350"/>
                    <a:pt x="601082" y="1194899"/>
                  </a:cubicBezTo>
                  <a:cubicBezTo>
                    <a:pt x="600761" y="1194449"/>
                    <a:pt x="601275" y="1195350"/>
                    <a:pt x="601404" y="1195350"/>
                  </a:cubicBezTo>
                  <a:close/>
                  <a:moveTo>
                    <a:pt x="617220" y="401515"/>
                  </a:moveTo>
                  <a:lnTo>
                    <a:pt x="616448" y="401515"/>
                  </a:lnTo>
                  <a:close/>
                  <a:moveTo>
                    <a:pt x="613684" y="402801"/>
                  </a:moveTo>
                  <a:lnTo>
                    <a:pt x="613169" y="402801"/>
                  </a:lnTo>
                  <a:close/>
                  <a:moveTo>
                    <a:pt x="597482" y="564821"/>
                  </a:moveTo>
                  <a:lnTo>
                    <a:pt x="595617" y="564242"/>
                  </a:lnTo>
                  <a:close/>
                  <a:moveTo>
                    <a:pt x="595424" y="564242"/>
                  </a:moveTo>
                  <a:lnTo>
                    <a:pt x="593367" y="563856"/>
                  </a:lnTo>
                  <a:lnTo>
                    <a:pt x="590152" y="563535"/>
                  </a:lnTo>
                  <a:cubicBezTo>
                    <a:pt x="591927" y="563638"/>
                    <a:pt x="593695" y="563895"/>
                    <a:pt x="595424" y="564306"/>
                  </a:cubicBezTo>
                  <a:close/>
                  <a:moveTo>
                    <a:pt x="577294" y="477831"/>
                  </a:moveTo>
                  <a:cubicBezTo>
                    <a:pt x="576747" y="478146"/>
                    <a:pt x="576226" y="478513"/>
                    <a:pt x="575750" y="478924"/>
                  </a:cubicBezTo>
                  <a:cubicBezTo>
                    <a:pt x="576226" y="478513"/>
                    <a:pt x="576747" y="478146"/>
                    <a:pt x="577294" y="477831"/>
                  </a:cubicBezTo>
                  <a:close/>
                  <a:moveTo>
                    <a:pt x="578772" y="477317"/>
                  </a:moveTo>
                  <a:lnTo>
                    <a:pt x="577551" y="477767"/>
                  </a:lnTo>
                  <a:close/>
                  <a:moveTo>
                    <a:pt x="585780" y="478217"/>
                  </a:moveTo>
                  <a:cubicBezTo>
                    <a:pt x="583594" y="478217"/>
                    <a:pt x="581473" y="476867"/>
                    <a:pt x="578965" y="477317"/>
                  </a:cubicBezTo>
                  <a:cubicBezTo>
                    <a:pt x="581537" y="476867"/>
                    <a:pt x="583723" y="478346"/>
                    <a:pt x="585845" y="478217"/>
                  </a:cubicBezTo>
                  <a:close/>
                  <a:moveTo>
                    <a:pt x="590088" y="563599"/>
                  </a:moveTo>
                  <a:cubicBezTo>
                    <a:pt x="588101" y="563432"/>
                    <a:pt x="586095" y="563432"/>
                    <a:pt x="584109" y="563599"/>
                  </a:cubicBezTo>
                  <a:cubicBezTo>
                    <a:pt x="586121" y="563432"/>
                    <a:pt x="588140" y="563432"/>
                    <a:pt x="590152" y="563599"/>
                  </a:cubicBezTo>
                  <a:close/>
                  <a:moveTo>
                    <a:pt x="592403" y="649496"/>
                  </a:moveTo>
                  <a:cubicBezTo>
                    <a:pt x="592763" y="650029"/>
                    <a:pt x="593148" y="650544"/>
                    <a:pt x="593560" y="651039"/>
                  </a:cubicBezTo>
                  <a:cubicBezTo>
                    <a:pt x="593168" y="650544"/>
                    <a:pt x="592808" y="650029"/>
                    <a:pt x="592467" y="649496"/>
                  </a:cubicBezTo>
                  <a:close/>
                  <a:moveTo>
                    <a:pt x="595939" y="653417"/>
                  </a:moveTo>
                  <a:cubicBezTo>
                    <a:pt x="595193" y="652839"/>
                    <a:pt x="594505" y="652196"/>
                    <a:pt x="593881" y="651489"/>
                  </a:cubicBezTo>
                  <a:cubicBezTo>
                    <a:pt x="594524" y="652196"/>
                    <a:pt x="595238" y="652845"/>
                    <a:pt x="596003" y="653417"/>
                  </a:cubicBezTo>
                  <a:close/>
                  <a:moveTo>
                    <a:pt x="614134" y="718290"/>
                  </a:moveTo>
                  <a:lnTo>
                    <a:pt x="614134" y="718290"/>
                  </a:lnTo>
                  <a:close/>
                  <a:moveTo>
                    <a:pt x="618442" y="716875"/>
                  </a:moveTo>
                  <a:lnTo>
                    <a:pt x="618442" y="716875"/>
                  </a:lnTo>
                  <a:close/>
                  <a:moveTo>
                    <a:pt x="616256" y="717840"/>
                  </a:moveTo>
                  <a:lnTo>
                    <a:pt x="615806" y="717840"/>
                  </a:lnTo>
                  <a:close/>
                  <a:moveTo>
                    <a:pt x="609826" y="403829"/>
                  </a:moveTo>
                  <a:lnTo>
                    <a:pt x="610598" y="403829"/>
                  </a:lnTo>
                  <a:close/>
                  <a:moveTo>
                    <a:pt x="785863" y="399071"/>
                  </a:moveTo>
                  <a:cubicBezTo>
                    <a:pt x="786756" y="399206"/>
                    <a:pt x="787669" y="399206"/>
                    <a:pt x="788563" y="399071"/>
                  </a:cubicBezTo>
                  <a:cubicBezTo>
                    <a:pt x="787688" y="399200"/>
                    <a:pt x="786801" y="399200"/>
                    <a:pt x="785927" y="399071"/>
                  </a:cubicBezTo>
                  <a:close/>
                  <a:moveTo>
                    <a:pt x="737449" y="674056"/>
                  </a:moveTo>
                  <a:lnTo>
                    <a:pt x="737449" y="674056"/>
                  </a:lnTo>
                  <a:close/>
                  <a:moveTo>
                    <a:pt x="739635" y="669298"/>
                  </a:moveTo>
                  <a:cubicBezTo>
                    <a:pt x="739635" y="669298"/>
                    <a:pt x="739635" y="669620"/>
                    <a:pt x="739635" y="669812"/>
                  </a:cubicBezTo>
                  <a:cubicBezTo>
                    <a:pt x="739635" y="670005"/>
                    <a:pt x="739635" y="669491"/>
                    <a:pt x="739700" y="669298"/>
                  </a:cubicBezTo>
                  <a:close/>
                  <a:moveTo>
                    <a:pt x="734813" y="675727"/>
                  </a:moveTo>
                  <a:lnTo>
                    <a:pt x="733785" y="675727"/>
                  </a:lnTo>
                  <a:close/>
                  <a:moveTo>
                    <a:pt x="779819" y="751916"/>
                  </a:moveTo>
                  <a:cubicBezTo>
                    <a:pt x="779793" y="751446"/>
                    <a:pt x="779793" y="750970"/>
                    <a:pt x="779819" y="750501"/>
                  </a:cubicBezTo>
                  <a:cubicBezTo>
                    <a:pt x="779755" y="751054"/>
                    <a:pt x="779735" y="751613"/>
                    <a:pt x="779755" y="752173"/>
                  </a:cubicBezTo>
                  <a:close/>
                  <a:moveTo>
                    <a:pt x="780140" y="749022"/>
                  </a:moveTo>
                  <a:lnTo>
                    <a:pt x="780526" y="747158"/>
                  </a:lnTo>
                  <a:close/>
                  <a:moveTo>
                    <a:pt x="780783" y="745679"/>
                  </a:moveTo>
                  <a:cubicBezTo>
                    <a:pt x="780783" y="744457"/>
                    <a:pt x="781298" y="743300"/>
                    <a:pt x="781491" y="742079"/>
                  </a:cubicBezTo>
                  <a:cubicBezTo>
                    <a:pt x="781233" y="743557"/>
                    <a:pt x="780976" y="744715"/>
                    <a:pt x="780719" y="745936"/>
                  </a:cubicBezTo>
                  <a:close/>
                  <a:moveTo>
                    <a:pt x="781812" y="740728"/>
                  </a:moveTo>
                  <a:cubicBezTo>
                    <a:pt x="781812" y="739957"/>
                    <a:pt x="781812" y="739250"/>
                    <a:pt x="782133" y="738543"/>
                  </a:cubicBezTo>
                  <a:cubicBezTo>
                    <a:pt x="781940" y="739507"/>
                    <a:pt x="781876" y="740214"/>
                    <a:pt x="781748" y="740986"/>
                  </a:cubicBezTo>
                  <a:close/>
                  <a:moveTo>
                    <a:pt x="782326" y="737128"/>
                  </a:moveTo>
                  <a:cubicBezTo>
                    <a:pt x="782326" y="736485"/>
                    <a:pt x="782326" y="735842"/>
                    <a:pt x="782326" y="735263"/>
                  </a:cubicBezTo>
                  <a:cubicBezTo>
                    <a:pt x="782391" y="736099"/>
                    <a:pt x="782326" y="736742"/>
                    <a:pt x="782262" y="737385"/>
                  </a:cubicBezTo>
                  <a:close/>
                  <a:moveTo>
                    <a:pt x="782326" y="734106"/>
                  </a:moveTo>
                  <a:cubicBezTo>
                    <a:pt x="782326" y="733463"/>
                    <a:pt x="782326" y="733013"/>
                    <a:pt x="782326" y="732499"/>
                  </a:cubicBezTo>
                  <a:cubicBezTo>
                    <a:pt x="782262" y="733270"/>
                    <a:pt x="782391" y="733720"/>
                    <a:pt x="782455" y="734363"/>
                  </a:cubicBezTo>
                  <a:close/>
                  <a:moveTo>
                    <a:pt x="780719" y="730313"/>
                  </a:moveTo>
                  <a:cubicBezTo>
                    <a:pt x="781253" y="730641"/>
                    <a:pt x="781658" y="731142"/>
                    <a:pt x="781876" y="731727"/>
                  </a:cubicBezTo>
                  <a:cubicBezTo>
                    <a:pt x="781645" y="731252"/>
                    <a:pt x="781291" y="730853"/>
                    <a:pt x="780848" y="730570"/>
                  </a:cubicBezTo>
                  <a:close/>
                  <a:moveTo>
                    <a:pt x="759309" y="402415"/>
                  </a:moveTo>
                  <a:lnTo>
                    <a:pt x="759309" y="402415"/>
                  </a:lnTo>
                  <a:close/>
                  <a:moveTo>
                    <a:pt x="757316" y="402415"/>
                  </a:moveTo>
                  <a:lnTo>
                    <a:pt x="758216" y="402415"/>
                  </a:lnTo>
                  <a:close/>
                  <a:moveTo>
                    <a:pt x="749858" y="400872"/>
                  </a:moveTo>
                  <a:lnTo>
                    <a:pt x="750887" y="400872"/>
                  </a:lnTo>
                  <a:close/>
                  <a:moveTo>
                    <a:pt x="752173" y="401193"/>
                  </a:moveTo>
                  <a:lnTo>
                    <a:pt x="753458" y="401193"/>
                  </a:lnTo>
                  <a:close/>
                  <a:moveTo>
                    <a:pt x="747929" y="401193"/>
                  </a:moveTo>
                  <a:lnTo>
                    <a:pt x="748572" y="401193"/>
                  </a:lnTo>
                  <a:close/>
                  <a:moveTo>
                    <a:pt x="702924" y="366539"/>
                  </a:moveTo>
                  <a:lnTo>
                    <a:pt x="703309" y="366024"/>
                  </a:lnTo>
                  <a:close/>
                  <a:moveTo>
                    <a:pt x="707553" y="360688"/>
                  </a:moveTo>
                  <a:cubicBezTo>
                    <a:pt x="708106" y="360592"/>
                    <a:pt x="708671" y="360592"/>
                    <a:pt x="709224" y="360688"/>
                  </a:cubicBezTo>
                  <a:cubicBezTo>
                    <a:pt x="708806" y="360585"/>
                    <a:pt x="708369" y="360547"/>
                    <a:pt x="707939" y="360559"/>
                  </a:cubicBezTo>
                  <a:close/>
                  <a:moveTo>
                    <a:pt x="706331" y="361267"/>
                  </a:moveTo>
                  <a:lnTo>
                    <a:pt x="706974" y="360945"/>
                  </a:lnTo>
                  <a:close/>
                  <a:moveTo>
                    <a:pt x="705624" y="361910"/>
                  </a:moveTo>
                  <a:lnTo>
                    <a:pt x="705624" y="361910"/>
                  </a:lnTo>
                  <a:close/>
                  <a:moveTo>
                    <a:pt x="702474" y="367053"/>
                  </a:moveTo>
                  <a:cubicBezTo>
                    <a:pt x="702178" y="367381"/>
                    <a:pt x="701798" y="367625"/>
                    <a:pt x="701381" y="367760"/>
                  </a:cubicBezTo>
                  <a:cubicBezTo>
                    <a:pt x="701953" y="367664"/>
                    <a:pt x="702480" y="367368"/>
                    <a:pt x="702859" y="366924"/>
                  </a:cubicBezTo>
                  <a:close/>
                  <a:moveTo>
                    <a:pt x="679071" y="706074"/>
                  </a:moveTo>
                  <a:cubicBezTo>
                    <a:pt x="678711" y="706151"/>
                    <a:pt x="678338" y="706151"/>
                    <a:pt x="677978" y="706074"/>
                  </a:cubicBezTo>
                  <a:cubicBezTo>
                    <a:pt x="678473" y="706171"/>
                    <a:pt x="678987" y="706125"/>
                    <a:pt x="679456" y="705946"/>
                  </a:cubicBezTo>
                  <a:close/>
                  <a:moveTo>
                    <a:pt x="677463" y="706074"/>
                  </a:moveTo>
                  <a:lnTo>
                    <a:pt x="677463" y="706074"/>
                  </a:lnTo>
                  <a:close/>
                  <a:moveTo>
                    <a:pt x="663897" y="705303"/>
                  </a:moveTo>
                  <a:lnTo>
                    <a:pt x="663576" y="705303"/>
                  </a:lnTo>
                  <a:close/>
                  <a:moveTo>
                    <a:pt x="665633" y="705303"/>
                  </a:moveTo>
                  <a:lnTo>
                    <a:pt x="665633" y="705303"/>
                  </a:lnTo>
                  <a:close/>
                  <a:moveTo>
                    <a:pt x="742078" y="816595"/>
                  </a:moveTo>
                  <a:lnTo>
                    <a:pt x="741050" y="817881"/>
                  </a:lnTo>
                  <a:close/>
                  <a:moveTo>
                    <a:pt x="745615" y="812737"/>
                  </a:moveTo>
                  <a:lnTo>
                    <a:pt x="742336" y="816338"/>
                  </a:lnTo>
                  <a:close/>
                  <a:moveTo>
                    <a:pt x="747993" y="810101"/>
                  </a:moveTo>
                  <a:lnTo>
                    <a:pt x="746386" y="811966"/>
                  </a:lnTo>
                  <a:close/>
                  <a:moveTo>
                    <a:pt x="750694" y="806951"/>
                  </a:moveTo>
                  <a:lnTo>
                    <a:pt x="749665" y="808173"/>
                  </a:lnTo>
                  <a:close/>
                  <a:moveTo>
                    <a:pt x="789463" y="399264"/>
                  </a:moveTo>
                  <a:cubicBezTo>
                    <a:pt x="790691" y="399194"/>
                    <a:pt x="791900" y="398956"/>
                    <a:pt x="793063" y="398557"/>
                  </a:cubicBezTo>
                  <a:cubicBezTo>
                    <a:pt x="791900" y="398956"/>
                    <a:pt x="790691" y="399194"/>
                    <a:pt x="789463" y="399264"/>
                  </a:cubicBezTo>
                  <a:close/>
                  <a:moveTo>
                    <a:pt x="781940" y="396435"/>
                  </a:moveTo>
                  <a:cubicBezTo>
                    <a:pt x="782982" y="397644"/>
                    <a:pt x="784339" y="398531"/>
                    <a:pt x="785863" y="399007"/>
                  </a:cubicBezTo>
                  <a:cubicBezTo>
                    <a:pt x="783702" y="398281"/>
                    <a:pt x="781870" y="396795"/>
                    <a:pt x="780719" y="394828"/>
                  </a:cubicBezTo>
                  <a:cubicBezTo>
                    <a:pt x="780989" y="395394"/>
                    <a:pt x="781310" y="395934"/>
                    <a:pt x="781683" y="396435"/>
                  </a:cubicBezTo>
                  <a:close/>
                  <a:moveTo>
                    <a:pt x="756737" y="402222"/>
                  </a:moveTo>
                  <a:lnTo>
                    <a:pt x="755194" y="401836"/>
                  </a:lnTo>
                  <a:lnTo>
                    <a:pt x="755194" y="401836"/>
                  </a:lnTo>
                  <a:close/>
                  <a:moveTo>
                    <a:pt x="515700" y="428518"/>
                  </a:moveTo>
                  <a:lnTo>
                    <a:pt x="515700" y="428518"/>
                  </a:lnTo>
                  <a:lnTo>
                    <a:pt x="514929" y="427618"/>
                  </a:lnTo>
                  <a:close/>
                  <a:moveTo>
                    <a:pt x="519815" y="434112"/>
                  </a:moveTo>
                  <a:cubicBezTo>
                    <a:pt x="519815" y="434112"/>
                    <a:pt x="519815" y="434112"/>
                    <a:pt x="519815" y="433790"/>
                  </a:cubicBezTo>
                  <a:cubicBezTo>
                    <a:pt x="519815" y="433469"/>
                    <a:pt x="519429" y="434047"/>
                    <a:pt x="519429" y="434112"/>
                  </a:cubicBezTo>
                  <a:close/>
                  <a:moveTo>
                    <a:pt x="519365" y="433083"/>
                  </a:moveTo>
                  <a:lnTo>
                    <a:pt x="519365" y="432697"/>
                  </a:lnTo>
                  <a:close/>
                  <a:moveTo>
                    <a:pt x="518529" y="431926"/>
                  </a:moveTo>
                  <a:cubicBezTo>
                    <a:pt x="518420" y="431739"/>
                    <a:pt x="518291" y="431566"/>
                    <a:pt x="518143" y="431411"/>
                  </a:cubicBezTo>
                  <a:cubicBezTo>
                    <a:pt x="518201" y="431578"/>
                    <a:pt x="518246" y="431752"/>
                    <a:pt x="518272" y="431926"/>
                  </a:cubicBezTo>
                  <a:close/>
                  <a:moveTo>
                    <a:pt x="517436" y="430511"/>
                  </a:moveTo>
                  <a:lnTo>
                    <a:pt x="516922" y="429932"/>
                  </a:lnTo>
                  <a:close/>
                  <a:moveTo>
                    <a:pt x="518593" y="437390"/>
                  </a:moveTo>
                  <a:lnTo>
                    <a:pt x="519429" y="436683"/>
                  </a:lnTo>
                  <a:close/>
                  <a:moveTo>
                    <a:pt x="519944" y="435076"/>
                  </a:moveTo>
                  <a:cubicBezTo>
                    <a:pt x="519944" y="435076"/>
                    <a:pt x="519944" y="435076"/>
                    <a:pt x="519944" y="435076"/>
                  </a:cubicBezTo>
                  <a:cubicBezTo>
                    <a:pt x="519944" y="435076"/>
                    <a:pt x="519429" y="434947"/>
                    <a:pt x="519429" y="435076"/>
                  </a:cubicBezTo>
                  <a:close/>
                  <a:moveTo>
                    <a:pt x="519944" y="435912"/>
                  </a:moveTo>
                  <a:lnTo>
                    <a:pt x="519944" y="435912"/>
                  </a:lnTo>
                  <a:close/>
                  <a:moveTo>
                    <a:pt x="581794" y="564499"/>
                  </a:moveTo>
                  <a:cubicBezTo>
                    <a:pt x="582553" y="564255"/>
                    <a:pt x="583324" y="564062"/>
                    <a:pt x="584109" y="563921"/>
                  </a:cubicBezTo>
                  <a:cubicBezTo>
                    <a:pt x="583170" y="564036"/>
                    <a:pt x="582251" y="564229"/>
                    <a:pt x="581344" y="564499"/>
                  </a:cubicBezTo>
                  <a:close/>
                  <a:moveTo>
                    <a:pt x="621463" y="715332"/>
                  </a:moveTo>
                  <a:lnTo>
                    <a:pt x="621463" y="715332"/>
                  </a:lnTo>
                  <a:close/>
                  <a:moveTo>
                    <a:pt x="626157" y="711925"/>
                  </a:moveTo>
                  <a:lnTo>
                    <a:pt x="626478" y="711925"/>
                  </a:lnTo>
                  <a:close/>
                  <a:moveTo>
                    <a:pt x="741178" y="818652"/>
                  </a:moveTo>
                  <a:cubicBezTo>
                    <a:pt x="740940" y="818980"/>
                    <a:pt x="740728" y="819321"/>
                    <a:pt x="740535" y="819681"/>
                  </a:cubicBezTo>
                  <a:cubicBezTo>
                    <a:pt x="740580" y="819334"/>
                    <a:pt x="740645" y="818993"/>
                    <a:pt x="740728" y="818652"/>
                  </a:cubicBezTo>
                  <a:close/>
                  <a:moveTo>
                    <a:pt x="739893" y="820838"/>
                  </a:moveTo>
                  <a:lnTo>
                    <a:pt x="739507" y="821610"/>
                  </a:lnTo>
                  <a:close/>
                </a:path>
              </a:pathLst>
            </a:custGeom>
            <a:solidFill>
              <a:srgbClr val="F3AB00"/>
            </a:solidFill>
            <a:ln w="6429" cap="flat">
              <a:solidFill>
                <a:srgbClr val="F3AB00"/>
              </a:solidFill>
              <a:prstDash val="solid"/>
              <a:miter/>
            </a:ln>
          </p:spPr>
          <p:txBody>
            <a:bodyPr rtlCol="0" anchor="ctr"/>
            <a:lstStyle/>
            <a:p>
              <a:endParaRPr lang="en-GB" sz="2400">
                <a:solidFill>
                  <a:srgbClr val="000000"/>
                </a:solidFill>
              </a:endParaRPr>
            </a:p>
          </p:txBody>
        </p:sp>
        <p:sp>
          <p:nvSpPr>
            <p:cNvPr id="289" name="Freeform 79">
              <a:extLst>
                <a:ext uri="{FF2B5EF4-FFF2-40B4-BE49-F238E27FC236}">
                  <a16:creationId xmlns:a16="http://schemas.microsoft.com/office/drawing/2014/main" id="{C77FC63B-0284-4D0D-8C98-0FD3876AF896}"/>
                </a:ext>
              </a:extLst>
            </p:cNvPr>
            <p:cNvSpPr/>
            <p:nvPr/>
          </p:nvSpPr>
          <p:spPr>
            <a:xfrm>
              <a:off x="3338469" y="2650868"/>
              <a:ext cx="122158" cy="38576"/>
            </a:xfrm>
            <a:custGeom>
              <a:avLst/>
              <a:gdLst>
                <a:gd name="connsiteX0" fmla="*/ 21653 w 122158"/>
                <a:gd name="connsiteY0" fmla="*/ 6583 h 38576"/>
                <a:gd name="connsiteX1" fmla="*/ 33804 w 122158"/>
                <a:gd name="connsiteY1" fmla="*/ 11534 h 38576"/>
                <a:gd name="connsiteX2" fmla="*/ 54764 w 122158"/>
                <a:gd name="connsiteY2" fmla="*/ 16485 h 38576"/>
                <a:gd name="connsiteX3" fmla="*/ 81189 w 122158"/>
                <a:gd name="connsiteY3" fmla="*/ 30308 h 38576"/>
                <a:gd name="connsiteX4" fmla="*/ 87232 w 122158"/>
                <a:gd name="connsiteY4" fmla="*/ 40209 h 38576"/>
                <a:gd name="connsiteX5" fmla="*/ 127480 w 122158"/>
                <a:gd name="connsiteY5" fmla="*/ 39116 h 38576"/>
                <a:gd name="connsiteX6" fmla="*/ 104335 w 122158"/>
                <a:gd name="connsiteY6" fmla="*/ 25357 h 38576"/>
                <a:gd name="connsiteX7" fmla="*/ 44284 w 122158"/>
                <a:gd name="connsiteY7" fmla="*/ 1054 h 38576"/>
                <a:gd name="connsiteX8" fmla="*/ 179 w 122158"/>
                <a:gd name="connsiteY8" fmla="*/ 16485 h 38576"/>
                <a:gd name="connsiteX9" fmla="*/ 21653 w 122158"/>
                <a:gd name="connsiteY9" fmla="*/ 6583 h 3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58" h="38576">
                  <a:moveTo>
                    <a:pt x="21653" y="6583"/>
                  </a:moveTo>
                  <a:cubicBezTo>
                    <a:pt x="27696" y="2211"/>
                    <a:pt x="33226" y="8769"/>
                    <a:pt x="33804" y="11534"/>
                  </a:cubicBezTo>
                  <a:cubicBezTo>
                    <a:pt x="34383" y="14299"/>
                    <a:pt x="42034" y="15970"/>
                    <a:pt x="54764" y="16485"/>
                  </a:cubicBezTo>
                  <a:cubicBezTo>
                    <a:pt x="67494" y="16999"/>
                    <a:pt x="69037" y="27543"/>
                    <a:pt x="81189" y="30308"/>
                  </a:cubicBezTo>
                  <a:cubicBezTo>
                    <a:pt x="93340" y="33073"/>
                    <a:pt x="81189" y="38023"/>
                    <a:pt x="87232" y="40209"/>
                  </a:cubicBezTo>
                  <a:cubicBezTo>
                    <a:pt x="93276" y="42395"/>
                    <a:pt x="125294" y="41881"/>
                    <a:pt x="127480" y="39116"/>
                  </a:cubicBezTo>
                  <a:cubicBezTo>
                    <a:pt x="129666" y="36351"/>
                    <a:pt x="112628" y="25357"/>
                    <a:pt x="104335" y="25357"/>
                  </a:cubicBezTo>
                  <a:cubicBezTo>
                    <a:pt x="96041" y="25357"/>
                    <a:pt x="69037" y="6583"/>
                    <a:pt x="44284" y="1054"/>
                  </a:cubicBezTo>
                  <a:cubicBezTo>
                    <a:pt x="19531" y="-4475"/>
                    <a:pt x="-2200" y="13399"/>
                    <a:pt x="179" y="16485"/>
                  </a:cubicBezTo>
                  <a:cubicBezTo>
                    <a:pt x="3458" y="20921"/>
                    <a:pt x="15609" y="10891"/>
                    <a:pt x="21653" y="6583"/>
                  </a:cubicBezTo>
                  <a:close/>
                </a:path>
              </a:pathLst>
            </a:custGeom>
            <a:solidFill>
              <a:srgbClr val="F3AB00"/>
            </a:solidFill>
            <a:ln w="6429" cap="flat">
              <a:solidFill>
                <a:srgbClr val="F3AB00"/>
              </a:solidFill>
              <a:prstDash val="solid"/>
              <a:miter/>
            </a:ln>
          </p:spPr>
          <p:txBody>
            <a:bodyPr rtlCol="0" anchor="ctr"/>
            <a:lstStyle/>
            <a:p>
              <a:endParaRPr lang="en-GB" sz="2400">
                <a:solidFill>
                  <a:srgbClr val="000000"/>
                </a:solidFill>
              </a:endParaRPr>
            </a:p>
          </p:txBody>
        </p:sp>
        <p:sp>
          <p:nvSpPr>
            <p:cNvPr id="290" name="Freeform 80">
              <a:extLst>
                <a:ext uri="{FF2B5EF4-FFF2-40B4-BE49-F238E27FC236}">
                  <a16:creationId xmlns:a16="http://schemas.microsoft.com/office/drawing/2014/main" id="{DFA5F0A8-8868-4EB4-92E8-8567107A3032}"/>
                </a:ext>
              </a:extLst>
            </p:cNvPr>
            <p:cNvSpPr/>
            <p:nvPr/>
          </p:nvSpPr>
          <p:spPr>
            <a:xfrm>
              <a:off x="3414529" y="2712145"/>
              <a:ext cx="19288" cy="6429"/>
            </a:xfrm>
            <a:custGeom>
              <a:avLst/>
              <a:gdLst>
                <a:gd name="connsiteX0" fmla="*/ 179 w 19288"/>
                <a:gd name="connsiteY0" fmla="*/ 2077 h 6429"/>
                <a:gd name="connsiteX1" fmla="*/ 25510 w 19288"/>
                <a:gd name="connsiteY1" fmla="*/ 6513 h 6429"/>
                <a:gd name="connsiteX2" fmla="*/ 179 w 19288"/>
                <a:gd name="connsiteY2" fmla="*/ 2077 h 6429"/>
              </a:gdLst>
              <a:ahLst/>
              <a:cxnLst>
                <a:cxn ang="0">
                  <a:pos x="connsiteX0" y="connsiteY0"/>
                </a:cxn>
                <a:cxn ang="0">
                  <a:pos x="connsiteX1" y="connsiteY1"/>
                </a:cxn>
                <a:cxn ang="0">
                  <a:pos x="connsiteX2" y="connsiteY2"/>
                </a:cxn>
              </a:cxnLst>
              <a:rect l="l" t="t" r="r" b="b"/>
              <a:pathLst>
                <a:path w="19288" h="6429">
                  <a:moveTo>
                    <a:pt x="179" y="2077"/>
                  </a:moveTo>
                  <a:cubicBezTo>
                    <a:pt x="2365" y="5934"/>
                    <a:pt x="23324" y="11464"/>
                    <a:pt x="25510" y="6513"/>
                  </a:cubicBezTo>
                  <a:cubicBezTo>
                    <a:pt x="27696" y="1562"/>
                    <a:pt x="-2586" y="-2681"/>
                    <a:pt x="179" y="2077"/>
                  </a:cubicBezTo>
                  <a:close/>
                </a:path>
              </a:pathLst>
            </a:custGeom>
            <a:solidFill>
              <a:srgbClr val="F3AB00"/>
            </a:solidFill>
            <a:ln w="6429" cap="flat">
              <a:solidFill>
                <a:srgbClr val="F3AB00"/>
              </a:solidFill>
              <a:prstDash val="solid"/>
              <a:miter/>
            </a:ln>
          </p:spPr>
          <p:txBody>
            <a:bodyPr rtlCol="0" anchor="ctr"/>
            <a:lstStyle/>
            <a:p>
              <a:endParaRPr lang="en-GB" sz="2400">
                <a:solidFill>
                  <a:srgbClr val="000000"/>
                </a:solidFill>
              </a:endParaRPr>
            </a:p>
          </p:txBody>
        </p:sp>
        <p:sp>
          <p:nvSpPr>
            <p:cNvPr id="291" name="Freeform 81">
              <a:extLst>
                <a:ext uri="{FF2B5EF4-FFF2-40B4-BE49-F238E27FC236}">
                  <a16:creationId xmlns:a16="http://schemas.microsoft.com/office/drawing/2014/main" id="{DA0F6BED-FDAF-409F-AE7D-60D017AA9254}"/>
                </a:ext>
              </a:extLst>
            </p:cNvPr>
            <p:cNvSpPr/>
            <p:nvPr/>
          </p:nvSpPr>
          <p:spPr>
            <a:xfrm>
              <a:off x="3555749" y="2710315"/>
              <a:ext cx="19288" cy="6429"/>
            </a:xfrm>
            <a:custGeom>
              <a:avLst/>
              <a:gdLst>
                <a:gd name="connsiteX0" fmla="*/ 20978 w 19288"/>
                <a:gd name="connsiteY0" fmla="*/ 5000 h 6429"/>
                <a:gd name="connsiteX1" fmla="*/ 597 w 19288"/>
                <a:gd name="connsiteY1" fmla="*/ 5000 h 6429"/>
                <a:gd name="connsiteX2" fmla="*/ 20978 w 19288"/>
                <a:gd name="connsiteY2" fmla="*/ 5000 h 6429"/>
              </a:gdLst>
              <a:ahLst/>
              <a:cxnLst>
                <a:cxn ang="0">
                  <a:pos x="connsiteX0" y="connsiteY0"/>
                </a:cxn>
                <a:cxn ang="0">
                  <a:pos x="connsiteX1" y="connsiteY1"/>
                </a:cxn>
                <a:cxn ang="0">
                  <a:pos x="connsiteX2" y="connsiteY2"/>
                </a:cxn>
              </a:cxnLst>
              <a:rect l="l" t="t" r="r" b="b"/>
              <a:pathLst>
                <a:path w="19288" h="6429">
                  <a:moveTo>
                    <a:pt x="20978" y="5000"/>
                  </a:moveTo>
                  <a:cubicBezTo>
                    <a:pt x="23164" y="-529"/>
                    <a:pt x="-4353" y="-2715"/>
                    <a:pt x="597" y="5000"/>
                  </a:cubicBezTo>
                  <a:cubicBezTo>
                    <a:pt x="5548" y="12715"/>
                    <a:pt x="19692" y="8151"/>
                    <a:pt x="20978" y="5000"/>
                  </a:cubicBezTo>
                  <a:close/>
                </a:path>
              </a:pathLst>
            </a:custGeom>
            <a:solidFill>
              <a:srgbClr val="F3AB00"/>
            </a:solidFill>
            <a:ln w="6429" cap="flat">
              <a:solidFill>
                <a:srgbClr val="F3AB00"/>
              </a:solidFill>
              <a:prstDash val="solid"/>
              <a:miter/>
            </a:ln>
          </p:spPr>
          <p:txBody>
            <a:bodyPr rtlCol="0" anchor="ctr"/>
            <a:lstStyle/>
            <a:p>
              <a:endParaRPr lang="en-GB" sz="2400">
                <a:solidFill>
                  <a:srgbClr val="000000"/>
                </a:solidFill>
              </a:endParaRPr>
            </a:p>
          </p:txBody>
        </p:sp>
        <p:sp>
          <p:nvSpPr>
            <p:cNvPr id="292" name="Freeform 82">
              <a:extLst>
                <a:ext uri="{FF2B5EF4-FFF2-40B4-BE49-F238E27FC236}">
                  <a16:creationId xmlns:a16="http://schemas.microsoft.com/office/drawing/2014/main" id="{3713CCB9-7E61-4A9F-8B45-FF00167875F4}"/>
                </a:ext>
              </a:extLst>
            </p:cNvPr>
            <p:cNvSpPr/>
            <p:nvPr/>
          </p:nvSpPr>
          <p:spPr>
            <a:xfrm>
              <a:off x="3651068" y="3655349"/>
              <a:ext cx="19288" cy="6429"/>
            </a:xfrm>
            <a:custGeom>
              <a:avLst/>
              <a:gdLst>
                <a:gd name="connsiteX0" fmla="*/ 626 w 19288"/>
                <a:gd name="connsiteY0" fmla="*/ 11835 h 6429"/>
                <a:gd name="connsiteX1" fmla="*/ 21007 w 19288"/>
                <a:gd name="connsiteY1" fmla="*/ 2448 h 6429"/>
                <a:gd name="connsiteX2" fmla="*/ 626 w 19288"/>
                <a:gd name="connsiteY2" fmla="*/ 11835 h 6429"/>
              </a:gdLst>
              <a:ahLst/>
              <a:cxnLst>
                <a:cxn ang="0">
                  <a:pos x="connsiteX0" y="connsiteY0"/>
                </a:cxn>
                <a:cxn ang="0">
                  <a:pos x="connsiteX1" y="connsiteY1"/>
                </a:cxn>
                <a:cxn ang="0">
                  <a:pos x="connsiteX2" y="connsiteY2"/>
                </a:cxn>
              </a:cxnLst>
              <a:rect l="l" t="t" r="r" b="b"/>
              <a:pathLst>
                <a:path w="19288" h="6429">
                  <a:moveTo>
                    <a:pt x="626" y="11835"/>
                  </a:moveTo>
                  <a:cubicBezTo>
                    <a:pt x="5062" y="14021"/>
                    <a:pt x="23129" y="6434"/>
                    <a:pt x="21007" y="2448"/>
                  </a:cubicBezTo>
                  <a:cubicBezTo>
                    <a:pt x="16635" y="-5845"/>
                    <a:pt x="-3810" y="9392"/>
                    <a:pt x="626" y="11835"/>
                  </a:cubicBezTo>
                  <a:close/>
                </a:path>
              </a:pathLst>
            </a:custGeom>
            <a:solidFill>
              <a:srgbClr val="F3AB00"/>
            </a:solidFill>
            <a:ln w="6429" cap="flat">
              <a:solidFill>
                <a:srgbClr val="F3AB00"/>
              </a:solidFill>
              <a:prstDash val="solid"/>
              <a:miter/>
            </a:ln>
          </p:spPr>
          <p:txBody>
            <a:bodyPr rtlCol="0" anchor="ctr"/>
            <a:lstStyle/>
            <a:p>
              <a:endParaRPr lang="en-GB" sz="2400">
                <a:solidFill>
                  <a:srgbClr val="000000"/>
                </a:solidFill>
              </a:endParaRPr>
            </a:p>
          </p:txBody>
        </p:sp>
        <p:sp>
          <p:nvSpPr>
            <p:cNvPr id="293" name="Freeform 83">
              <a:extLst>
                <a:ext uri="{FF2B5EF4-FFF2-40B4-BE49-F238E27FC236}">
                  <a16:creationId xmlns:a16="http://schemas.microsoft.com/office/drawing/2014/main" id="{378238FA-8EDA-4D30-B87E-04DD17871ACC}"/>
                </a:ext>
              </a:extLst>
            </p:cNvPr>
            <p:cNvSpPr/>
            <p:nvPr/>
          </p:nvSpPr>
          <p:spPr>
            <a:xfrm>
              <a:off x="3633619" y="3651813"/>
              <a:ext cx="12859" cy="12859"/>
            </a:xfrm>
            <a:custGeom>
              <a:avLst/>
              <a:gdLst>
                <a:gd name="connsiteX0" fmla="*/ 15889 w 12858"/>
                <a:gd name="connsiteY0" fmla="*/ 69 h 12858"/>
                <a:gd name="connsiteX1" fmla="*/ 1551 w 12858"/>
                <a:gd name="connsiteY1" fmla="*/ 14406 h 12858"/>
                <a:gd name="connsiteX2" fmla="*/ 15889 w 12858"/>
                <a:gd name="connsiteY2" fmla="*/ 69 h 12858"/>
              </a:gdLst>
              <a:ahLst/>
              <a:cxnLst>
                <a:cxn ang="0">
                  <a:pos x="connsiteX0" y="connsiteY0"/>
                </a:cxn>
                <a:cxn ang="0">
                  <a:pos x="connsiteX1" y="connsiteY1"/>
                </a:cxn>
                <a:cxn ang="0">
                  <a:pos x="connsiteX2" y="connsiteY2"/>
                </a:cxn>
              </a:cxnLst>
              <a:rect l="l" t="t" r="r" b="b"/>
              <a:pathLst>
                <a:path w="12858" h="12858">
                  <a:moveTo>
                    <a:pt x="15889" y="69"/>
                  </a:moveTo>
                  <a:cubicBezTo>
                    <a:pt x="9781" y="-1024"/>
                    <a:pt x="-4750" y="11256"/>
                    <a:pt x="1551" y="14406"/>
                  </a:cubicBezTo>
                  <a:cubicBezTo>
                    <a:pt x="7852" y="17556"/>
                    <a:pt x="21932" y="1033"/>
                    <a:pt x="15889" y="69"/>
                  </a:cubicBezTo>
                  <a:close/>
                </a:path>
              </a:pathLst>
            </a:custGeom>
            <a:solidFill>
              <a:srgbClr val="F3AB00"/>
            </a:solidFill>
            <a:ln w="6429" cap="flat">
              <a:solidFill>
                <a:srgbClr val="F3AB00"/>
              </a:solidFill>
              <a:prstDash val="solid"/>
              <a:miter/>
            </a:ln>
          </p:spPr>
          <p:txBody>
            <a:bodyPr rtlCol="0" anchor="ctr"/>
            <a:lstStyle/>
            <a:p>
              <a:endParaRPr lang="en-GB" sz="2400">
                <a:solidFill>
                  <a:srgbClr val="000000"/>
                </a:solidFill>
              </a:endParaRPr>
            </a:p>
          </p:txBody>
        </p:sp>
        <p:sp>
          <p:nvSpPr>
            <p:cNvPr id="294" name="Freeform 84">
              <a:extLst>
                <a:ext uri="{FF2B5EF4-FFF2-40B4-BE49-F238E27FC236}">
                  <a16:creationId xmlns:a16="http://schemas.microsoft.com/office/drawing/2014/main" id="{FF8643D1-A458-423E-8B1F-D26A7CF7A46E}"/>
                </a:ext>
              </a:extLst>
            </p:cNvPr>
            <p:cNvSpPr/>
            <p:nvPr/>
          </p:nvSpPr>
          <p:spPr>
            <a:xfrm>
              <a:off x="3251144" y="2942974"/>
              <a:ext cx="6429" cy="12859"/>
            </a:xfrm>
            <a:custGeom>
              <a:avLst/>
              <a:gdLst>
                <a:gd name="connsiteX0" fmla="*/ 1543 w 6429"/>
                <a:gd name="connsiteY0" fmla="*/ 2191 h 12858"/>
                <a:gd name="connsiteX1" fmla="*/ 9258 w 6429"/>
                <a:gd name="connsiteY1" fmla="*/ 15049 h 12858"/>
                <a:gd name="connsiteX2" fmla="*/ 1543 w 6429"/>
                <a:gd name="connsiteY2" fmla="*/ 2191 h 12858"/>
              </a:gdLst>
              <a:ahLst/>
              <a:cxnLst>
                <a:cxn ang="0">
                  <a:pos x="connsiteX0" y="connsiteY0"/>
                </a:cxn>
                <a:cxn ang="0">
                  <a:pos x="connsiteX1" y="connsiteY1"/>
                </a:cxn>
                <a:cxn ang="0">
                  <a:pos x="connsiteX2" y="connsiteY2"/>
                </a:cxn>
              </a:cxnLst>
              <a:rect l="l" t="t" r="r" b="b"/>
              <a:pathLst>
                <a:path w="6429" h="12858">
                  <a:moveTo>
                    <a:pt x="1543" y="2191"/>
                  </a:moveTo>
                  <a:cubicBezTo>
                    <a:pt x="-3986" y="10420"/>
                    <a:pt x="6944" y="18521"/>
                    <a:pt x="9258" y="15049"/>
                  </a:cubicBezTo>
                  <a:cubicBezTo>
                    <a:pt x="11573" y="11578"/>
                    <a:pt x="7008" y="-6103"/>
                    <a:pt x="1543" y="2191"/>
                  </a:cubicBezTo>
                  <a:close/>
                </a:path>
              </a:pathLst>
            </a:custGeom>
            <a:solidFill>
              <a:srgbClr val="F3AB00"/>
            </a:solidFill>
            <a:ln w="6429" cap="flat">
              <a:solidFill>
                <a:srgbClr val="F3AB00"/>
              </a:solidFill>
              <a:prstDash val="solid"/>
              <a:miter/>
            </a:ln>
          </p:spPr>
          <p:txBody>
            <a:bodyPr rtlCol="0" anchor="ctr"/>
            <a:lstStyle/>
            <a:p>
              <a:endParaRPr lang="en-GB" sz="2400">
                <a:solidFill>
                  <a:srgbClr val="000000"/>
                </a:solidFill>
              </a:endParaRPr>
            </a:p>
          </p:txBody>
        </p:sp>
        <p:sp>
          <p:nvSpPr>
            <p:cNvPr id="295" name="Freeform 85">
              <a:extLst>
                <a:ext uri="{FF2B5EF4-FFF2-40B4-BE49-F238E27FC236}">
                  <a16:creationId xmlns:a16="http://schemas.microsoft.com/office/drawing/2014/main" id="{CDE40BE1-A639-4746-B530-8E843DFCE7B3}"/>
                </a:ext>
              </a:extLst>
            </p:cNvPr>
            <p:cNvSpPr/>
            <p:nvPr/>
          </p:nvSpPr>
          <p:spPr>
            <a:xfrm>
              <a:off x="3416059" y="2623389"/>
              <a:ext cx="6429" cy="19288"/>
            </a:xfrm>
            <a:custGeom>
              <a:avLst/>
              <a:gdLst>
                <a:gd name="connsiteX0" fmla="*/ 9194 w 6429"/>
                <a:gd name="connsiteY0" fmla="*/ 19081 h 19288"/>
                <a:gd name="connsiteX1" fmla="*/ 5786 w 6429"/>
                <a:gd name="connsiteY1" fmla="*/ 11430 h 19288"/>
                <a:gd name="connsiteX2" fmla="*/ 4501 w 6429"/>
                <a:gd name="connsiteY2" fmla="*/ 2108 h 19288"/>
                <a:gd name="connsiteX3" fmla="*/ 0 w 6429"/>
                <a:gd name="connsiteY3" fmla="*/ 5772 h 19288"/>
                <a:gd name="connsiteX4" fmla="*/ 4243 w 6429"/>
                <a:gd name="connsiteY4" fmla="*/ 14131 h 19288"/>
                <a:gd name="connsiteX5" fmla="*/ 9194 w 6429"/>
                <a:gd name="connsiteY5" fmla="*/ 19081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 h="19288">
                  <a:moveTo>
                    <a:pt x="9194" y="19081"/>
                  </a:moveTo>
                  <a:cubicBezTo>
                    <a:pt x="10608" y="16252"/>
                    <a:pt x="6236" y="13552"/>
                    <a:pt x="5786" y="11430"/>
                  </a:cubicBezTo>
                  <a:cubicBezTo>
                    <a:pt x="5336" y="9309"/>
                    <a:pt x="7072" y="6480"/>
                    <a:pt x="4501" y="2108"/>
                  </a:cubicBezTo>
                  <a:cubicBezTo>
                    <a:pt x="1929" y="-2264"/>
                    <a:pt x="0" y="758"/>
                    <a:pt x="0" y="5772"/>
                  </a:cubicBezTo>
                  <a:cubicBezTo>
                    <a:pt x="0" y="10787"/>
                    <a:pt x="4115" y="11237"/>
                    <a:pt x="4243" y="14131"/>
                  </a:cubicBezTo>
                  <a:cubicBezTo>
                    <a:pt x="4372" y="17024"/>
                    <a:pt x="8422" y="20431"/>
                    <a:pt x="9194" y="19081"/>
                  </a:cubicBezTo>
                  <a:close/>
                </a:path>
              </a:pathLst>
            </a:custGeom>
            <a:solidFill>
              <a:srgbClr val="F3AB00"/>
            </a:solidFill>
            <a:ln w="6429" cap="flat">
              <a:solidFill>
                <a:srgbClr val="F3AB00"/>
              </a:solidFill>
              <a:prstDash val="solid"/>
              <a:miter/>
            </a:ln>
          </p:spPr>
          <p:txBody>
            <a:bodyPr rtlCol="0" anchor="ctr"/>
            <a:lstStyle/>
            <a:p>
              <a:endParaRPr lang="en-GB" sz="2400">
                <a:solidFill>
                  <a:srgbClr val="000000"/>
                </a:solidFill>
              </a:endParaRPr>
            </a:p>
          </p:txBody>
        </p:sp>
        <p:sp>
          <p:nvSpPr>
            <p:cNvPr id="296" name="Freeform 86">
              <a:extLst>
                <a:ext uri="{FF2B5EF4-FFF2-40B4-BE49-F238E27FC236}">
                  <a16:creationId xmlns:a16="http://schemas.microsoft.com/office/drawing/2014/main" id="{203CFCB4-BA9E-4DB9-B29F-D0127166126A}"/>
                </a:ext>
              </a:extLst>
            </p:cNvPr>
            <p:cNvSpPr/>
            <p:nvPr/>
          </p:nvSpPr>
          <p:spPr>
            <a:xfrm>
              <a:off x="3622949" y="2810815"/>
              <a:ext cx="6429" cy="6429"/>
            </a:xfrm>
            <a:custGeom>
              <a:avLst/>
              <a:gdLst>
                <a:gd name="connsiteX0" fmla="*/ 842 w 6429"/>
                <a:gd name="connsiteY0" fmla="*/ 9234 h 6429"/>
                <a:gd name="connsiteX1" fmla="*/ 10294 w 6429"/>
                <a:gd name="connsiteY1" fmla="*/ 8077 h 6429"/>
                <a:gd name="connsiteX2" fmla="*/ 9651 w 6429"/>
                <a:gd name="connsiteY2" fmla="*/ 812 h 6429"/>
                <a:gd name="connsiteX3" fmla="*/ 521 w 6429"/>
                <a:gd name="connsiteY3" fmla="*/ 3383 h 6429"/>
                <a:gd name="connsiteX4" fmla="*/ 842 w 6429"/>
                <a:gd name="connsiteY4" fmla="*/ 9234 h 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9" h="6429">
                  <a:moveTo>
                    <a:pt x="842" y="9234"/>
                  </a:moveTo>
                  <a:cubicBezTo>
                    <a:pt x="2321" y="10584"/>
                    <a:pt x="7722" y="9234"/>
                    <a:pt x="10294" y="8077"/>
                  </a:cubicBezTo>
                  <a:cubicBezTo>
                    <a:pt x="12865" y="6920"/>
                    <a:pt x="12544" y="3255"/>
                    <a:pt x="9651" y="812"/>
                  </a:cubicBezTo>
                  <a:cubicBezTo>
                    <a:pt x="6757" y="-1631"/>
                    <a:pt x="-2244" y="2098"/>
                    <a:pt x="521" y="3383"/>
                  </a:cubicBezTo>
                  <a:cubicBezTo>
                    <a:pt x="3286" y="4669"/>
                    <a:pt x="-829" y="7691"/>
                    <a:pt x="842" y="9234"/>
                  </a:cubicBezTo>
                  <a:close/>
                </a:path>
              </a:pathLst>
            </a:custGeom>
            <a:solidFill>
              <a:srgbClr val="F3AB00"/>
            </a:solidFill>
            <a:ln w="6429" cap="flat">
              <a:solidFill>
                <a:srgbClr val="F3AB00"/>
              </a:solidFill>
              <a:prstDash val="solid"/>
              <a:miter/>
            </a:ln>
          </p:spPr>
          <p:txBody>
            <a:bodyPr rtlCol="0" anchor="ctr"/>
            <a:lstStyle/>
            <a:p>
              <a:endParaRPr lang="en-GB" sz="2400">
                <a:solidFill>
                  <a:srgbClr val="000000"/>
                </a:solidFill>
              </a:endParaRPr>
            </a:p>
          </p:txBody>
        </p:sp>
        <p:sp>
          <p:nvSpPr>
            <p:cNvPr id="297" name="Freeform 87">
              <a:extLst>
                <a:ext uri="{FF2B5EF4-FFF2-40B4-BE49-F238E27FC236}">
                  <a16:creationId xmlns:a16="http://schemas.microsoft.com/office/drawing/2014/main" id="{231090B0-0235-498C-A631-57C3040225EC}"/>
                </a:ext>
              </a:extLst>
            </p:cNvPr>
            <p:cNvSpPr/>
            <p:nvPr/>
          </p:nvSpPr>
          <p:spPr>
            <a:xfrm>
              <a:off x="5954627" y="2440909"/>
              <a:ext cx="38576" cy="51435"/>
            </a:xfrm>
            <a:custGeom>
              <a:avLst/>
              <a:gdLst>
                <a:gd name="connsiteX0" fmla="*/ 517 w 38576"/>
                <a:gd name="connsiteY0" fmla="*/ 48799 h 51435"/>
                <a:gd name="connsiteX1" fmla="*/ 2317 w 38576"/>
                <a:gd name="connsiteY1" fmla="*/ 57093 h 51435"/>
                <a:gd name="connsiteX2" fmla="*/ 26041 w 38576"/>
                <a:gd name="connsiteY2" fmla="*/ 49378 h 51435"/>
                <a:gd name="connsiteX3" fmla="*/ 38193 w 38576"/>
                <a:gd name="connsiteY3" fmla="*/ 44234 h 51435"/>
                <a:gd name="connsiteX4" fmla="*/ 43336 w 38576"/>
                <a:gd name="connsiteY4" fmla="*/ 38898 h 51435"/>
                <a:gd name="connsiteX5" fmla="*/ 39993 w 38576"/>
                <a:gd name="connsiteY5" fmla="*/ 20895 h 51435"/>
                <a:gd name="connsiteX6" fmla="*/ 27135 w 38576"/>
                <a:gd name="connsiteY6" fmla="*/ 0 h 51435"/>
                <a:gd name="connsiteX7" fmla="*/ 20705 w 38576"/>
                <a:gd name="connsiteY7" fmla="*/ 2508 h 51435"/>
                <a:gd name="connsiteX8" fmla="*/ 9454 w 38576"/>
                <a:gd name="connsiteY8" fmla="*/ 4951 h 51435"/>
                <a:gd name="connsiteX9" fmla="*/ 2124 w 38576"/>
                <a:gd name="connsiteY9" fmla="*/ 10416 h 51435"/>
                <a:gd name="connsiteX10" fmla="*/ 5982 w 38576"/>
                <a:gd name="connsiteY10" fmla="*/ 16845 h 51435"/>
                <a:gd name="connsiteX11" fmla="*/ 8438 w 38576"/>
                <a:gd name="connsiteY11" fmla="*/ 19770 h 51435"/>
                <a:gd name="connsiteX12" fmla="*/ 5512 w 38576"/>
                <a:gd name="connsiteY12" fmla="*/ 22226 h 51435"/>
                <a:gd name="connsiteX13" fmla="*/ 5210 w 38576"/>
                <a:gd name="connsiteY13" fmla="*/ 22181 h 51435"/>
                <a:gd name="connsiteX14" fmla="*/ 4696 w 38576"/>
                <a:gd name="connsiteY14" fmla="*/ 33561 h 51435"/>
                <a:gd name="connsiteX15" fmla="*/ 517 w 38576"/>
                <a:gd name="connsiteY15" fmla="*/ 48799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576" h="51435">
                  <a:moveTo>
                    <a:pt x="517" y="48799"/>
                  </a:moveTo>
                  <a:cubicBezTo>
                    <a:pt x="3475" y="51757"/>
                    <a:pt x="1095" y="55228"/>
                    <a:pt x="2317" y="57093"/>
                  </a:cubicBezTo>
                  <a:cubicBezTo>
                    <a:pt x="3538" y="58957"/>
                    <a:pt x="19226" y="56321"/>
                    <a:pt x="26041" y="49378"/>
                  </a:cubicBezTo>
                  <a:cubicBezTo>
                    <a:pt x="32856" y="42434"/>
                    <a:pt x="34657" y="43270"/>
                    <a:pt x="38193" y="44234"/>
                  </a:cubicBezTo>
                  <a:cubicBezTo>
                    <a:pt x="41729" y="45199"/>
                    <a:pt x="45137" y="41662"/>
                    <a:pt x="43336" y="38898"/>
                  </a:cubicBezTo>
                  <a:cubicBezTo>
                    <a:pt x="40501" y="33349"/>
                    <a:pt x="39338" y="27094"/>
                    <a:pt x="39993" y="20895"/>
                  </a:cubicBezTo>
                  <a:cubicBezTo>
                    <a:pt x="40315" y="15945"/>
                    <a:pt x="33564" y="7072"/>
                    <a:pt x="27135" y="0"/>
                  </a:cubicBezTo>
                  <a:cubicBezTo>
                    <a:pt x="25373" y="1595"/>
                    <a:pt x="23084" y="2488"/>
                    <a:pt x="20705" y="2508"/>
                  </a:cubicBezTo>
                  <a:cubicBezTo>
                    <a:pt x="16790" y="2070"/>
                    <a:pt x="12836" y="2925"/>
                    <a:pt x="9454" y="4951"/>
                  </a:cubicBezTo>
                  <a:cubicBezTo>
                    <a:pt x="8297" y="6044"/>
                    <a:pt x="4953" y="8101"/>
                    <a:pt x="2124" y="10416"/>
                  </a:cubicBezTo>
                  <a:cubicBezTo>
                    <a:pt x="3538" y="12795"/>
                    <a:pt x="3217" y="16845"/>
                    <a:pt x="5982" y="16845"/>
                  </a:cubicBezTo>
                  <a:cubicBezTo>
                    <a:pt x="7467" y="16974"/>
                    <a:pt x="8567" y="18285"/>
                    <a:pt x="8438" y="19770"/>
                  </a:cubicBezTo>
                  <a:cubicBezTo>
                    <a:pt x="8309" y="21256"/>
                    <a:pt x="6998" y="22355"/>
                    <a:pt x="5512" y="22226"/>
                  </a:cubicBezTo>
                  <a:cubicBezTo>
                    <a:pt x="5410" y="22214"/>
                    <a:pt x="5313" y="22201"/>
                    <a:pt x="5210" y="22181"/>
                  </a:cubicBezTo>
                  <a:cubicBezTo>
                    <a:pt x="1031" y="21217"/>
                    <a:pt x="967" y="27839"/>
                    <a:pt x="4696" y="33561"/>
                  </a:cubicBezTo>
                  <a:cubicBezTo>
                    <a:pt x="8425" y="39284"/>
                    <a:pt x="-2441" y="45841"/>
                    <a:pt x="517" y="48799"/>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298" name="Freeform 88">
              <a:extLst>
                <a:ext uri="{FF2B5EF4-FFF2-40B4-BE49-F238E27FC236}">
                  <a16:creationId xmlns:a16="http://schemas.microsoft.com/office/drawing/2014/main" id="{1D3A864C-B33D-4D9E-84EF-6A72E44EB974}"/>
                </a:ext>
              </a:extLst>
            </p:cNvPr>
            <p:cNvSpPr/>
            <p:nvPr/>
          </p:nvSpPr>
          <p:spPr>
            <a:xfrm>
              <a:off x="5152759" y="2460004"/>
              <a:ext cx="585072" cy="469343"/>
            </a:xfrm>
            <a:custGeom>
              <a:avLst/>
              <a:gdLst>
                <a:gd name="connsiteX0" fmla="*/ 420610 w 585073"/>
                <a:gd name="connsiteY0" fmla="*/ 282893 h 469344"/>
                <a:gd name="connsiteX1" fmla="*/ 431090 w 585073"/>
                <a:gd name="connsiteY1" fmla="*/ 270355 h 469344"/>
                <a:gd name="connsiteX2" fmla="*/ 437519 w 585073"/>
                <a:gd name="connsiteY2" fmla="*/ 275370 h 469344"/>
                <a:gd name="connsiteX3" fmla="*/ 442470 w 585073"/>
                <a:gd name="connsiteY3" fmla="*/ 289129 h 469344"/>
                <a:gd name="connsiteX4" fmla="*/ 448899 w 585073"/>
                <a:gd name="connsiteY4" fmla="*/ 315940 h 469344"/>
                <a:gd name="connsiteX5" fmla="*/ 453657 w 585073"/>
                <a:gd name="connsiteY5" fmla="*/ 335613 h 469344"/>
                <a:gd name="connsiteX6" fmla="*/ 455329 w 585073"/>
                <a:gd name="connsiteY6" fmla="*/ 350272 h 469344"/>
                <a:gd name="connsiteX7" fmla="*/ 454621 w 585073"/>
                <a:gd name="connsiteY7" fmla="*/ 353680 h 469344"/>
                <a:gd name="connsiteX8" fmla="*/ 451085 w 585073"/>
                <a:gd name="connsiteY8" fmla="*/ 372004 h 469344"/>
                <a:gd name="connsiteX9" fmla="*/ 451856 w 585073"/>
                <a:gd name="connsiteY9" fmla="*/ 382998 h 469344"/>
                <a:gd name="connsiteX10" fmla="*/ 468187 w 585073"/>
                <a:gd name="connsiteY10" fmla="*/ 399007 h 469344"/>
                <a:gd name="connsiteX11" fmla="*/ 471916 w 585073"/>
                <a:gd name="connsiteY11" fmla="*/ 405115 h 469344"/>
                <a:gd name="connsiteX12" fmla="*/ 475324 w 585073"/>
                <a:gd name="connsiteY12" fmla="*/ 424403 h 469344"/>
                <a:gd name="connsiteX13" fmla="*/ 488183 w 585073"/>
                <a:gd name="connsiteY13" fmla="*/ 448320 h 469344"/>
                <a:gd name="connsiteX14" fmla="*/ 500141 w 585073"/>
                <a:gd name="connsiteY14" fmla="*/ 459700 h 469344"/>
                <a:gd name="connsiteX15" fmla="*/ 523994 w 585073"/>
                <a:gd name="connsiteY15" fmla="*/ 471788 h 469344"/>
                <a:gd name="connsiteX16" fmla="*/ 515700 w 585073"/>
                <a:gd name="connsiteY16" fmla="*/ 454171 h 469344"/>
                <a:gd name="connsiteX17" fmla="*/ 515700 w 585073"/>
                <a:gd name="connsiteY17" fmla="*/ 430254 h 469344"/>
                <a:gd name="connsiteX18" fmla="*/ 506120 w 585073"/>
                <a:gd name="connsiteY18" fmla="*/ 417395 h 469344"/>
                <a:gd name="connsiteX19" fmla="*/ 500077 w 585073"/>
                <a:gd name="connsiteY19" fmla="*/ 410966 h 469344"/>
                <a:gd name="connsiteX20" fmla="*/ 499113 w 585073"/>
                <a:gd name="connsiteY20" fmla="*/ 409230 h 469344"/>
                <a:gd name="connsiteX21" fmla="*/ 484775 w 585073"/>
                <a:gd name="connsiteY21" fmla="*/ 400872 h 469344"/>
                <a:gd name="connsiteX22" fmla="*/ 476160 w 585073"/>
                <a:gd name="connsiteY22" fmla="*/ 386727 h 469344"/>
                <a:gd name="connsiteX23" fmla="*/ 471595 w 585073"/>
                <a:gd name="connsiteY23" fmla="*/ 375154 h 469344"/>
                <a:gd name="connsiteX24" fmla="*/ 463687 w 585073"/>
                <a:gd name="connsiteY24" fmla="*/ 369303 h 469344"/>
                <a:gd name="connsiteX25" fmla="*/ 465165 w 585073"/>
                <a:gd name="connsiteY25" fmla="*/ 349437 h 469344"/>
                <a:gd name="connsiteX26" fmla="*/ 471916 w 585073"/>
                <a:gd name="connsiteY26" fmla="*/ 324105 h 469344"/>
                <a:gd name="connsiteX27" fmla="*/ 482396 w 585073"/>
                <a:gd name="connsiteY27" fmla="*/ 320955 h 469344"/>
                <a:gd name="connsiteX28" fmla="*/ 491783 w 585073"/>
                <a:gd name="connsiteY28" fmla="*/ 328477 h 469344"/>
                <a:gd name="connsiteX29" fmla="*/ 505028 w 585073"/>
                <a:gd name="connsiteY29" fmla="*/ 335485 h 469344"/>
                <a:gd name="connsiteX30" fmla="*/ 505863 w 585073"/>
                <a:gd name="connsiteY30" fmla="*/ 335871 h 469344"/>
                <a:gd name="connsiteX31" fmla="*/ 509207 w 585073"/>
                <a:gd name="connsiteY31" fmla="*/ 347058 h 469344"/>
                <a:gd name="connsiteX32" fmla="*/ 516922 w 585073"/>
                <a:gd name="connsiteY32" fmla="*/ 348344 h 469344"/>
                <a:gd name="connsiteX33" fmla="*/ 517501 w 585073"/>
                <a:gd name="connsiteY33" fmla="*/ 354773 h 469344"/>
                <a:gd name="connsiteX34" fmla="*/ 527402 w 585073"/>
                <a:gd name="connsiteY34" fmla="*/ 355673 h 469344"/>
                <a:gd name="connsiteX35" fmla="*/ 528559 w 585073"/>
                <a:gd name="connsiteY35" fmla="*/ 357602 h 469344"/>
                <a:gd name="connsiteX36" fmla="*/ 534024 w 585073"/>
                <a:gd name="connsiteY36" fmla="*/ 361717 h 469344"/>
                <a:gd name="connsiteX37" fmla="*/ 530552 w 585073"/>
                <a:gd name="connsiteY37" fmla="*/ 372582 h 469344"/>
                <a:gd name="connsiteX38" fmla="*/ 536981 w 585073"/>
                <a:gd name="connsiteY38" fmla="*/ 377533 h 469344"/>
                <a:gd name="connsiteX39" fmla="*/ 548169 w 585073"/>
                <a:gd name="connsiteY39" fmla="*/ 368918 h 469344"/>
                <a:gd name="connsiteX40" fmla="*/ 551126 w 585073"/>
                <a:gd name="connsiteY40" fmla="*/ 364096 h 469344"/>
                <a:gd name="connsiteX41" fmla="*/ 554469 w 585073"/>
                <a:gd name="connsiteY41" fmla="*/ 357666 h 469344"/>
                <a:gd name="connsiteX42" fmla="*/ 562185 w 585073"/>
                <a:gd name="connsiteY42" fmla="*/ 356380 h 469344"/>
                <a:gd name="connsiteX43" fmla="*/ 579030 w 585073"/>
                <a:gd name="connsiteY43" fmla="*/ 348279 h 469344"/>
                <a:gd name="connsiteX44" fmla="*/ 588802 w 585073"/>
                <a:gd name="connsiteY44" fmla="*/ 331756 h 469344"/>
                <a:gd name="connsiteX45" fmla="*/ 585845 w 585073"/>
                <a:gd name="connsiteY45" fmla="*/ 302888 h 469344"/>
                <a:gd name="connsiteX46" fmla="*/ 574079 w 585073"/>
                <a:gd name="connsiteY46" fmla="*/ 283600 h 469344"/>
                <a:gd name="connsiteX47" fmla="*/ 554084 w 585073"/>
                <a:gd name="connsiteY47" fmla="*/ 266691 h 469344"/>
                <a:gd name="connsiteX48" fmla="*/ 548555 w 585073"/>
                <a:gd name="connsiteY48" fmla="*/ 257175 h 469344"/>
                <a:gd name="connsiteX49" fmla="*/ 545468 w 585073"/>
                <a:gd name="connsiteY49" fmla="*/ 240266 h 469344"/>
                <a:gd name="connsiteX50" fmla="*/ 554276 w 585073"/>
                <a:gd name="connsiteY50" fmla="*/ 229400 h 469344"/>
                <a:gd name="connsiteX51" fmla="*/ 559034 w 585073"/>
                <a:gd name="connsiteY51" fmla="*/ 222071 h 469344"/>
                <a:gd name="connsiteX52" fmla="*/ 568742 w 585073"/>
                <a:gd name="connsiteY52" fmla="*/ 215641 h 469344"/>
                <a:gd name="connsiteX53" fmla="*/ 569836 w 585073"/>
                <a:gd name="connsiteY53" fmla="*/ 214741 h 469344"/>
                <a:gd name="connsiteX54" fmla="*/ 567264 w 585073"/>
                <a:gd name="connsiteY54" fmla="*/ 212684 h 469344"/>
                <a:gd name="connsiteX55" fmla="*/ 554984 w 585073"/>
                <a:gd name="connsiteY55" fmla="*/ 203361 h 469344"/>
                <a:gd name="connsiteX56" fmla="*/ 551576 w 585073"/>
                <a:gd name="connsiteY56" fmla="*/ 196032 h 469344"/>
                <a:gd name="connsiteX57" fmla="*/ 541289 w 585073"/>
                <a:gd name="connsiteY57" fmla="*/ 190631 h 469344"/>
                <a:gd name="connsiteX58" fmla="*/ 531452 w 585073"/>
                <a:gd name="connsiteY58" fmla="*/ 197060 h 469344"/>
                <a:gd name="connsiteX59" fmla="*/ 523094 w 585073"/>
                <a:gd name="connsiteY59" fmla="*/ 198539 h 469344"/>
                <a:gd name="connsiteX60" fmla="*/ 512357 w 585073"/>
                <a:gd name="connsiteY60" fmla="*/ 198539 h 469344"/>
                <a:gd name="connsiteX61" fmla="*/ 503034 w 585073"/>
                <a:gd name="connsiteY61" fmla="*/ 199504 h 469344"/>
                <a:gd name="connsiteX62" fmla="*/ 499627 w 585073"/>
                <a:gd name="connsiteY62" fmla="*/ 202140 h 469344"/>
                <a:gd name="connsiteX63" fmla="*/ 494676 w 585073"/>
                <a:gd name="connsiteY63" fmla="*/ 202461 h 469344"/>
                <a:gd name="connsiteX64" fmla="*/ 492683 w 585073"/>
                <a:gd name="connsiteY64" fmla="*/ 208890 h 469344"/>
                <a:gd name="connsiteX65" fmla="*/ 492233 w 585073"/>
                <a:gd name="connsiteY65" fmla="*/ 218727 h 469344"/>
                <a:gd name="connsiteX66" fmla="*/ 485804 w 585073"/>
                <a:gd name="connsiteY66" fmla="*/ 212877 h 469344"/>
                <a:gd name="connsiteX67" fmla="*/ 480210 w 585073"/>
                <a:gd name="connsiteY67" fmla="*/ 214034 h 469344"/>
                <a:gd name="connsiteX68" fmla="*/ 472495 w 585073"/>
                <a:gd name="connsiteY68" fmla="*/ 209919 h 469344"/>
                <a:gd name="connsiteX69" fmla="*/ 465615 w 585073"/>
                <a:gd name="connsiteY69" fmla="*/ 206576 h 469344"/>
                <a:gd name="connsiteX70" fmla="*/ 465615 w 585073"/>
                <a:gd name="connsiteY70" fmla="*/ 198282 h 469344"/>
                <a:gd name="connsiteX71" fmla="*/ 460922 w 585073"/>
                <a:gd name="connsiteY71" fmla="*/ 192817 h 469344"/>
                <a:gd name="connsiteX72" fmla="*/ 457064 w 585073"/>
                <a:gd name="connsiteY72" fmla="*/ 182594 h 469344"/>
                <a:gd name="connsiteX73" fmla="*/ 445813 w 585073"/>
                <a:gd name="connsiteY73" fmla="*/ 180408 h 469344"/>
                <a:gd name="connsiteX74" fmla="*/ 443563 w 585073"/>
                <a:gd name="connsiteY74" fmla="*/ 174365 h 469344"/>
                <a:gd name="connsiteX75" fmla="*/ 453785 w 585073"/>
                <a:gd name="connsiteY75" fmla="*/ 157005 h 469344"/>
                <a:gd name="connsiteX76" fmla="*/ 456807 w 585073"/>
                <a:gd name="connsiteY76" fmla="*/ 138810 h 469344"/>
                <a:gd name="connsiteX77" fmla="*/ 451856 w 585073"/>
                <a:gd name="connsiteY77" fmla="*/ 132381 h 469344"/>
                <a:gd name="connsiteX78" fmla="*/ 449092 w 585073"/>
                <a:gd name="connsiteY78" fmla="*/ 125502 h 469344"/>
                <a:gd name="connsiteX79" fmla="*/ 442663 w 585073"/>
                <a:gd name="connsiteY79" fmla="*/ 121219 h 469344"/>
                <a:gd name="connsiteX80" fmla="*/ 440798 w 585073"/>
                <a:gd name="connsiteY80" fmla="*/ 121965 h 469344"/>
                <a:gd name="connsiteX81" fmla="*/ 438741 w 585073"/>
                <a:gd name="connsiteY81" fmla="*/ 123187 h 469344"/>
                <a:gd name="connsiteX82" fmla="*/ 438741 w 585073"/>
                <a:gd name="connsiteY82" fmla="*/ 123187 h 469344"/>
                <a:gd name="connsiteX83" fmla="*/ 431347 w 585073"/>
                <a:gd name="connsiteY83" fmla="*/ 119265 h 469344"/>
                <a:gd name="connsiteX84" fmla="*/ 426460 w 585073"/>
                <a:gd name="connsiteY84" fmla="*/ 110971 h 469344"/>
                <a:gd name="connsiteX85" fmla="*/ 420031 w 585073"/>
                <a:gd name="connsiteY85" fmla="*/ 111935 h 469344"/>
                <a:gd name="connsiteX86" fmla="*/ 405372 w 585073"/>
                <a:gd name="connsiteY86" fmla="*/ 112386 h 469344"/>
                <a:gd name="connsiteX87" fmla="*/ 394571 w 585073"/>
                <a:gd name="connsiteY87" fmla="*/ 119265 h 469344"/>
                <a:gd name="connsiteX88" fmla="*/ 389620 w 585073"/>
                <a:gd name="connsiteY88" fmla="*/ 124216 h 469344"/>
                <a:gd name="connsiteX89" fmla="*/ 383770 w 585073"/>
                <a:gd name="connsiteY89" fmla="*/ 129616 h 469344"/>
                <a:gd name="connsiteX90" fmla="*/ 379140 w 585073"/>
                <a:gd name="connsiteY90" fmla="*/ 131224 h 469344"/>
                <a:gd name="connsiteX91" fmla="*/ 379140 w 585073"/>
                <a:gd name="connsiteY91" fmla="*/ 131224 h 469344"/>
                <a:gd name="connsiteX92" fmla="*/ 364803 w 585073"/>
                <a:gd name="connsiteY92" fmla="*/ 127302 h 469344"/>
                <a:gd name="connsiteX93" fmla="*/ 354580 w 585073"/>
                <a:gd name="connsiteY93" fmla="*/ 125630 h 469344"/>
                <a:gd name="connsiteX94" fmla="*/ 345772 w 585073"/>
                <a:gd name="connsiteY94" fmla="*/ 133345 h 469344"/>
                <a:gd name="connsiteX95" fmla="*/ 343007 w 585073"/>
                <a:gd name="connsiteY95" fmla="*/ 138617 h 469344"/>
                <a:gd name="connsiteX96" fmla="*/ 342300 w 585073"/>
                <a:gd name="connsiteY96" fmla="*/ 133152 h 469344"/>
                <a:gd name="connsiteX97" fmla="*/ 338378 w 585073"/>
                <a:gd name="connsiteY97" fmla="*/ 126723 h 469344"/>
                <a:gd name="connsiteX98" fmla="*/ 334263 w 585073"/>
                <a:gd name="connsiteY98" fmla="*/ 129809 h 469344"/>
                <a:gd name="connsiteX99" fmla="*/ 334263 w 585073"/>
                <a:gd name="connsiteY99" fmla="*/ 129809 h 469344"/>
                <a:gd name="connsiteX100" fmla="*/ 331370 w 585073"/>
                <a:gd name="connsiteY100" fmla="*/ 129809 h 469344"/>
                <a:gd name="connsiteX101" fmla="*/ 315104 w 585073"/>
                <a:gd name="connsiteY101" fmla="*/ 126787 h 469344"/>
                <a:gd name="connsiteX102" fmla="*/ 291186 w 585073"/>
                <a:gd name="connsiteY102" fmla="*/ 117143 h 469344"/>
                <a:gd name="connsiteX103" fmla="*/ 265790 w 585073"/>
                <a:gd name="connsiteY103" fmla="*/ 98691 h 469344"/>
                <a:gd name="connsiteX104" fmla="*/ 255889 w 585073"/>
                <a:gd name="connsiteY104" fmla="*/ 96762 h 469344"/>
                <a:gd name="connsiteX105" fmla="*/ 248238 w 585073"/>
                <a:gd name="connsiteY105" fmla="*/ 99141 h 469344"/>
                <a:gd name="connsiteX106" fmla="*/ 248238 w 585073"/>
                <a:gd name="connsiteY106" fmla="*/ 99141 h 469344"/>
                <a:gd name="connsiteX107" fmla="*/ 248238 w 585073"/>
                <a:gd name="connsiteY107" fmla="*/ 98370 h 469344"/>
                <a:gd name="connsiteX108" fmla="*/ 242837 w 585073"/>
                <a:gd name="connsiteY108" fmla="*/ 92969 h 469344"/>
                <a:gd name="connsiteX109" fmla="*/ 235508 w 585073"/>
                <a:gd name="connsiteY109" fmla="*/ 86539 h 469344"/>
                <a:gd name="connsiteX110" fmla="*/ 225221 w 585073"/>
                <a:gd name="connsiteY110" fmla="*/ 79210 h 469344"/>
                <a:gd name="connsiteX111" fmla="*/ 220785 w 585073"/>
                <a:gd name="connsiteY111" fmla="*/ 69373 h 469344"/>
                <a:gd name="connsiteX112" fmla="*/ 223742 w 585073"/>
                <a:gd name="connsiteY112" fmla="*/ 63972 h 469344"/>
                <a:gd name="connsiteX113" fmla="*/ 231072 w 585073"/>
                <a:gd name="connsiteY113" fmla="*/ 59536 h 469344"/>
                <a:gd name="connsiteX114" fmla="*/ 224192 w 585073"/>
                <a:gd name="connsiteY114" fmla="*/ 48799 h 469344"/>
                <a:gd name="connsiteX115" fmla="*/ 223742 w 585073"/>
                <a:gd name="connsiteY115" fmla="*/ 36969 h 469344"/>
                <a:gd name="connsiteX116" fmla="*/ 216348 w 585073"/>
                <a:gd name="connsiteY116" fmla="*/ 28675 h 469344"/>
                <a:gd name="connsiteX117" fmla="*/ 211462 w 585073"/>
                <a:gd name="connsiteY117" fmla="*/ 22760 h 469344"/>
                <a:gd name="connsiteX118" fmla="*/ 206576 w 585073"/>
                <a:gd name="connsiteY118" fmla="*/ 23274 h 469344"/>
                <a:gd name="connsiteX119" fmla="*/ 206062 w 585073"/>
                <a:gd name="connsiteY119" fmla="*/ 24432 h 469344"/>
                <a:gd name="connsiteX120" fmla="*/ 196353 w 585073"/>
                <a:gd name="connsiteY120" fmla="*/ 19288 h 469344"/>
                <a:gd name="connsiteX121" fmla="*/ 189924 w 585073"/>
                <a:gd name="connsiteY121" fmla="*/ 9901 h 469344"/>
                <a:gd name="connsiteX122" fmla="*/ 178608 w 585073"/>
                <a:gd name="connsiteY122" fmla="*/ 707 h 469344"/>
                <a:gd name="connsiteX123" fmla="*/ 174815 w 585073"/>
                <a:gd name="connsiteY123" fmla="*/ 1479 h 469344"/>
                <a:gd name="connsiteX124" fmla="*/ 172564 w 585073"/>
                <a:gd name="connsiteY124" fmla="*/ 0 h 469344"/>
                <a:gd name="connsiteX125" fmla="*/ 159706 w 585073"/>
                <a:gd name="connsiteY125" fmla="*/ 3793 h 469344"/>
                <a:gd name="connsiteX126" fmla="*/ 142925 w 585073"/>
                <a:gd name="connsiteY126" fmla="*/ 8808 h 469344"/>
                <a:gd name="connsiteX127" fmla="*/ 136496 w 585073"/>
                <a:gd name="connsiteY127" fmla="*/ 11059 h 469344"/>
                <a:gd name="connsiteX128" fmla="*/ 134631 w 585073"/>
                <a:gd name="connsiteY128" fmla="*/ 11830 h 469344"/>
                <a:gd name="connsiteX129" fmla="*/ 132831 w 585073"/>
                <a:gd name="connsiteY129" fmla="*/ 18259 h 469344"/>
                <a:gd name="connsiteX130" fmla="*/ 135017 w 585073"/>
                <a:gd name="connsiteY130" fmla="*/ 25653 h 469344"/>
                <a:gd name="connsiteX131" fmla="*/ 129102 w 585073"/>
                <a:gd name="connsiteY131" fmla="*/ 34462 h 469344"/>
                <a:gd name="connsiteX132" fmla="*/ 128009 w 585073"/>
                <a:gd name="connsiteY132" fmla="*/ 44363 h 469344"/>
                <a:gd name="connsiteX133" fmla="*/ 114057 w 585073"/>
                <a:gd name="connsiteY133" fmla="*/ 43977 h 469344"/>
                <a:gd name="connsiteX134" fmla="*/ 118108 w 585073"/>
                <a:gd name="connsiteY134" fmla="*/ 52078 h 469344"/>
                <a:gd name="connsiteX135" fmla="*/ 109621 w 585073"/>
                <a:gd name="connsiteY135" fmla="*/ 57221 h 469344"/>
                <a:gd name="connsiteX136" fmla="*/ 105635 w 585073"/>
                <a:gd name="connsiteY136" fmla="*/ 70466 h 469344"/>
                <a:gd name="connsiteX137" fmla="*/ 99720 w 585073"/>
                <a:gd name="connsiteY137" fmla="*/ 75931 h 469344"/>
                <a:gd name="connsiteX138" fmla="*/ 86475 w 585073"/>
                <a:gd name="connsiteY138" fmla="*/ 80367 h 469344"/>
                <a:gd name="connsiteX139" fmla="*/ 78053 w 585073"/>
                <a:gd name="connsiteY139" fmla="*/ 82553 h 469344"/>
                <a:gd name="connsiteX140" fmla="*/ 68151 w 585073"/>
                <a:gd name="connsiteY140" fmla="*/ 88468 h 469344"/>
                <a:gd name="connsiteX141" fmla="*/ 69244 w 585073"/>
                <a:gd name="connsiteY141" fmla="*/ 100941 h 469344"/>
                <a:gd name="connsiteX142" fmla="*/ 19288 w 585073"/>
                <a:gd name="connsiteY142" fmla="*/ 107371 h 469344"/>
                <a:gd name="connsiteX143" fmla="*/ 0 w 585073"/>
                <a:gd name="connsiteY143" fmla="*/ 105313 h 469344"/>
                <a:gd name="connsiteX144" fmla="*/ 5787 w 585073"/>
                <a:gd name="connsiteY144" fmla="*/ 111743 h 469344"/>
                <a:gd name="connsiteX145" fmla="*/ 18645 w 585073"/>
                <a:gd name="connsiteY145" fmla="*/ 122544 h 469344"/>
                <a:gd name="connsiteX146" fmla="*/ 24496 w 585073"/>
                <a:gd name="connsiteY146" fmla="*/ 136303 h 469344"/>
                <a:gd name="connsiteX147" fmla="*/ 27454 w 585073"/>
                <a:gd name="connsiteY147" fmla="*/ 145625 h 469344"/>
                <a:gd name="connsiteX148" fmla="*/ 16138 w 585073"/>
                <a:gd name="connsiteY148" fmla="*/ 149033 h 469344"/>
                <a:gd name="connsiteX149" fmla="*/ 8294 w 585073"/>
                <a:gd name="connsiteY149" fmla="*/ 161892 h 469344"/>
                <a:gd name="connsiteX150" fmla="*/ 8616 w 585073"/>
                <a:gd name="connsiteY150" fmla="*/ 164978 h 469344"/>
                <a:gd name="connsiteX151" fmla="*/ 31825 w 585073"/>
                <a:gd name="connsiteY151" fmla="*/ 163306 h 469344"/>
                <a:gd name="connsiteX152" fmla="*/ 41341 w 585073"/>
                <a:gd name="connsiteY152" fmla="*/ 161827 h 469344"/>
                <a:gd name="connsiteX153" fmla="*/ 61401 w 585073"/>
                <a:gd name="connsiteY153" fmla="*/ 161827 h 469344"/>
                <a:gd name="connsiteX154" fmla="*/ 71302 w 585073"/>
                <a:gd name="connsiteY154" fmla="*/ 164785 h 469344"/>
                <a:gd name="connsiteX155" fmla="*/ 77024 w 585073"/>
                <a:gd name="connsiteY155" fmla="*/ 171214 h 469344"/>
                <a:gd name="connsiteX156" fmla="*/ 79596 w 585073"/>
                <a:gd name="connsiteY156" fmla="*/ 179701 h 469344"/>
                <a:gd name="connsiteX157" fmla="*/ 90397 w 585073"/>
                <a:gd name="connsiteY157" fmla="*/ 184459 h 469344"/>
                <a:gd name="connsiteX158" fmla="*/ 92390 w 585073"/>
                <a:gd name="connsiteY158" fmla="*/ 185680 h 469344"/>
                <a:gd name="connsiteX159" fmla="*/ 103835 w 585073"/>
                <a:gd name="connsiteY159" fmla="*/ 196225 h 469344"/>
                <a:gd name="connsiteX160" fmla="*/ 117400 w 585073"/>
                <a:gd name="connsiteY160" fmla="*/ 196932 h 469344"/>
                <a:gd name="connsiteX161" fmla="*/ 100170 w 585073"/>
                <a:gd name="connsiteY161" fmla="*/ 202847 h 469344"/>
                <a:gd name="connsiteX162" fmla="*/ 126594 w 585073"/>
                <a:gd name="connsiteY162" fmla="*/ 224321 h 469344"/>
                <a:gd name="connsiteX163" fmla="*/ 139453 w 585073"/>
                <a:gd name="connsiteY163" fmla="*/ 211462 h 469344"/>
                <a:gd name="connsiteX164" fmla="*/ 143311 w 585073"/>
                <a:gd name="connsiteY164" fmla="*/ 205033 h 469344"/>
                <a:gd name="connsiteX165" fmla="*/ 146461 w 585073"/>
                <a:gd name="connsiteY165" fmla="*/ 217892 h 469344"/>
                <a:gd name="connsiteX166" fmla="*/ 146461 w 585073"/>
                <a:gd name="connsiteY166" fmla="*/ 229336 h 469344"/>
                <a:gd name="connsiteX167" fmla="*/ 148840 w 585073"/>
                <a:gd name="connsiteY167" fmla="*/ 250231 h 469344"/>
                <a:gd name="connsiteX168" fmla="*/ 154498 w 585073"/>
                <a:gd name="connsiteY168" fmla="*/ 272670 h 469344"/>
                <a:gd name="connsiteX169" fmla="*/ 166135 w 585073"/>
                <a:gd name="connsiteY169" fmla="*/ 305910 h 469344"/>
                <a:gd name="connsiteX170" fmla="*/ 178222 w 585073"/>
                <a:gd name="connsiteY170" fmla="*/ 338057 h 469344"/>
                <a:gd name="connsiteX171" fmla="*/ 189988 w 585073"/>
                <a:gd name="connsiteY171" fmla="*/ 364160 h 469344"/>
                <a:gd name="connsiteX172" fmla="*/ 202140 w 585073"/>
                <a:gd name="connsiteY172" fmla="*/ 386213 h 469344"/>
                <a:gd name="connsiteX173" fmla="*/ 213713 w 585073"/>
                <a:gd name="connsiteY173" fmla="*/ 378497 h 469344"/>
                <a:gd name="connsiteX174" fmla="*/ 225285 w 585073"/>
                <a:gd name="connsiteY174" fmla="*/ 366924 h 469344"/>
                <a:gd name="connsiteX175" fmla="*/ 230043 w 585073"/>
                <a:gd name="connsiteY175" fmla="*/ 358438 h 469344"/>
                <a:gd name="connsiteX176" fmla="*/ 233322 w 585073"/>
                <a:gd name="connsiteY176" fmla="*/ 349629 h 469344"/>
                <a:gd name="connsiteX177" fmla="*/ 236987 w 585073"/>
                <a:gd name="connsiteY177" fmla="*/ 333813 h 469344"/>
                <a:gd name="connsiteX178" fmla="*/ 238851 w 585073"/>
                <a:gd name="connsiteY178" fmla="*/ 313625 h 469344"/>
                <a:gd name="connsiteX179" fmla="*/ 239751 w 585073"/>
                <a:gd name="connsiteY179" fmla="*/ 298002 h 469344"/>
                <a:gd name="connsiteX180" fmla="*/ 244381 w 585073"/>
                <a:gd name="connsiteY180" fmla="*/ 287715 h 469344"/>
                <a:gd name="connsiteX181" fmla="*/ 256661 w 585073"/>
                <a:gd name="connsiteY181" fmla="*/ 279292 h 469344"/>
                <a:gd name="connsiteX182" fmla="*/ 275563 w 585073"/>
                <a:gd name="connsiteY182" fmla="*/ 264183 h 469344"/>
                <a:gd name="connsiteX183" fmla="*/ 295623 w 585073"/>
                <a:gd name="connsiteY183" fmla="*/ 243995 h 469344"/>
                <a:gd name="connsiteX184" fmla="*/ 314525 w 585073"/>
                <a:gd name="connsiteY184" fmla="*/ 231136 h 469344"/>
                <a:gd name="connsiteX185" fmla="*/ 318383 w 585073"/>
                <a:gd name="connsiteY185" fmla="*/ 218277 h 469344"/>
                <a:gd name="connsiteX186" fmla="*/ 340628 w 585073"/>
                <a:gd name="connsiteY186" fmla="*/ 210755 h 469344"/>
                <a:gd name="connsiteX187" fmla="*/ 343714 w 585073"/>
                <a:gd name="connsiteY187" fmla="*/ 210434 h 469344"/>
                <a:gd name="connsiteX188" fmla="*/ 352008 w 585073"/>
                <a:gd name="connsiteY188" fmla="*/ 208183 h 469344"/>
                <a:gd name="connsiteX189" fmla="*/ 361974 w 585073"/>
                <a:gd name="connsiteY189" fmla="*/ 203426 h 469344"/>
                <a:gd name="connsiteX190" fmla="*/ 369496 w 585073"/>
                <a:gd name="connsiteY190" fmla="*/ 197318 h 469344"/>
                <a:gd name="connsiteX191" fmla="*/ 375926 w 585073"/>
                <a:gd name="connsiteY191" fmla="*/ 214227 h 469344"/>
                <a:gd name="connsiteX192" fmla="*/ 377919 w 585073"/>
                <a:gd name="connsiteY192" fmla="*/ 220656 h 469344"/>
                <a:gd name="connsiteX193" fmla="*/ 389556 w 585073"/>
                <a:gd name="connsiteY193" fmla="*/ 232936 h 469344"/>
                <a:gd name="connsiteX194" fmla="*/ 403701 w 585073"/>
                <a:gd name="connsiteY194" fmla="*/ 258075 h 469344"/>
                <a:gd name="connsiteX195" fmla="*/ 401901 w 585073"/>
                <a:gd name="connsiteY195" fmla="*/ 278135 h 469344"/>
                <a:gd name="connsiteX196" fmla="*/ 406980 w 585073"/>
                <a:gd name="connsiteY196" fmla="*/ 284950 h 469344"/>
                <a:gd name="connsiteX197" fmla="*/ 420610 w 585073"/>
                <a:gd name="connsiteY197" fmla="*/ 282893 h 469344"/>
                <a:gd name="connsiteX198" fmla="*/ 565464 w 585073"/>
                <a:gd name="connsiteY198" fmla="*/ 303917 h 469344"/>
                <a:gd name="connsiteX199" fmla="*/ 565464 w 585073"/>
                <a:gd name="connsiteY199" fmla="*/ 303917 h 469344"/>
                <a:gd name="connsiteX200" fmla="*/ 565464 w 585073"/>
                <a:gd name="connsiteY200" fmla="*/ 303917 h 469344"/>
                <a:gd name="connsiteX201" fmla="*/ 543025 w 585073"/>
                <a:gd name="connsiteY201" fmla="*/ 309896 h 469344"/>
                <a:gd name="connsiteX202" fmla="*/ 539232 w 585073"/>
                <a:gd name="connsiteY202" fmla="*/ 308160 h 469344"/>
                <a:gd name="connsiteX203" fmla="*/ 543025 w 585073"/>
                <a:gd name="connsiteY203" fmla="*/ 309896 h 469344"/>
                <a:gd name="connsiteX204" fmla="*/ 116308 w 585073"/>
                <a:gd name="connsiteY204" fmla="*/ 131031 h 469344"/>
                <a:gd name="connsiteX205" fmla="*/ 118365 w 585073"/>
                <a:gd name="connsiteY205" fmla="*/ 129102 h 469344"/>
                <a:gd name="connsiteX206" fmla="*/ 116308 w 585073"/>
                <a:gd name="connsiteY206" fmla="*/ 131031 h 469344"/>
                <a:gd name="connsiteX207" fmla="*/ 113157 w 585073"/>
                <a:gd name="connsiteY207" fmla="*/ 134053 h 469344"/>
                <a:gd name="connsiteX208" fmla="*/ 116308 w 585073"/>
                <a:gd name="connsiteY208" fmla="*/ 131031 h 469344"/>
                <a:gd name="connsiteX209" fmla="*/ 126723 w 585073"/>
                <a:gd name="connsiteY209" fmla="*/ 173722 h 469344"/>
                <a:gd name="connsiteX210" fmla="*/ 127237 w 585073"/>
                <a:gd name="connsiteY210" fmla="*/ 171086 h 469344"/>
                <a:gd name="connsiteX211" fmla="*/ 126466 w 585073"/>
                <a:gd name="connsiteY211" fmla="*/ 173722 h 469344"/>
                <a:gd name="connsiteX212" fmla="*/ 130324 w 585073"/>
                <a:gd name="connsiteY212" fmla="*/ 128716 h 469344"/>
                <a:gd name="connsiteX213" fmla="*/ 127687 w 585073"/>
                <a:gd name="connsiteY213" fmla="*/ 130259 h 469344"/>
                <a:gd name="connsiteX214" fmla="*/ 130324 w 585073"/>
                <a:gd name="connsiteY214" fmla="*/ 128716 h 469344"/>
                <a:gd name="connsiteX215" fmla="*/ 136046 w 585073"/>
                <a:gd name="connsiteY215" fmla="*/ 129809 h 469344"/>
                <a:gd name="connsiteX216" fmla="*/ 130324 w 585073"/>
                <a:gd name="connsiteY216" fmla="*/ 128523 h 469344"/>
                <a:gd name="connsiteX217" fmla="*/ 138103 w 585073"/>
                <a:gd name="connsiteY217" fmla="*/ 129166 h 469344"/>
                <a:gd name="connsiteX218" fmla="*/ 140225 w 585073"/>
                <a:gd name="connsiteY218" fmla="*/ 126980 h 469344"/>
                <a:gd name="connsiteX219" fmla="*/ 138103 w 585073"/>
                <a:gd name="connsiteY219" fmla="*/ 128973 h 469344"/>
                <a:gd name="connsiteX220" fmla="*/ 150962 w 585073"/>
                <a:gd name="connsiteY220" fmla="*/ 115214 h 469344"/>
                <a:gd name="connsiteX221" fmla="*/ 153469 w 585073"/>
                <a:gd name="connsiteY221" fmla="*/ 114057 h 469344"/>
                <a:gd name="connsiteX222" fmla="*/ 150705 w 585073"/>
                <a:gd name="connsiteY222" fmla="*/ 115022 h 469344"/>
                <a:gd name="connsiteX223" fmla="*/ 206897 w 585073"/>
                <a:gd name="connsiteY223" fmla="*/ 24625 h 469344"/>
                <a:gd name="connsiteX224" fmla="*/ 206190 w 585073"/>
                <a:gd name="connsiteY224" fmla="*/ 26360 h 469344"/>
                <a:gd name="connsiteX225" fmla="*/ 334328 w 585073"/>
                <a:gd name="connsiteY225" fmla="*/ 130838 h 469344"/>
                <a:gd name="connsiteX226" fmla="*/ 334328 w 585073"/>
                <a:gd name="connsiteY226" fmla="*/ 130838 h 469344"/>
                <a:gd name="connsiteX227" fmla="*/ 294594 w 585073"/>
                <a:gd name="connsiteY227" fmla="*/ 138617 h 469344"/>
                <a:gd name="connsiteX228" fmla="*/ 293180 w 585073"/>
                <a:gd name="connsiteY228" fmla="*/ 136881 h 469344"/>
                <a:gd name="connsiteX229" fmla="*/ 294337 w 585073"/>
                <a:gd name="connsiteY229" fmla="*/ 138424 h 469344"/>
                <a:gd name="connsiteX230" fmla="*/ 248624 w 585073"/>
                <a:gd name="connsiteY230" fmla="*/ 99334 h 469344"/>
                <a:gd name="connsiteX231" fmla="*/ 248303 w 585073"/>
                <a:gd name="connsiteY231" fmla="*/ 99720 h 469344"/>
                <a:gd name="connsiteX232" fmla="*/ 247724 w 585073"/>
                <a:gd name="connsiteY232" fmla="*/ 100298 h 469344"/>
                <a:gd name="connsiteX233" fmla="*/ 247724 w 585073"/>
                <a:gd name="connsiteY233" fmla="*/ 100298 h 469344"/>
                <a:gd name="connsiteX234" fmla="*/ 246245 w 585073"/>
                <a:gd name="connsiteY234" fmla="*/ 101713 h 469344"/>
                <a:gd name="connsiteX235" fmla="*/ 246245 w 585073"/>
                <a:gd name="connsiteY235" fmla="*/ 101713 h 469344"/>
                <a:gd name="connsiteX236" fmla="*/ 245345 w 585073"/>
                <a:gd name="connsiteY236" fmla="*/ 102549 h 469344"/>
                <a:gd name="connsiteX237" fmla="*/ 245024 w 585073"/>
                <a:gd name="connsiteY237" fmla="*/ 102870 h 469344"/>
                <a:gd name="connsiteX238" fmla="*/ 244445 w 585073"/>
                <a:gd name="connsiteY238" fmla="*/ 103577 h 469344"/>
                <a:gd name="connsiteX239" fmla="*/ 244445 w 585073"/>
                <a:gd name="connsiteY239" fmla="*/ 103963 h 469344"/>
                <a:gd name="connsiteX240" fmla="*/ 243673 w 585073"/>
                <a:gd name="connsiteY240" fmla="*/ 104606 h 469344"/>
                <a:gd name="connsiteX241" fmla="*/ 243673 w 585073"/>
                <a:gd name="connsiteY241" fmla="*/ 104992 h 469344"/>
                <a:gd name="connsiteX242" fmla="*/ 251324 w 585073"/>
                <a:gd name="connsiteY242" fmla="*/ 122158 h 469344"/>
                <a:gd name="connsiteX243" fmla="*/ 247659 w 585073"/>
                <a:gd name="connsiteY243" fmla="*/ 120294 h 469344"/>
                <a:gd name="connsiteX244" fmla="*/ 246052 w 585073"/>
                <a:gd name="connsiteY244" fmla="*/ 119008 h 469344"/>
                <a:gd name="connsiteX245" fmla="*/ 243931 w 585073"/>
                <a:gd name="connsiteY245" fmla="*/ 117979 h 469344"/>
                <a:gd name="connsiteX246" fmla="*/ 242066 w 585073"/>
                <a:gd name="connsiteY246" fmla="*/ 116886 h 469344"/>
                <a:gd name="connsiteX247" fmla="*/ 243931 w 585073"/>
                <a:gd name="connsiteY247" fmla="*/ 117979 h 469344"/>
                <a:gd name="connsiteX248" fmla="*/ 246052 w 585073"/>
                <a:gd name="connsiteY248" fmla="*/ 119008 h 469344"/>
                <a:gd name="connsiteX249" fmla="*/ 247659 w 585073"/>
                <a:gd name="connsiteY249" fmla="*/ 120294 h 469344"/>
                <a:gd name="connsiteX250" fmla="*/ 251324 w 585073"/>
                <a:gd name="connsiteY250" fmla="*/ 122158 h 469344"/>
                <a:gd name="connsiteX251" fmla="*/ 255954 w 585073"/>
                <a:gd name="connsiteY251" fmla="*/ 123830 h 469344"/>
                <a:gd name="connsiteX252" fmla="*/ 251067 w 585073"/>
                <a:gd name="connsiteY252" fmla="*/ 122158 h 469344"/>
                <a:gd name="connsiteX253" fmla="*/ 261033 w 585073"/>
                <a:gd name="connsiteY253" fmla="*/ 128202 h 469344"/>
                <a:gd name="connsiteX254" fmla="*/ 266819 w 585073"/>
                <a:gd name="connsiteY254" fmla="*/ 130066 h 469344"/>
                <a:gd name="connsiteX255" fmla="*/ 260776 w 585073"/>
                <a:gd name="connsiteY255" fmla="*/ 128202 h 469344"/>
                <a:gd name="connsiteX256" fmla="*/ 288872 w 585073"/>
                <a:gd name="connsiteY256" fmla="*/ 133988 h 469344"/>
                <a:gd name="connsiteX257" fmla="*/ 277106 w 585073"/>
                <a:gd name="connsiteY257" fmla="*/ 135981 h 469344"/>
                <a:gd name="connsiteX258" fmla="*/ 269584 w 585073"/>
                <a:gd name="connsiteY258" fmla="*/ 131031 h 469344"/>
                <a:gd name="connsiteX259" fmla="*/ 277106 w 585073"/>
                <a:gd name="connsiteY259" fmla="*/ 135981 h 469344"/>
                <a:gd name="connsiteX260" fmla="*/ 288872 w 585073"/>
                <a:gd name="connsiteY260" fmla="*/ 133988 h 469344"/>
                <a:gd name="connsiteX261" fmla="*/ 293051 w 585073"/>
                <a:gd name="connsiteY261" fmla="*/ 136496 h 469344"/>
                <a:gd name="connsiteX262" fmla="*/ 288615 w 585073"/>
                <a:gd name="connsiteY262" fmla="*/ 133988 h 469344"/>
                <a:gd name="connsiteX263" fmla="*/ 297294 w 585073"/>
                <a:gd name="connsiteY263" fmla="*/ 142154 h 469344"/>
                <a:gd name="connsiteX264" fmla="*/ 302181 w 585073"/>
                <a:gd name="connsiteY264" fmla="*/ 143825 h 469344"/>
                <a:gd name="connsiteX265" fmla="*/ 297037 w 585073"/>
                <a:gd name="connsiteY265" fmla="*/ 142154 h 469344"/>
                <a:gd name="connsiteX266" fmla="*/ 311953 w 585073"/>
                <a:gd name="connsiteY266" fmla="*/ 147233 h 469344"/>
                <a:gd name="connsiteX267" fmla="*/ 303659 w 585073"/>
                <a:gd name="connsiteY267" fmla="*/ 144275 h 469344"/>
                <a:gd name="connsiteX268" fmla="*/ 311953 w 585073"/>
                <a:gd name="connsiteY268" fmla="*/ 147233 h 469344"/>
                <a:gd name="connsiteX269" fmla="*/ 316132 w 585073"/>
                <a:gd name="connsiteY269" fmla="*/ 148390 h 469344"/>
                <a:gd name="connsiteX270" fmla="*/ 311696 w 585073"/>
                <a:gd name="connsiteY270" fmla="*/ 147233 h 469344"/>
                <a:gd name="connsiteX271" fmla="*/ 333556 w 585073"/>
                <a:gd name="connsiteY271" fmla="*/ 145304 h 469344"/>
                <a:gd name="connsiteX272" fmla="*/ 329313 w 585073"/>
                <a:gd name="connsiteY272" fmla="*/ 147168 h 469344"/>
                <a:gd name="connsiteX273" fmla="*/ 322883 w 585073"/>
                <a:gd name="connsiteY273" fmla="*/ 148326 h 469344"/>
                <a:gd name="connsiteX274" fmla="*/ 329313 w 585073"/>
                <a:gd name="connsiteY274" fmla="*/ 147168 h 469344"/>
                <a:gd name="connsiteX275" fmla="*/ 333556 w 585073"/>
                <a:gd name="connsiteY275" fmla="*/ 145304 h 469344"/>
                <a:gd name="connsiteX276" fmla="*/ 334970 w 585073"/>
                <a:gd name="connsiteY276" fmla="*/ 141125 h 469344"/>
                <a:gd name="connsiteX277" fmla="*/ 333299 w 585073"/>
                <a:gd name="connsiteY277" fmla="*/ 145304 h 469344"/>
                <a:gd name="connsiteX278" fmla="*/ 378562 w 585073"/>
                <a:gd name="connsiteY278" fmla="*/ 131738 h 469344"/>
                <a:gd name="connsiteX279" fmla="*/ 378562 w 585073"/>
                <a:gd name="connsiteY279" fmla="*/ 131738 h 469344"/>
                <a:gd name="connsiteX280" fmla="*/ 343779 w 585073"/>
                <a:gd name="connsiteY280" fmla="*/ 138489 h 469344"/>
                <a:gd name="connsiteX281" fmla="*/ 344422 w 585073"/>
                <a:gd name="connsiteY281" fmla="*/ 139710 h 469344"/>
                <a:gd name="connsiteX282" fmla="*/ 343329 w 585073"/>
                <a:gd name="connsiteY282" fmla="*/ 138489 h 469344"/>
                <a:gd name="connsiteX283" fmla="*/ 344486 w 585073"/>
                <a:gd name="connsiteY283" fmla="*/ 139775 h 469344"/>
                <a:gd name="connsiteX284" fmla="*/ 345193 w 585073"/>
                <a:gd name="connsiteY284" fmla="*/ 140610 h 469344"/>
                <a:gd name="connsiteX285" fmla="*/ 345322 w 585073"/>
                <a:gd name="connsiteY285" fmla="*/ 140739 h 469344"/>
                <a:gd name="connsiteX286" fmla="*/ 345965 w 585073"/>
                <a:gd name="connsiteY286" fmla="*/ 141189 h 469344"/>
                <a:gd name="connsiteX287" fmla="*/ 352651 w 585073"/>
                <a:gd name="connsiteY287" fmla="*/ 143375 h 469344"/>
                <a:gd name="connsiteX288" fmla="*/ 346993 w 585073"/>
                <a:gd name="connsiteY288" fmla="*/ 141382 h 469344"/>
                <a:gd name="connsiteX289" fmla="*/ 346158 w 585073"/>
                <a:gd name="connsiteY289" fmla="*/ 141382 h 469344"/>
                <a:gd name="connsiteX290" fmla="*/ 346993 w 585073"/>
                <a:gd name="connsiteY290" fmla="*/ 141382 h 469344"/>
                <a:gd name="connsiteX291" fmla="*/ 352651 w 585073"/>
                <a:gd name="connsiteY291" fmla="*/ 143375 h 469344"/>
                <a:gd name="connsiteX292" fmla="*/ 353937 w 585073"/>
                <a:gd name="connsiteY292" fmla="*/ 143375 h 469344"/>
                <a:gd name="connsiteX293" fmla="*/ 370782 w 585073"/>
                <a:gd name="connsiteY293" fmla="*/ 143889 h 469344"/>
                <a:gd name="connsiteX294" fmla="*/ 366860 w 585073"/>
                <a:gd name="connsiteY294" fmla="*/ 144275 h 469344"/>
                <a:gd name="connsiteX295" fmla="*/ 363260 w 585073"/>
                <a:gd name="connsiteY295" fmla="*/ 144597 h 469344"/>
                <a:gd name="connsiteX296" fmla="*/ 359081 w 585073"/>
                <a:gd name="connsiteY296" fmla="*/ 143504 h 469344"/>
                <a:gd name="connsiteX297" fmla="*/ 356445 w 585073"/>
                <a:gd name="connsiteY297" fmla="*/ 143054 h 469344"/>
                <a:gd name="connsiteX298" fmla="*/ 359081 w 585073"/>
                <a:gd name="connsiteY298" fmla="*/ 143504 h 469344"/>
                <a:gd name="connsiteX299" fmla="*/ 363260 w 585073"/>
                <a:gd name="connsiteY299" fmla="*/ 144597 h 469344"/>
                <a:gd name="connsiteX300" fmla="*/ 366860 w 585073"/>
                <a:gd name="connsiteY300" fmla="*/ 144275 h 469344"/>
                <a:gd name="connsiteX301" fmla="*/ 370782 w 585073"/>
                <a:gd name="connsiteY301" fmla="*/ 143889 h 469344"/>
                <a:gd name="connsiteX302" fmla="*/ 379076 w 585073"/>
                <a:gd name="connsiteY302" fmla="*/ 142796 h 469344"/>
                <a:gd name="connsiteX303" fmla="*/ 370782 w 585073"/>
                <a:gd name="connsiteY303" fmla="*/ 143889 h 469344"/>
                <a:gd name="connsiteX304" fmla="*/ 377790 w 585073"/>
                <a:gd name="connsiteY304" fmla="*/ 132317 h 469344"/>
                <a:gd name="connsiteX305" fmla="*/ 378948 w 585073"/>
                <a:gd name="connsiteY305" fmla="*/ 135596 h 469344"/>
                <a:gd name="connsiteX306" fmla="*/ 377597 w 585073"/>
                <a:gd name="connsiteY306" fmla="*/ 132381 h 469344"/>
                <a:gd name="connsiteX307" fmla="*/ 379590 w 585073"/>
                <a:gd name="connsiteY307" fmla="*/ 141318 h 469344"/>
                <a:gd name="connsiteX308" fmla="*/ 379205 w 585073"/>
                <a:gd name="connsiteY308" fmla="*/ 136431 h 469344"/>
                <a:gd name="connsiteX309" fmla="*/ 379398 w 585073"/>
                <a:gd name="connsiteY309" fmla="*/ 141382 h 46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Lst>
              <a:rect l="l" t="t" r="r" b="b"/>
              <a:pathLst>
                <a:path w="585073" h="469344">
                  <a:moveTo>
                    <a:pt x="420610" y="282893"/>
                  </a:moveTo>
                  <a:cubicBezTo>
                    <a:pt x="423760" y="278456"/>
                    <a:pt x="430190" y="275370"/>
                    <a:pt x="431090" y="270355"/>
                  </a:cubicBezTo>
                  <a:cubicBezTo>
                    <a:pt x="431990" y="265340"/>
                    <a:pt x="434947" y="272734"/>
                    <a:pt x="437519" y="275370"/>
                  </a:cubicBezTo>
                  <a:cubicBezTo>
                    <a:pt x="440644" y="279286"/>
                    <a:pt x="442386" y="284121"/>
                    <a:pt x="442470" y="289129"/>
                  </a:cubicBezTo>
                  <a:cubicBezTo>
                    <a:pt x="443048" y="295558"/>
                    <a:pt x="443563" y="310989"/>
                    <a:pt x="448899" y="315940"/>
                  </a:cubicBezTo>
                  <a:cubicBezTo>
                    <a:pt x="453522" y="321366"/>
                    <a:pt x="455290" y="328670"/>
                    <a:pt x="453657" y="335613"/>
                  </a:cubicBezTo>
                  <a:cubicBezTo>
                    <a:pt x="452242" y="339471"/>
                    <a:pt x="456421" y="346093"/>
                    <a:pt x="455329" y="350272"/>
                  </a:cubicBezTo>
                  <a:cubicBezTo>
                    <a:pt x="455329" y="351172"/>
                    <a:pt x="454878" y="352330"/>
                    <a:pt x="454621" y="353680"/>
                  </a:cubicBezTo>
                  <a:cubicBezTo>
                    <a:pt x="453593" y="359016"/>
                    <a:pt x="452307" y="367439"/>
                    <a:pt x="451085" y="372004"/>
                  </a:cubicBezTo>
                  <a:cubicBezTo>
                    <a:pt x="449671" y="377661"/>
                    <a:pt x="448513" y="382612"/>
                    <a:pt x="451856" y="382998"/>
                  </a:cubicBezTo>
                  <a:cubicBezTo>
                    <a:pt x="455200" y="383384"/>
                    <a:pt x="461758" y="390906"/>
                    <a:pt x="468187" y="399007"/>
                  </a:cubicBezTo>
                  <a:cubicBezTo>
                    <a:pt x="469679" y="400878"/>
                    <a:pt x="470933" y="402929"/>
                    <a:pt x="471916" y="405115"/>
                  </a:cubicBezTo>
                  <a:cubicBezTo>
                    <a:pt x="474359" y="411242"/>
                    <a:pt x="475523" y="417807"/>
                    <a:pt x="475324" y="424403"/>
                  </a:cubicBezTo>
                  <a:cubicBezTo>
                    <a:pt x="475324" y="431733"/>
                    <a:pt x="486382" y="443691"/>
                    <a:pt x="488183" y="448320"/>
                  </a:cubicBezTo>
                  <a:cubicBezTo>
                    <a:pt x="489983" y="452950"/>
                    <a:pt x="492940" y="454750"/>
                    <a:pt x="500141" y="459700"/>
                  </a:cubicBezTo>
                  <a:cubicBezTo>
                    <a:pt x="507342" y="464651"/>
                    <a:pt x="521230" y="473074"/>
                    <a:pt x="523994" y="471788"/>
                  </a:cubicBezTo>
                  <a:cubicBezTo>
                    <a:pt x="526759" y="470502"/>
                    <a:pt x="519751" y="458415"/>
                    <a:pt x="515700" y="454171"/>
                  </a:cubicBezTo>
                  <a:cubicBezTo>
                    <a:pt x="511650" y="449928"/>
                    <a:pt x="515700" y="438548"/>
                    <a:pt x="515700" y="430254"/>
                  </a:cubicBezTo>
                  <a:cubicBezTo>
                    <a:pt x="515700" y="421960"/>
                    <a:pt x="507921" y="422924"/>
                    <a:pt x="506120" y="417395"/>
                  </a:cubicBezTo>
                  <a:cubicBezTo>
                    <a:pt x="504320" y="411866"/>
                    <a:pt x="501170" y="414952"/>
                    <a:pt x="500077" y="410966"/>
                  </a:cubicBezTo>
                  <a:cubicBezTo>
                    <a:pt x="499839" y="410342"/>
                    <a:pt x="499518" y="409757"/>
                    <a:pt x="499113" y="409230"/>
                  </a:cubicBezTo>
                  <a:cubicBezTo>
                    <a:pt x="495512" y="404793"/>
                    <a:pt x="490414" y="401817"/>
                    <a:pt x="484775" y="400872"/>
                  </a:cubicBezTo>
                  <a:cubicBezTo>
                    <a:pt x="478345" y="400357"/>
                    <a:pt x="475581" y="390970"/>
                    <a:pt x="476160" y="386727"/>
                  </a:cubicBezTo>
                  <a:cubicBezTo>
                    <a:pt x="476738" y="382483"/>
                    <a:pt x="471595" y="378819"/>
                    <a:pt x="471595" y="375154"/>
                  </a:cubicBezTo>
                  <a:cubicBezTo>
                    <a:pt x="471595" y="371489"/>
                    <a:pt x="467930" y="371296"/>
                    <a:pt x="463687" y="369303"/>
                  </a:cubicBezTo>
                  <a:cubicBezTo>
                    <a:pt x="459443" y="367310"/>
                    <a:pt x="464587" y="354773"/>
                    <a:pt x="465165" y="349437"/>
                  </a:cubicBezTo>
                  <a:cubicBezTo>
                    <a:pt x="465744" y="344100"/>
                    <a:pt x="474488" y="328863"/>
                    <a:pt x="471916" y="324105"/>
                  </a:cubicBezTo>
                  <a:cubicBezTo>
                    <a:pt x="469345" y="319347"/>
                    <a:pt x="480917" y="315618"/>
                    <a:pt x="482396" y="320955"/>
                  </a:cubicBezTo>
                  <a:cubicBezTo>
                    <a:pt x="483875" y="326291"/>
                    <a:pt x="484453" y="328863"/>
                    <a:pt x="491783" y="328477"/>
                  </a:cubicBezTo>
                  <a:cubicBezTo>
                    <a:pt x="499113" y="328091"/>
                    <a:pt x="499113" y="333813"/>
                    <a:pt x="505028" y="335485"/>
                  </a:cubicBezTo>
                  <a:cubicBezTo>
                    <a:pt x="505323" y="335575"/>
                    <a:pt x="505606" y="335704"/>
                    <a:pt x="505863" y="335871"/>
                  </a:cubicBezTo>
                  <a:cubicBezTo>
                    <a:pt x="510557" y="337928"/>
                    <a:pt x="508692" y="343779"/>
                    <a:pt x="509207" y="347058"/>
                  </a:cubicBezTo>
                  <a:cubicBezTo>
                    <a:pt x="509721" y="350337"/>
                    <a:pt x="514415" y="348536"/>
                    <a:pt x="516922" y="348344"/>
                  </a:cubicBezTo>
                  <a:cubicBezTo>
                    <a:pt x="519429" y="348151"/>
                    <a:pt x="515314" y="352394"/>
                    <a:pt x="517501" y="354773"/>
                  </a:cubicBezTo>
                  <a:cubicBezTo>
                    <a:pt x="519686" y="357152"/>
                    <a:pt x="526116" y="352587"/>
                    <a:pt x="527402" y="355673"/>
                  </a:cubicBezTo>
                  <a:cubicBezTo>
                    <a:pt x="527698" y="356367"/>
                    <a:pt x="528083" y="357017"/>
                    <a:pt x="528559" y="357602"/>
                  </a:cubicBezTo>
                  <a:cubicBezTo>
                    <a:pt x="530109" y="359299"/>
                    <a:pt x="531960" y="360694"/>
                    <a:pt x="534024" y="361717"/>
                  </a:cubicBezTo>
                  <a:cubicBezTo>
                    <a:pt x="536981" y="363581"/>
                    <a:pt x="530359" y="366732"/>
                    <a:pt x="530552" y="372582"/>
                  </a:cubicBezTo>
                  <a:cubicBezTo>
                    <a:pt x="530745" y="378433"/>
                    <a:pt x="535117" y="379912"/>
                    <a:pt x="536981" y="377533"/>
                  </a:cubicBezTo>
                  <a:cubicBezTo>
                    <a:pt x="540125" y="373977"/>
                    <a:pt x="543925" y="371052"/>
                    <a:pt x="548169" y="368918"/>
                  </a:cubicBezTo>
                  <a:cubicBezTo>
                    <a:pt x="550933" y="368017"/>
                    <a:pt x="548169" y="363967"/>
                    <a:pt x="551126" y="364096"/>
                  </a:cubicBezTo>
                  <a:cubicBezTo>
                    <a:pt x="554084" y="364224"/>
                    <a:pt x="553184" y="359916"/>
                    <a:pt x="554469" y="357666"/>
                  </a:cubicBezTo>
                  <a:cubicBezTo>
                    <a:pt x="555755" y="355416"/>
                    <a:pt x="557749" y="356187"/>
                    <a:pt x="562185" y="356380"/>
                  </a:cubicBezTo>
                  <a:cubicBezTo>
                    <a:pt x="568376" y="355101"/>
                    <a:pt x="574163" y="352317"/>
                    <a:pt x="579030" y="348279"/>
                  </a:cubicBezTo>
                  <a:cubicBezTo>
                    <a:pt x="585459" y="344229"/>
                    <a:pt x="586423" y="343329"/>
                    <a:pt x="588802" y="331756"/>
                  </a:cubicBezTo>
                  <a:cubicBezTo>
                    <a:pt x="591181" y="320183"/>
                    <a:pt x="586038" y="306038"/>
                    <a:pt x="585845" y="302888"/>
                  </a:cubicBezTo>
                  <a:cubicBezTo>
                    <a:pt x="585652" y="299737"/>
                    <a:pt x="577229" y="283214"/>
                    <a:pt x="574079" y="283600"/>
                  </a:cubicBezTo>
                  <a:cubicBezTo>
                    <a:pt x="570929" y="283986"/>
                    <a:pt x="556655" y="269069"/>
                    <a:pt x="554084" y="266691"/>
                  </a:cubicBezTo>
                  <a:cubicBezTo>
                    <a:pt x="551512" y="264312"/>
                    <a:pt x="552219" y="260261"/>
                    <a:pt x="548555" y="257175"/>
                  </a:cubicBezTo>
                  <a:cubicBezTo>
                    <a:pt x="545102" y="252263"/>
                    <a:pt x="543970" y="246084"/>
                    <a:pt x="545468" y="240266"/>
                  </a:cubicBezTo>
                  <a:cubicBezTo>
                    <a:pt x="546368" y="234544"/>
                    <a:pt x="554469" y="233258"/>
                    <a:pt x="554276" y="229400"/>
                  </a:cubicBezTo>
                  <a:cubicBezTo>
                    <a:pt x="554084" y="225543"/>
                    <a:pt x="554984" y="222264"/>
                    <a:pt x="559034" y="222071"/>
                  </a:cubicBezTo>
                  <a:cubicBezTo>
                    <a:pt x="563085" y="221524"/>
                    <a:pt x="566660" y="219152"/>
                    <a:pt x="568742" y="215641"/>
                  </a:cubicBezTo>
                  <a:cubicBezTo>
                    <a:pt x="569012" y="215243"/>
                    <a:pt x="569392" y="214928"/>
                    <a:pt x="569836" y="214741"/>
                  </a:cubicBezTo>
                  <a:cubicBezTo>
                    <a:pt x="569173" y="213841"/>
                    <a:pt x="568286" y="213134"/>
                    <a:pt x="567264" y="212684"/>
                  </a:cubicBezTo>
                  <a:cubicBezTo>
                    <a:pt x="563856" y="212234"/>
                    <a:pt x="554984" y="205804"/>
                    <a:pt x="554984" y="203361"/>
                  </a:cubicBezTo>
                  <a:cubicBezTo>
                    <a:pt x="554984" y="200918"/>
                    <a:pt x="559420" y="196932"/>
                    <a:pt x="551576" y="196032"/>
                  </a:cubicBezTo>
                  <a:cubicBezTo>
                    <a:pt x="547481" y="195974"/>
                    <a:pt x="543661" y="193968"/>
                    <a:pt x="541289" y="190631"/>
                  </a:cubicBezTo>
                  <a:cubicBezTo>
                    <a:pt x="539810" y="189152"/>
                    <a:pt x="533445" y="193589"/>
                    <a:pt x="531452" y="197060"/>
                  </a:cubicBezTo>
                  <a:cubicBezTo>
                    <a:pt x="529459" y="200532"/>
                    <a:pt x="527530" y="196096"/>
                    <a:pt x="523094" y="198539"/>
                  </a:cubicBezTo>
                  <a:cubicBezTo>
                    <a:pt x="518658" y="200982"/>
                    <a:pt x="514286" y="195067"/>
                    <a:pt x="512357" y="198539"/>
                  </a:cubicBezTo>
                  <a:cubicBezTo>
                    <a:pt x="510428" y="202011"/>
                    <a:pt x="505478" y="196546"/>
                    <a:pt x="503034" y="199504"/>
                  </a:cubicBezTo>
                  <a:cubicBezTo>
                    <a:pt x="502102" y="200616"/>
                    <a:pt x="500939" y="201516"/>
                    <a:pt x="499627" y="202140"/>
                  </a:cubicBezTo>
                  <a:cubicBezTo>
                    <a:pt x="497634" y="203168"/>
                    <a:pt x="495576" y="203361"/>
                    <a:pt x="494676" y="202461"/>
                  </a:cubicBezTo>
                  <a:cubicBezTo>
                    <a:pt x="493776" y="201561"/>
                    <a:pt x="491204" y="207347"/>
                    <a:pt x="492683" y="208890"/>
                  </a:cubicBezTo>
                  <a:cubicBezTo>
                    <a:pt x="494162" y="210434"/>
                    <a:pt x="496155" y="219692"/>
                    <a:pt x="492233" y="218727"/>
                  </a:cubicBezTo>
                  <a:cubicBezTo>
                    <a:pt x="488311" y="217763"/>
                    <a:pt x="488247" y="212748"/>
                    <a:pt x="485804" y="212877"/>
                  </a:cubicBezTo>
                  <a:cubicBezTo>
                    <a:pt x="485097" y="211591"/>
                    <a:pt x="483489" y="212877"/>
                    <a:pt x="480210" y="214034"/>
                  </a:cubicBezTo>
                  <a:cubicBezTo>
                    <a:pt x="474745" y="216220"/>
                    <a:pt x="471980" y="213198"/>
                    <a:pt x="472495" y="209919"/>
                  </a:cubicBezTo>
                  <a:cubicBezTo>
                    <a:pt x="473009" y="206640"/>
                    <a:pt x="468637" y="206576"/>
                    <a:pt x="465615" y="206576"/>
                  </a:cubicBezTo>
                  <a:cubicBezTo>
                    <a:pt x="462594" y="206576"/>
                    <a:pt x="464523" y="201625"/>
                    <a:pt x="465615" y="198282"/>
                  </a:cubicBezTo>
                  <a:cubicBezTo>
                    <a:pt x="466708" y="194939"/>
                    <a:pt x="464523" y="193074"/>
                    <a:pt x="460922" y="192817"/>
                  </a:cubicBezTo>
                  <a:cubicBezTo>
                    <a:pt x="457322" y="192560"/>
                    <a:pt x="455714" y="184780"/>
                    <a:pt x="457064" y="182594"/>
                  </a:cubicBezTo>
                  <a:cubicBezTo>
                    <a:pt x="458415" y="180408"/>
                    <a:pt x="449671" y="178480"/>
                    <a:pt x="445813" y="180408"/>
                  </a:cubicBezTo>
                  <a:cubicBezTo>
                    <a:pt x="441955" y="182337"/>
                    <a:pt x="444656" y="177065"/>
                    <a:pt x="443563" y="174365"/>
                  </a:cubicBezTo>
                  <a:cubicBezTo>
                    <a:pt x="442470" y="171664"/>
                    <a:pt x="448513" y="162213"/>
                    <a:pt x="453785" y="157005"/>
                  </a:cubicBezTo>
                  <a:cubicBezTo>
                    <a:pt x="459057" y="151798"/>
                    <a:pt x="456807" y="144854"/>
                    <a:pt x="456807" y="138810"/>
                  </a:cubicBezTo>
                  <a:cubicBezTo>
                    <a:pt x="456807" y="132767"/>
                    <a:pt x="454300" y="132381"/>
                    <a:pt x="451856" y="132381"/>
                  </a:cubicBezTo>
                  <a:cubicBezTo>
                    <a:pt x="449413" y="132381"/>
                    <a:pt x="449092" y="128845"/>
                    <a:pt x="449092" y="125502"/>
                  </a:cubicBezTo>
                  <a:cubicBezTo>
                    <a:pt x="448501" y="122544"/>
                    <a:pt x="445620" y="120622"/>
                    <a:pt x="442663" y="121219"/>
                  </a:cubicBezTo>
                  <a:cubicBezTo>
                    <a:pt x="442001" y="121348"/>
                    <a:pt x="441370" y="121605"/>
                    <a:pt x="440798" y="121965"/>
                  </a:cubicBezTo>
                  <a:lnTo>
                    <a:pt x="438741" y="123187"/>
                  </a:lnTo>
                  <a:lnTo>
                    <a:pt x="438741" y="123187"/>
                  </a:lnTo>
                  <a:cubicBezTo>
                    <a:pt x="438741" y="123187"/>
                    <a:pt x="432311" y="122222"/>
                    <a:pt x="431347" y="119265"/>
                  </a:cubicBezTo>
                  <a:cubicBezTo>
                    <a:pt x="430383" y="116307"/>
                    <a:pt x="426460" y="113414"/>
                    <a:pt x="426460" y="110971"/>
                  </a:cubicBezTo>
                  <a:cubicBezTo>
                    <a:pt x="426460" y="108528"/>
                    <a:pt x="422989" y="109492"/>
                    <a:pt x="420031" y="111935"/>
                  </a:cubicBezTo>
                  <a:cubicBezTo>
                    <a:pt x="417074" y="114379"/>
                    <a:pt x="411737" y="108978"/>
                    <a:pt x="405372" y="112386"/>
                  </a:cubicBezTo>
                  <a:cubicBezTo>
                    <a:pt x="399007" y="115793"/>
                    <a:pt x="397464" y="119779"/>
                    <a:pt x="394571" y="119265"/>
                  </a:cubicBezTo>
                  <a:cubicBezTo>
                    <a:pt x="391678" y="118751"/>
                    <a:pt x="392063" y="121708"/>
                    <a:pt x="389620" y="124216"/>
                  </a:cubicBezTo>
                  <a:cubicBezTo>
                    <a:pt x="387177" y="126723"/>
                    <a:pt x="385248" y="129616"/>
                    <a:pt x="383770" y="129616"/>
                  </a:cubicBezTo>
                  <a:cubicBezTo>
                    <a:pt x="382162" y="129938"/>
                    <a:pt x="380606" y="130478"/>
                    <a:pt x="379140" y="131224"/>
                  </a:cubicBezTo>
                  <a:lnTo>
                    <a:pt x="379140" y="131224"/>
                  </a:lnTo>
                  <a:cubicBezTo>
                    <a:pt x="371747" y="124408"/>
                    <a:pt x="369754" y="129873"/>
                    <a:pt x="364803" y="127302"/>
                  </a:cubicBezTo>
                  <a:cubicBezTo>
                    <a:pt x="359852" y="124730"/>
                    <a:pt x="357088" y="123701"/>
                    <a:pt x="354580" y="125630"/>
                  </a:cubicBezTo>
                  <a:cubicBezTo>
                    <a:pt x="352073" y="127559"/>
                    <a:pt x="348151" y="127302"/>
                    <a:pt x="345772" y="133345"/>
                  </a:cubicBezTo>
                  <a:cubicBezTo>
                    <a:pt x="345045" y="135197"/>
                    <a:pt x="344120" y="136965"/>
                    <a:pt x="343007" y="138617"/>
                  </a:cubicBezTo>
                  <a:cubicBezTo>
                    <a:pt x="342165" y="136926"/>
                    <a:pt x="341914" y="135004"/>
                    <a:pt x="342300" y="133152"/>
                  </a:cubicBezTo>
                  <a:cubicBezTo>
                    <a:pt x="343264" y="129230"/>
                    <a:pt x="340307" y="123830"/>
                    <a:pt x="338378" y="126723"/>
                  </a:cubicBezTo>
                  <a:cubicBezTo>
                    <a:pt x="336449" y="129616"/>
                    <a:pt x="335292" y="128716"/>
                    <a:pt x="334263" y="129809"/>
                  </a:cubicBezTo>
                  <a:lnTo>
                    <a:pt x="334263" y="129809"/>
                  </a:lnTo>
                  <a:cubicBezTo>
                    <a:pt x="333299" y="129738"/>
                    <a:pt x="332335" y="129738"/>
                    <a:pt x="331370" y="129809"/>
                  </a:cubicBezTo>
                  <a:cubicBezTo>
                    <a:pt x="324234" y="130130"/>
                    <a:pt x="319797" y="126530"/>
                    <a:pt x="315104" y="126787"/>
                  </a:cubicBezTo>
                  <a:cubicBezTo>
                    <a:pt x="306456" y="125591"/>
                    <a:pt x="298246" y="122280"/>
                    <a:pt x="291186" y="117143"/>
                  </a:cubicBezTo>
                  <a:cubicBezTo>
                    <a:pt x="285400" y="112450"/>
                    <a:pt x="269648" y="102549"/>
                    <a:pt x="265790" y="98691"/>
                  </a:cubicBezTo>
                  <a:cubicBezTo>
                    <a:pt x="261933" y="94833"/>
                    <a:pt x="256468" y="94833"/>
                    <a:pt x="255889" y="96762"/>
                  </a:cubicBezTo>
                  <a:cubicBezTo>
                    <a:pt x="255310" y="98691"/>
                    <a:pt x="252546" y="98691"/>
                    <a:pt x="248238" y="99141"/>
                  </a:cubicBezTo>
                  <a:lnTo>
                    <a:pt x="248238" y="99141"/>
                  </a:lnTo>
                  <a:cubicBezTo>
                    <a:pt x="248322" y="98890"/>
                    <a:pt x="248322" y="98620"/>
                    <a:pt x="248238" y="98370"/>
                  </a:cubicBezTo>
                  <a:cubicBezTo>
                    <a:pt x="248238" y="96441"/>
                    <a:pt x="242837" y="92969"/>
                    <a:pt x="242837" y="92969"/>
                  </a:cubicBezTo>
                  <a:cubicBezTo>
                    <a:pt x="242837" y="92969"/>
                    <a:pt x="239430" y="86539"/>
                    <a:pt x="235508" y="86539"/>
                  </a:cubicBezTo>
                  <a:cubicBezTo>
                    <a:pt x="231586" y="86539"/>
                    <a:pt x="228629" y="79660"/>
                    <a:pt x="225221" y="79210"/>
                  </a:cubicBezTo>
                  <a:cubicBezTo>
                    <a:pt x="221814" y="78760"/>
                    <a:pt x="222713" y="71816"/>
                    <a:pt x="220785" y="69373"/>
                  </a:cubicBezTo>
                  <a:cubicBezTo>
                    <a:pt x="218856" y="66930"/>
                    <a:pt x="220271" y="61015"/>
                    <a:pt x="223742" y="63972"/>
                  </a:cubicBezTo>
                  <a:cubicBezTo>
                    <a:pt x="227214" y="66930"/>
                    <a:pt x="233515" y="63972"/>
                    <a:pt x="231072" y="59536"/>
                  </a:cubicBezTo>
                  <a:cubicBezTo>
                    <a:pt x="228629" y="55100"/>
                    <a:pt x="224192" y="51242"/>
                    <a:pt x="224192" y="48799"/>
                  </a:cubicBezTo>
                  <a:cubicBezTo>
                    <a:pt x="224192" y="46356"/>
                    <a:pt x="227150" y="38962"/>
                    <a:pt x="223742" y="36969"/>
                  </a:cubicBezTo>
                  <a:cubicBezTo>
                    <a:pt x="220302" y="35259"/>
                    <a:pt x="217654" y="32288"/>
                    <a:pt x="216348" y="28675"/>
                  </a:cubicBezTo>
                  <a:cubicBezTo>
                    <a:pt x="215391" y="26232"/>
                    <a:pt x="213680" y="24162"/>
                    <a:pt x="211462" y="22760"/>
                  </a:cubicBezTo>
                  <a:lnTo>
                    <a:pt x="206576" y="23274"/>
                  </a:lnTo>
                  <a:lnTo>
                    <a:pt x="206062" y="24432"/>
                  </a:lnTo>
                  <a:cubicBezTo>
                    <a:pt x="202943" y="22503"/>
                    <a:pt x="199703" y="20780"/>
                    <a:pt x="196353" y="19288"/>
                  </a:cubicBezTo>
                  <a:cubicBezTo>
                    <a:pt x="192515" y="17739"/>
                    <a:pt x="189982" y="14042"/>
                    <a:pt x="189924" y="9901"/>
                  </a:cubicBezTo>
                  <a:cubicBezTo>
                    <a:pt x="189924" y="8487"/>
                    <a:pt x="183494" y="4436"/>
                    <a:pt x="178608" y="707"/>
                  </a:cubicBezTo>
                  <a:cubicBezTo>
                    <a:pt x="177965" y="707"/>
                    <a:pt x="176487" y="1029"/>
                    <a:pt x="174815" y="1479"/>
                  </a:cubicBezTo>
                  <a:cubicBezTo>
                    <a:pt x="174172" y="842"/>
                    <a:pt x="173407" y="341"/>
                    <a:pt x="172564" y="0"/>
                  </a:cubicBezTo>
                  <a:cubicBezTo>
                    <a:pt x="169260" y="3465"/>
                    <a:pt x="164361" y="4912"/>
                    <a:pt x="159706" y="3793"/>
                  </a:cubicBezTo>
                  <a:cubicBezTo>
                    <a:pt x="153701" y="3453"/>
                    <a:pt x="147760" y="5227"/>
                    <a:pt x="142925" y="8808"/>
                  </a:cubicBezTo>
                  <a:cubicBezTo>
                    <a:pt x="140964" y="10004"/>
                    <a:pt x="138772" y="10776"/>
                    <a:pt x="136496" y="11059"/>
                  </a:cubicBezTo>
                  <a:cubicBezTo>
                    <a:pt x="135936" y="11438"/>
                    <a:pt x="135300" y="11702"/>
                    <a:pt x="134631" y="11830"/>
                  </a:cubicBezTo>
                  <a:cubicBezTo>
                    <a:pt x="131352" y="12216"/>
                    <a:pt x="130259" y="15495"/>
                    <a:pt x="132831" y="18259"/>
                  </a:cubicBezTo>
                  <a:cubicBezTo>
                    <a:pt x="135403" y="21024"/>
                    <a:pt x="134631" y="22696"/>
                    <a:pt x="135017" y="25653"/>
                  </a:cubicBezTo>
                  <a:cubicBezTo>
                    <a:pt x="135403" y="28611"/>
                    <a:pt x="130967" y="31504"/>
                    <a:pt x="129102" y="34462"/>
                  </a:cubicBezTo>
                  <a:cubicBezTo>
                    <a:pt x="127237" y="37419"/>
                    <a:pt x="129488" y="40891"/>
                    <a:pt x="128009" y="44363"/>
                  </a:cubicBezTo>
                  <a:cubicBezTo>
                    <a:pt x="126530" y="47835"/>
                    <a:pt x="115536" y="42498"/>
                    <a:pt x="114057" y="43977"/>
                  </a:cubicBezTo>
                  <a:cubicBezTo>
                    <a:pt x="112578" y="45456"/>
                    <a:pt x="117722" y="49892"/>
                    <a:pt x="118108" y="52078"/>
                  </a:cubicBezTo>
                  <a:cubicBezTo>
                    <a:pt x="118494" y="54264"/>
                    <a:pt x="114057" y="56836"/>
                    <a:pt x="109621" y="57221"/>
                  </a:cubicBezTo>
                  <a:cubicBezTo>
                    <a:pt x="105185" y="57607"/>
                    <a:pt x="105956" y="63072"/>
                    <a:pt x="105635" y="70466"/>
                  </a:cubicBezTo>
                  <a:cubicBezTo>
                    <a:pt x="105313" y="77860"/>
                    <a:pt x="100813" y="78889"/>
                    <a:pt x="99720" y="75931"/>
                  </a:cubicBezTo>
                  <a:cubicBezTo>
                    <a:pt x="98627" y="72973"/>
                    <a:pt x="86475" y="77088"/>
                    <a:pt x="86475" y="80367"/>
                  </a:cubicBezTo>
                  <a:cubicBezTo>
                    <a:pt x="86475" y="83646"/>
                    <a:pt x="82489" y="82939"/>
                    <a:pt x="78053" y="82553"/>
                  </a:cubicBezTo>
                  <a:cubicBezTo>
                    <a:pt x="73944" y="82650"/>
                    <a:pt x="70183" y="84894"/>
                    <a:pt x="68151" y="88468"/>
                  </a:cubicBezTo>
                  <a:cubicBezTo>
                    <a:pt x="67766" y="90268"/>
                    <a:pt x="69952" y="99462"/>
                    <a:pt x="69244" y="100941"/>
                  </a:cubicBezTo>
                  <a:cubicBezTo>
                    <a:pt x="52895" y="105005"/>
                    <a:pt x="36133" y="107158"/>
                    <a:pt x="19288" y="107371"/>
                  </a:cubicBezTo>
                  <a:cubicBezTo>
                    <a:pt x="12917" y="106245"/>
                    <a:pt x="6468" y="105557"/>
                    <a:pt x="0" y="105313"/>
                  </a:cubicBezTo>
                  <a:cubicBezTo>
                    <a:pt x="2308" y="107081"/>
                    <a:pt x="4269" y="109261"/>
                    <a:pt x="5787" y="111743"/>
                  </a:cubicBezTo>
                  <a:cubicBezTo>
                    <a:pt x="8545" y="116848"/>
                    <a:pt x="13142" y="120711"/>
                    <a:pt x="18645" y="122544"/>
                  </a:cubicBezTo>
                  <a:cubicBezTo>
                    <a:pt x="24496" y="124987"/>
                    <a:pt x="21538" y="135403"/>
                    <a:pt x="24496" y="136303"/>
                  </a:cubicBezTo>
                  <a:cubicBezTo>
                    <a:pt x="27454" y="137203"/>
                    <a:pt x="31375" y="145111"/>
                    <a:pt x="27454" y="145625"/>
                  </a:cubicBezTo>
                  <a:cubicBezTo>
                    <a:pt x="23506" y="146075"/>
                    <a:pt x="19674" y="147226"/>
                    <a:pt x="16138" y="149033"/>
                  </a:cubicBezTo>
                  <a:cubicBezTo>
                    <a:pt x="11245" y="151431"/>
                    <a:pt x="8185" y="156446"/>
                    <a:pt x="8294" y="161892"/>
                  </a:cubicBezTo>
                  <a:cubicBezTo>
                    <a:pt x="8294" y="162663"/>
                    <a:pt x="8294" y="163692"/>
                    <a:pt x="8616" y="164978"/>
                  </a:cubicBezTo>
                  <a:cubicBezTo>
                    <a:pt x="16395" y="165627"/>
                    <a:pt x="24219" y="165068"/>
                    <a:pt x="31825" y="163306"/>
                  </a:cubicBezTo>
                  <a:cubicBezTo>
                    <a:pt x="34359" y="160831"/>
                    <a:pt x="38178" y="160239"/>
                    <a:pt x="41341" y="161827"/>
                  </a:cubicBezTo>
                  <a:cubicBezTo>
                    <a:pt x="47835" y="164116"/>
                    <a:pt x="54907" y="164116"/>
                    <a:pt x="61401" y="161827"/>
                  </a:cubicBezTo>
                  <a:cubicBezTo>
                    <a:pt x="67444" y="158484"/>
                    <a:pt x="71109" y="161827"/>
                    <a:pt x="71302" y="164785"/>
                  </a:cubicBezTo>
                  <a:cubicBezTo>
                    <a:pt x="71495" y="167742"/>
                    <a:pt x="74259" y="168964"/>
                    <a:pt x="77024" y="171214"/>
                  </a:cubicBezTo>
                  <a:cubicBezTo>
                    <a:pt x="79789" y="173465"/>
                    <a:pt x="77731" y="176743"/>
                    <a:pt x="79596" y="179701"/>
                  </a:cubicBezTo>
                  <a:cubicBezTo>
                    <a:pt x="81460" y="182659"/>
                    <a:pt x="85061" y="182080"/>
                    <a:pt x="90397" y="184459"/>
                  </a:cubicBezTo>
                  <a:cubicBezTo>
                    <a:pt x="91111" y="184774"/>
                    <a:pt x="91786" y="185185"/>
                    <a:pt x="92390" y="185680"/>
                  </a:cubicBezTo>
                  <a:cubicBezTo>
                    <a:pt x="96119" y="188638"/>
                    <a:pt x="97662" y="193846"/>
                    <a:pt x="103835" y="196225"/>
                  </a:cubicBezTo>
                  <a:cubicBezTo>
                    <a:pt x="110007" y="198603"/>
                    <a:pt x="117400" y="191660"/>
                    <a:pt x="117400" y="196932"/>
                  </a:cubicBezTo>
                  <a:cubicBezTo>
                    <a:pt x="117400" y="202204"/>
                    <a:pt x="100491" y="201175"/>
                    <a:pt x="100170" y="202847"/>
                  </a:cubicBezTo>
                  <a:cubicBezTo>
                    <a:pt x="99848" y="204518"/>
                    <a:pt x="117593" y="225992"/>
                    <a:pt x="126594" y="224321"/>
                  </a:cubicBezTo>
                  <a:cubicBezTo>
                    <a:pt x="135596" y="222649"/>
                    <a:pt x="142218" y="212941"/>
                    <a:pt x="139453" y="211462"/>
                  </a:cubicBezTo>
                  <a:cubicBezTo>
                    <a:pt x="136689" y="209983"/>
                    <a:pt x="140932" y="203940"/>
                    <a:pt x="143311" y="205033"/>
                  </a:cubicBezTo>
                  <a:cubicBezTo>
                    <a:pt x="145690" y="206126"/>
                    <a:pt x="143697" y="215706"/>
                    <a:pt x="146461" y="217892"/>
                  </a:cubicBezTo>
                  <a:cubicBezTo>
                    <a:pt x="149226" y="220078"/>
                    <a:pt x="148262" y="224321"/>
                    <a:pt x="146461" y="229336"/>
                  </a:cubicBezTo>
                  <a:cubicBezTo>
                    <a:pt x="144661" y="234351"/>
                    <a:pt x="148262" y="244573"/>
                    <a:pt x="148840" y="250231"/>
                  </a:cubicBezTo>
                  <a:cubicBezTo>
                    <a:pt x="149419" y="255889"/>
                    <a:pt x="153212" y="264183"/>
                    <a:pt x="154498" y="272670"/>
                  </a:cubicBezTo>
                  <a:cubicBezTo>
                    <a:pt x="156845" y="284230"/>
                    <a:pt x="160760" y="295410"/>
                    <a:pt x="166135" y="305910"/>
                  </a:cubicBezTo>
                  <a:cubicBezTo>
                    <a:pt x="171086" y="315297"/>
                    <a:pt x="174879" y="333620"/>
                    <a:pt x="178222" y="338057"/>
                  </a:cubicBezTo>
                  <a:cubicBezTo>
                    <a:pt x="181566" y="342493"/>
                    <a:pt x="189988" y="355866"/>
                    <a:pt x="189988" y="364160"/>
                  </a:cubicBezTo>
                  <a:cubicBezTo>
                    <a:pt x="191422" y="372679"/>
                    <a:pt x="195704" y="380452"/>
                    <a:pt x="202140" y="386213"/>
                  </a:cubicBezTo>
                  <a:cubicBezTo>
                    <a:pt x="205226" y="388399"/>
                    <a:pt x="212041" y="383641"/>
                    <a:pt x="213713" y="378497"/>
                  </a:cubicBezTo>
                  <a:cubicBezTo>
                    <a:pt x="215384" y="373354"/>
                    <a:pt x="224707" y="371296"/>
                    <a:pt x="225285" y="366924"/>
                  </a:cubicBezTo>
                  <a:cubicBezTo>
                    <a:pt x="225864" y="362553"/>
                    <a:pt x="226700" y="359016"/>
                    <a:pt x="230043" y="358438"/>
                  </a:cubicBezTo>
                  <a:cubicBezTo>
                    <a:pt x="233386" y="357859"/>
                    <a:pt x="233322" y="354387"/>
                    <a:pt x="233322" y="349629"/>
                  </a:cubicBezTo>
                  <a:cubicBezTo>
                    <a:pt x="232898" y="344107"/>
                    <a:pt x="234177" y="338590"/>
                    <a:pt x="236987" y="333813"/>
                  </a:cubicBezTo>
                  <a:cubicBezTo>
                    <a:pt x="240247" y="327596"/>
                    <a:pt x="240915" y="320337"/>
                    <a:pt x="238851" y="313625"/>
                  </a:cubicBezTo>
                  <a:cubicBezTo>
                    <a:pt x="237257" y="308481"/>
                    <a:pt x="237572" y="302933"/>
                    <a:pt x="239751" y="298002"/>
                  </a:cubicBezTo>
                  <a:cubicBezTo>
                    <a:pt x="241616" y="293437"/>
                    <a:pt x="240844" y="288100"/>
                    <a:pt x="244381" y="287715"/>
                  </a:cubicBezTo>
                  <a:cubicBezTo>
                    <a:pt x="249383" y="286538"/>
                    <a:pt x="253761" y="283535"/>
                    <a:pt x="256661" y="279292"/>
                  </a:cubicBezTo>
                  <a:cubicBezTo>
                    <a:pt x="262480" y="273679"/>
                    <a:pt x="268806" y="268619"/>
                    <a:pt x="275563" y="264183"/>
                  </a:cubicBezTo>
                  <a:cubicBezTo>
                    <a:pt x="283015" y="258262"/>
                    <a:pt x="289746" y="251485"/>
                    <a:pt x="295623" y="243995"/>
                  </a:cubicBezTo>
                  <a:cubicBezTo>
                    <a:pt x="299288" y="237951"/>
                    <a:pt x="309767" y="235894"/>
                    <a:pt x="314525" y="231136"/>
                  </a:cubicBezTo>
                  <a:cubicBezTo>
                    <a:pt x="319283" y="226378"/>
                    <a:pt x="317483" y="223614"/>
                    <a:pt x="318383" y="218277"/>
                  </a:cubicBezTo>
                  <a:cubicBezTo>
                    <a:pt x="319283" y="212941"/>
                    <a:pt x="334713" y="210755"/>
                    <a:pt x="340628" y="210755"/>
                  </a:cubicBezTo>
                  <a:cubicBezTo>
                    <a:pt x="341664" y="210761"/>
                    <a:pt x="342699" y="210652"/>
                    <a:pt x="343714" y="210434"/>
                  </a:cubicBezTo>
                  <a:cubicBezTo>
                    <a:pt x="347186" y="209791"/>
                    <a:pt x="348794" y="208183"/>
                    <a:pt x="352008" y="208183"/>
                  </a:cubicBezTo>
                  <a:cubicBezTo>
                    <a:pt x="355223" y="208183"/>
                    <a:pt x="361588" y="207605"/>
                    <a:pt x="361974" y="203426"/>
                  </a:cubicBezTo>
                  <a:cubicBezTo>
                    <a:pt x="362360" y="199246"/>
                    <a:pt x="366925" y="196032"/>
                    <a:pt x="369496" y="197318"/>
                  </a:cubicBezTo>
                  <a:cubicBezTo>
                    <a:pt x="373354" y="202146"/>
                    <a:pt x="375604" y="208055"/>
                    <a:pt x="375926" y="214227"/>
                  </a:cubicBezTo>
                  <a:cubicBezTo>
                    <a:pt x="376151" y="216483"/>
                    <a:pt x="376826" y="218670"/>
                    <a:pt x="377919" y="220656"/>
                  </a:cubicBezTo>
                  <a:cubicBezTo>
                    <a:pt x="380304" y="225948"/>
                    <a:pt x="384406" y="230275"/>
                    <a:pt x="389556" y="232936"/>
                  </a:cubicBezTo>
                  <a:cubicBezTo>
                    <a:pt x="396693" y="235894"/>
                    <a:pt x="401515" y="250360"/>
                    <a:pt x="403701" y="258075"/>
                  </a:cubicBezTo>
                  <a:cubicBezTo>
                    <a:pt x="405623" y="264755"/>
                    <a:pt x="404980" y="271905"/>
                    <a:pt x="401901" y="278135"/>
                  </a:cubicBezTo>
                  <a:cubicBezTo>
                    <a:pt x="399264" y="282507"/>
                    <a:pt x="402800" y="282700"/>
                    <a:pt x="406980" y="284950"/>
                  </a:cubicBezTo>
                  <a:cubicBezTo>
                    <a:pt x="411159" y="287200"/>
                    <a:pt x="417459" y="287264"/>
                    <a:pt x="420610" y="282893"/>
                  </a:cubicBezTo>
                  <a:close/>
                  <a:moveTo>
                    <a:pt x="565464" y="303917"/>
                  </a:moveTo>
                  <a:lnTo>
                    <a:pt x="565464" y="303917"/>
                  </a:lnTo>
                  <a:lnTo>
                    <a:pt x="565464" y="303917"/>
                  </a:lnTo>
                  <a:close/>
                  <a:moveTo>
                    <a:pt x="543025" y="309896"/>
                  </a:moveTo>
                  <a:cubicBezTo>
                    <a:pt x="541701" y="309459"/>
                    <a:pt x="540428" y="308874"/>
                    <a:pt x="539232" y="308160"/>
                  </a:cubicBezTo>
                  <a:cubicBezTo>
                    <a:pt x="540428" y="308874"/>
                    <a:pt x="541701" y="309459"/>
                    <a:pt x="543025" y="309896"/>
                  </a:cubicBezTo>
                  <a:close/>
                  <a:moveTo>
                    <a:pt x="116308" y="131031"/>
                  </a:moveTo>
                  <a:cubicBezTo>
                    <a:pt x="117272" y="130130"/>
                    <a:pt x="118043" y="129488"/>
                    <a:pt x="118365" y="129102"/>
                  </a:cubicBezTo>
                  <a:cubicBezTo>
                    <a:pt x="118686" y="128716"/>
                    <a:pt x="117272" y="130130"/>
                    <a:pt x="116308" y="131031"/>
                  </a:cubicBezTo>
                  <a:cubicBezTo>
                    <a:pt x="115343" y="131931"/>
                    <a:pt x="114250" y="132959"/>
                    <a:pt x="113157" y="134053"/>
                  </a:cubicBezTo>
                  <a:cubicBezTo>
                    <a:pt x="114250" y="132959"/>
                    <a:pt x="115343" y="131867"/>
                    <a:pt x="116308" y="131031"/>
                  </a:cubicBezTo>
                  <a:close/>
                  <a:moveTo>
                    <a:pt x="126723" y="173722"/>
                  </a:moveTo>
                  <a:cubicBezTo>
                    <a:pt x="127231" y="172944"/>
                    <a:pt x="127411" y="171999"/>
                    <a:pt x="127237" y="171086"/>
                  </a:cubicBezTo>
                  <a:cubicBezTo>
                    <a:pt x="127340" y="172031"/>
                    <a:pt x="127064" y="172982"/>
                    <a:pt x="126466" y="173722"/>
                  </a:cubicBezTo>
                  <a:close/>
                  <a:moveTo>
                    <a:pt x="130324" y="128716"/>
                  </a:moveTo>
                  <a:cubicBezTo>
                    <a:pt x="129224" y="128684"/>
                    <a:pt x="128202" y="129288"/>
                    <a:pt x="127687" y="130259"/>
                  </a:cubicBezTo>
                  <a:cubicBezTo>
                    <a:pt x="128202" y="129288"/>
                    <a:pt x="129224" y="128684"/>
                    <a:pt x="130324" y="128716"/>
                  </a:cubicBezTo>
                  <a:cubicBezTo>
                    <a:pt x="132272" y="128832"/>
                    <a:pt x="134194" y="129198"/>
                    <a:pt x="136046" y="129809"/>
                  </a:cubicBezTo>
                  <a:cubicBezTo>
                    <a:pt x="134200" y="129134"/>
                    <a:pt x="132278" y="128703"/>
                    <a:pt x="130324" y="128523"/>
                  </a:cubicBezTo>
                  <a:close/>
                  <a:moveTo>
                    <a:pt x="138103" y="129166"/>
                  </a:moveTo>
                  <a:cubicBezTo>
                    <a:pt x="138907" y="128536"/>
                    <a:pt x="139621" y="127797"/>
                    <a:pt x="140225" y="126980"/>
                  </a:cubicBezTo>
                  <a:cubicBezTo>
                    <a:pt x="139608" y="127732"/>
                    <a:pt x="138894" y="128401"/>
                    <a:pt x="138103" y="128973"/>
                  </a:cubicBezTo>
                  <a:close/>
                  <a:moveTo>
                    <a:pt x="150962" y="115214"/>
                  </a:moveTo>
                  <a:cubicBezTo>
                    <a:pt x="151868" y="115015"/>
                    <a:pt x="152730" y="114623"/>
                    <a:pt x="153469" y="114057"/>
                  </a:cubicBezTo>
                  <a:cubicBezTo>
                    <a:pt x="152634" y="114584"/>
                    <a:pt x="151688" y="114919"/>
                    <a:pt x="150705" y="115022"/>
                  </a:cubicBezTo>
                  <a:close/>
                  <a:moveTo>
                    <a:pt x="206897" y="24625"/>
                  </a:moveTo>
                  <a:lnTo>
                    <a:pt x="206190" y="26360"/>
                  </a:lnTo>
                  <a:close/>
                  <a:moveTo>
                    <a:pt x="334328" y="130838"/>
                  </a:moveTo>
                  <a:cubicBezTo>
                    <a:pt x="334328" y="130838"/>
                    <a:pt x="334328" y="130838"/>
                    <a:pt x="334328" y="130838"/>
                  </a:cubicBezTo>
                  <a:close/>
                  <a:moveTo>
                    <a:pt x="294594" y="138617"/>
                  </a:moveTo>
                  <a:cubicBezTo>
                    <a:pt x="294176" y="137994"/>
                    <a:pt x="293707" y="137415"/>
                    <a:pt x="293180" y="136881"/>
                  </a:cubicBezTo>
                  <a:cubicBezTo>
                    <a:pt x="293604" y="137364"/>
                    <a:pt x="293996" y="137878"/>
                    <a:pt x="294337" y="138424"/>
                  </a:cubicBezTo>
                  <a:close/>
                  <a:moveTo>
                    <a:pt x="248624" y="99334"/>
                  </a:moveTo>
                  <a:lnTo>
                    <a:pt x="248303" y="99720"/>
                  </a:lnTo>
                  <a:close/>
                  <a:moveTo>
                    <a:pt x="247724" y="100298"/>
                  </a:moveTo>
                  <a:lnTo>
                    <a:pt x="247724" y="100298"/>
                  </a:lnTo>
                  <a:close/>
                  <a:moveTo>
                    <a:pt x="246245" y="101713"/>
                  </a:moveTo>
                  <a:lnTo>
                    <a:pt x="246245" y="101713"/>
                  </a:lnTo>
                  <a:close/>
                  <a:moveTo>
                    <a:pt x="245345" y="102549"/>
                  </a:moveTo>
                  <a:lnTo>
                    <a:pt x="245024" y="102870"/>
                  </a:lnTo>
                  <a:close/>
                  <a:moveTo>
                    <a:pt x="244445" y="103577"/>
                  </a:moveTo>
                  <a:lnTo>
                    <a:pt x="244445" y="103963"/>
                  </a:lnTo>
                  <a:close/>
                  <a:moveTo>
                    <a:pt x="243673" y="104606"/>
                  </a:moveTo>
                  <a:lnTo>
                    <a:pt x="243673" y="104992"/>
                  </a:lnTo>
                  <a:close/>
                  <a:moveTo>
                    <a:pt x="251324" y="122158"/>
                  </a:moveTo>
                  <a:cubicBezTo>
                    <a:pt x="249974" y="121824"/>
                    <a:pt x="248721" y="121187"/>
                    <a:pt x="247659" y="120294"/>
                  </a:cubicBezTo>
                  <a:cubicBezTo>
                    <a:pt x="247242" y="119741"/>
                    <a:pt x="246689" y="119297"/>
                    <a:pt x="246052" y="119008"/>
                  </a:cubicBezTo>
                  <a:cubicBezTo>
                    <a:pt x="245364" y="118629"/>
                    <a:pt x="244657" y="118281"/>
                    <a:pt x="243931" y="117979"/>
                  </a:cubicBezTo>
                  <a:cubicBezTo>
                    <a:pt x="243262" y="117709"/>
                    <a:pt x="242632" y="117336"/>
                    <a:pt x="242066" y="116886"/>
                  </a:cubicBezTo>
                  <a:cubicBezTo>
                    <a:pt x="242632" y="117336"/>
                    <a:pt x="243262" y="117709"/>
                    <a:pt x="243931" y="117979"/>
                  </a:cubicBezTo>
                  <a:cubicBezTo>
                    <a:pt x="244657" y="118281"/>
                    <a:pt x="245364" y="118629"/>
                    <a:pt x="246052" y="119008"/>
                  </a:cubicBezTo>
                  <a:cubicBezTo>
                    <a:pt x="246689" y="119297"/>
                    <a:pt x="247242" y="119734"/>
                    <a:pt x="247659" y="120294"/>
                  </a:cubicBezTo>
                  <a:cubicBezTo>
                    <a:pt x="248721" y="121187"/>
                    <a:pt x="249974" y="121824"/>
                    <a:pt x="251324" y="122158"/>
                  </a:cubicBezTo>
                  <a:cubicBezTo>
                    <a:pt x="252932" y="122737"/>
                    <a:pt x="254732" y="123251"/>
                    <a:pt x="255954" y="123830"/>
                  </a:cubicBezTo>
                  <a:cubicBezTo>
                    <a:pt x="254475" y="123251"/>
                    <a:pt x="252675" y="122737"/>
                    <a:pt x="251067" y="122158"/>
                  </a:cubicBezTo>
                  <a:close/>
                  <a:moveTo>
                    <a:pt x="261033" y="128202"/>
                  </a:moveTo>
                  <a:cubicBezTo>
                    <a:pt x="262865" y="129095"/>
                    <a:pt x="264813" y="129719"/>
                    <a:pt x="266819" y="130066"/>
                  </a:cubicBezTo>
                  <a:cubicBezTo>
                    <a:pt x="264723" y="129745"/>
                    <a:pt x="262685" y="129115"/>
                    <a:pt x="260776" y="128202"/>
                  </a:cubicBezTo>
                  <a:close/>
                  <a:moveTo>
                    <a:pt x="288872" y="133988"/>
                  </a:moveTo>
                  <a:cubicBezTo>
                    <a:pt x="286429" y="133988"/>
                    <a:pt x="279099" y="137460"/>
                    <a:pt x="277106" y="135981"/>
                  </a:cubicBezTo>
                  <a:cubicBezTo>
                    <a:pt x="274772" y="134085"/>
                    <a:pt x="272252" y="132426"/>
                    <a:pt x="269584" y="131031"/>
                  </a:cubicBezTo>
                  <a:cubicBezTo>
                    <a:pt x="272252" y="132426"/>
                    <a:pt x="274772" y="134085"/>
                    <a:pt x="277106" y="135981"/>
                  </a:cubicBezTo>
                  <a:cubicBezTo>
                    <a:pt x="279099" y="137460"/>
                    <a:pt x="286429" y="133988"/>
                    <a:pt x="288872" y="133988"/>
                  </a:cubicBezTo>
                  <a:cubicBezTo>
                    <a:pt x="290518" y="134297"/>
                    <a:pt x="292003" y="135184"/>
                    <a:pt x="293051" y="136496"/>
                  </a:cubicBezTo>
                  <a:cubicBezTo>
                    <a:pt x="291939" y="135133"/>
                    <a:pt x="290357" y="134239"/>
                    <a:pt x="288615" y="133988"/>
                  </a:cubicBezTo>
                  <a:close/>
                  <a:moveTo>
                    <a:pt x="297294" y="142154"/>
                  </a:moveTo>
                  <a:cubicBezTo>
                    <a:pt x="298876" y="142848"/>
                    <a:pt x="300509" y="143407"/>
                    <a:pt x="302181" y="143825"/>
                  </a:cubicBezTo>
                  <a:cubicBezTo>
                    <a:pt x="300419" y="143420"/>
                    <a:pt x="298696" y="142861"/>
                    <a:pt x="297037" y="142154"/>
                  </a:cubicBezTo>
                  <a:close/>
                  <a:moveTo>
                    <a:pt x="311953" y="147233"/>
                  </a:moveTo>
                  <a:cubicBezTo>
                    <a:pt x="309356" y="145831"/>
                    <a:pt x="306559" y="144835"/>
                    <a:pt x="303659" y="144275"/>
                  </a:cubicBezTo>
                  <a:cubicBezTo>
                    <a:pt x="306559" y="144835"/>
                    <a:pt x="309356" y="145831"/>
                    <a:pt x="311953" y="147233"/>
                  </a:cubicBezTo>
                  <a:cubicBezTo>
                    <a:pt x="313201" y="148017"/>
                    <a:pt x="314654" y="148422"/>
                    <a:pt x="316132" y="148390"/>
                  </a:cubicBezTo>
                  <a:cubicBezTo>
                    <a:pt x="314570" y="148474"/>
                    <a:pt x="313021" y="148069"/>
                    <a:pt x="311696" y="147233"/>
                  </a:cubicBezTo>
                  <a:close/>
                  <a:moveTo>
                    <a:pt x="333556" y="145304"/>
                  </a:moveTo>
                  <a:cubicBezTo>
                    <a:pt x="332296" y="146230"/>
                    <a:pt x="330849" y="146866"/>
                    <a:pt x="329313" y="147168"/>
                  </a:cubicBezTo>
                  <a:cubicBezTo>
                    <a:pt x="327197" y="147708"/>
                    <a:pt x="325050" y="148094"/>
                    <a:pt x="322883" y="148326"/>
                  </a:cubicBezTo>
                  <a:cubicBezTo>
                    <a:pt x="325050" y="148094"/>
                    <a:pt x="327197" y="147708"/>
                    <a:pt x="329313" y="147168"/>
                  </a:cubicBezTo>
                  <a:cubicBezTo>
                    <a:pt x="330849" y="146873"/>
                    <a:pt x="332296" y="146230"/>
                    <a:pt x="333556" y="145304"/>
                  </a:cubicBezTo>
                  <a:cubicBezTo>
                    <a:pt x="334572" y="144159"/>
                    <a:pt x="335086" y="142655"/>
                    <a:pt x="334970" y="141125"/>
                  </a:cubicBezTo>
                  <a:cubicBezTo>
                    <a:pt x="335016" y="142687"/>
                    <a:pt x="334411" y="144205"/>
                    <a:pt x="333299" y="145304"/>
                  </a:cubicBezTo>
                  <a:close/>
                  <a:moveTo>
                    <a:pt x="378562" y="131738"/>
                  </a:moveTo>
                  <a:lnTo>
                    <a:pt x="378562" y="131738"/>
                  </a:lnTo>
                  <a:close/>
                  <a:moveTo>
                    <a:pt x="343779" y="138489"/>
                  </a:moveTo>
                  <a:cubicBezTo>
                    <a:pt x="343779" y="138939"/>
                    <a:pt x="344229" y="139325"/>
                    <a:pt x="344422" y="139710"/>
                  </a:cubicBezTo>
                  <a:cubicBezTo>
                    <a:pt x="344615" y="140096"/>
                    <a:pt x="343522" y="138939"/>
                    <a:pt x="343329" y="138489"/>
                  </a:cubicBezTo>
                  <a:close/>
                  <a:moveTo>
                    <a:pt x="344486" y="139775"/>
                  </a:moveTo>
                  <a:lnTo>
                    <a:pt x="345193" y="140610"/>
                  </a:lnTo>
                  <a:close/>
                  <a:moveTo>
                    <a:pt x="345322" y="140739"/>
                  </a:moveTo>
                  <a:lnTo>
                    <a:pt x="345965" y="141189"/>
                  </a:lnTo>
                  <a:close/>
                  <a:moveTo>
                    <a:pt x="352651" y="143375"/>
                  </a:moveTo>
                  <a:cubicBezTo>
                    <a:pt x="350208" y="142861"/>
                    <a:pt x="348472" y="140996"/>
                    <a:pt x="346993" y="141382"/>
                  </a:cubicBezTo>
                  <a:cubicBezTo>
                    <a:pt x="346723" y="141472"/>
                    <a:pt x="346428" y="141472"/>
                    <a:pt x="346158" y="141382"/>
                  </a:cubicBezTo>
                  <a:cubicBezTo>
                    <a:pt x="346428" y="141472"/>
                    <a:pt x="346723" y="141472"/>
                    <a:pt x="346993" y="141382"/>
                  </a:cubicBezTo>
                  <a:cubicBezTo>
                    <a:pt x="348472" y="140996"/>
                    <a:pt x="350208" y="142861"/>
                    <a:pt x="352651" y="143375"/>
                  </a:cubicBezTo>
                  <a:lnTo>
                    <a:pt x="353937" y="143375"/>
                  </a:lnTo>
                  <a:close/>
                  <a:moveTo>
                    <a:pt x="370782" y="143889"/>
                  </a:moveTo>
                  <a:cubicBezTo>
                    <a:pt x="369464" y="143799"/>
                    <a:pt x="368140" y="143928"/>
                    <a:pt x="366860" y="144275"/>
                  </a:cubicBezTo>
                  <a:cubicBezTo>
                    <a:pt x="365683" y="144565"/>
                    <a:pt x="364469" y="144667"/>
                    <a:pt x="363260" y="144597"/>
                  </a:cubicBezTo>
                  <a:cubicBezTo>
                    <a:pt x="361839" y="144352"/>
                    <a:pt x="360437" y="143986"/>
                    <a:pt x="359081" y="143504"/>
                  </a:cubicBezTo>
                  <a:cubicBezTo>
                    <a:pt x="358232" y="143221"/>
                    <a:pt x="357338" y="143067"/>
                    <a:pt x="356445" y="143054"/>
                  </a:cubicBezTo>
                  <a:cubicBezTo>
                    <a:pt x="357338" y="143067"/>
                    <a:pt x="358232" y="143221"/>
                    <a:pt x="359081" y="143504"/>
                  </a:cubicBezTo>
                  <a:cubicBezTo>
                    <a:pt x="360437" y="143986"/>
                    <a:pt x="361839" y="144352"/>
                    <a:pt x="363260" y="144597"/>
                  </a:cubicBezTo>
                  <a:cubicBezTo>
                    <a:pt x="364469" y="144667"/>
                    <a:pt x="365683" y="144565"/>
                    <a:pt x="366860" y="144275"/>
                  </a:cubicBezTo>
                  <a:cubicBezTo>
                    <a:pt x="368140" y="143928"/>
                    <a:pt x="369464" y="143799"/>
                    <a:pt x="370782" y="143889"/>
                  </a:cubicBezTo>
                  <a:cubicBezTo>
                    <a:pt x="374511" y="143889"/>
                    <a:pt x="377662" y="145368"/>
                    <a:pt x="379076" y="142796"/>
                  </a:cubicBezTo>
                  <a:cubicBezTo>
                    <a:pt x="377212" y="145432"/>
                    <a:pt x="374318" y="143889"/>
                    <a:pt x="370782" y="143889"/>
                  </a:cubicBezTo>
                  <a:close/>
                  <a:moveTo>
                    <a:pt x="377790" y="132317"/>
                  </a:moveTo>
                  <a:cubicBezTo>
                    <a:pt x="378247" y="133384"/>
                    <a:pt x="378632" y="134477"/>
                    <a:pt x="378948" y="135596"/>
                  </a:cubicBezTo>
                  <a:cubicBezTo>
                    <a:pt x="378568" y="134496"/>
                    <a:pt x="378112" y="133422"/>
                    <a:pt x="377597" y="132381"/>
                  </a:cubicBezTo>
                  <a:close/>
                  <a:moveTo>
                    <a:pt x="379590" y="141318"/>
                  </a:moveTo>
                  <a:cubicBezTo>
                    <a:pt x="379777" y="139678"/>
                    <a:pt x="379648" y="138019"/>
                    <a:pt x="379205" y="136431"/>
                  </a:cubicBezTo>
                  <a:cubicBezTo>
                    <a:pt x="379590" y="138052"/>
                    <a:pt x="379655" y="139736"/>
                    <a:pt x="379398" y="141382"/>
                  </a:cubicBezTo>
                  <a:close/>
                </a:path>
              </a:pathLst>
            </a:custGeom>
            <a:solidFill>
              <a:srgbClr val="00938B"/>
            </a:solidFill>
            <a:ln w="6429" cap="flat">
              <a:noFill/>
              <a:prstDash val="solid"/>
              <a:miter/>
            </a:ln>
          </p:spPr>
          <p:txBody>
            <a:bodyPr rtlCol="0" anchor="ctr"/>
            <a:lstStyle/>
            <a:p>
              <a:endParaRPr lang="en-GB" sz="2400"/>
            </a:p>
          </p:txBody>
        </p:sp>
        <p:sp>
          <p:nvSpPr>
            <p:cNvPr id="299" name="Freeform 89">
              <a:extLst>
                <a:ext uri="{FF2B5EF4-FFF2-40B4-BE49-F238E27FC236}">
                  <a16:creationId xmlns:a16="http://schemas.microsoft.com/office/drawing/2014/main" id="{3CACE66D-410C-4ADD-9FEE-2EB8623728C7}"/>
                </a:ext>
              </a:extLst>
            </p:cNvPr>
            <p:cNvSpPr/>
            <p:nvPr/>
          </p:nvSpPr>
          <p:spPr>
            <a:xfrm>
              <a:off x="5880329" y="2779013"/>
              <a:ext cx="12859" cy="12859"/>
            </a:xfrm>
            <a:custGeom>
              <a:avLst/>
              <a:gdLst>
                <a:gd name="connsiteX0" fmla="*/ 11807 w 12858"/>
                <a:gd name="connsiteY0" fmla="*/ 13840 h 12858"/>
                <a:gd name="connsiteX1" fmla="*/ 42 w 12858"/>
                <a:gd name="connsiteY1" fmla="*/ 596 h 12858"/>
                <a:gd name="connsiteX2" fmla="*/ 11807 w 12858"/>
                <a:gd name="connsiteY2" fmla="*/ 13840 h 12858"/>
              </a:gdLst>
              <a:ahLst/>
              <a:cxnLst>
                <a:cxn ang="0">
                  <a:pos x="connsiteX0" y="connsiteY0"/>
                </a:cxn>
                <a:cxn ang="0">
                  <a:pos x="connsiteX1" y="connsiteY1"/>
                </a:cxn>
                <a:cxn ang="0">
                  <a:pos x="connsiteX2" y="connsiteY2"/>
                </a:cxn>
              </a:cxnLst>
              <a:rect l="l" t="t" r="r" b="b"/>
              <a:pathLst>
                <a:path w="12858" h="12858">
                  <a:moveTo>
                    <a:pt x="11807" y="13840"/>
                  </a:moveTo>
                  <a:cubicBezTo>
                    <a:pt x="19844" y="11268"/>
                    <a:pt x="-1051" y="-3069"/>
                    <a:pt x="42" y="596"/>
                  </a:cubicBezTo>
                  <a:cubicBezTo>
                    <a:pt x="1134" y="5739"/>
                    <a:pt x="3706" y="16412"/>
                    <a:pt x="11807" y="13840"/>
                  </a:cubicBezTo>
                  <a:close/>
                </a:path>
              </a:pathLst>
            </a:custGeom>
            <a:solidFill>
              <a:srgbClr val="00938B"/>
            </a:solidFill>
            <a:ln w="6429" cap="flat">
              <a:noFill/>
              <a:prstDash val="solid"/>
              <a:miter/>
            </a:ln>
          </p:spPr>
          <p:txBody>
            <a:bodyPr rtlCol="0" anchor="ctr"/>
            <a:lstStyle/>
            <a:p>
              <a:endParaRPr lang="en-GB" sz="2400"/>
            </a:p>
          </p:txBody>
        </p:sp>
        <p:sp>
          <p:nvSpPr>
            <p:cNvPr id="300" name="Freeform 90">
              <a:extLst>
                <a:ext uri="{FF2B5EF4-FFF2-40B4-BE49-F238E27FC236}">
                  <a16:creationId xmlns:a16="http://schemas.microsoft.com/office/drawing/2014/main" id="{711B106B-39F8-492C-A7C9-23055DABBCCE}"/>
                </a:ext>
              </a:extLst>
            </p:cNvPr>
            <p:cNvSpPr/>
            <p:nvPr/>
          </p:nvSpPr>
          <p:spPr>
            <a:xfrm>
              <a:off x="5898217" y="2824727"/>
              <a:ext cx="57864" cy="51435"/>
            </a:xfrm>
            <a:custGeom>
              <a:avLst/>
              <a:gdLst>
                <a:gd name="connsiteX0" fmla="*/ 46061 w 57864"/>
                <a:gd name="connsiteY0" fmla="*/ 5224 h 51435"/>
                <a:gd name="connsiteX1" fmla="*/ 39118 w 57864"/>
                <a:gd name="connsiteY1" fmla="*/ 11653 h 51435"/>
                <a:gd name="connsiteX2" fmla="*/ 31724 w 57864"/>
                <a:gd name="connsiteY2" fmla="*/ 17183 h 51435"/>
                <a:gd name="connsiteX3" fmla="*/ 20730 w 57864"/>
                <a:gd name="connsiteY3" fmla="*/ 14611 h 51435"/>
                <a:gd name="connsiteX4" fmla="*/ 6392 w 57864"/>
                <a:gd name="connsiteY4" fmla="*/ 23033 h 51435"/>
                <a:gd name="connsiteX5" fmla="*/ 1635 w 57864"/>
                <a:gd name="connsiteY5" fmla="*/ 35892 h 51435"/>
                <a:gd name="connsiteX6" fmla="*/ 12629 w 57864"/>
                <a:gd name="connsiteY6" fmla="*/ 30041 h 51435"/>
                <a:gd name="connsiteX7" fmla="*/ 21823 w 57864"/>
                <a:gd name="connsiteY7" fmla="*/ 26698 h 51435"/>
                <a:gd name="connsiteX8" fmla="*/ 32110 w 57864"/>
                <a:gd name="connsiteY8" fmla="*/ 48044 h 51435"/>
                <a:gd name="connsiteX9" fmla="*/ 44968 w 57864"/>
                <a:gd name="connsiteY9" fmla="*/ 54473 h 51435"/>
                <a:gd name="connsiteX10" fmla="*/ 44583 w 57864"/>
                <a:gd name="connsiteY10" fmla="*/ 38657 h 51435"/>
                <a:gd name="connsiteX11" fmla="*/ 57827 w 57864"/>
                <a:gd name="connsiteY11" fmla="*/ 33128 h 51435"/>
                <a:gd name="connsiteX12" fmla="*/ 54870 w 57864"/>
                <a:gd name="connsiteY12" fmla="*/ 5610 h 51435"/>
                <a:gd name="connsiteX13" fmla="*/ 46061 w 57864"/>
                <a:gd name="connsiteY13" fmla="*/ 5224 h 5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864" h="51435">
                  <a:moveTo>
                    <a:pt x="46061" y="5224"/>
                  </a:moveTo>
                  <a:cubicBezTo>
                    <a:pt x="49405" y="10753"/>
                    <a:pt x="39632" y="6317"/>
                    <a:pt x="39118" y="11653"/>
                  </a:cubicBezTo>
                  <a:cubicBezTo>
                    <a:pt x="38603" y="16990"/>
                    <a:pt x="31402" y="12746"/>
                    <a:pt x="31724" y="17183"/>
                  </a:cubicBezTo>
                  <a:cubicBezTo>
                    <a:pt x="32045" y="21619"/>
                    <a:pt x="24394" y="17183"/>
                    <a:pt x="20730" y="14611"/>
                  </a:cubicBezTo>
                  <a:cubicBezTo>
                    <a:pt x="17065" y="12039"/>
                    <a:pt x="11921" y="21555"/>
                    <a:pt x="6392" y="23033"/>
                  </a:cubicBezTo>
                  <a:cubicBezTo>
                    <a:pt x="863" y="24512"/>
                    <a:pt x="-2030" y="36214"/>
                    <a:pt x="1635" y="35892"/>
                  </a:cubicBezTo>
                  <a:cubicBezTo>
                    <a:pt x="5299" y="35571"/>
                    <a:pt x="8064" y="29463"/>
                    <a:pt x="12629" y="30041"/>
                  </a:cubicBezTo>
                  <a:cubicBezTo>
                    <a:pt x="17194" y="30620"/>
                    <a:pt x="15586" y="25605"/>
                    <a:pt x="21823" y="26698"/>
                  </a:cubicBezTo>
                  <a:cubicBezTo>
                    <a:pt x="28059" y="27791"/>
                    <a:pt x="23687" y="46565"/>
                    <a:pt x="32110" y="48044"/>
                  </a:cubicBezTo>
                  <a:cubicBezTo>
                    <a:pt x="40532" y="49522"/>
                    <a:pt x="40918" y="54473"/>
                    <a:pt x="44968" y="54473"/>
                  </a:cubicBezTo>
                  <a:cubicBezTo>
                    <a:pt x="49019" y="54473"/>
                    <a:pt x="44261" y="42707"/>
                    <a:pt x="44583" y="38657"/>
                  </a:cubicBezTo>
                  <a:cubicBezTo>
                    <a:pt x="44904" y="34606"/>
                    <a:pt x="53455" y="38271"/>
                    <a:pt x="57827" y="33128"/>
                  </a:cubicBezTo>
                  <a:cubicBezTo>
                    <a:pt x="62199" y="27984"/>
                    <a:pt x="54870" y="14418"/>
                    <a:pt x="54870" y="5610"/>
                  </a:cubicBezTo>
                  <a:cubicBezTo>
                    <a:pt x="54870" y="-3198"/>
                    <a:pt x="42782" y="-305"/>
                    <a:pt x="46061" y="5224"/>
                  </a:cubicBezTo>
                  <a:close/>
                </a:path>
              </a:pathLst>
            </a:custGeom>
            <a:solidFill>
              <a:srgbClr val="00938B"/>
            </a:solidFill>
            <a:ln w="6429" cap="flat">
              <a:noFill/>
              <a:prstDash val="solid"/>
              <a:miter/>
            </a:ln>
          </p:spPr>
          <p:txBody>
            <a:bodyPr rtlCol="0" anchor="ctr"/>
            <a:lstStyle/>
            <a:p>
              <a:endParaRPr lang="en-GB" sz="2400"/>
            </a:p>
          </p:txBody>
        </p:sp>
        <p:sp>
          <p:nvSpPr>
            <p:cNvPr id="301" name="Freeform 91">
              <a:extLst>
                <a:ext uri="{FF2B5EF4-FFF2-40B4-BE49-F238E27FC236}">
                  <a16:creationId xmlns:a16="http://schemas.microsoft.com/office/drawing/2014/main" id="{16240D64-15D2-4B38-9F2A-140DBF6C5827}"/>
                </a:ext>
              </a:extLst>
            </p:cNvPr>
            <p:cNvSpPr/>
            <p:nvPr/>
          </p:nvSpPr>
          <p:spPr>
            <a:xfrm>
              <a:off x="5873104" y="2713768"/>
              <a:ext cx="70723" cy="102870"/>
            </a:xfrm>
            <a:custGeom>
              <a:avLst/>
              <a:gdLst>
                <a:gd name="connsiteX0" fmla="*/ 3601 w 70723"/>
                <a:gd name="connsiteY0" fmla="*/ 45267 h 102870"/>
                <a:gd name="connsiteX1" fmla="*/ 6880 w 70723"/>
                <a:gd name="connsiteY1" fmla="*/ 54847 h 102870"/>
                <a:gd name="connsiteX2" fmla="*/ 19353 w 70723"/>
                <a:gd name="connsiteY2" fmla="*/ 58898 h 102870"/>
                <a:gd name="connsiteX3" fmla="*/ 30797 w 70723"/>
                <a:gd name="connsiteY3" fmla="*/ 62562 h 102870"/>
                <a:gd name="connsiteX4" fmla="*/ 45842 w 70723"/>
                <a:gd name="connsiteY4" fmla="*/ 73557 h 102870"/>
                <a:gd name="connsiteX5" fmla="*/ 49507 w 70723"/>
                <a:gd name="connsiteY5" fmla="*/ 84615 h 102870"/>
                <a:gd name="connsiteX6" fmla="*/ 54650 w 70723"/>
                <a:gd name="connsiteY6" fmla="*/ 90080 h 102870"/>
                <a:gd name="connsiteX7" fmla="*/ 61079 w 70723"/>
                <a:gd name="connsiteY7" fmla="*/ 105511 h 102870"/>
                <a:gd name="connsiteX8" fmla="*/ 65130 w 70723"/>
                <a:gd name="connsiteY8" fmla="*/ 102232 h 102870"/>
                <a:gd name="connsiteX9" fmla="*/ 70659 w 70723"/>
                <a:gd name="connsiteY9" fmla="*/ 94902 h 102870"/>
                <a:gd name="connsiteX10" fmla="*/ 67316 w 70723"/>
                <a:gd name="connsiteY10" fmla="*/ 79793 h 102870"/>
                <a:gd name="connsiteX11" fmla="*/ 53364 w 70723"/>
                <a:gd name="connsiteY11" fmla="*/ 69892 h 102870"/>
                <a:gd name="connsiteX12" fmla="*/ 44942 w 70723"/>
                <a:gd name="connsiteY12" fmla="*/ 58898 h 102870"/>
                <a:gd name="connsiteX13" fmla="*/ 27646 w 70723"/>
                <a:gd name="connsiteY13" fmla="*/ 55940 h 102870"/>
                <a:gd name="connsiteX14" fmla="*/ 21217 w 70723"/>
                <a:gd name="connsiteY14" fmla="*/ 44560 h 102870"/>
                <a:gd name="connsiteX15" fmla="*/ 29704 w 70723"/>
                <a:gd name="connsiteY15" fmla="*/ 26879 h 102870"/>
                <a:gd name="connsiteX16" fmla="*/ 28932 w 70723"/>
                <a:gd name="connsiteY16" fmla="*/ 6691 h 102870"/>
                <a:gd name="connsiteX17" fmla="*/ 26747 w 70723"/>
                <a:gd name="connsiteY17" fmla="*/ 2319 h 102870"/>
                <a:gd name="connsiteX18" fmla="*/ 8744 w 70723"/>
                <a:gd name="connsiteY18" fmla="*/ 840 h 102870"/>
                <a:gd name="connsiteX19" fmla="*/ 6173 w 70723"/>
                <a:gd name="connsiteY19" fmla="*/ 29837 h 102870"/>
                <a:gd name="connsiteX20" fmla="*/ 257 w 70723"/>
                <a:gd name="connsiteY20" fmla="*/ 28358 h 102870"/>
                <a:gd name="connsiteX21" fmla="*/ 3601 w 70723"/>
                <a:gd name="connsiteY21" fmla="*/ 45267 h 102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0723" h="102870">
                  <a:moveTo>
                    <a:pt x="3601" y="45267"/>
                  </a:moveTo>
                  <a:cubicBezTo>
                    <a:pt x="6558" y="45267"/>
                    <a:pt x="8744" y="48932"/>
                    <a:pt x="6880" y="54847"/>
                  </a:cubicBezTo>
                  <a:cubicBezTo>
                    <a:pt x="5015" y="60762"/>
                    <a:pt x="12409" y="61276"/>
                    <a:pt x="19353" y="58898"/>
                  </a:cubicBezTo>
                  <a:cubicBezTo>
                    <a:pt x="26297" y="56519"/>
                    <a:pt x="23789" y="63655"/>
                    <a:pt x="30797" y="62562"/>
                  </a:cubicBezTo>
                  <a:cubicBezTo>
                    <a:pt x="37805" y="61469"/>
                    <a:pt x="47320" y="70278"/>
                    <a:pt x="45842" y="73557"/>
                  </a:cubicBezTo>
                  <a:cubicBezTo>
                    <a:pt x="44363" y="76836"/>
                    <a:pt x="46227" y="87508"/>
                    <a:pt x="49507" y="84615"/>
                  </a:cubicBezTo>
                  <a:cubicBezTo>
                    <a:pt x="52786" y="81722"/>
                    <a:pt x="57993" y="85322"/>
                    <a:pt x="54650" y="90080"/>
                  </a:cubicBezTo>
                  <a:cubicBezTo>
                    <a:pt x="51307" y="94838"/>
                    <a:pt x="59793" y="99660"/>
                    <a:pt x="61079" y="105511"/>
                  </a:cubicBezTo>
                  <a:cubicBezTo>
                    <a:pt x="62365" y="111361"/>
                    <a:pt x="65901" y="106668"/>
                    <a:pt x="65130" y="102232"/>
                  </a:cubicBezTo>
                  <a:cubicBezTo>
                    <a:pt x="64358" y="97795"/>
                    <a:pt x="65901" y="98181"/>
                    <a:pt x="70659" y="94902"/>
                  </a:cubicBezTo>
                  <a:cubicBezTo>
                    <a:pt x="75417" y="91623"/>
                    <a:pt x="70273" y="86030"/>
                    <a:pt x="67316" y="79793"/>
                  </a:cubicBezTo>
                  <a:cubicBezTo>
                    <a:pt x="64358" y="73557"/>
                    <a:pt x="53364" y="75807"/>
                    <a:pt x="53364" y="69892"/>
                  </a:cubicBezTo>
                  <a:cubicBezTo>
                    <a:pt x="53364" y="63977"/>
                    <a:pt x="45327" y="62177"/>
                    <a:pt x="44942" y="58898"/>
                  </a:cubicBezTo>
                  <a:cubicBezTo>
                    <a:pt x="44556" y="55619"/>
                    <a:pt x="33883" y="52468"/>
                    <a:pt x="27646" y="55940"/>
                  </a:cubicBezTo>
                  <a:cubicBezTo>
                    <a:pt x="21410" y="59412"/>
                    <a:pt x="25846" y="49511"/>
                    <a:pt x="21217" y="44560"/>
                  </a:cubicBezTo>
                  <a:cubicBezTo>
                    <a:pt x="16588" y="39610"/>
                    <a:pt x="24496" y="32794"/>
                    <a:pt x="29704" y="26879"/>
                  </a:cubicBezTo>
                  <a:cubicBezTo>
                    <a:pt x="34912" y="20964"/>
                    <a:pt x="28225" y="11127"/>
                    <a:pt x="28932" y="6691"/>
                  </a:cubicBezTo>
                  <a:cubicBezTo>
                    <a:pt x="29640" y="2255"/>
                    <a:pt x="29318" y="840"/>
                    <a:pt x="26747" y="2319"/>
                  </a:cubicBezTo>
                  <a:cubicBezTo>
                    <a:pt x="24175" y="3798"/>
                    <a:pt x="13502" y="-2117"/>
                    <a:pt x="8744" y="840"/>
                  </a:cubicBezTo>
                  <a:cubicBezTo>
                    <a:pt x="3986" y="3798"/>
                    <a:pt x="8358" y="28037"/>
                    <a:pt x="6173" y="29837"/>
                  </a:cubicBezTo>
                  <a:cubicBezTo>
                    <a:pt x="3986" y="31637"/>
                    <a:pt x="1093" y="25915"/>
                    <a:pt x="257" y="28358"/>
                  </a:cubicBezTo>
                  <a:cubicBezTo>
                    <a:pt x="-578" y="30801"/>
                    <a:pt x="643" y="45267"/>
                    <a:pt x="3601" y="45267"/>
                  </a:cubicBezTo>
                  <a:close/>
                </a:path>
              </a:pathLst>
            </a:custGeom>
            <a:solidFill>
              <a:srgbClr val="00938B"/>
            </a:solidFill>
            <a:ln w="6429" cap="flat">
              <a:noFill/>
              <a:prstDash val="solid"/>
              <a:miter/>
            </a:ln>
          </p:spPr>
          <p:txBody>
            <a:bodyPr rtlCol="0" anchor="ctr"/>
            <a:lstStyle/>
            <a:p>
              <a:endParaRPr lang="en-GB" sz="2400"/>
            </a:p>
          </p:txBody>
        </p:sp>
        <p:sp>
          <p:nvSpPr>
            <p:cNvPr id="302" name="Freeform 92">
              <a:extLst>
                <a:ext uri="{FF2B5EF4-FFF2-40B4-BE49-F238E27FC236}">
                  <a16:creationId xmlns:a16="http://schemas.microsoft.com/office/drawing/2014/main" id="{190967DC-F19A-4A39-A7B8-986A07571A07}"/>
                </a:ext>
              </a:extLst>
            </p:cNvPr>
            <p:cNvSpPr/>
            <p:nvPr/>
          </p:nvSpPr>
          <p:spPr>
            <a:xfrm>
              <a:off x="5922887" y="2822656"/>
              <a:ext cx="6429" cy="6429"/>
            </a:xfrm>
            <a:custGeom>
              <a:avLst/>
              <a:gdLst>
                <a:gd name="connsiteX0" fmla="*/ 9304 w 6429"/>
                <a:gd name="connsiteY0" fmla="*/ 1058 h 6429"/>
                <a:gd name="connsiteX1" fmla="*/ 110 w 6429"/>
                <a:gd name="connsiteY1" fmla="*/ 6909 h 6429"/>
                <a:gd name="connsiteX2" fmla="*/ 9304 w 6429"/>
                <a:gd name="connsiteY2" fmla="*/ 1058 h 6429"/>
              </a:gdLst>
              <a:ahLst/>
              <a:cxnLst>
                <a:cxn ang="0">
                  <a:pos x="connsiteX0" y="connsiteY0"/>
                </a:cxn>
                <a:cxn ang="0">
                  <a:pos x="connsiteX1" y="connsiteY1"/>
                </a:cxn>
                <a:cxn ang="0">
                  <a:pos x="connsiteX2" y="connsiteY2"/>
                </a:cxn>
              </a:cxnLst>
              <a:rect l="l" t="t" r="r" b="b"/>
              <a:pathLst>
                <a:path w="6429" h="6429">
                  <a:moveTo>
                    <a:pt x="9304" y="1058"/>
                  </a:moveTo>
                  <a:cubicBezTo>
                    <a:pt x="6346" y="-2606"/>
                    <a:pt x="-983" y="4209"/>
                    <a:pt x="110" y="6909"/>
                  </a:cubicBezTo>
                  <a:cubicBezTo>
                    <a:pt x="1589" y="10638"/>
                    <a:pt x="12133" y="4723"/>
                    <a:pt x="9304" y="1058"/>
                  </a:cubicBezTo>
                  <a:close/>
                </a:path>
              </a:pathLst>
            </a:custGeom>
            <a:solidFill>
              <a:srgbClr val="00938B"/>
            </a:solidFill>
            <a:ln w="6429" cap="flat">
              <a:noFill/>
              <a:prstDash val="solid"/>
              <a:miter/>
            </a:ln>
          </p:spPr>
          <p:txBody>
            <a:bodyPr rtlCol="0" anchor="ctr"/>
            <a:lstStyle/>
            <a:p>
              <a:endParaRPr lang="en-GB" sz="2400"/>
            </a:p>
          </p:txBody>
        </p:sp>
        <p:sp>
          <p:nvSpPr>
            <p:cNvPr id="303" name="Freeform 93">
              <a:extLst>
                <a:ext uri="{FF2B5EF4-FFF2-40B4-BE49-F238E27FC236}">
                  <a16:creationId xmlns:a16="http://schemas.microsoft.com/office/drawing/2014/main" id="{4DA111ED-D042-4B47-A13D-DD122D7A519E}"/>
                </a:ext>
              </a:extLst>
            </p:cNvPr>
            <p:cNvSpPr/>
            <p:nvPr/>
          </p:nvSpPr>
          <p:spPr>
            <a:xfrm>
              <a:off x="5896825" y="2798300"/>
              <a:ext cx="25718" cy="32147"/>
            </a:xfrm>
            <a:custGeom>
              <a:avLst/>
              <a:gdLst>
                <a:gd name="connsiteX0" fmla="*/ 3347 w 25717"/>
                <a:gd name="connsiteY0" fmla="*/ 82 h 32146"/>
                <a:gd name="connsiteX1" fmla="*/ 4119 w 25717"/>
                <a:gd name="connsiteY1" fmla="*/ 16991 h 32146"/>
                <a:gd name="connsiteX2" fmla="*/ 10548 w 25717"/>
                <a:gd name="connsiteY2" fmla="*/ 13262 h 32146"/>
                <a:gd name="connsiteX3" fmla="*/ 11641 w 25717"/>
                <a:gd name="connsiteY3" fmla="*/ 23228 h 32146"/>
                <a:gd name="connsiteX4" fmla="*/ 13506 w 25717"/>
                <a:gd name="connsiteY4" fmla="*/ 36794 h 32146"/>
                <a:gd name="connsiteX5" fmla="*/ 26364 w 25717"/>
                <a:gd name="connsiteY5" fmla="*/ 16991 h 32146"/>
                <a:gd name="connsiteX6" fmla="*/ 21607 w 25717"/>
                <a:gd name="connsiteY6" fmla="*/ 14741 h 32146"/>
                <a:gd name="connsiteX7" fmla="*/ 3347 w 25717"/>
                <a:gd name="connsiteY7" fmla="*/ 82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 h="32146">
                  <a:moveTo>
                    <a:pt x="3347" y="82"/>
                  </a:moveTo>
                  <a:cubicBezTo>
                    <a:pt x="-2118" y="1175"/>
                    <a:pt x="-189" y="17827"/>
                    <a:pt x="4119" y="16991"/>
                  </a:cubicBezTo>
                  <a:cubicBezTo>
                    <a:pt x="5983" y="16606"/>
                    <a:pt x="10548" y="16991"/>
                    <a:pt x="10548" y="13262"/>
                  </a:cubicBezTo>
                  <a:cubicBezTo>
                    <a:pt x="10548" y="9533"/>
                    <a:pt x="14920" y="19692"/>
                    <a:pt x="11641" y="23228"/>
                  </a:cubicBezTo>
                  <a:cubicBezTo>
                    <a:pt x="8362" y="26764"/>
                    <a:pt x="8298" y="35701"/>
                    <a:pt x="13506" y="36794"/>
                  </a:cubicBezTo>
                  <a:cubicBezTo>
                    <a:pt x="18713" y="37887"/>
                    <a:pt x="28165" y="20270"/>
                    <a:pt x="26364" y="16991"/>
                  </a:cubicBezTo>
                  <a:cubicBezTo>
                    <a:pt x="24564" y="13712"/>
                    <a:pt x="20514" y="19177"/>
                    <a:pt x="21607" y="14741"/>
                  </a:cubicBezTo>
                  <a:cubicBezTo>
                    <a:pt x="22700" y="10305"/>
                    <a:pt x="8877" y="-1075"/>
                    <a:pt x="3347" y="82"/>
                  </a:cubicBezTo>
                  <a:close/>
                </a:path>
              </a:pathLst>
            </a:custGeom>
            <a:solidFill>
              <a:srgbClr val="00938B"/>
            </a:solidFill>
            <a:ln w="6429" cap="flat">
              <a:noFill/>
              <a:prstDash val="solid"/>
              <a:miter/>
            </a:ln>
          </p:spPr>
          <p:txBody>
            <a:bodyPr rtlCol="0" anchor="ctr"/>
            <a:lstStyle/>
            <a:p>
              <a:endParaRPr lang="en-GB" sz="2400"/>
            </a:p>
          </p:txBody>
        </p:sp>
        <p:sp>
          <p:nvSpPr>
            <p:cNvPr id="304" name="Freeform 94">
              <a:extLst>
                <a:ext uri="{FF2B5EF4-FFF2-40B4-BE49-F238E27FC236}">
                  <a16:creationId xmlns:a16="http://schemas.microsoft.com/office/drawing/2014/main" id="{6A127DFB-DFA0-48A5-BA2D-4613B9386321}"/>
                </a:ext>
              </a:extLst>
            </p:cNvPr>
            <p:cNvSpPr/>
            <p:nvPr/>
          </p:nvSpPr>
          <p:spPr>
            <a:xfrm>
              <a:off x="5841779" y="2807991"/>
              <a:ext cx="25718" cy="32147"/>
            </a:xfrm>
            <a:custGeom>
              <a:avLst/>
              <a:gdLst>
                <a:gd name="connsiteX0" fmla="*/ 22518 w 25717"/>
                <a:gd name="connsiteY0" fmla="*/ 13858 h 32146"/>
                <a:gd name="connsiteX1" fmla="*/ 26479 w 25717"/>
                <a:gd name="connsiteY1" fmla="*/ 2048 h 32146"/>
                <a:gd name="connsiteX2" fmla="*/ 25861 w 25717"/>
                <a:gd name="connsiteY2" fmla="*/ 1000 h 32146"/>
                <a:gd name="connsiteX3" fmla="*/ 15960 w 25717"/>
                <a:gd name="connsiteY3" fmla="*/ 14566 h 32146"/>
                <a:gd name="connsiteX4" fmla="*/ 144 w 25717"/>
                <a:gd name="connsiteY4" fmla="*/ 35140 h 32146"/>
                <a:gd name="connsiteX5" fmla="*/ 22518 w 25717"/>
                <a:gd name="connsiteY5" fmla="*/ 13858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17" h="32146">
                  <a:moveTo>
                    <a:pt x="22518" y="13858"/>
                  </a:moveTo>
                  <a:cubicBezTo>
                    <a:pt x="26871" y="11692"/>
                    <a:pt x="28645" y="6400"/>
                    <a:pt x="26479" y="2048"/>
                  </a:cubicBezTo>
                  <a:cubicBezTo>
                    <a:pt x="26299" y="1687"/>
                    <a:pt x="26093" y="1334"/>
                    <a:pt x="25861" y="1000"/>
                  </a:cubicBezTo>
                  <a:cubicBezTo>
                    <a:pt x="23675" y="-3437"/>
                    <a:pt x="21104" y="7943"/>
                    <a:pt x="15960" y="14566"/>
                  </a:cubicBezTo>
                  <a:cubicBezTo>
                    <a:pt x="10816" y="21188"/>
                    <a:pt x="-1463" y="32182"/>
                    <a:pt x="144" y="35140"/>
                  </a:cubicBezTo>
                  <a:cubicBezTo>
                    <a:pt x="2201" y="38869"/>
                    <a:pt x="16089" y="18680"/>
                    <a:pt x="22518" y="13858"/>
                  </a:cubicBezTo>
                  <a:close/>
                </a:path>
              </a:pathLst>
            </a:custGeom>
            <a:solidFill>
              <a:srgbClr val="00938B"/>
            </a:solidFill>
            <a:ln w="6429" cap="flat">
              <a:noFill/>
              <a:prstDash val="solid"/>
              <a:miter/>
            </a:ln>
          </p:spPr>
          <p:txBody>
            <a:bodyPr rtlCol="0" anchor="ctr"/>
            <a:lstStyle/>
            <a:p>
              <a:endParaRPr lang="en-GB" sz="2400"/>
            </a:p>
          </p:txBody>
        </p:sp>
        <p:sp>
          <p:nvSpPr>
            <p:cNvPr id="305" name="Freeform 95">
              <a:extLst>
                <a:ext uri="{FF2B5EF4-FFF2-40B4-BE49-F238E27FC236}">
                  <a16:creationId xmlns:a16="http://schemas.microsoft.com/office/drawing/2014/main" id="{D6B46388-A6AB-461E-AC70-E0D2BB1D10B0}"/>
                </a:ext>
              </a:extLst>
            </p:cNvPr>
            <p:cNvSpPr/>
            <p:nvPr/>
          </p:nvSpPr>
          <p:spPr>
            <a:xfrm>
              <a:off x="6229857" y="3003859"/>
              <a:ext cx="45006" cy="19288"/>
            </a:xfrm>
            <a:custGeom>
              <a:avLst/>
              <a:gdLst>
                <a:gd name="connsiteX0" fmla="*/ 20202 w 45005"/>
                <a:gd name="connsiteY0" fmla="*/ 24888 h 19288"/>
                <a:gd name="connsiteX1" fmla="*/ 45920 w 45005"/>
                <a:gd name="connsiteY1" fmla="*/ 12029 h 19288"/>
                <a:gd name="connsiteX2" fmla="*/ 49584 w 45005"/>
                <a:gd name="connsiteY2" fmla="*/ 971 h 19288"/>
                <a:gd name="connsiteX3" fmla="*/ 41548 w 45005"/>
                <a:gd name="connsiteY3" fmla="*/ 5793 h 19288"/>
                <a:gd name="connsiteX4" fmla="*/ 26438 w 45005"/>
                <a:gd name="connsiteY4" fmla="*/ 14601 h 19288"/>
                <a:gd name="connsiteX5" fmla="*/ 14 w 45005"/>
                <a:gd name="connsiteY5" fmla="*/ 15694 h 19288"/>
                <a:gd name="connsiteX6" fmla="*/ 20202 w 45005"/>
                <a:gd name="connsiteY6" fmla="*/ 24888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 h="19288">
                  <a:moveTo>
                    <a:pt x="20202" y="24888"/>
                  </a:moveTo>
                  <a:cubicBezTo>
                    <a:pt x="30103" y="24888"/>
                    <a:pt x="45920" y="14987"/>
                    <a:pt x="45920" y="12029"/>
                  </a:cubicBezTo>
                  <a:cubicBezTo>
                    <a:pt x="45920" y="9072"/>
                    <a:pt x="52349" y="3928"/>
                    <a:pt x="49584" y="971"/>
                  </a:cubicBezTo>
                  <a:cubicBezTo>
                    <a:pt x="46820" y="-1987"/>
                    <a:pt x="41548" y="2449"/>
                    <a:pt x="41548" y="5793"/>
                  </a:cubicBezTo>
                  <a:cubicBezTo>
                    <a:pt x="41548" y="9136"/>
                    <a:pt x="35633" y="10936"/>
                    <a:pt x="26438" y="14601"/>
                  </a:cubicBezTo>
                  <a:cubicBezTo>
                    <a:pt x="17244" y="18266"/>
                    <a:pt x="721" y="10358"/>
                    <a:pt x="14" y="15694"/>
                  </a:cubicBezTo>
                  <a:cubicBezTo>
                    <a:pt x="-436" y="18973"/>
                    <a:pt x="10237" y="24888"/>
                    <a:pt x="20202" y="24888"/>
                  </a:cubicBezTo>
                  <a:close/>
                </a:path>
              </a:pathLst>
            </a:custGeom>
            <a:solidFill>
              <a:srgbClr val="00938B"/>
            </a:solidFill>
            <a:ln w="6429" cap="flat">
              <a:noFill/>
              <a:prstDash val="solid"/>
              <a:miter/>
            </a:ln>
          </p:spPr>
          <p:txBody>
            <a:bodyPr rtlCol="0" anchor="ctr"/>
            <a:lstStyle/>
            <a:p>
              <a:endParaRPr lang="en-GB" sz="2400"/>
            </a:p>
          </p:txBody>
        </p:sp>
        <p:sp>
          <p:nvSpPr>
            <p:cNvPr id="306" name="Freeform 96">
              <a:extLst>
                <a:ext uri="{FF2B5EF4-FFF2-40B4-BE49-F238E27FC236}">
                  <a16:creationId xmlns:a16="http://schemas.microsoft.com/office/drawing/2014/main" id="{A13112BF-9D56-4E46-9723-2C5B37F6ED86}"/>
                </a:ext>
              </a:extLst>
            </p:cNvPr>
            <p:cNvSpPr/>
            <p:nvPr/>
          </p:nvSpPr>
          <p:spPr>
            <a:xfrm>
              <a:off x="6276503" y="2992123"/>
              <a:ext cx="12859" cy="12859"/>
            </a:xfrm>
            <a:custGeom>
              <a:avLst/>
              <a:gdLst>
                <a:gd name="connsiteX0" fmla="*/ 3645 w 12858"/>
                <a:gd name="connsiteY0" fmla="*/ 4284 h 12858"/>
                <a:gd name="connsiteX1" fmla="*/ 11360 w 12858"/>
                <a:gd name="connsiteY1" fmla="*/ 16050 h 12858"/>
                <a:gd name="connsiteX2" fmla="*/ 7310 w 12858"/>
                <a:gd name="connsiteY2" fmla="*/ 3577 h 12858"/>
                <a:gd name="connsiteX3" fmla="*/ 3645 w 12858"/>
                <a:gd name="connsiteY3" fmla="*/ 4284 h 12858"/>
              </a:gdLst>
              <a:ahLst/>
              <a:cxnLst>
                <a:cxn ang="0">
                  <a:pos x="connsiteX0" y="connsiteY0"/>
                </a:cxn>
                <a:cxn ang="0">
                  <a:pos x="connsiteX1" y="connsiteY1"/>
                </a:cxn>
                <a:cxn ang="0">
                  <a:pos x="connsiteX2" y="connsiteY2"/>
                </a:cxn>
                <a:cxn ang="0">
                  <a:pos x="connsiteX3" y="connsiteY3"/>
                </a:cxn>
              </a:cxnLst>
              <a:rect l="l" t="t" r="r" b="b"/>
              <a:pathLst>
                <a:path w="12858" h="12858">
                  <a:moveTo>
                    <a:pt x="3645" y="4284"/>
                  </a:moveTo>
                  <a:cubicBezTo>
                    <a:pt x="10975" y="11292"/>
                    <a:pt x="6988" y="17143"/>
                    <a:pt x="11360" y="16050"/>
                  </a:cubicBezTo>
                  <a:cubicBezTo>
                    <a:pt x="18304" y="14185"/>
                    <a:pt x="13160" y="7242"/>
                    <a:pt x="7310" y="3577"/>
                  </a:cubicBezTo>
                  <a:cubicBezTo>
                    <a:pt x="1459" y="-88"/>
                    <a:pt x="-3748" y="-2467"/>
                    <a:pt x="3645" y="4284"/>
                  </a:cubicBezTo>
                  <a:close/>
                </a:path>
              </a:pathLst>
            </a:custGeom>
            <a:solidFill>
              <a:srgbClr val="00938B"/>
            </a:solidFill>
            <a:ln w="6429" cap="flat">
              <a:noFill/>
              <a:prstDash val="solid"/>
              <a:miter/>
            </a:ln>
          </p:spPr>
          <p:txBody>
            <a:bodyPr rtlCol="0" anchor="ctr"/>
            <a:lstStyle/>
            <a:p>
              <a:endParaRPr lang="en-GB" sz="2400"/>
            </a:p>
          </p:txBody>
        </p:sp>
        <p:sp>
          <p:nvSpPr>
            <p:cNvPr id="307" name="Freeform 97">
              <a:extLst>
                <a:ext uri="{FF2B5EF4-FFF2-40B4-BE49-F238E27FC236}">
                  <a16:creationId xmlns:a16="http://schemas.microsoft.com/office/drawing/2014/main" id="{485A3628-1C35-4074-A95D-C6CF57F92BC4}"/>
                </a:ext>
              </a:extLst>
            </p:cNvPr>
            <p:cNvSpPr/>
            <p:nvPr/>
          </p:nvSpPr>
          <p:spPr>
            <a:xfrm>
              <a:off x="5386962" y="2826282"/>
              <a:ext cx="25718" cy="45006"/>
            </a:xfrm>
            <a:custGeom>
              <a:avLst/>
              <a:gdLst>
                <a:gd name="connsiteX0" fmla="*/ 5805 w 25717"/>
                <a:gd name="connsiteY0" fmla="*/ 4 h 45005"/>
                <a:gd name="connsiteX1" fmla="*/ 1433 w 25717"/>
                <a:gd name="connsiteY1" fmla="*/ 11770 h 45005"/>
                <a:gd name="connsiteX2" fmla="*/ 662 w 25717"/>
                <a:gd name="connsiteY2" fmla="*/ 28293 h 45005"/>
                <a:gd name="connsiteX3" fmla="*/ 7091 w 25717"/>
                <a:gd name="connsiteY3" fmla="*/ 46681 h 45005"/>
                <a:gd name="connsiteX4" fmla="*/ 26379 w 25717"/>
                <a:gd name="connsiteY4" fmla="*/ 29001 h 45005"/>
                <a:gd name="connsiteX5" fmla="*/ 5805 w 25717"/>
                <a:gd name="connsiteY5" fmla="*/ 4 h 4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17" h="45005">
                  <a:moveTo>
                    <a:pt x="5805" y="4"/>
                  </a:moveTo>
                  <a:cubicBezTo>
                    <a:pt x="2526" y="390"/>
                    <a:pt x="3234" y="7012"/>
                    <a:pt x="1433" y="11770"/>
                  </a:cubicBezTo>
                  <a:cubicBezTo>
                    <a:pt x="-168" y="17132"/>
                    <a:pt x="-431" y="22803"/>
                    <a:pt x="662" y="28293"/>
                  </a:cubicBezTo>
                  <a:cubicBezTo>
                    <a:pt x="1433" y="35301"/>
                    <a:pt x="662" y="42631"/>
                    <a:pt x="7091" y="46681"/>
                  </a:cubicBezTo>
                  <a:cubicBezTo>
                    <a:pt x="13520" y="50732"/>
                    <a:pt x="25865" y="39288"/>
                    <a:pt x="26379" y="29001"/>
                  </a:cubicBezTo>
                  <a:cubicBezTo>
                    <a:pt x="26894" y="18714"/>
                    <a:pt x="8570" y="-317"/>
                    <a:pt x="5805" y="4"/>
                  </a:cubicBezTo>
                  <a:close/>
                </a:path>
              </a:pathLst>
            </a:custGeom>
            <a:solidFill>
              <a:srgbClr val="00938B"/>
            </a:solidFill>
            <a:ln w="6429" cap="flat">
              <a:noFill/>
              <a:prstDash val="solid"/>
              <a:miter/>
            </a:ln>
          </p:spPr>
          <p:txBody>
            <a:bodyPr rtlCol="0" anchor="ctr"/>
            <a:lstStyle/>
            <a:p>
              <a:endParaRPr lang="en-GB" sz="2400"/>
            </a:p>
          </p:txBody>
        </p:sp>
        <p:sp>
          <p:nvSpPr>
            <p:cNvPr id="308" name="Freeform 98">
              <a:extLst>
                <a:ext uri="{FF2B5EF4-FFF2-40B4-BE49-F238E27FC236}">
                  <a16:creationId xmlns:a16="http://schemas.microsoft.com/office/drawing/2014/main" id="{9B7F5047-D681-45E8-81E6-E8AA57355D6C}"/>
                </a:ext>
              </a:extLst>
            </p:cNvPr>
            <p:cNvSpPr/>
            <p:nvPr/>
          </p:nvSpPr>
          <p:spPr>
            <a:xfrm>
              <a:off x="6394742" y="3079162"/>
              <a:ext cx="6429" cy="6429"/>
            </a:xfrm>
            <a:custGeom>
              <a:avLst/>
              <a:gdLst>
                <a:gd name="connsiteX0" fmla="*/ 43 w 6429"/>
                <a:gd name="connsiteY0" fmla="*/ 506 h 6429"/>
                <a:gd name="connsiteX1" fmla="*/ 11294 w 6429"/>
                <a:gd name="connsiteY1" fmla="*/ 5971 h 6429"/>
                <a:gd name="connsiteX2" fmla="*/ 43 w 6429"/>
                <a:gd name="connsiteY2" fmla="*/ 506 h 6429"/>
              </a:gdLst>
              <a:ahLst/>
              <a:cxnLst>
                <a:cxn ang="0">
                  <a:pos x="connsiteX0" y="connsiteY0"/>
                </a:cxn>
                <a:cxn ang="0">
                  <a:pos x="connsiteX1" y="connsiteY1"/>
                </a:cxn>
                <a:cxn ang="0">
                  <a:pos x="connsiteX2" y="connsiteY2"/>
                </a:cxn>
              </a:cxnLst>
              <a:rect l="l" t="t" r="r" b="b"/>
              <a:pathLst>
                <a:path w="6429" h="6429">
                  <a:moveTo>
                    <a:pt x="43" y="506"/>
                  </a:moveTo>
                  <a:cubicBezTo>
                    <a:pt x="557" y="1856"/>
                    <a:pt x="7758" y="8478"/>
                    <a:pt x="11294" y="5971"/>
                  </a:cubicBezTo>
                  <a:cubicBezTo>
                    <a:pt x="14830" y="3463"/>
                    <a:pt x="-922" y="-1616"/>
                    <a:pt x="43" y="506"/>
                  </a:cubicBezTo>
                  <a:close/>
                </a:path>
              </a:pathLst>
            </a:custGeom>
            <a:solidFill>
              <a:srgbClr val="00938B"/>
            </a:solidFill>
            <a:ln w="6429" cap="flat">
              <a:noFill/>
              <a:prstDash val="solid"/>
              <a:miter/>
            </a:ln>
          </p:spPr>
          <p:txBody>
            <a:bodyPr rtlCol="0" anchor="ctr"/>
            <a:lstStyle/>
            <a:p>
              <a:endParaRPr lang="en-GB" sz="2400"/>
            </a:p>
          </p:txBody>
        </p:sp>
        <p:sp>
          <p:nvSpPr>
            <p:cNvPr id="309" name="Freeform 99">
              <a:extLst>
                <a:ext uri="{FF2B5EF4-FFF2-40B4-BE49-F238E27FC236}">
                  <a16:creationId xmlns:a16="http://schemas.microsoft.com/office/drawing/2014/main" id="{4B7291D8-A1FA-48B4-BD85-29471DBE8B3A}"/>
                </a:ext>
              </a:extLst>
            </p:cNvPr>
            <p:cNvSpPr/>
            <p:nvPr/>
          </p:nvSpPr>
          <p:spPr>
            <a:xfrm>
              <a:off x="6309495" y="3018067"/>
              <a:ext cx="12859" cy="12859"/>
            </a:xfrm>
            <a:custGeom>
              <a:avLst/>
              <a:gdLst>
                <a:gd name="connsiteX0" fmla="*/ 36 w 12858"/>
                <a:gd name="connsiteY0" fmla="*/ 393 h 12858"/>
                <a:gd name="connsiteX1" fmla="*/ 15467 w 12858"/>
                <a:gd name="connsiteY1" fmla="*/ 18395 h 12858"/>
                <a:gd name="connsiteX2" fmla="*/ 36 w 12858"/>
                <a:gd name="connsiteY2" fmla="*/ 393 h 12858"/>
              </a:gdLst>
              <a:ahLst/>
              <a:cxnLst>
                <a:cxn ang="0">
                  <a:pos x="connsiteX0" y="connsiteY0"/>
                </a:cxn>
                <a:cxn ang="0">
                  <a:pos x="connsiteX1" y="connsiteY1"/>
                </a:cxn>
                <a:cxn ang="0">
                  <a:pos x="connsiteX2" y="connsiteY2"/>
                </a:cxn>
              </a:cxnLst>
              <a:rect l="l" t="t" r="r" b="b"/>
              <a:pathLst>
                <a:path w="12858" h="12858">
                  <a:moveTo>
                    <a:pt x="36" y="393"/>
                  </a:moveTo>
                  <a:cubicBezTo>
                    <a:pt x="-735" y="3672"/>
                    <a:pt x="11094" y="21160"/>
                    <a:pt x="15467" y="18395"/>
                  </a:cubicBezTo>
                  <a:cubicBezTo>
                    <a:pt x="23567" y="13252"/>
                    <a:pt x="743" y="-2693"/>
                    <a:pt x="36" y="393"/>
                  </a:cubicBezTo>
                  <a:close/>
                </a:path>
              </a:pathLst>
            </a:custGeom>
            <a:solidFill>
              <a:srgbClr val="00938B"/>
            </a:solidFill>
            <a:ln w="6429" cap="flat">
              <a:noFill/>
              <a:prstDash val="solid"/>
              <a:miter/>
            </a:ln>
          </p:spPr>
          <p:txBody>
            <a:bodyPr rtlCol="0" anchor="ctr"/>
            <a:lstStyle/>
            <a:p>
              <a:endParaRPr lang="en-GB" sz="2400"/>
            </a:p>
          </p:txBody>
        </p:sp>
        <p:sp>
          <p:nvSpPr>
            <p:cNvPr id="310" name="Freeform 100">
              <a:extLst>
                <a:ext uri="{FF2B5EF4-FFF2-40B4-BE49-F238E27FC236}">
                  <a16:creationId xmlns:a16="http://schemas.microsoft.com/office/drawing/2014/main" id="{77589A96-67C0-4B25-AF62-F95D74DF64BA}"/>
                </a:ext>
              </a:extLst>
            </p:cNvPr>
            <p:cNvSpPr/>
            <p:nvPr/>
          </p:nvSpPr>
          <p:spPr>
            <a:xfrm>
              <a:off x="6333062" y="3033479"/>
              <a:ext cx="6429" cy="6429"/>
            </a:xfrm>
            <a:custGeom>
              <a:avLst/>
              <a:gdLst>
                <a:gd name="connsiteX0" fmla="*/ 0 w 6429"/>
                <a:gd name="connsiteY0" fmla="*/ 412 h 6429"/>
                <a:gd name="connsiteX1" fmla="*/ 10480 w 6429"/>
                <a:gd name="connsiteY1" fmla="*/ 8963 h 6429"/>
                <a:gd name="connsiteX2" fmla="*/ 0 w 6429"/>
                <a:gd name="connsiteY2" fmla="*/ 412 h 6429"/>
              </a:gdLst>
              <a:ahLst/>
              <a:cxnLst>
                <a:cxn ang="0">
                  <a:pos x="connsiteX0" y="connsiteY0"/>
                </a:cxn>
                <a:cxn ang="0">
                  <a:pos x="connsiteX1" y="connsiteY1"/>
                </a:cxn>
                <a:cxn ang="0">
                  <a:pos x="connsiteX2" y="connsiteY2"/>
                </a:cxn>
              </a:cxnLst>
              <a:rect l="l" t="t" r="r" b="b"/>
              <a:pathLst>
                <a:path w="6429" h="6429">
                  <a:moveTo>
                    <a:pt x="0" y="412"/>
                  </a:moveTo>
                  <a:cubicBezTo>
                    <a:pt x="0" y="1762"/>
                    <a:pt x="8487" y="10313"/>
                    <a:pt x="10480" y="8963"/>
                  </a:cubicBezTo>
                  <a:cubicBezTo>
                    <a:pt x="12473" y="7613"/>
                    <a:pt x="579" y="-2096"/>
                    <a:pt x="0" y="412"/>
                  </a:cubicBezTo>
                  <a:close/>
                </a:path>
              </a:pathLst>
            </a:custGeom>
            <a:solidFill>
              <a:srgbClr val="00938B"/>
            </a:solidFill>
            <a:ln w="6429" cap="flat">
              <a:noFill/>
              <a:prstDash val="solid"/>
              <a:miter/>
            </a:ln>
          </p:spPr>
          <p:txBody>
            <a:bodyPr rtlCol="0" anchor="ctr"/>
            <a:lstStyle/>
            <a:p>
              <a:endParaRPr lang="en-GB" sz="2400"/>
            </a:p>
          </p:txBody>
        </p:sp>
        <p:sp>
          <p:nvSpPr>
            <p:cNvPr id="311" name="Freeform 101">
              <a:extLst>
                <a:ext uri="{FF2B5EF4-FFF2-40B4-BE49-F238E27FC236}">
                  <a16:creationId xmlns:a16="http://schemas.microsoft.com/office/drawing/2014/main" id="{1B614279-EF9C-4BF4-8034-B49430A37DA2}"/>
                </a:ext>
              </a:extLst>
            </p:cNvPr>
            <p:cNvSpPr/>
            <p:nvPr/>
          </p:nvSpPr>
          <p:spPr>
            <a:xfrm>
              <a:off x="6384632" y="3054719"/>
              <a:ext cx="6429" cy="12859"/>
            </a:xfrm>
            <a:custGeom>
              <a:avLst/>
              <a:gdLst>
                <a:gd name="connsiteX0" fmla="*/ 444 w 6429"/>
                <a:gd name="connsiteY0" fmla="*/ 646 h 12858"/>
                <a:gd name="connsiteX1" fmla="*/ 10345 w 6429"/>
                <a:gd name="connsiteY1" fmla="*/ 17490 h 12858"/>
                <a:gd name="connsiteX2" fmla="*/ 444 w 6429"/>
                <a:gd name="connsiteY2" fmla="*/ 646 h 12858"/>
              </a:gdLst>
              <a:ahLst/>
              <a:cxnLst>
                <a:cxn ang="0">
                  <a:pos x="connsiteX0" y="connsiteY0"/>
                </a:cxn>
                <a:cxn ang="0">
                  <a:pos x="connsiteX1" y="connsiteY1"/>
                </a:cxn>
                <a:cxn ang="0">
                  <a:pos x="connsiteX2" y="connsiteY2"/>
                </a:cxn>
              </a:cxnLst>
              <a:rect l="l" t="t" r="r" b="b"/>
              <a:pathLst>
                <a:path w="6429" h="12858">
                  <a:moveTo>
                    <a:pt x="444" y="646"/>
                  </a:moveTo>
                  <a:cubicBezTo>
                    <a:pt x="-2321" y="6689"/>
                    <a:pt x="8673" y="17169"/>
                    <a:pt x="10345" y="17490"/>
                  </a:cubicBezTo>
                  <a:cubicBezTo>
                    <a:pt x="12016" y="17812"/>
                    <a:pt x="2630" y="-3984"/>
                    <a:pt x="444" y="646"/>
                  </a:cubicBezTo>
                  <a:close/>
                </a:path>
              </a:pathLst>
            </a:custGeom>
            <a:solidFill>
              <a:srgbClr val="00938B"/>
            </a:solidFill>
            <a:ln w="6429" cap="flat">
              <a:noFill/>
              <a:prstDash val="solid"/>
              <a:miter/>
            </a:ln>
          </p:spPr>
          <p:txBody>
            <a:bodyPr rtlCol="0" anchor="ctr"/>
            <a:lstStyle/>
            <a:p>
              <a:endParaRPr lang="en-GB" sz="2400"/>
            </a:p>
          </p:txBody>
        </p:sp>
        <p:sp>
          <p:nvSpPr>
            <p:cNvPr id="312" name="Freeform 102">
              <a:extLst>
                <a:ext uri="{FF2B5EF4-FFF2-40B4-BE49-F238E27FC236}">
                  <a16:creationId xmlns:a16="http://schemas.microsoft.com/office/drawing/2014/main" id="{E8B5B998-7027-48AE-B34B-0A37B47742D5}"/>
                </a:ext>
              </a:extLst>
            </p:cNvPr>
            <p:cNvSpPr/>
            <p:nvPr/>
          </p:nvSpPr>
          <p:spPr>
            <a:xfrm>
              <a:off x="6372161" y="3066104"/>
              <a:ext cx="12859" cy="6429"/>
            </a:xfrm>
            <a:custGeom>
              <a:avLst/>
              <a:gdLst>
                <a:gd name="connsiteX0" fmla="*/ 56 w 12858"/>
                <a:gd name="connsiteY0" fmla="*/ 1669 h 6429"/>
                <a:gd name="connsiteX1" fmla="*/ 12915 w 12858"/>
                <a:gd name="connsiteY1" fmla="*/ 8548 h 6429"/>
                <a:gd name="connsiteX2" fmla="*/ 56 w 12858"/>
                <a:gd name="connsiteY2" fmla="*/ 1669 h 6429"/>
              </a:gdLst>
              <a:ahLst/>
              <a:cxnLst>
                <a:cxn ang="0">
                  <a:pos x="connsiteX0" y="connsiteY0"/>
                </a:cxn>
                <a:cxn ang="0">
                  <a:pos x="connsiteX1" y="connsiteY1"/>
                </a:cxn>
                <a:cxn ang="0">
                  <a:pos x="connsiteX2" y="connsiteY2"/>
                </a:cxn>
              </a:cxnLst>
              <a:rect l="l" t="t" r="r" b="b"/>
              <a:pathLst>
                <a:path w="12858" h="6429">
                  <a:moveTo>
                    <a:pt x="56" y="1669"/>
                  </a:moveTo>
                  <a:cubicBezTo>
                    <a:pt x="1812" y="7031"/>
                    <a:pt x="7476" y="10066"/>
                    <a:pt x="12915" y="8548"/>
                  </a:cubicBezTo>
                  <a:cubicBezTo>
                    <a:pt x="16001" y="6620"/>
                    <a:pt x="-1101" y="-4053"/>
                    <a:pt x="56" y="1669"/>
                  </a:cubicBezTo>
                  <a:close/>
                </a:path>
              </a:pathLst>
            </a:custGeom>
            <a:solidFill>
              <a:srgbClr val="00938B"/>
            </a:solidFill>
            <a:ln w="6429" cap="flat">
              <a:noFill/>
              <a:prstDash val="solid"/>
              <a:miter/>
            </a:ln>
          </p:spPr>
          <p:txBody>
            <a:bodyPr rtlCol="0" anchor="ctr"/>
            <a:lstStyle/>
            <a:p>
              <a:endParaRPr lang="en-GB" sz="2400"/>
            </a:p>
          </p:txBody>
        </p:sp>
        <p:sp>
          <p:nvSpPr>
            <p:cNvPr id="313" name="Freeform 103">
              <a:extLst>
                <a:ext uri="{FF2B5EF4-FFF2-40B4-BE49-F238E27FC236}">
                  <a16:creationId xmlns:a16="http://schemas.microsoft.com/office/drawing/2014/main" id="{A8717390-DD76-48FE-8081-16460AA0D9D8}"/>
                </a:ext>
              </a:extLst>
            </p:cNvPr>
            <p:cNvSpPr/>
            <p:nvPr/>
          </p:nvSpPr>
          <p:spPr>
            <a:xfrm>
              <a:off x="6356974" y="3045880"/>
              <a:ext cx="12859" cy="6429"/>
            </a:xfrm>
            <a:custGeom>
              <a:avLst/>
              <a:gdLst>
                <a:gd name="connsiteX0" fmla="*/ 17429 w 12858"/>
                <a:gd name="connsiteY0" fmla="*/ 10063 h 6429"/>
                <a:gd name="connsiteX1" fmla="*/ 5 w 12858"/>
                <a:gd name="connsiteY1" fmla="*/ 676 h 6429"/>
                <a:gd name="connsiteX2" fmla="*/ 17429 w 12858"/>
                <a:gd name="connsiteY2" fmla="*/ 10063 h 6429"/>
              </a:gdLst>
              <a:ahLst/>
              <a:cxnLst>
                <a:cxn ang="0">
                  <a:pos x="connsiteX0" y="connsiteY0"/>
                </a:cxn>
                <a:cxn ang="0">
                  <a:pos x="connsiteX1" y="connsiteY1"/>
                </a:cxn>
                <a:cxn ang="0">
                  <a:pos x="connsiteX2" y="connsiteY2"/>
                </a:cxn>
              </a:cxnLst>
              <a:rect l="l" t="t" r="r" b="b"/>
              <a:pathLst>
                <a:path w="12858" h="6429">
                  <a:moveTo>
                    <a:pt x="17429" y="10063"/>
                  </a:moveTo>
                  <a:cubicBezTo>
                    <a:pt x="20451" y="8134"/>
                    <a:pt x="327" y="-2796"/>
                    <a:pt x="5" y="676"/>
                  </a:cubicBezTo>
                  <a:cubicBezTo>
                    <a:pt x="-316" y="4148"/>
                    <a:pt x="14343" y="11992"/>
                    <a:pt x="17429" y="10063"/>
                  </a:cubicBezTo>
                  <a:close/>
                </a:path>
              </a:pathLst>
            </a:custGeom>
            <a:solidFill>
              <a:srgbClr val="00938B"/>
            </a:solidFill>
            <a:ln w="6429" cap="flat">
              <a:noFill/>
              <a:prstDash val="solid"/>
              <a:miter/>
            </a:ln>
          </p:spPr>
          <p:txBody>
            <a:bodyPr rtlCol="0" anchor="ctr"/>
            <a:lstStyle/>
            <a:p>
              <a:endParaRPr lang="en-GB" sz="2400"/>
            </a:p>
          </p:txBody>
        </p:sp>
        <p:sp>
          <p:nvSpPr>
            <p:cNvPr id="314" name="Freeform 104">
              <a:extLst>
                <a:ext uri="{FF2B5EF4-FFF2-40B4-BE49-F238E27FC236}">
                  <a16:creationId xmlns:a16="http://schemas.microsoft.com/office/drawing/2014/main" id="{BA8151F9-1C63-4F6A-88B2-ADA2C80E6EDB}"/>
                </a:ext>
              </a:extLst>
            </p:cNvPr>
            <p:cNvSpPr/>
            <p:nvPr/>
          </p:nvSpPr>
          <p:spPr>
            <a:xfrm>
              <a:off x="6000400" y="3092426"/>
              <a:ext cx="12859" cy="6429"/>
            </a:xfrm>
            <a:custGeom>
              <a:avLst/>
              <a:gdLst>
                <a:gd name="connsiteX0" fmla="*/ 585 w 12858"/>
                <a:gd name="connsiteY0" fmla="*/ 5115 h 0"/>
                <a:gd name="connsiteX1" fmla="*/ 16530 w 12858"/>
                <a:gd name="connsiteY1" fmla="*/ 1257 h 0"/>
                <a:gd name="connsiteX2" fmla="*/ 585 w 12858"/>
                <a:gd name="connsiteY2" fmla="*/ 5115 h 0"/>
              </a:gdLst>
              <a:ahLst/>
              <a:cxnLst>
                <a:cxn ang="0">
                  <a:pos x="connsiteX0" y="connsiteY0"/>
                </a:cxn>
                <a:cxn ang="0">
                  <a:pos x="connsiteX1" y="connsiteY1"/>
                </a:cxn>
                <a:cxn ang="0">
                  <a:pos x="connsiteX2" y="connsiteY2"/>
                </a:cxn>
              </a:cxnLst>
              <a:rect l="l" t="t" r="r" b="b"/>
              <a:pathLst>
                <a:path w="12858">
                  <a:moveTo>
                    <a:pt x="585" y="5115"/>
                  </a:moveTo>
                  <a:cubicBezTo>
                    <a:pt x="3350" y="7301"/>
                    <a:pt x="17109" y="4536"/>
                    <a:pt x="16530" y="1257"/>
                  </a:cubicBezTo>
                  <a:cubicBezTo>
                    <a:pt x="15952" y="-2022"/>
                    <a:pt x="-3594" y="1772"/>
                    <a:pt x="585" y="5115"/>
                  </a:cubicBezTo>
                  <a:close/>
                </a:path>
              </a:pathLst>
            </a:custGeom>
            <a:solidFill>
              <a:srgbClr val="00938B"/>
            </a:solidFill>
            <a:ln w="6429" cap="flat">
              <a:noFill/>
              <a:prstDash val="solid"/>
              <a:miter/>
            </a:ln>
          </p:spPr>
          <p:txBody>
            <a:bodyPr rtlCol="0" anchor="ctr"/>
            <a:lstStyle/>
            <a:p>
              <a:endParaRPr lang="en-GB" sz="2400"/>
            </a:p>
          </p:txBody>
        </p:sp>
        <p:sp>
          <p:nvSpPr>
            <p:cNvPr id="315" name="Freeform 105">
              <a:extLst>
                <a:ext uri="{FF2B5EF4-FFF2-40B4-BE49-F238E27FC236}">
                  <a16:creationId xmlns:a16="http://schemas.microsoft.com/office/drawing/2014/main" id="{3A305D38-9F8A-44C4-AC42-3905DD078322}"/>
                </a:ext>
              </a:extLst>
            </p:cNvPr>
            <p:cNvSpPr/>
            <p:nvPr/>
          </p:nvSpPr>
          <p:spPr>
            <a:xfrm>
              <a:off x="5785653" y="3083470"/>
              <a:ext cx="507920" cy="379333"/>
            </a:xfrm>
            <a:custGeom>
              <a:avLst/>
              <a:gdLst>
                <a:gd name="connsiteX0" fmla="*/ 507419 w 507920"/>
                <a:gd name="connsiteY0" fmla="*/ 225983 h 379333"/>
                <a:gd name="connsiteX1" fmla="*/ 504397 w 507920"/>
                <a:gd name="connsiteY1" fmla="*/ 216918 h 379333"/>
                <a:gd name="connsiteX2" fmla="*/ 503819 w 507920"/>
                <a:gd name="connsiteY2" fmla="*/ 196215 h 379333"/>
                <a:gd name="connsiteX3" fmla="*/ 500797 w 507920"/>
                <a:gd name="connsiteY3" fmla="*/ 193772 h 379333"/>
                <a:gd name="connsiteX4" fmla="*/ 492567 w 507920"/>
                <a:gd name="connsiteY4" fmla="*/ 184128 h 379333"/>
                <a:gd name="connsiteX5" fmla="*/ 482923 w 507920"/>
                <a:gd name="connsiteY5" fmla="*/ 174741 h 379333"/>
                <a:gd name="connsiteX6" fmla="*/ 476494 w 507920"/>
                <a:gd name="connsiteY6" fmla="*/ 168955 h 379333"/>
                <a:gd name="connsiteX7" fmla="*/ 472122 w 507920"/>
                <a:gd name="connsiteY7" fmla="*/ 156096 h 379333"/>
                <a:gd name="connsiteX8" fmla="*/ 467171 w 507920"/>
                <a:gd name="connsiteY8" fmla="*/ 151981 h 379333"/>
                <a:gd name="connsiteX9" fmla="*/ 459970 w 507920"/>
                <a:gd name="connsiteY9" fmla="*/ 152560 h 379333"/>
                <a:gd name="connsiteX10" fmla="*/ 456949 w 507920"/>
                <a:gd name="connsiteY10" fmla="*/ 144009 h 379333"/>
                <a:gd name="connsiteX11" fmla="*/ 452255 w 507920"/>
                <a:gd name="connsiteY11" fmla="*/ 134879 h 379333"/>
                <a:gd name="connsiteX12" fmla="*/ 448140 w 507920"/>
                <a:gd name="connsiteY12" fmla="*/ 125814 h 379333"/>
                <a:gd name="connsiteX13" fmla="*/ 419465 w 507920"/>
                <a:gd name="connsiteY13" fmla="*/ 108969 h 379333"/>
                <a:gd name="connsiteX14" fmla="*/ 416443 w 507920"/>
                <a:gd name="connsiteY14" fmla="*/ 100482 h 379333"/>
                <a:gd name="connsiteX15" fmla="*/ 413422 w 507920"/>
                <a:gd name="connsiteY15" fmla="*/ 85308 h 379333"/>
                <a:gd name="connsiteX16" fmla="*/ 405964 w 507920"/>
                <a:gd name="connsiteY16" fmla="*/ 72450 h 379333"/>
                <a:gd name="connsiteX17" fmla="*/ 404292 w 507920"/>
                <a:gd name="connsiteY17" fmla="*/ 57341 h 379333"/>
                <a:gd name="connsiteX18" fmla="*/ 396062 w 507920"/>
                <a:gd name="connsiteY18" fmla="*/ 47375 h 379333"/>
                <a:gd name="connsiteX19" fmla="*/ 386418 w 507920"/>
                <a:gd name="connsiteY19" fmla="*/ 47697 h 379333"/>
                <a:gd name="connsiteX20" fmla="*/ 382561 w 507920"/>
                <a:gd name="connsiteY20" fmla="*/ 35288 h 379333"/>
                <a:gd name="connsiteX21" fmla="*/ 376774 w 507920"/>
                <a:gd name="connsiteY21" fmla="*/ 15421 h 379333"/>
                <a:gd name="connsiteX22" fmla="*/ 370666 w 507920"/>
                <a:gd name="connsiteY22" fmla="*/ 248 h 379333"/>
                <a:gd name="connsiteX23" fmla="*/ 362694 w 507920"/>
                <a:gd name="connsiteY23" fmla="*/ 9377 h 379333"/>
                <a:gd name="connsiteX24" fmla="*/ 359672 w 507920"/>
                <a:gd name="connsiteY24" fmla="*/ 19279 h 379333"/>
                <a:gd name="connsiteX25" fmla="*/ 358001 w 507920"/>
                <a:gd name="connsiteY25" fmla="*/ 33038 h 379333"/>
                <a:gd name="connsiteX26" fmla="*/ 356908 w 507920"/>
                <a:gd name="connsiteY26" fmla="*/ 55090 h 379333"/>
                <a:gd name="connsiteX27" fmla="*/ 353050 w 507920"/>
                <a:gd name="connsiteY27" fmla="*/ 74379 h 379333"/>
                <a:gd name="connsiteX28" fmla="*/ 342570 w 507920"/>
                <a:gd name="connsiteY28" fmla="*/ 88973 h 379333"/>
                <a:gd name="connsiteX29" fmla="*/ 327397 w 507920"/>
                <a:gd name="connsiteY29" fmla="*/ 82544 h 379333"/>
                <a:gd name="connsiteX30" fmla="*/ 316402 w 507920"/>
                <a:gd name="connsiteY30" fmla="*/ 77272 h 379333"/>
                <a:gd name="connsiteX31" fmla="*/ 304251 w 507920"/>
                <a:gd name="connsiteY31" fmla="*/ 67628 h 379333"/>
                <a:gd name="connsiteX32" fmla="*/ 291392 w 507920"/>
                <a:gd name="connsiteY32" fmla="*/ 63256 h 379333"/>
                <a:gd name="connsiteX33" fmla="*/ 283163 w 507920"/>
                <a:gd name="connsiteY33" fmla="*/ 53869 h 379333"/>
                <a:gd name="connsiteX34" fmla="*/ 284256 w 507920"/>
                <a:gd name="connsiteY34" fmla="*/ 47825 h 379333"/>
                <a:gd name="connsiteX35" fmla="*/ 285349 w 507920"/>
                <a:gd name="connsiteY35" fmla="*/ 37345 h 379333"/>
                <a:gd name="connsiteX36" fmla="*/ 293321 w 507920"/>
                <a:gd name="connsiteY36" fmla="*/ 31559 h 379333"/>
                <a:gd name="connsiteX37" fmla="*/ 297500 w 507920"/>
                <a:gd name="connsiteY37" fmla="*/ 23265 h 379333"/>
                <a:gd name="connsiteX38" fmla="*/ 294735 w 507920"/>
                <a:gd name="connsiteY38" fmla="*/ 17221 h 379333"/>
                <a:gd name="connsiteX39" fmla="*/ 290042 w 507920"/>
                <a:gd name="connsiteY39" fmla="*/ 22172 h 379333"/>
                <a:gd name="connsiteX40" fmla="*/ 285349 w 507920"/>
                <a:gd name="connsiteY40" fmla="*/ 15743 h 379333"/>
                <a:gd name="connsiteX41" fmla="*/ 275962 w 507920"/>
                <a:gd name="connsiteY41" fmla="*/ 19600 h 379333"/>
                <a:gd name="connsiteX42" fmla="*/ 251723 w 507920"/>
                <a:gd name="connsiteY42" fmla="*/ 12142 h 379333"/>
                <a:gd name="connsiteX43" fmla="*/ 240150 w 507920"/>
                <a:gd name="connsiteY43" fmla="*/ 5006 h 379333"/>
                <a:gd name="connsiteX44" fmla="*/ 244843 w 507920"/>
                <a:gd name="connsiteY44" fmla="*/ 13299 h 379333"/>
                <a:gd name="connsiteX45" fmla="*/ 225555 w 507920"/>
                <a:gd name="connsiteY45" fmla="*/ 19086 h 379333"/>
                <a:gd name="connsiteX46" fmla="*/ 222019 w 507920"/>
                <a:gd name="connsiteY46" fmla="*/ 22622 h 379333"/>
                <a:gd name="connsiteX47" fmla="*/ 213147 w 507920"/>
                <a:gd name="connsiteY47" fmla="*/ 33938 h 379333"/>
                <a:gd name="connsiteX48" fmla="*/ 208196 w 507920"/>
                <a:gd name="connsiteY48" fmla="*/ 43003 h 379333"/>
                <a:gd name="connsiteX49" fmla="*/ 208775 w 507920"/>
                <a:gd name="connsiteY49" fmla="*/ 53483 h 379333"/>
                <a:gd name="connsiteX50" fmla="*/ 202345 w 507920"/>
                <a:gd name="connsiteY50" fmla="*/ 54898 h 379333"/>
                <a:gd name="connsiteX51" fmla="*/ 194373 w 507920"/>
                <a:gd name="connsiteY51" fmla="*/ 55412 h 379333"/>
                <a:gd name="connsiteX52" fmla="*/ 190258 w 507920"/>
                <a:gd name="connsiteY52" fmla="*/ 52712 h 379333"/>
                <a:gd name="connsiteX53" fmla="*/ 183315 w 507920"/>
                <a:gd name="connsiteY53" fmla="*/ 46861 h 379333"/>
                <a:gd name="connsiteX54" fmla="*/ 172835 w 507920"/>
                <a:gd name="connsiteY54" fmla="*/ 39145 h 379333"/>
                <a:gd name="connsiteX55" fmla="*/ 165698 w 507920"/>
                <a:gd name="connsiteY55" fmla="*/ 43325 h 379333"/>
                <a:gd name="connsiteX56" fmla="*/ 161840 w 507920"/>
                <a:gd name="connsiteY56" fmla="*/ 49111 h 379333"/>
                <a:gd name="connsiteX57" fmla="*/ 152196 w 507920"/>
                <a:gd name="connsiteY57" fmla="*/ 49111 h 379333"/>
                <a:gd name="connsiteX58" fmla="*/ 150010 w 507920"/>
                <a:gd name="connsiteY58" fmla="*/ 54640 h 379333"/>
                <a:gd name="connsiteX59" fmla="*/ 144224 w 507920"/>
                <a:gd name="connsiteY59" fmla="*/ 58755 h 379333"/>
                <a:gd name="connsiteX60" fmla="*/ 141716 w 507920"/>
                <a:gd name="connsiteY60" fmla="*/ 70907 h 379333"/>
                <a:gd name="connsiteX61" fmla="*/ 132651 w 507920"/>
                <a:gd name="connsiteY61" fmla="*/ 70071 h 379333"/>
                <a:gd name="connsiteX62" fmla="*/ 134580 w 507920"/>
                <a:gd name="connsiteY62" fmla="*/ 79458 h 379333"/>
                <a:gd name="connsiteX63" fmla="*/ 130722 w 507920"/>
                <a:gd name="connsiteY63" fmla="*/ 85887 h 379333"/>
                <a:gd name="connsiteX64" fmla="*/ 125772 w 507920"/>
                <a:gd name="connsiteY64" fmla="*/ 76500 h 379333"/>
                <a:gd name="connsiteX65" fmla="*/ 116128 w 507920"/>
                <a:gd name="connsiteY65" fmla="*/ 81451 h 379333"/>
                <a:gd name="connsiteX66" fmla="*/ 115549 w 507920"/>
                <a:gd name="connsiteY66" fmla="*/ 96110 h 379333"/>
                <a:gd name="connsiteX67" fmla="*/ 97611 w 507920"/>
                <a:gd name="connsiteY67" fmla="*/ 113726 h 379333"/>
                <a:gd name="connsiteX68" fmla="*/ 75623 w 507920"/>
                <a:gd name="connsiteY68" fmla="*/ 119770 h 379333"/>
                <a:gd name="connsiteX69" fmla="*/ 63728 w 507920"/>
                <a:gd name="connsiteY69" fmla="*/ 123628 h 379333"/>
                <a:gd name="connsiteX70" fmla="*/ 51898 w 507920"/>
                <a:gd name="connsiteY70" fmla="*/ 128900 h 379333"/>
                <a:gd name="connsiteX71" fmla="*/ 36982 w 507920"/>
                <a:gd name="connsiteY71" fmla="*/ 132436 h 379333"/>
                <a:gd name="connsiteX72" fmla="*/ 21551 w 507920"/>
                <a:gd name="connsiteY72" fmla="*/ 140987 h 379333"/>
                <a:gd name="connsiteX73" fmla="*/ 15122 w 507920"/>
                <a:gd name="connsiteY73" fmla="*/ 150117 h 379333"/>
                <a:gd name="connsiteX74" fmla="*/ 13708 w 507920"/>
                <a:gd name="connsiteY74" fmla="*/ 142401 h 379333"/>
                <a:gd name="connsiteX75" fmla="*/ 7278 w 507920"/>
                <a:gd name="connsiteY75" fmla="*/ 151467 h 379333"/>
                <a:gd name="connsiteX76" fmla="*/ 7792 w 507920"/>
                <a:gd name="connsiteY76" fmla="*/ 165547 h 379333"/>
                <a:gd name="connsiteX77" fmla="*/ 5607 w 507920"/>
                <a:gd name="connsiteY77" fmla="*/ 185350 h 379333"/>
                <a:gd name="connsiteX78" fmla="*/ 12743 w 507920"/>
                <a:gd name="connsiteY78" fmla="*/ 201937 h 379333"/>
                <a:gd name="connsiteX79" fmla="*/ 5285 w 507920"/>
                <a:gd name="connsiteY79" fmla="*/ 195508 h 379333"/>
                <a:gd name="connsiteX80" fmla="*/ 8886 w 507920"/>
                <a:gd name="connsiteY80" fmla="*/ 204316 h 379333"/>
                <a:gd name="connsiteX81" fmla="*/ 77 w 507920"/>
                <a:gd name="connsiteY81" fmla="*/ 197887 h 379333"/>
                <a:gd name="connsiteX82" fmla="*/ 12936 w 507920"/>
                <a:gd name="connsiteY82" fmla="*/ 225983 h 379333"/>
                <a:gd name="connsiteX83" fmla="*/ 23416 w 507920"/>
                <a:gd name="connsiteY83" fmla="*/ 249450 h 379333"/>
                <a:gd name="connsiteX84" fmla="*/ 34474 w 507920"/>
                <a:gd name="connsiteY84" fmla="*/ 277804 h 379333"/>
                <a:gd name="connsiteX85" fmla="*/ 31710 w 507920"/>
                <a:gd name="connsiteY85" fmla="*/ 294327 h 379333"/>
                <a:gd name="connsiteX86" fmla="*/ 24509 w 507920"/>
                <a:gd name="connsiteY86" fmla="*/ 304550 h 379333"/>
                <a:gd name="connsiteX87" fmla="*/ 27852 w 507920"/>
                <a:gd name="connsiteY87" fmla="*/ 312844 h 379333"/>
                <a:gd name="connsiteX88" fmla="*/ 36918 w 507920"/>
                <a:gd name="connsiteY88" fmla="*/ 320816 h 379333"/>
                <a:gd name="connsiteX89" fmla="*/ 61156 w 507920"/>
                <a:gd name="connsiteY89" fmla="*/ 323324 h 379333"/>
                <a:gd name="connsiteX90" fmla="*/ 73565 w 507920"/>
                <a:gd name="connsiteY90" fmla="*/ 315866 h 379333"/>
                <a:gd name="connsiteX91" fmla="*/ 82373 w 507920"/>
                <a:gd name="connsiteY91" fmla="*/ 309436 h 379333"/>
                <a:gd name="connsiteX92" fmla="*/ 114520 w 507920"/>
                <a:gd name="connsiteY92" fmla="*/ 307572 h 379333"/>
                <a:gd name="connsiteX93" fmla="*/ 137666 w 507920"/>
                <a:gd name="connsiteY93" fmla="*/ 297863 h 379333"/>
                <a:gd name="connsiteX94" fmla="*/ 154189 w 507920"/>
                <a:gd name="connsiteY94" fmla="*/ 288541 h 379333"/>
                <a:gd name="connsiteX95" fmla="*/ 172642 w 507920"/>
                <a:gd name="connsiteY95" fmla="*/ 284940 h 379333"/>
                <a:gd name="connsiteX96" fmla="*/ 200224 w 507920"/>
                <a:gd name="connsiteY96" fmla="*/ 276968 h 379333"/>
                <a:gd name="connsiteX97" fmla="*/ 226391 w 507920"/>
                <a:gd name="connsiteY97" fmla="*/ 273625 h 379333"/>
                <a:gd name="connsiteX98" fmla="*/ 241500 w 507920"/>
                <a:gd name="connsiteY98" fmla="*/ 281083 h 379333"/>
                <a:gd name="connsiteX99" fmla="*/ 256159 w 507920"/>
                <a:gd name="connsiteY99" fmla="*/ 283012 h 379333"/>
                <a:gd name="connsiteX100" fmla="*/ 263296 w 507920"/>
                <a:gd name="connsiteY100" fmla="*/ 286612 h 379333"/>
                <a:gd name="connsiteX101" fmla="*/ 264132 w 507920"/>
                <a:gd name="connsiteY101" fmla="*/ 294327 h 379333"/>
                <a:gd name="connsiteX102" fmla="*/ 275126 w 507920"/>
                <a:gd name="connsiteY102" fmla="*/ 304807 h 379333"/>
                <a:gd name="connsiteX103" fmla="*/ 278212 w 507920"/>
                <a:gd name="connsiteY103" fmla="*/ 318566 h 379333"/>
                <a:gd name="connsiteX104" fmla="*/ 288370 w 507920"/>
                <a:gd name="connsiteY104" fmla="*/ 314966 h 379333"/>
                <a:gd name="connsiteX105" fmla="*/ 300779 w 507920"/>
                <a:gd name="connsiteY105" fmla="*/ 305643 h 379333"/>
                <a:gd name="connsiteX106" fmla="*/ 311259 w 507920"/>
                <a:gd name="connsiteY106" fmla="*/ 294584 h 379333"/>
                <a:gd name="connsiteX107" fmla="*/ 305987 w 507920"/>
                <a:gd name="connsiteY107" fmla="*/ 312201 h 379333"/>
                <a:gd name="connsiteX108" fmla="*/ 298336 w 507920"/>
                <a:gd name="connsiteY108" fmla="*/ 321845 h 379333"/>
                <a:gd name="connsiteX109" fmla="*/ 309845 w 507920"/>
                <a:gd name="connsiteY109" fmla="*/ 320752 h 379333"/>
                <a:gd name="connsiteX110" fmla="*/ 316788 w 507920"/>
                <a:gd name="connsiteY110" fmla="*/ 317152 h 379333"/>
                <a:gd name="connsiteX111" fmla="*/ 315117 w 507920"/>
                <a:gd name="connsiteY111" fmla="*/ 330975 h 379333"/>
                <a:gd name="connsiteX112" fmla="*/ 324182 w 507920"/>
                <a:gd name="connsiteY112" fmla="*/ 330396 h 379333"/>
                <a:gd name="connsiteX113" fmla="*/ 334662 w 507920"/>
                <a:gd name="connsiteY113" fmla="*/ 347498 h 379333"/>
                <a:gd name="connsiteX114" fmla="*/ 341091 w 507920"/>
                <a:gd name="connsiteY114" fmla="*/ 363508 h 379333"/>
                <a:gd name="connsiteX115" fmla="*/ 353950 w 507920"/>
                <a:gd name="connsiteY115" fmla="*/ 368972 h 379333"/>
                <a:gd name="connsiteX116" fmla="*/ 379024 w 507920"/>
                <a:gd name="connsiteY116" fmla="*/ 377781 h 379333"/>
                <a:gd name="connsiteX117" fmla="*/ 394776 w 507920"/>
                <a:gd name="connsiteY117" fmla="*/ 368715 h 379333"/>
                <a:gd name="connsiteX118" fmla="*/ 399984 w 507920"/>
                <a:gd name="connsiteY118" fmla="*/ 370644 h 379333"/>
                <a:gd name="connsiteX119" fmla="*/ 402170 w 507920"/>
                <a:gd name="connsiteY119" fmla="*/ 374502 h 379333"/>
                <a:gd name="connsiteX120" fmla="*/ 405514 w 507920"/>
                <a:gd name="connsiteY120" fmla="*/ 372059 h 379333"/>
                <a:gd name="connsiteX121" fmla="*/ 413743 w 507920"/>
                <a:gd name="connsiteY121" fmla="*/ 379452 h 379333"/>
                <a:gd name="connsiteX122" fmla="*/ 417922 w 507920"/>
                <a:gd name="connsiteY122" fmla="*/ 382474 h 379333"/>
                <a:gd name="connsiteX123" fmla="*/ 423387 w 507920"/>
                <a:gd name="connsiteY123" fmla="*/ 375595 h 379333"/>
                <a:gd name="connsiteX124" fmla="*/ 435281 w 507920"/>
                <a:gd name="connsiteY124" fmla="*/ 367044 h 379333"/>
                <a:gd name="connsiteX125" fmla="*/ 460999 w 507920"/>
                <a:gd name="connsiteY125" fmla="*/ 362350 h 379333"/>
                <a:gd name="connsiteX126" fmla="*/ 465114 w 507920"/>
                <a:gd name="connsiteY126" fmla="*/ 337276 h 379333"/>
                <a:gd name="connsiteX127" fmla="*/ 474501 w 507920"/>
                <a:gd name="connsiteY127" fmla="*/ 317987 h 379333"/>
                <a:gd name="connsiteX128" fmla="*/ 487681 w 507920"/>
                <a:gd name="connsiteY128" fmla="*/ 291241 h 379333"/>
                <a:gd name="connsiteX129" fmla="*/ 495139 w 507920"/>
                <a:gd name="connsiteY129" fmla="*/ 282690 h 379333"/>
                <a:gd name="connsiteX130" fmla="*/ 501569 w 507920"/>
                <a:gd name="connsiteY130" fmla="*/ 265331 h 379333"/>
                <a:gd name="connsiteX131" fmla="*/ 504590 w 507920"/>
                <a:gd name="connsiteY131" fmla="*/ 249643 h 379333"/>
                <a:gd name="connsiteX132" fmla="*/ 506005 w 507920"/>
                <a:gd name="connsiteY132" fmla="*/ 237235 h 379333"/>
                <a:gd name="connsiteX133" fmla="*/ 507419 w 507920"/>
                <a:gd name="connsiteY133" fmla="*/ 225983 h 379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507920" h="379333">
                  <a:moveTo>
                    <a:pt x="507419" y="225983"/>
                  </a:moveTo>
                  <a:cubicBezTo>
                    <a:pt x="509605" y="224311"/>
                    <a:pt x="506326" y="215503"/>
                    <a:pt x="504397" y="216918"/>
                  </a:cubicBezTo>
                  <a:cubicBezTo>
                    <a:pt x="502469" y="218332"/>
                    <a:pt x="502469" y="203095"/>
                    <a:pt x="503819" y="196215"/>
                  </a:cubicBezTo>
                  <a:cubicBezTo>
                    <a:pt x="505169" y="189336"/>
                    <a:pt x="504397" y="190172"/>
                    <a:pt x="500797" y="193772"/>
                  </a:cubicBezTo>
                  <a:cubicBezTo>
                    <a:pt x="497196" y="197373"/>
                    <a:pt x="493403" y="186828"/>
                    <a:pt x="492567" y="184128"/>
                  </a:cubicBezTo>
                  <a:cubicBezTo>
                    <a:pt x="491732" y="181428"/>
                    <a:pt x="487552" y="173648"/>
                    <a:pt x="482923" y="174741"/>
                  </a:cubicBezTo>
                  <a:cubicBezTo>
                    <a:pt x="478294" y="175834"/>
                    <a:pt x="481252" y="168312"/>
                    <a:pt x="476494" y="168955"/>
                  </a:cubicBezTo>
                  <a:cubicBezTo>
                    <a:pt x="471736" y="169598"/>
                    <a:pt x="471286" y="162525"/>
                    <a:pt x="472122" y="156096"/>
                  </a:cubicBezTo>
                  <a:cubicBezTo>
                    <a:pt x="472958" y="149666"/>
                    <a:pt x="469100" y="154746"/>
                    <a:pt x="467171" y="151981"/>
                  </a:cubicBezTo>
                  <a:cubicBezTo>
                    <a:pt x="465243" y="149216"/>
                    <a:pt x="462992" y="151467"/>
                    <a:pt x="459970" y="152560"/>
                  </a:cubicBezTo>
                  <a:cubicBezTo>
                    <a:pt x="456949" y="153653"/>
                    <a:pt x="456113" y="146773"/>
                    <a:pt x="456949" y="144009"/>
                  </a:cubicBezTo>
                  <a:cubicBezTo>
                    <a:pt x="457784" y="141244"/>
                    <a:pt x="456370" y="137579"/>
                    <a:pt x="452255" y="134879"/>
                  </a:cubicBezTo>
                  <a:cubicBezTo>
                    <a:pt x="449086" y="133047"/>
                    <a:pt x="447427" y="129408"/>
                    <a:pt x="448140" y="125814"/>
                  </a:cubicBezTo>
                  <a:cubicBezTo>
                    <a:pt x="448140" y="122213"/>
                    <a:pt x="424738" y="110126"/>
                    <a:pt x="419465" y="108969"/>
                  </a:cubicBezTo>
                  <a:cubicBezTo>
                    <a:pt x="414193" y="107811"/>
                    <a:pt x="418630" y="102539"/>
                    <a:pt x="416443" y="100482"/>
                  </a:cubicBezTo>
                  <a:cubicBezTo>
                    <a:pt x="413968" y="95833"/>
                    <a:pt x="412914" y="90555"/>
                    <a:pt x="413422" y="85308"/>
                  </a:cubicBezTo>
                  <a:cubicBezTo>
                    <a:pt x="413422" y="79265"/>
                    <a:pt x="405706" y="77272"/>
                    <a:pt x="405964" y="72450"/>
                  </a:cubicBezTo>
                  <a:cubicBezTo>
                    <a:pt x="406221" y="67628"/>
                    <a:pt x="403778" y="62806"/>
                    <a:pt x="404292" y="57341"/>
                  </a:cubicBezTo>
                  <a:cubicBezTo>
                    <a:pt x="404806" y="51876"/>
                    <a:pt x="396319" y="50397"/>
                    <a:pt x="396062" y="47375"/>
                  </a:cubicBezTo>
                  <a:cubicBezTo>
                    <a:pt x="395805" y="44353"/>
                    <a:pt x="391112" y="47375"/>
                    <a:pt x="386418" y="47697"/>
                  </a:cubicBezTo>
                  <a:cubicBezTo>
                    <a:pt x="381725" y="48018"/>
                    <a:pt x="381982" y="41267"/>
                    <a:pt x="382561" y="35288"/>
                  </a:cubicBezTo>
                  <a:cubicBezTo>
                    <a:pt x="383178" y="28177"/>
                    <a:pt x="381114" y="21092"/>
                    <a:pt x="376774" y="15421"/>
                  </a:cubicBezTo>
                  <a:cubicBezTo>
                    <a:pt x="372917" y="12399"/>
                    <a:pt x="372595" y="1920"/>
                    <a:pt x="370666" y="248"/>
                  </a:cubicBezTo>
                  <a:cubicBezTo>
                    <a:pt x="368738" y="-1424"/>
                    <a:pt x="362437" y="5777"/>
                    <a:pt x="362694" y="9377"/>
                  </a:cubicBezTo>
                  <a:cubicBezTo>
                    <a:pt x="363202" y="12965"/>
                    <a:pt x="362096" y="16591"/>
                    <a:pt x="359672" y="19279"/>
                  </a:cubicBezTo>
                  <a:cubicBezTo>
                    <a:pt x="357165" y="21465"/>
                    <a:pt x="361344" y="30016"/>
                    <a:pt x="358001" y="33038"/>
                  </a:cubicBezTo>
                  <a:cubicBezTo>
                    <a:pt x="354657" y="36060"/>
                    <a:pt x="358001" y="48211"/>
                    <a:pt x="356908" y="55090"/>
                  </a:cubicBezTo>
                  <a:cubicBezTo>
                    <a:pt x="357100" y="61732"/>
                    <a:pt x="355782" y="68322"/>
                    <a:pt x="353050" y="74379"/>
                  </a:cubicBezTo>
                  <a:cubicBezTo>
                    <a:pt x="349771" y="79072"/>
                    <a:pt x="349192" y="86530"/>
                    <a:pt x="342570" y="88973"/>
                  </a:cubicBezTo>
                  <a:cubicBezTo>
                    <a:pt x="335948" y="91416"/>
                    <a:pt x="327140" y="86209"/>
                    <a:pt x="327397" y="82544"/>
                  </a:cubicBezTo>
                  <a:cubicBezTo>
                    <a:pt x="327654" y="78879"/>
                    <a:pt x="320260" y="76757"/>
                    <a:pt x="316402" y="77272"/>
                  </a:cubicBezTo>
                  <a:cubicBezTo>
                    <a:pt x="312545" y="77786"/>
                    <a:pt x="310359" y="72321"/>
                    <a:pt x="304251" y="67628"/>
                  </a:cubicBezTo>
                  <a:cubicBezTo>
                    <a:pt x="298143" y="62934"/>
                    <a:pt x="293514" y="68721"/>
                    <a:pt x="291392" y="63256"/>
                  </a:cubicBezTo>
                  <a:cubicBezTo>
                    <a:pt x="289271" y="57791"/>
                    <a:pt x="287535" y="56826"/>
                    <a:pt x="283163" y="53869"/>
                  </a:cubicBezTo>
                  <a:cubicBezTo>
                    <a:pt x="278791" y="50911"/>
                    <a:pt x="280141" y="50847"/>
                    <a:pt x="284256" y="47825"/>
                  </a:cubicBezTo>
                  <a:cubicBezTo>
                    <a:pt x="288370" y="44803"/>
                    <a:pt x="287535" y="40882"/>
                    <a:pt x="285349" y="37345"/>
                  </a:cubicBezTo>
                  <a:cubicBezTo>
                    <a:pt x="283163" y="33809"/>
                    <a:pt x="287856" y="34581"/>
                    <a:pt x="293321" y="31559"/>
                  </a:cubicBezTo>
                  <a:cubicBezTo>
                    <a:pt x="298786" y="28537"/>
                    <a:pt x="293321" y="25130"/>
                    <a:pt x="297500" y="23265"/>
                  </a:cubicBezTo>
                  <a:cubicBezTo>
                    <a:pt x="301679" y="21401"/>
                    <a:pt x="299107" y="18057"/>
                    <a:pt x="294735" y="17221"/>
                  </a:cubicBezTo>
                  <a:cubicBezTo>
                    <a:pt x="290363" y="16386"/>
                    <a:pt x="291714" y="21593"/>
                    <a:pt x="290042" y="22172"/>
                  </a:cubicBezTo>
                  <a:cubicBezTo>
                    <a:pt x="288370" y="22751"/>
                    <a:pt x="286699" y="15293"/>
                    <a:pt x="285349" y="15743"/>
                  </a:cubicBezTo>
                  <a:cubicBezTo>
                    <a:pt x="283998" y="16193"/>
                    <a:pt x="278919" y="23201"/>
                    <a:pt x="275962" y="19600"/>
                  </a:cubicBezTo>
                  <a:cubicBezTo>
                    <a:pt x="273004" y="16000"/>
                    <a:pt x="257767" y="13171"/>
                    <a:pt x="251723" y="12142"/>
                  </a:cubicBezTo>
                  <a:cubicBezTo>
                    <a:pt x="245679" y="11114"/>
                    <a:pt x="243751" y="3655"/>
                    <a:pt x="240150" y="5006"/>
                  </a:cubicBezTo>
                  <a:cubicBezTo>
                    <a:pt x="236550" y="6356"/>
                    <a:pt x="240729" y="8863"/>
                    <a:pt x="244843" y="13299"/>
                  </a:cubicBezTo>
                  <a:cubicBezTo>
                    <a:pt x="248958" y="17736"/>
                    <a:pt x="231085" y="20693"/>
                    <a:pt x="225555" y="19086"/>
                  </a:cubicBezTo>
                  <a:cubicBezTo>
                    <a:pt x="220026" y="17479"/>
                    <a:pt x="226391" y="22944"/>
                    <a:pt x="222019" y="22622"/>
                  </a:cubicBezTo>
                  <a:cubicBezTo>
                    <a:pt x="217647" y="22301"/>
                    <a:pt x="216747" y="30080"/>
                    <a:pt x="213147" y="33938"/>
                  </a:cubicBezTo>
                  <a:cubicBezTo>
                    <a:pt x="209546" y="37795"/>
                    <a:pt x="212054" y="40367"/>
                    <a:pt x="208196" y="43003"/>
                  </a:cubicBezTo>
                  <a:cubicBezTo>
                    <a:pt x="204338" y="45639"/>
                    <a:pt x="204081" y="48275"/>
                    <a:pt x="208775" y="53483"/>
                  </a:cubicBezTo>
                  <a:cubicBezTo>
                    <a:pt x="213468" y="58691"/>
                    <a:pt x="206525" y="59012"/>
                    <a:pt x="202345" y="54898"/>
                  </a:cubicBezTo>
                  <a:cubicBezTo>
                    <a:pt x="198166" y="50783"/>
                    <a:pt x="194116" y="50718"/>
                    <a:pt x="194373" y="55412"/>
                  </a:cubicBezTo>
                  <a:cubicBezTo>
                    <a:pt x="194630" y="60105"/>
                    <a:pt x="189422" y="57919"/>
                    <a:pt x="190258" y="52712"/>
                  </a:cubicBezTo>
                  <a:cubicBezTo>
                    <a:pt x="191094" y="47504"/>
                    <a:pt x="184472" y="49947"/>
                    <a:pt x="183315" y="46861"/>
                  </a:cubicBezTo>
                  <a:cubicBezTo>
                    <a:pt x="181238" y="42772"/>
                    <a:pt x="177355" y="39911"/>
                    <a:pt x="172835" y="39145"/>
                  </a:cubicBezTo>
                  <a:cubicBezTo>
                    <a:pt x="169298" y="39467"/>
                    <a:pt x="169298" y="43325"/>
                    <a:pt x="165698" y="43325"/>
                  </a:cubicBezTo>
                  <a:cubicBezTo>
                    <a:pt x="162097" y="43325"/>
                    <a:pt x="161326" y="45253"/>
                    <a:pt x="161840" y="49111"/>
                  </a:cubicBezTo>
                  <a:cubicBezTo>
                    <a:pt x="162355" y="52969"/>
                    <a:pt x="156311" y="49111"/>
                    <a:pt x="152196" y="49111"/>
                  </a:cubicBezTo>
                  <a:cubicBezTo>
                    <a:pt x="148081" y="49111"/>
                    <a:pt x="152196" y="54319"/>
                    <a:pt x="150010" y="54640"/>
                  </a:cubicBezTo>
                  <a:cubicBezTo>
                    <a:pt x="147824" y="54962"/>
                    <a:pt x="147824" y="58755"/>
                    <a:pt x="144224" y="58755"/>
                  </a:cubicBezTo>
                  <a:cubicBezTo>
                    <a:pt x="140623" y="58755"/>
                    <a:pt x="141202" y="66728"/>
                    <a:pt x="141716" y="70907"/>
                  </a:cubicBezTo>
                  <a:cubicBezTo>
                    <a:pt x="142231" y="75086"/>
                    <a:pt x="136187" y="68978"/>
                    <a:pt x="132651" y="70071"/>
                  </a:cubicBezTo>
                  <a:cubicBezTo>
                    <a:pt x="129115" y="71164"/>
                    <a:pt x="133487" y="74764"/>
                    <a:pt x="134580" y="79458"/>
                  </a:cubicBezTo>
                  <a:cubicBezTo>
                    <a:pt x="135673" y="84151"/>
                    <a:pt x="132651" y="83830"/>
                    <a:pt x="130722" y="85887"/>
                  </a:cubicBezTo>
                  <a:cubicBezTo>
                    <a:pt x="128793" y="87944"/>
                    <a:pt x="125772" y="80679"/>
                    <a:pt x="125772" y="76500"/>
                  </a:cubicBezTo>
                  <a:cubicBezTo>
                    <a:pt x="125772" y="72321"/>
                    <a:pt x="121078" y="76500"/>
                    <a:pt x="116128" y="81451"/>
                  </a:cubicBezTo>
                  <a:cubicBezTo>
                    <a:pt x="111177" y="86401"/>
                    <a:pt x="117735" y="94695"/>
                    <a:pt x="115549" y="96110"/>
                  </a:cubicBezTo>
                  <a:cubicBezTo>
                    <a:pt x="109062" y="101446"/>
                    <a:pt x="103063" y="107342"/>
                    <a:pt x="97611" y="113726"/>
                  </a:cubicBezTo>
                  <a:cubicBezTo>
                    <a:pt x="91824" y="120606"/>
                    <a:pt x="79480" y="116491"/>
                    <a:pt x="75623" y="119770"/>
                  </a:cubicBezTo>
                  <a:cubicBezTo>
                    <a:pt x="71765" y="123049"/>
                    <a:pt x="67586" y="120606"/>
                    <a:pt x="63728" y="123628"/>
                  </a:cubicBezTo>
                  <a:cubicBezTo>
                    <a:pt x="59871" y="126649"/>
                    <a:pt x="52734" y="132436"/>
                    <a:pt x="51898" y="128900"/>
                  </a:cubicBezTo>
                  <a:cubicBezTo>
                    <a:pt x="51062" y="125363"/>
                    <a:pt x="41161" y="128064"/>
                    <a:pt x="36982" y="132436"/>
                  </a:cubicBezTo>
                  <a:cubicBezTo>
                    <a:pt x="32938" y="136936"/>
                    <a:pt x="27505" y="139945"/>
                    <a:pt x="21551" y="140987"/>
                  </a:cubicBezTo>
                  <a:cubicBezTo>
                    <a:pt x="16922" y="141308"/>
                    <a:pt x="16922" y="148445"/>
                    <a:pt x="15122" y="150117"/>
                  </a:cubicBezTo>
                  <a:cubicBezTo>
                    <a:pt x="13322" y="151788"/>
                    <a:pt x="13708" y="144330"/>
                    <a:pt x="13708" y="142401"/>
                  </a:cubicBezTo>
                  <a:cubicBezTo>
                    <a:pt x="13708" y="140473"/>
                    <a:pt x="9271" y="145680"/>
                    <a:pt x="7278" y="151467"/>
                  </a:cubicBezTo>
                  <a:cubicBezTo>
                    <a:pt x="5285" y="157253"/>
                    <a:pt x="11907" y="159439"/>
                    <a:pt x="7792" y="165547"/>
                  </a:cubicBezTo>
                  <a:cubicBezTo>
                    <a:pt x="3678" y="171655"/>
                    <a:pt x="-180" y="177634"/>
                    <a:pt x="5607" y="185350"/>
                  </a:cubicBezTo>
                  <a:cubicBezTo>
                    <a:pt x="11393" y="193065"/>
                    <a:pt x="14672" y="198208"/>
                    <a:pt x="12743" y="201937"/>
                  </a:cubicBezTo>
                  <a:cubicBezTo>
                    <a:pt x="10814" y="205666"/>
                    <a:pt x="6699" y="194222"/>
                    <a:pt x="5285" y="195508"/>
                  </a:cubicBezTo>
                  <a:cubicBezTo>
                    <a:pt x="3871" y="196794"/>
                    <a:pt x="10557" y="201937"/>
                    <a:pt x="8886" y="204316"/>
                  </a:cubicBezTo>
                  <a:cubicBezTo>
                    <a:pt x="7214" y="206695"/>
                    <a:pt x="1299" y="194929"/>
                    <a:pt x="77" y="197887"/>
                  </a:cubicBezTo>
                  <a:cubicBezTo>
                    <a:pt x="-1144" y="200844"/>
                    <a:pt x="12486" y="219104"/>
                    <a:pt x="12936" y="225983"/>
                  </a:cubicBezTo>
                  <a:cubicBezTo>
                    <a:pt x="13386" y="232863"/>
                    <a:pt x="23995" y="239549"/>
                    <a:pt x="23416" y="249450"/>
                  </a:cubicBezTo>
                  <a:cubicBezTo>
                    <a:pt x="22837" y="259352"/>
                    <a:pt x="32803" y="275168"/>
                    <a:pt x="34474" y="277804"/>
                  </a:cubicBezTo>
                  <a:cubicBezTo>
                    <a:pt x="36146" y="280440"/>
                    <a:pt x="30617" y="286933"/>
                    <a:pt x="31710" y="294327"/>
                  </a:cubicBezTo>
                  <a:cubicBezTo>
                    <a:pt x="32803" y="301721"/>
                    <a:pt x="29202" y="304550"/>
                    <a:pt x="24509" y="304550"/>
                  </a:cubicBezTo>
                  <a:cubicBezTo>
                    <a:pt x="19815" y="304550"/>
                    <a:pt x="22580" y="312265"/>
                    <a:pt x="27852" y="312844"/>
                  </a:cubicBezTo>
                  <a:cubicBezTo>
                    <a:pt x="33124" y="313423"/>
                    <a:pt x="31131" y="316959"/>
                    <a:pt x="36918" y="320816"/>
                  </a:cubicBezTo>
                  <a:cubicBezTo>
                    <a:pt x="42704" y="324674"/>
                    <a:pt x="56206" y="323324"/>
                    <a:pt x="61156" y="323324"/>
                  </a:cubicBezTo>
                  <a:cubicBezTo>
                    <a:pt x="66107" y="323324"/>
                    <a:pt x="67586" y="316123"/>
                    <a:pt x="73565" y="315866"/>
                  </a:cubicBezTo>
                  <a:cubicBezTo>
                    <a:pt x="79544" y="315609"/>
                    <a:pt x="79351" y="313616"/>
                    <a:pt x="82373" y="309436"/>
                  </a:cubicBezTo>
                  <a:cubicBezTo>
                    <a:pt x="85395" y="305257"/>
                    <a:pt x="99733" y="306736"/>
                    <a:pt x="114520" y="307572"/>
                  </a:cubicBezTo>
                  <a:cubicBezTo>
                    <a:pt x="129308" y="308408"/>
                    <a:pt x="135416" y="303971"/>
                    <a:pt x="137666" y="297863"/>
                  </a:cubicBezTo>
                  <a:cubicBezTo>
                    <a:pt x="139530" y="292720"/>
                    <a:pt x="150010" y="292399"/>
                    <a:pt x="154189" y="288541"/>
                  </a:cubicBezTo>
                  <a:cubicBezTo>
                    <a:pt x="158369" y="284683"/>
                    <a:pt x="161905" y="284426"/>
                    <a:pt x="172642" y="284940"/>
                  </a:cubicBezTo>
                  <a:cubicBezTo>
                    <a:pt x="183379" y="285455"/>
                    <a:pt x="193280" y="279733"/>
                    <a:pt x="200224" y="276968"/>
                  </a:cubicBezTo>
                  <a:cubicBezTo>
                    <a:pt x="207167" y="274203"/>
                    <a:pt x="219512" y="275296"/>
                    <a:pt x="226391" y="273625"/>
                  </a:cubicBezTo>
                  <a:cubicBezTo>
                    <a:pt x="233271" y="271953"/>
                    <a:pt x="234106" y="281919"/>
                    <a:pt x="241500" y="281083"/>
                  </a:cubicBezTo>
                  <a:cubicBezTo>
                    <a:pt x="248894" y="280247"/>
                    <a:pt x="252302" y="283269"/>
                    <a:pt x="256159" y="283012"/>
                  </a:cubicBezTo>
                  <a:cubicBezTo>
                    <a:pt x="260017" y="282755"/>
                    <a:pt x="259438" y="285776"/>
                    <a:pt x="263296" y="286612"/>
                  </a:cubicBezTo>
                  <a:cubicBezTo>
                    <a:pt x="267154" y="287448"/>
                    <a:pt x="266639" y="290727"/>
                    <a:pt x="264132" y="294327"/>
                  </a:cubicBezTo>
                  <a:cubicBezTo>
                    <a:pt x="261624" y="297928"/>
                    <a:pt x="269918" y="297606"/>
                    <a:pt x="275126" y="304807"/>
                  </a:cubicBezTo>
                  <a:cubicBezTo>
                    <a:pt x="280334" y="312008"/>
                    <a:pt x="275447" y="313037"/>
                    <a:pt x="278212" y="318566"/>
                  </a:cubicBezTo>
                  <a:cubicBezTo>
                    <a:pt x="280976" y="324095"/>
                    <a:pt x="282841" y="322681"/>
                    <a:pt x="288370" y="314966"/>
                  </a:cubicBezTo>
                  <a:cubicBezTo>
                    <a:pt x="293900" y="307251"/>
                    <a:pt x="299943" y="312201"/>
                    <a:pt x="300779" y="305643"/>
                  </a:cubicBezTo>
                  <a:cubicBezTo>
                    <a:pt x="301615" y="299085"/>
                    <a:pt x="307208" y="291306"/>
                    <a:pt x="311259" y="294584"/>
                  </a:cubicBezTo>
                  <a:cubicBezTo>
                    <a:pt x="315310" y="297863"/>
                    <a:pt x="308494" y="299535"/>
                    <a:pt x="305987" y="312201"/>
                  </a:cubicBezTo>
                  <a:cubicBezTo>
                    <a:pt x="303479" y="324867"/>
                    <a:pt x="299107" y="318309"/>
                    <a:pt x="298336" y="321845"/>
                  </a:cubicBezTo>
                  <a:cubicBezTo>
                    <a:pt x="297564" y="325381"/>
                    <a:pt x="309845" y="327375"/>
                    <a:pt x="309845" y="320752"/>
                  </a:cubicBezTo>
                  <a:cubicBezTo>
                    <a:pt x="309845" y="314130"/>
                    <a:pt x="312095" y="311108"/>
                    <a:pt x="316788" y="317152"/>
                  </a:cubicBezTo>
                  <a:cubicBezTo>
                    <a:pt x="321482" y="323195"/>
                    <a:pt x="314024" y="328210"/>
                    <a:pt x="315117" y="330975"/>
                  </a:cubicBezTo>
                  <a:cubicBezTo>
                    <a:pt x="316210" y="333740"/>
                    <a:pt x="321546" y="330139"/>
                    <a:pt x="324182" y="330396"/>
                  </a:cubicBezTo>
                  <a:cubicBezTo>
                    <a:pt x="329133" y="330911"/>
                    <a:pt x="335755" y="341712"/>
                    <a:pt x="334662" y="347498"/>
                  </a:cubicBezTo>
                  <a:cubicBezTo>
                    <a:pt x="333569" y="353285"/>
                    <a:pt x="331897" y="358814"/>
                    <a:pt x="341091" y="363508"/>
                  </a:cubicBezTo>
                  <a:cubicBezTo>
                    <a:pt x="350285" y="368201"/>
                    <a:pt x="346878" y="368972"/>
                    <a:pt x="353950" y="368972"/>
                  </a:cubicBezTo>
                  <a:cubicBezTo>
                    <a:pt x="362880" y="369924"/>
                    <a:pt x="371464" y="372939"/>
                    <a:pt x="379024" y="377781"/>
                  </a:cubicBezTo>
                  <a:cubicBezTo>
                    <a:pt x="382882" y="381124"/>
                    <a:pt x="392848" y="375337"/>
                    <a:pt x="394776" y="368715"/>
                  </a:cubicBezTo>
                  <a:cubicBezTo>
                    <a:pt x="396705" y="362093"/>
                    <a:pt x="403842" y="368715"/>
                    <a:pt x="399984" y="370644"/>
                  </a:cubicBezTo>
                  <a:cubicBezTo>
                    <a:pt x="396127" y="372573"/>
                    <a:pt x="401913" y="378102"/>
                    <a:pt x="402170" y="374502"/>
                  </a:cubicBezTo>
                  <a:cubicBezTo>
                    <a:pt x="402427" y="370901"/>
                    <a:pt x="404099" y="368073"/>
                    <a:pt x="405514" y="372059"/>
                  </a:cubicBezTo>
                  <a:cubicBezTo>
                    <a:pt x="406928" y="376045"/>
                    <a:pt x="411943" y="376173"/>
                    <a:pt x="413743" y="379452"/>
                  </a:cubicBezTo>
                  <a:cubicBezTo>
                    <a:pt x="415544" y="382731"/>
                    <a:pt x="417922" y="385239"/>
                    <a:pt x="417922" y="382474"/>
                  </a:cubicBezTo>
                  <a:cubicBezTo>
                    <a:pt x="417922" y="379710"/>
                    <a:pt x="419015" y="377267"/>
                    <a:pt x="423387" y="375595"/>
                  </a:cubicBezTo>
                  <a:cubicBezTo>
                    <a:pt x="427804" y="373428"/>
                    <a:pt x="431823" y="370535"/>
                    <a:pt x="435281" y="367044"/>
                  </a:cubicBezTo>
                  <a:cubicBezTo>
                    <a:pt x="439975" y="363186"/>
                    <a:pt x="459263" y="362350"/>
                    <a:pt x="460999" y="362350"/>
                  </a:cubicBezTo>
                  <a:cubicBezTo>
                    <a:pt x="462735" y="362350"/>
                    <a:pt x="464021" y="345827"/>
                    <a:pt x="465114" y="337276"/>
                  </a:cubicBezTo>
                  <a:cubicBezTo>
                    <a:pt x="466207" y="328724"/>
                    <a:pt x="473344" y="327375"/>
                    <a:pt x="474501" y="317987"/>
                  </a:cubicBezTo>
                  <a:cubicBezTo>
                    <a:pt x="476571" y="308106"/>
                    <a:pt x="481104" y="298905"/>
                    <a:pt x="487681" y="291241"/>
                  </a:cubicBezTo>
                  <a:cubicBezTo>
                    <a:pt x="491674" y="290174"/>
                    <a:pt x="494625" y="286792"/>
                    <a:pt x="495139" y="282690"/>
                  </a:cubicBezTo>
                  <a:cubicBezTo>
                    <a:pt x="495139" y="277482"/>
                    <a:pt x="501569" y="271696"/>
                    <a:pt x="501569" y="265331"/>
                  </a:cubicBezTo>
                  <a:cubicBezTo>
                    <a:pt x="501569" y="258966"/>
                    <a:pt x="505169" y="251572"/>
                    <a:pt x="504590" y="249643"/>
                  </a:cubicBezTo>
                  <a:cubicBezTo>
                    <a:pt x="502784" y="245554"/>
                    <a:pt x="503324" y="240809"/>
                    <a:pt x="506005" y="237235"/>
                  </a:cubicBezTo>
                  <a:cubicBezTo>
                    <a:pt x="511020" y="232863"/>
                    <a:pt x="505233" y="227655"/>
                    <a:pt x="507419" y="225983"/>
                  </a:cubicBezTo>
                  <a:close/>
                </a:path>
              </a:pathLst>
            </a:custGeom>
            <a:solidFill>
              <a:srgbClr val="00938B"/>
            </a:solidFill>
            <a:ln w="6429" cap="flat">
              <a:noFill/>
              <a:prstDash val="solid"/>
              <a:miter/>
            </a:ln>
          </p:spPr>
          <p:txBody>
            <a:bodyPr rtlCol="0" anchor="ctr"/>
            <a:lstStyle/>
            <a:p>
              <a:endParaRPr lang="en-GB" sz="2400"/>
            </a:p>
          </p:txBody>
        </p:sp>
        <p:sp>
          <p:nvSpPr>
            <p:cNvPr id="316" name="Freeform 106">
              <a:extLst>
                <a:ext uri="{FF2B5EF4-FFF2-40B4-BE49-F238E27FC236}">
                  <a16:creationId xmlns:a16="http://schemas.microsoft.com/office/drawing/2014/main" id="{8349D21B-3C68-4EE4-A659-177C74E82D76}"/>
                </a:ext>
              </a:extLst>
            </p:cNvPr>
            <p:cNvSpPr/>
            <p:nvPr/>
          </p:nvSpPr>
          <p:spPr>
            <a:xfrm>
              <a:off x="6181919" y="3490354"/>
              <a:ext cx="45006" cy="38576"/>
            </a:xfrm>
            <a:custGeom>
              <a:avLst/>
              <a:gdLst>
                <a:gd name="connsiteX0" fmla="*/ 21591 w 45005"/>
                <a:gd name="connsiteY0" fmla="*/ 6195 h 38576"/>
                <a:gd name="connsiteX1" fmla="*/ 375 w 45005"/>
                <a:gd name="connsiteY1" fmla="*/ 151 h 38576"/>
                <a:gd name="connsiteX2" fmla="*/ 6161 w 45005"/>
                <a:gd name="connsiteY2" fmla="*/ 24968 h 38576"/>
                <a:gd name="connsiteX3" fmla="*/ 22684 w 45005"/>
                <a:gd name="connsiteY3" fmla="*/ 44257 h 38576"/>
                <a:gd name="connsiteX4" fmla="*/ 29564 w 45005"/>
                <a:gd name="connsiteY4" fmla="*/ 39306 h 38576"/>
                <a:gd name="connsiteX5" fmla="*/ 32328 w 45005"/>
                <a:gd name="connsiteY5" fmla="*/ 32876 h 38576"/>
                <a:gd name="connsiteX6" fmla="*/ 39529 w 45005"/>
                <a:gd name="connsiteY6" fmla="*/ 34291 h 38576"/>
                <a:gd name="connsiteX7" fmla="*/ 43065 w 45005"/>
                <a:gd name="connsiteY7" fmla="*/ 20789 h 38576"/>
                <a:gd name="connsiteX8" fmla="*/ 42551 w 45005"/>
                <a:gd name="connsiteY8" fmla="*/ 1501 h 38576"/>
                <a:gd name="connsiteX9" fmla="*/ 21591 w 45005"/>
                <a:gd name="connsiteY9" fmla="*/ 6195 h 3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005" h="38576">
                  <a:moveTo>
                    <a:pt x="21591" y="6195"/>
                  </a:moveTo>
                  <a:cubicBezTo>
                    <a:pt x="14133" y="7030"/>
                    <a:pt x="3010" y="-556"/>
                    <a:pt x="375" y="151"/>
                  </a:cubicBezTo>
                  <a:cubicBezTo>
                    <a:pt x="-2262" y="858"/>
                    <a:pt x="10019" y="20018"/>
                    <a:pt x="6161" y="24968"/>
                  </a:cubicBezTo>
                  <a:cubicBezTo>
                    <a:pt x="2303" y="29919"/>
                    <a:pt x="17476" y="43421"/>
                    <a:pt x="22684" y="44257"/>
                  </a:cubicBezTo>
                  <a:cubicBezTo>
                    <a:pt x="27892" y="45092"/>
                    <a:pt x="26028" y="38984"/>
                    <a:pt x="29564" y="39306"/>
                  </a:cubicBezTo>
                  <a:cubicBezTo>
                    <a:pt x="33100" y="39627"/>
                    <a:pt x="31814" y="35705"/>
                    <a:pt x="32328" y="32876"/>
                  </a:cubicBezTo>
                  <a:cubicBezTo>
                    <a:pt x="32843" y="30048"/>
                    <a:pt x="36508" y="35898"/>
                    <a:pt x="39529" y="34291"/>
                  </a:cubicBezTo>
                  <a:cubicBezTo>
                    <a:pt x="42551" y="32684"/>
                    <a:pt x="38693" y="20789"/>
                    <a:pt x="43065" y="20789"/>
                  </a:cubicBezTo>
                  <a:cubicBezTo>
                    <a:pt x="47438" y="20789"/>
                    <a:pt x="43901" y="6452"/>
                    <a:pt x="42551" y="1501"/>
                  </a:cubicBezTo>
                  <a:cubicBezTo>
                    <a:pt x="41201" y="-3449"/>
                    <a:pt x="29049" y="5359"/>
                    <a:pt x="21591" y="6195"/>
                  </a:cubicBezTo>
                  <a:close/>
                </a:path>
              </a:pathLst>
            </a:custGeom>
            <a:solidFill>
              <a:srgbClr val="00938B"/>
            </a:solidFill>
            <a:ln w="6429" cap="flat">
              <a:noFill/>
              <a:prstDash val="solid"/>
              <a:miter/>
            </a:ln>
          </p:spPr>
          <p:txBody>
            <a:bodyPr rtlCol="0" anchor="ctr"/>
            <a:lstStyle/>
            <a:p>
              <a:endParaRPr lang="en-GB" sz="2400"/>
            </a:p>
          </p:txBody>
        </p:sp>
        <p:sp>
          <p:nvSpPr>
            <p:cNvPr id="317" name="Freeform 107">
              <a:extLst>
                <a:ext uri="{FF2B5EF4-FFF2-40B4-BE49-F238E27FC236}">
                  <a16:creationId xmlns:a16="http://schemas.microsoft.com/office/drawing/2014/main" id="{0A238103-E377-4E1A-BBB5-6C70DD662B29}"/>
                </a:ext>
              </a:extLst>
            </p:cNvPr>
            <p:cNvSpPr/>
            <p:nvPr/>
          </p:nvSpPr>
          <p:spPr>
            <a:xfrm>
              <a:off x="6078745" y="3416274"/>
              <a:ext cx="12859" cy="6429"/>
            </a:xfrm>
            <a:custGeom>
              <a:avLst/>
              <a:gdLst>
                <a:gd name="connsiteX0" fmla="*/ 228 w 12858"/>
                <a:gd name="connsiteY0" fmla="*/ 3700 h 0"/>
                <a:gd name="connsiteX1" fmla="*/ 15080 w 12858"/>
                <a:gd name="connsiteY1" fmla="*/ 1772 h 0"/>
                <a:gd name="connsiteX2" fmla="*/ 228 w 12858"/>
                <a:gd name="connsiteY2" fmla="*/ 3700 h 0"/>
              </a:gdLst>
              <a:ahLst/>
              <a:cxnLst>
                <a:cxn ang="0">
                  <a:pos x="connsiteX0" y="connsiteY0"/>
                </a:cxn>
                <a:cxn ang="0">
                  <a:pos x="connsiteX1" y="connsiteY1"/>
                </a:cxn>
                <a:cxn ang="0">
                  <a:pos x="connsiteX2" y="connsiteY2"/>
                </a:cxn>
              </a:cxnLst>
              <a:rect l="l" t="t" r="r" b="b"/>
              <a:pathLst>
                <a:path w="12858">
                  <a:moveTo>
                    <a:pt x="228" y="3700"/>
                  </a:moveTo>
                  <a:cubicBezTo>
                    <a:pt x="3250" y="6465"/>
                    <a:pt x="13408" y="5629"/>
                    <a:pt x="15080" y="1772"/>
                  </a:cubicBezTo>
                  <a:cubicBezTo>
                    <a:pt x="16752" y="-2086"/>
                    <a:pt x="-2279" y="1193"/>
                    <a:pt x="228" y="3700"/>
                  </a:cubicBezTo>
                  <a:close/>
                </a:path>
              </a:pathLst>
            </a:custGeom>
            <a:solidFill>
              <a:srgbClr val="00938B"/>
            </a:solidFill>
            <a:ln w="6429" cap="flat">
              <a:noFill/>
              <a:prstDash val="solid"/>
              <a:miter/>
            </a:ln>
          </p:spPr>
          <p:txBody>
            <a:bodyPr rtlCol="0" anchor="ctr"/>
            <a:lstStyle/>
            <a:p>
              <a:endParaRPr lang="en-GB" sz="2400"/>
            </a:p>
          </p:txBody>
        </p:sp>
        <p:sp>
          <p:nvSpPr>
            <p:cNvPr id="318" name="Freeform 108">
              <a:extLst>
                <a:ext uri="{FF2B5EF4-FFF2-40B4-BE49-F238E27FC236}">
                  <a16:creationId xmlns:a16="http://schemas.microsoft.com/office/drawing/2014/main" id="{6521230F-A792-42EF-A211-535C2CD8ACF0}"/>
                </a:ext>
              </a:extLst>
            </p:cNvPr>
            <p:cNvSpPr/>
            <p:nvPr/>
          </p:nvSpPr>
          <p:spPr>
            <a:xfrm>
              <a:off x="6456786" y="3491247"/>
              <a:ext cx="90011" cy="90011"/>
            </a:xfrm>
            <a:custGeom>
              <a:avLst/>
              <a:gdLst>
                <a:gd name="connsiteX0" fmla="*/ 93139 w 90011"/>
                <a:gd name="connsiteY0" fmla="*/ 2859 h 90011"/>
                <a:gd name="connsiteX1" fmla="*/ 83237 w 90011"/>
                <a:gd name="connsiteY1" fmla="*/ 5880 h 90011"/>
                <a:gd name="connsiteX2" fmla="*/ 71086 w 90011"/>
                <a:gd name="connsiteY2" fmla="*/ 929 h 90011"/>
                <a:gd name="connsiteX3" fmla="*/ 64657 w 90011"/>
                <a:gd name="connsiteY3" fmla="*/ 11667 h 90011"/>
                <a:gd name="connsiteX4" fmla="*/ 54498 w 90011"/>
                <a:gd name="connsiteY4" fmla="*/ 29026 h 90011"/>
                <a:gd name="connsiteX5" fmla="*/ 20294 w 90011"/>
                <a:gd name="connsiteY5" fmla="*/ 51593 h 90011"/>
                <a:gd name="connsiteX6" fmla="*/ 4606 w 90011"/>
                <a:gd name="connsiteY6" fmla="*/ 66509 h 90011"/>
                <a:gd name="connsiteX7" fmla="*/ 1327 w 90011"/>
                <a:gd name="connsiteY7" fmla="*/ 80011 h 90011"/>
                <a:gd name="connsiteX8" fmla="*/ 12579 w 90011"/>
                <a:gd name="connsiteY8" fmla="*/ 84961 h 90011"/>
                <a:gd name="connsiteX9" fmla="*/ 21387 w 90011"/>
                <a:gd name="connsiteY9" fmla="*/ 88562 h 90011"/>
                <a:gd name="connsiteX10" fmla="*/ 44275 w 90011"/>
                <a:gd name="connsiteY10" fmla="*/ 83290 h 90011"/>
                <a:gd name="connsiteX11" fmla="*/ 52570 w 90011"/>
                <a:gd name="connsiteY11" fmla="*/ 68952 h 90011"/>
                <a:gd name="connsiteX12" fmla="*/ 58999 w 90011"/>
                <a:gd name="connsiteY12" fmla="*/ 56094 h 90011"/>
                <a:gd name="connsiteX13" fmla="*/ 72822 w 90011"/>
                <a:gd name="connsiteY13" fmla="*/ 47542 h 90011"/>
                <a:gd name="connsiteX14" fmla="*/ 76937 w 90011"/>
                <a:gd name="connsiteY14" fmla="*/ 41113 h 90011"/>
                <a:gd name="connsiteX15" fmla="*/ 85231 w 90011"/>
                <a:gd name="connsiteY15" fmla="*/ 29540 h 90011"/>
                <a:gd name="connsiteX16" fmla="*/ 94875 w 90011"/>
                <a:gd name="connsiteY16" fmla="*/ 13274 h 90011"/>
                <a:gd name="connsiteX17" fmla="*/ 93139 w 90011"/>
                <a:gd name="connsiteY17" fmla="*/ 2859 h 9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011" h="90011">
                  <a:moveTo>
                    <a:pt x="93139" y="2859"/>
                  </a:moveTo>
                  <a:cubicBezTo>
                    <a:pt x="89281" y="94"/>
                    <a:pt x="87352" y="3951"/>
                    <a:pt x="83237" y="5880"/>
                  </a:cubicBezTo>
                  <a:cubicBezTo>
                    <a:pt x="79123" y="7809"/>
                    <a:pt x="76294" y="-3185"/>
                    <a:pt x="71086" y="929"/>
                  </a:cubicBezTo>
                  <a:cubicBezTo>
                    <a:pt x="65878" y="5044"/>
                    <a:pt x="70507" y="6716"/>
                    <a:pt x="64657" y="11667"/>
                  </a:cubicBezTo>
                  <a:cubicBezTo>
                    <a:pt x="58806" y="16617"/>
                    <a:pt x="61378" y="18096"/>
                    <a:pt x="54498" y="29026"/>
                  </a:cubicBezTo>
                  <a:cubicBezTo>
                    <a:pt x="47619" y="39956"/>
                    <a:pt x="23894" y="45807"/>
                    <a:pt x="20294" y="51593"/>
                  </a:cubicBezTo>
                  <a:cubicBezTo>
                    <a:pt x="16694" y="57380"/>
                    <a:pt x="4863" y="62073"/>
                    <a:pt x="4606" y="66509"/>
                  </a:cubicBezTo>
                  <a:cubicBezTo>
                    <a:pt x="4349" y="70945"/>
                    <a:pt x="-2916" y="74096"/>
                    <a:pt x="1327" y="80011"/>
                  </a:cubicBezTo>
                  <a:cubicBezTo>
                    <a:pt x="4606" y="84704"/>
                    <a:pt x="9043" y="81361"/>
                    <a:pt x="12579" y="84961"/>
                  </a:cubicBezTo>
                  <a:cubicBezTo>
                    <a:pt x="16115" y="88562"/>
                    <a:pt x="19780" y="85540"/>
                    <a:pt x="21387" y="88562"/>
                  </a:cubicBezTo>
                  <a:cubicBezTo>
                    <a:pt x="22994" y="91584"/>
                    <a:pt x="35210" y="91584"/>
                    <a:pt x="44275" y="83290"/>
                  </a:cubicBezTo>
                  <a:cubicBezTo>
                    <a:pt x="53341" y="74996"/>
                    <a:pt x="48969" y="71203"/>
                    <a:pt x="52570" y="68952"/>
                  </a:cubicBezTo>
                  <a:cubicBezTo>
                    <a:pt x="56170" y="66702"/>
                    <a:pt x="56684" y="60144"/>
                    <a:pt x="58999" y="56094"/>
                  </a:cubicBezTo>
                  <a:cubicBezTo>
                    <a:pt x="60992" y="50320"/>
                    <a:pt x="66772" y="46752"/>
                    <a:pt x="72822" y="47542"/>
                  </a:cubicBezTo>
                  <a:cubicBezTo>
                    <a:pt x="82723" y="47542"/>
                    <a:pt x="77516" y="45614"/>
                    <a:pt x="76937" y="41113"/>
                  </a:cubicBezTo>
                  <a:cubicBezTo>
                    <a:pt x="76358" y="36613"/>
                    <a:pt x="85231" y="35648"/>
                    <a:pt x="85231" y="29540"/>
                  </a:cubicBezTo>
                  <a:cubicBezTo>
                    <a:pt x="85231" y="23432"/>
                    <a:pt x="97318" y="17967"/>
                    <a:pt x="94875" y="13274"/>
                  </a:cubicBezTo>
                  <a:cubicBezTo>
                    <a:pt x="92432" y="8580"/>
                    <a:pt x="96996" y="5623"/>
                    <a:pt x="93139" y="2859"/>
                  </a:cubicBezTo>
                  <a:close/>
                </a:path>
              </a:pathLst>
            </a:custGeom>
            <a:solidFill>
              <a:srgbClr val="00938B"/>
            </a:solidFill>
            <a:ln w="6429" cap="flat">
              <a:noFill/>
              <a:prstDash val="solid"/>
              <a:miter/>
            </a:ln>
          </p:spPr>
          <p:txBody>
            <a:bodyPr rtlCol="0" anchor="ctr"/>
            <a:lstStyle/>
            <a:p>
              <a:endParaRPr lang="en-GB" sz="2400"/>
            </a:p>
          </p:txBody>
        </p:sp>
        <p:sp>
          <p:nvSpPr>
            <p:cNvPr id="319" name="Freeform 109">
              <a:extLst>
                <a:ext uri="{FF2B5EF4-FFF2-40B4-BE49-F238E27FC236}">
                  <a16:creationId xmlns:a16="http://schemas.microsoft.com/office/drawing/2014/main" id="{7E5A427E-0D75-4AEF-8E48-8537893DA764}"/>
                </a:ext>
              </a:extLst>
            </p:cNvPr>
            <p:cNvSpPr/>
            <p:nvPr/>
          </p:nvSpPr>
          <p:spPr>
            <a:xfrm>
              <a:off x="6468561" y="3582407"/>
              <a:ext cx="6429" cy="6429"/>
            </a:xfrm>
            <a:custGeom>
              <a:avLst/>
              <a:gdLst>
                <a:gd name="connsiteX0" fmla="*/ 1704 w 6429"/>
                <a:gd name="connsiteY0" fmla="*/ 6788 h 6429"/>
                <a:gd name="connsiteX1" fmla="*/ 6397 w 6429"/>
                <a:gd name="connsiteY1" fmla="*/ 1259 h 6429"/>
                <a:gd name="connsiteX2" fmla="*/ 1704 w 6429"/>
                <a:gd name="connsiteY2" fmla="*/ 6788 h 6429"/>
              </a:gdLst>
              <a:ahLst/>
              <a:cxnLst>
                <a:cxn ang="0">
                  <a:pos x="connsiteX0" y="connsiteY0"/>
                </a:cxn>
                <a:cxn ang="0">
                  <a:pos x="connsiteX1" y="connsiteY1"/>
                </a:cxn>
                <a:cxn ang="0">
                  <a:pos x="connsiteX2" y="connsiteY2"/>
                </a:cxn>
              </a:cxnLst>
              <a:rect l="l" t="t" r="r" b="b"/>
              <a:pathLst>
                <a:path w="6429" h="6429">
                  <a:moveTo>
                    <a:pt x="1704" y="6788"/>
                  </a:moveTo>
                  <a:cubicBezTo>
                    <a:pt x="3633" y="7302"/>
                    <a:pt x="9998" y="5631"/>
                    <a:pt x="6397" y="1259"/>
                  </a:cubicBezTo>
                  <a:cubicBezTo>
                    <a:pt x="2797" y="-3113"/>
                    <a:pt x="-2861" y="5180"/>
                    <a:pt x="1704" y="6788"/>
                  </a:cubicBezTo>
                  <a:close/>
                </a:path>
              </a:pathLst>
            </a:custGeom>
            <a:solidFill>
              <a:srgbClr val="00938B"/>
            </a:solidFill>
            <a:ln w="6429" cap="flat">
              <a:noFill/>
              <a:prstDash val="solid"/>
              <a:miter/>
            </a:ln>
          </p:spPr>
          <p:txBody>
            <a:bodyPr rtlCol="0" anchor="ctr"/>
            <a:lstStyle/>
            <a:p>
              <a:endParaRPr lang="en-GB" sz="2400"/>
            </a:p>
          </p:txBody>
        </p:sp>
        <p:sp>
          <p:nvSpPr>
            <p:cNvPr id="320" name="Freeform 110">
              <a:extLst>
                <a:ext uri="{FF2B5EF4-FFF2-40B4-BE49-F238E27FC236}">
                  <a16:creationId xmlns:a16="http://schemas.microsoft.com/office/drawing/2014/main" id="{E2148A0F-C064-4216-8147-CDC7F0876687}"/>
                </a:ext>
              </a:extLst>
            </p:cNvPr>
            <p:cNvSpPr/>
            <p:nvPr/>
          </p:nvSpPr>
          <p:spPr>
            <a:xfrm>
              <a:off x="6537564" y="3404543"/>
              <a:ext cx="64294" cy="96441"/>
            </a:xfrm>
            <a:custGeom>
              <a:avLst/>
              <a:gdLst>
                <a:gd name="connsiteX0" fmla="*/ 57302 w 64293"/>
                <a:gd name="connsiteY0" fmla="*/ 45198 h 96440"/>
                <a:gd name="connsiteX1" fmla="*/ 45151 w 64293"/>
                <a:gd name="connsiteY1" fmla="*/ 44105 h 96440"/>
                <a:gd name="connsiteX2" fmla="*/ 37693 w 64293"/>
                <a:gd name="connsiteY2" fmla="*/ 37303 h 96440"/>
                <a:gd name="connsiteX3" fmla="*/ 37693 w 64293"/>
                <a:gd name="connsiteY3" fmla="*/ 36647 h 96440"/>
                <a:gd name="connsiteX4" fmla="*/ 32227 w 64293"/>
                <a:gd name="connsiteY4" fmla="*/ 26746 h 96440"/>
                <a:gd name="connsiteX5" fmla="*/ 31906 w 64293"/>
                <a:gd name="connsiteY5" fmla="*/ 33626 h 96440"/>
                <a:gd name="connsiteX6" fmla="*/ 26955 w 64293"/>
                <a:gd name="connsiteY6" fmla="*/ 31118 h 96440"/>
                <a:gd name="connsiteX7" fmla="*/ 22262 w 64293"/>
                <a:gd name="connsiteY7" fmla="*/ 22567 h 96440"/>
                <a:gd name="connsiteX8" fmla="*/ 17569 w 64293"/>
                <a:gd name="connsiteY8" fmla="*/ 11315 h 96440"/>
                <a:gd name="connsiteX9" fmla="*/ 2138 w 64293"/>
                <a:gd name="connsiteY9" fmla="*/ 0 h 96440"/>
                <a:gd name="connsiteX10" fmla="*/ 5996 w 64293"/>
                <a:gd name="connsiteY10" fmla="*/ 13244 h 96440"/>
                <a:gd name="connsiteX11" fmla="*/ 14547 w 64293"/>
                <a:gd name="connsiteY11" fmla="*/ 22053 h 96440"/>
                <a:gd name="connsiteX12" fmla="*/ 22005 w 64293"/>
                <a:gd name="connsiteY12" fmla="*/ 31954 h 96440"/>
                <a:gd name="connsiteX13" fmla="*/ 20076 w 64293"/>
                <a:gd name="connsiteY13" fmla="*/ 50406 h 96440"/>
                <a:gd name="connsiteX14" fmla="*/ 9853 w 64293"/>
                <a:gd name="connsiteY14" fmla="*/ 61722 h 96440"/>
                <a:gd name="connsiteX15" fmla="*/ 26377 w 64293"/>
                <a:gd name="connsiteY15" fmla="*/ 76574 h 96440"/>
                <a:gd name="connsiteX16" fmla="*/ 22841 w 64293"/>
                <a:gd name="connsiteY16" fmla="*/ 96441 h 96440"/>
                <a:gd name="connsiteX17" fmla="*/ 34157 w 64293"/>
                <a:gd name="connsiteY17" fmla="*/ 98112 h 96440"/>
                <a:gd name="connsiteX18" fmla="*/ 47915 w 64293"/>
                <a:gd name="connsiteY18" fmla="*/ 78824 h 96440"/>
                <a:gd name="connsiteX19" fmla="*/ 51773 w 64293"/>
                <a:gd name="connsiteY19" fmla="*/ 65965 h 96440"/>
                <a:gd name="connsiteX20" fmla="*/ 60002 w 64293"/>
                <a:gd name="connsiteY20" fmla="*/ 63200 h 96440"/>
                <a:gd name="connsiteX21" fmla="*/ 65275 w 64293"/>
                <a:gd name="connsiteY21" fmla="*/ 55807 h 96440"/>
                <a:gd name="connsiteX22" fmla="*/ 69389 w 64293"/>
                <a:gd name="connsiteY22" fmla="*/ 44748 h 96440"/>
                <a:gd name="connsiteX23" fmla="*/ 57302 w 64293"/>
                <a:gd name="connsiteY23" fmla="*/ 45198 h 96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293" h="96440">
                  <a:moveTo>
                    <a:pt x="57302" y="45198"/>
                  </a:moveTo>
                  <a:cubicBezTo>
                    <a:pt x="54795" y="49313"/>
                    <a:pt x="49844" y="44105"/>
                    <a:pt x="45151" y="44105"/>
                  </a:cubicBezTo>
                  <a:cubicBezTo>
                    <a:pt x="41216" y="44286"/>
                    <a:pt x="37872" y="41244"/>
                    <a:pt x="37693" y="37303"/>
                  </a:cubicBezTo>
                  <a:cubicBezTo>
                    <a:pt x="37680" y="37084"/>
                    <a:pt x="37680" y="36866"/>
                    <a:pt x="37693" y="36647"/>
                  </a:cubicBezTo>
                  <a:cubicBezTo>
                    <a:pt x="37693" y="32533"/>
                    <a:pt x="36599" y="26425"/>
                    <a:pt x="32227" y="26746"/>
                  </a:cubicBezTo>
                  <a:cubicBezTo>
                    <a:pt x="27855" y="27067"/>
                    <a:pt x="33578" y="31375"/>
                    <a:pt x="31906" y="33626"/>
                  </a:cubicBezTo>
                  <a:cubicBezTo>
                    <a:pt x="30234" y="35876"/>
                    <a:pt x="29141" y="31118"/>
                    <a:pt x="26955" y="31118"/>
                  </a:cubicBezTo>
                  <a:cubicBezTo>
                    <a:pt x="24770" y="31118"/>
                    <a:pt x="22262" y="28096"/>
                    <a:pt x="22262" y="22567"/>
                  </a:cubicBezTo>
                  <a:cubicBezTo>
                    <a:pt x="22262" y="17038"/>
                    <a:pt x="17569" y="17616"/>
                    <a:pt x="17569" y="11315"/>
                  </a:cubicBezTo>
                  <a:cubicBezTo>
                    <a:pt x="17569" y="5015"/>
                    <a:pt x="7667" y="0"/>
                    <a:pt x="2138" y="0"/>
                  </a:cubicBezTo>
                  <a:cubicBezTo>
                    <a:pt x="-3391" y="0"/>
                    <a:pt x="3231" y="9901"/>
                    <a:pt x="5996" y="13244"/>
                  </a:cubicBezTo>
                  <a:cubicBezTo>
                    <a:pt x="8760" y="16588"/>
                    <a:pt x="14868" y="19674"/>
                    <a:pt x="14547" y="22053"/>
                  </a:cubicBezTo>
                  <a:cubicBezTo>
                    <a:pt x="15428" y="26302"/>
                    <a:pt x="18167" y="29935"/>
                    <a:pt x="22005" y="31954"/>
                  </a:cubicBezTo>
                  <a:cubicBezTo>
                    <a:pt x="25284" y="33047"/>
                    <a:pt x="20076" y="42691"/>
                    <a:pt x="20076" y="50406"/>
                  </a:cubicBezTo>
                  <a:cubicBezTo>
                    <a:pt x="20076" y="58121"/>
                    <a:pt x="14033" y="56835"/>
                    <a:pt x="9853" y="61722"/>
                  </a:cubicBezTo>
                  <a:cubicBezTo>
                    <a:pt x="5674" y="66608"/>
                    <a:pt x="20333" y="71623"/>
                    <a:pt x="26377" y="76574"/>
                  </a:cubicBezTo>
                  <a:cubicBezTo>
                    <a:pt x="32420" y="81524"/>
                    <a:pt x="21233" y="93740"/>
                    <a:pt x="22841" y="96441"/>
                  </a:cubicBezTo>
                  <a:cubicBezTo>
                    <a:pt x="23677" y="97791"/>
                    <a:pt x="27791" y="99719"/>
                    <a:pt x="34157" y="98112"/>
                  </a:cubicBezTo>
                  <a:cubicBezTo>
                    <a:pt x="40522" y="96505"/>
                    <a:pt x="43479" y="82682"/>
                    <a:pt x="47915" y="78824"/>
                  </a:cubicBezTo>
                  <a:cubicBezTo>
                    <a:pt x="52351" y="74966"/>
                    <a:pt x="49522" y="68858"/>
                    <a:pt x="51773" y="65965"/>
                  </a:cubicBezTo>
                  <a:cubicBezTo>
                    <a:pt x="54023" y="63072"/>
                    <a:pt x="56981" y="63200"/>
                    <a:pt x="60002" y="63200"/>
                  </a:cubicBezTo>
                  <a:cubicBezTo>
                    <a:pt x="63024" y="63200"/>
                    <a:pt x="61417" y="55807"/>
                    <a:pt x="65275" y="55807"/>
                  </a:cubicBezTo>
                  <a:cubicBezTo>
                    <a:pt x="69132" y="55807"/>
                    <a:pt x="67203" y="50535"/>
                    <a:pt x="69389" y="44748"/>
                  </a:cubicBezTo>
                  <a:cubicBezTo>
                    <a:pt x="71575" y="38962"/>
                    <a:pt x="59681" y="41019"/>
                    <a:pt x="57302" y="45198"/>
                  </a:cubicBezTo>
                  <a:close/>
                </a:path>
              </a:pathLst>
            </a:custGeom>
            <a:solidFill>
              <a:srgbClr val="00938B"/>
            </a:solidFill>
            <a:ln w="6429" cap="flat">
              <a:noFill/>
              <a:prstDash val="solid"/>
              <a:miter/>
            </a:ln>
          </p:spPr>
          <p:txBody>
            <a:bodyPr rtlCol="0" anchor="ctr"/>
            <a:lstStyle/>
            <a:p>
              <a:endParaRPr lang="en-GB" sz="2400"/>
            </a:p>
          </p:txBody>
        </p:sp>
        <p:sp>
          <p:nvSpPr>
            <p:cNvPr id="321" name="Freeform 111">
              <a:extLst>
                <a:ext uri="{FF2B5EF4-FFF2-40B4-BE49-F238E27FC236}">
                  <a16:creationId xmlns:a16="http://schemas.microsoft.com/office/drawing/2014/main" id="{095CFC36-C338-4018-86FE-A668CA53878B}"/>
                </a:ext>
              </a:extLst>
            </p:cNvPr>
            <p:cNvSpPr/>
            <p:nvPr/>
          </p:nvSpPr>
          <p:spPr>
            <a:xfrm>
              <a:off x="6593421" y="3172102"/>
              <a:ext cx="12859" cy="6429"/>
            </a:xfrm>
            <a:custGeom>
              <a:avLst/>
              <a:gdLst>
                <a:gd name="connsiteX0" fmla="*/ 609 w 12858"/>
                <a:gd name="connsiteY0" fmla="*/ 7286 h 6429"/>
                <a:gd name="connsiteX1" fmla="*/ 14882 w 12858"/>
                <a:gd name="connsiteY1" fmla="*/ 3428 h 6429"/>
                <a:gd name="connsiteX2" fmla="*/ 609 w 12858"/>
                <a:gd name="connsiteY2" fmla="*/ 7286 h 6429"/>
              </a:gdLst>
              <a:ahLst/>
              <a:cxnLst>
                <a:cxn ang="0">
                  <a:pos x="connsiteX0" y="connsiteY0"/>
                </a:cxn>
                <a:cxn ang="0">
                  <a:pos x="connsiteX1" y="connsiteY1"/>
                </a:cxn>
                <a:cxn ang="0">
                  <a:pos x="connsiteX2" y="connsiteY2"/>
                </a:cxn>
              </a:cxnLst>
              <a:rect l="l" t="t" r="r" b="b"/>
              <a:pathLst>
                <a:path w="12858" h="6429">
                  <a:moveTo>
                    <a:pt x="609" y="7286"/>
                  </a:moveTo>
                  <a:cubicBezTo>
                    <a:pt x="5302" y="11722"/>
                    <a:pt x="14625" y="11400"/>
                    <a:pt x="14882" y="3428"/>
                  </a:cubicBezTo>
                  <a:cubicBezTo>
                    <a:pt x="15139" y="-4544"/>
                    <a:pt x="-3570" y="3364"/>
                    <a:pt x="609" y="7286"/>
                  </a:cubicBezTo>
                  <a:close/>
                </a:path>
              </a:pathLst>
            </a:custGeom>
            <a:solidFill>
              <a:srgbClr val="00938B"/>
            </a:solidFill>
            <a:ln w="6429" cap="flat">
              <a:noFill/>
              <a:prstDash val="solid"/>
              <a:miter/>
            </a:ln>
          </p:spPr>
          <p:txBody>
            <a:bodyPr rtlCol="0" anchor="ctr"/>
            <a:lstStyle/>
            <a:p>
              <a:endParaRPr lang="en-GB" sz="2400"/>
            </a:p>
          </p:txBody>
        </p:sp>
        <p:sp>
          <p:nvSpPr>
            <p:cNvPr id="322" name="Freeform 112">
              <a:extLst>
                <a:ext uri="{FF2B5EF4-FFF2-40B4-BE49-F238E27FC236}">
                  <a16:creationId xmlns:a16="http://schemas.microsoft.com/office/drawing/2014/main" id="{91F967B2-A08E-4B23-AED5-2E881E1366D7}"/>
                </a:ext>
              </a:extLst>
            </p:cNvPr>
            <p:cNvSpPr/>
            <p:nvPr/>
          </p:nvSpPr>
          <p:spPr>
            <a:xfrm>
              <a:off x="6610306" y="3156673"/>
              <a:ext cx="12859" cy="6429"/>
            </a:xfrm>
            <a:custGeom>
              <a:avLst/>
              <a:gdLst>
                <a:gd name="connsiteX0" fmla="*/ 762 w 12858"/>
                <a:gd name="connsiteY0" fmla="*/ 8120 h 6429"/>
                <a:gd name="connsiteX1" fmla="*/ 13621 w 12858"/>
                <a:gd name="connsiteY1" fmla="*/ 1240 h 6429"/>
                <a:gd name="connsiteX2" fmla="*/ 762 w 12858"/>
                <a:gd name="connsiteY2" fmla="*/ 8120 h 6429"/>
              </a:gdLst>
              <a:ahLst/>
              <a:cxnLst>
                <a:cxn ang="0">
                  <a:pos x="connsiteX0" y="connsiteY0"/>
                </a:cxn>
                <a:cxn ang="0">
                  <a:pos x="connsiteX1" y="connsiteY1"/>
                </a:cxn>
                <a:cxn ang="0">
                  <a:pos x="connsiteX2" y="connsiteY2"/>
                </a:cxn>
              </a:cxnLst>
              <a:rect l="l" t="t" r="r" b="b"/>
              <a:pathLst>
                <a:path w="12858" h="6429">
                  <a:moveTo>
                    <a:pt x="762" y="8120"/>
                  </a:moveTo>
                  <a:cubicBezTo>
                    <a:pt x="3848" y="9213"/>
                    <a:pt x="13621" y="5934"/>
                    <a:pt x="13621" y="1240"/>
                  </a:cubicBezTo>
                  <a:cubicBezTo>
                    <a:pt x="13621" y="-3453"/>
                    <a:pt x="-3802" y="6577"/>
                    <a:pt x="762" y="8120"/>
                  </a:cubicBezTo>
                  <a:close/>
                </a:path>
              </a:pathLst>
            </a:custGeom>
            <a:solidFill>
              <a:srgbClr val="00938B"/>
            </a:solidFill>
            <a:ln w="6429" cap="flat">
              <a:noFill/>
              <a:prstDash val="solid"/>
              <a:miter/>
            </a:ln>
          </p:spPr>
          <p:txBody>
            <a:bodyPr rtlCol="0" anchor="ctr"/>
            <a:lstStyle/>
            <a:p>
              <a:endParaRPr lang="en-GB" sz="2400"/>
            </a:p>
          </p:txBody>
        </p:sp>
        <p:sp>
          <p:nvSpPr>
            <p:cNvPr id="323" name="Freeform 113">
              <a:extLst>
                <a:ext uri="{FF2B5EF4-FFF2-40B4-BE49-F238E27FC236}">
                  <a16:creationId xmlns:a16="http://schemas.microsoft.com/office/drawing/2014/main" id="{8423D158-D235-4F20-8FA9-FD10CE031E7B}"/>
                </a:ext>
              </a:extLst>
            </p:cNvPr>
            <p:cNvSpPr/>
            <p:nvPr/>
          </p:nvSpPr>
          <p:spPr>
            <a:xfrm>
              <a:off x="6427436" y="3208489"/>
              <a:ext cx="32147" cy="25718"/>
            </a:xfrm>
            <a:custGeom>
              <a:avLst/>
              <a:gdLst>
                <a:gd name="connsiteX0" fmla="*/ 36013 w 32146"/>
                <a:gd name="connsiteY0" fmla="*/ 25484 h 25717"/>
                <a:gd name="connsiteX1" fmla="*/ 9 w 32146"/>
                <a:gd name="connsiteY1" fmla="*/ 538 h 25717"/>
                <a:gd name="connsiteX2" fmla="*/ 36013 w 32146"/>
                <a:gd name="connsiteY2" fmla="*/ 25484 h 25717"/>
              </a:gdLst>
              <a:ahLst/>
              <a:cxnLst>
                <a:cxn ang="0">
                  <a:pos x="connsiteX0" y="connsiteY0"/>
                </a:cxn>
                <a:cxn ang="0">
                  <a:pos x="connsiteX1" y="connsiteY1"/>
                </a:cxn>
                <a:cxn ang="0">
                  <a:pos x="connsiteX2" y="connsiteY2"/>
                </a:cxn>
              </a:cxnLst>
              <a:rect l="l" t="t" r="r" b="b"/>
              <a:pathLst>
                <a:path w="32146" h="25717">
                  <a:moveTo>
                    <a:pt x="36013" y="25484"/>
                  </a:moveTo>
                  <a:cubicBezTo>
                    <a:pt x="40450" y="22591"/>
                    <a:pt x="-699" y="-4091"/>
                    <a:pt x="9" y="538"/>
                  </a:cubicBezTo>
                  <a:cubicBezTo>
                    <a:pt x="716" y="5167"/>
                    <a:pt x="31641" y="28699"/>
                    <a:pt x="36013" y="25484"/>
                  </a:cubicBezTo>
                  <a:close/>
                </a:path>
              </a:pathLst>
            </a:custGeom>
            <a:solidFill>
              <a:srgbClr val="00938B"/>
            </a:solidFill>
            <a:ln w="6429" cap="flat">
              <a:noFill/>
              <a:prstDash val="solid"/>
              <a:miter/>
            </a:ln>
          </p:spPr>
          <p:txBody>
            <a:bodyPr rtlCol="0" anchor="ctr"/>
            <a:lstStyle/>
            <a:p>
              <a:endParaRPr lang="en-GB" sz="2400"/>
            </a:p>
          </p:txBody>
        </p:sp>
        <p:sp>
          <p:nvSpPr>
            <p:cNvPr id="324" name="Freeform 114">
              <a:extLst>
                <a:ext uri="{FF2B5EF4-FFF2-40B4-BE49-F238E27FC236}">
                  <a16:creationId xmlns:a16="http://schemas.microsoft.com/office/drawing/2014/main" id="{DD6F5013-D432-4CC6-810E-44C76FA60C17}"/>
                </a:ext>
              </a:extLst>
            </p:cNvPr>
            <p:cNvSpPr/>
            <p:nvPr/>
          </p:nvSpPr>
          <p:spPr>
            <a:xfrm>
              <a:off x="5974700" y="2983372"/>
              <a:ext cx="32147" cy="12859"/>
            </a:xfrm>
            <a:custGeom>
              <a:avLst/>
              <a:gdLst>
                <a:gd name="connsiteX0" fmla="*/ 119 w 32146"/>
                <a:gd name="connsiteY0" fmla="*/ 5706 h 12858"/>
                <a:gd name="connsiteX1" fmla="*/ 16964 w 32146"/>
                <a:gd name="connsiteY1" fmla="*/ 8278 h 12858"/>
                <a:gd name="connsiteX2" fmla="*/ 32780 w 32146"/>
                <a:gd name="connsiteY2" fmla="*/ 13743 h 12858"/>
                <a:gd name="connsiteX3" fmla="*/ 24357 w 32146"/>
                <a:gd name="connsiteY3" fmla="*/ 1270 h 12858"/>
                <a:gd name="connsiteX4" fmla="*/ 119 w 32146"/>
                <a:gd name="connsiteY4" fmla="*/ 5706 h 12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46" h="12858">
                  <a:moveTo>
                    <a:pt x="119" y="5706"/>
                  </a:moveTo>
                  <a:cubicBezTo>
                    <a:pt x="1533" y="10078"/>
                    <a:pt x="9248" y="8278"/>
                    <a:pt x="16964" y="8278"/>
                  </a:cubicBezTo>
                  <a:cubicBezTo>
                    <a:pt x="24679" y="8278"/>
                    <a:pt x="28729" y="13743"/>
                    <a:pt x="32780" y="13743"/>
                  </a:cubicBezTo>
                  <a:cubicBezTo>
                    <a:pt x="36830" y="13743"/>
                    <a:pt x="33873" y="4227"/>
                    <a:pt x="24357" y="1270"/>
                  </a:cubicBezTo>
                  <a:cubicBezTo>
                    <a:pt x="14842" y="-1688"/>
                    <a:pt x="-1553" y="820"/>
                    <a:pt x="119" y="5706"/>
                  </a:cubicBezTo>
                  <a:close/>
                </a:path>
              </a:pathLst>
            </a:custGeom>
            <a:solidFill>
              <a:srgbClr val="00938B"/>
            </a:solidFill>
            <a:ln w="6429" cap="flat">
              <a:noFill/>
              <a:prstDash val="solid"/>
              <a:miter/>
            </a:ln>
          </p:spPr>
          <p:txBody>
            <a:bodyPr rtlCol="0" anchor="ctr"/>
            <a:lstStyle/>
            <a:p>
              <a:endParaRPr lang="en-GB" sz="2400"/>
            </a:p>
          </p:txBody>
        </p:sp>
        <p:sp>
          <p:nvSpPr>
            <p:cNvPr id="325" name="Freeform 115">
              <a:extLst>
                <a:ext uri="{FF2B5EF4-FFF2-40B4-BE49-F238E27FC236}">
                  <a16:creationId xmlns:a16="http://schemas.microsoft.com/office/drawing/2014/main" id="{083B2D6D-2054-4EC5-8190-94C436515AB3}"/>
                </a:ext>
              </a:extLst>
            </p:cNvPr>
            <p:cNvSpPr/>
            <p:nvPr/>
          </p:nvSpPr>
          <p:spPr>
            <a:xfrm>
              <a:off x="5733117" y="2863190"/>
              <a:ext cx="128588" cy="135017"/>
            </a:xfrm>
            <a:custGeom>
              <a:avLst/>
              <a:gdLst>
                <a:gd name="connsiteX0" fmla="*/ 1372 w 128587"/>
                <a:gd name="connsiteY0" fmla="*/ 77024 h 135016"/>
                <a:gd name="connsiteX1" fmla="*/ 7801 w 128587"/>
                <a:gd name="connsiteY1" fmla="*/ 94255 h 135016"/>
                <a:gd name="connsiteX2" fmla="*/ 18474 w 128587"/>
                <a:gd name="connsiteY2" fmla="*/ 106728 h 135016"/>
                <a:gd name="connsiteX3" fmla="*/ 30239 w 128587"/>
                <a:gd name="connsiteY3" fmla="*/ 123316 h 135016"/>
                <a:gd name="connsiteX4" fmla="*/ 40141 w 128587"/>
                <a:gd name="connsiteY4" fmla="*/ 128073 h 135016"/>
                <a:gd name="connsiteX5" fmla="*/ 56664 w 128587"/>
                <a:gd name="connsiteY5" fmla="*/ 126209 h 135016"/>
                <a:gd name="connsiteX6" fmla="*/ 72481 w 128587"/>
                <a:gd name="connsiteY6" fmla="*/ 133602 h 135016"/>
                <a:gd name="connsiteX7" fmla="*/ 90483 w 128587"/>
                <a:gd name="connsiteY7" fmla="*/ 130645 h 135016"/>
                <a:gd name="connsiteX8" fmla="*/ 99998 w 128587"/>
                <a:gd name="connsiteY8" fmla="*/ 103063 h 135016"/>
                <a:gd name="connsiteX9" fmla="*/ 107392 w 128587"/>
                <a:gd name="connsiteY9" fmla="*/ 83775 h 135016"/>
                <a:gd name="connsiteX10" fmla="*/ 126102 w 128587"/>
                <a:gd name="connsiteY10" fmla="*/ 73102 h 135016"/>
                <a:gd name="connsiteX11" fmla="*/ 117679 w 128587"/>
                <a:gd name="connsiteY11" fmla="*/ 63201 h 135016"/>
                <a:gd name="connsiteX12" fmla="*/ 113629 w 128587"/>
                <a:gd name="connsiteY12" fmla="*/ 53300 h 135016"/>
                <a:gd name="connsiteX13" fmla="*/ 109578 w 128587"/>
                <a:gd name="connsiteY13" fmla="*/ 42241 h 135016"/>
                <a:gd name="connsiteX14" fmla="*/ 110285 w 128587"/>
                <a:gd name="connsiteY14" fmla="*/ 33111 h 135016"/>
                <a:gd name="connsiteX15" fmla="*/ 112150 w 128587"/>
                <a:gd name="connsiteY15" fmla="*/ 32147 h 135016"/>
                <a:gd name="connsiteX16" fmla="*/ 119865 w 128587"/>
                <a:gd name="connsiteY16" fmla="*/ 24625 h 135016"/>
                <a:gd name="connsiteX17" fmla="*/ 131245 w 128587"/>
                <a:gd name="connsiteY17" fmla="*/ 19867 h 135016"/>
                <a:gd name="connsiteX18" fmla="*/ 122823 w 128587"/>
                <a:gd name="connsiteY18" fmla="*/ 12537 h 135016"/>
                <a:gd name="connsiteX19" fmla="*/ 111764 w 128587"/>
                <a:gd name="connsiteY19" fmla="*/ 9580 h 135016"/>
                <a:gd name="connsiteX20" fmla="*/ 100384 w 128587"/>
                <a:gd name="connsiteY20" fmla="*/ 0 h 135016"/>
                <a:gd name="connsiteX21" fmla="*/ 90483 w 128587"/>
                <a:gd name="connsiteY21" fmla="*/ 12537 h 135016"/>
                <a:gd name="connsiteX22" fmla="*/ 84053 w 128587"/>
                <a:gd name="connsiteY22" fmla="*/ 20960 h 135016"/>
                <a:gd name="connsiteX23" fmla="*/ 81353 w 128587"/>
                <a:gd name="connsiteY23" fmla="*/ 24367 h 135016"/>
                <a:gd name="connsiteX24" fmla="*/ 74924 w 128587"/>
                <a:gd name="connsiteY24" fmla="*/ 27196 h 135016"/>
                <a:gd name="connsiteX25" fmla="*/ 66308 w 128587"/>
                <a:gd name="connsiteY25" fmla="*/ 25782 h 135016"/>
                <a:gd name="connsiteX26" fmla="*/ 66308 w 128587"/>
                <a:gd name="connsiteY26" fmla="*/ 25782 h 135016"/>
                <a:gd name="connsiteX27" fmla="*/ 55250 w 128587"/>
                <a:gd name="connsiteY27" fmla="*/ 43077 h 135016"/>
                <a:gd name="connsiteX28" fmla="*/ 37248 w 128587"/>
                <a:gd name="connsiteY28" fmla="*/ 48606 h 135016"/>
                <a:gd name="connsiteX29" fmla="*/ 29147 w 128587"/>
                <a:gd name="connsiteY29" fmla="*/ 64358 h 135016"/>
                <a:gd name="connsiteX30" fmla="*/ 10759 w 128587"/>
                <a:gd name="connsiteY30" fmla="*/ 59729 h 135016"/>
                <a:gd name="connsiteX31" fmla="*/ 9344 w 128587"/>
                <a:gd name="connsiteY31" fmla="*/ 59729 h 135016"/>
                <a:gd name="connsiteX32" fmla="*/ 1372 w 128587"/>
                <a:gd name="connsiteY32" fmla="*/ 77024 h 13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8587" h="135016">
                  <a:moveTo>
                    <a:pt x="1372" y="77024"/>
                  </a:moveTo>
                  <a:cubicBezTo>
                    <a:pt x="6901" y="82167"/>
                    <a:pt x="5422" y="90204"/>
                    <a:pt x="7801" y="94255"/>
                  </a:cubicBezTo>
                  <a:cubicBezTo>
                    <a:pt x="10180" y="98305"/>
                    <a:pt x="18474" y="99013"/>
                    <a:pt x="18474" y="106728"/>
                  </a:cubicBezTo>
                  <a:cubicBezTo>
                    <a:pt x="18474" y="114443"/>
                    <a:pt x="25417" y="126594"/>
                    <a:pt x="30239" y="123316"/>
                  </a:cubicBezTo>
                  <a:cubicBezTo>
                    <a:pt x="35062" y="120037"/>
                    <a:pt x="38662" y="124794"/>
                    <a:pt x="40141" y="128073"/>
                  </a:cubicBezTo>
                  <a:cubicBezTo>
                    <a:pt x="41620" y="131352"/>
                    <a:pt x="53000" y="125502"/>
                    <a:pt x="56664" y="126209"/>
                  </a:cubicBezTo>
                  <a:cubicBezTo>
                    <a:pt x="60329" y="126916"/>
                    <a:pt x="71709" y="129166"/>
                    <a:pt x="72481" y="133602"/>
                  </a:cubicBezTo>
                  <a:cubicBezTo>
                    <a:pt x="73252" y="138039"/>
                    <a:pt x="83475" y="133217"/>
                    <a:pt x="90483" y="130645"/>
                  </a:cubicBezTo>
                  <a:cubicBezTo>
                    <a:pt x="97491" y="128073"/>
                    <a:pt x="93440" y="107113"/>
                    <a:pt x="99998" y="103063"/>
                  </a:cubicBezTo>
                  <a:cubicBezTo>
                    <a:pt x="106068" y="98665"/>
                    <a:pt x="108967" y="91104"/>
                    <a:pt x="107392" y="83775"/>
                  </a:cubicBezTo>
                  <a:cubicBezTo>
                    <a:pt x="106620" y="76445"/>
                    <a:pt x="123530" y="76060"/>
                    <a:pt x="126102" y="73102"/>
                  </a:cubicBezTo>
                  <a:cubicBezTo>
                    <a:pt x="128673" y="70145"/>
                    <a:pt x="122437" y="65387"/>
                    <a:pt x="117679" y="63201"/>
                  </a:cubicBezTo>
                  <a:cubicBezTo>
                    <a:pt x="112921" y="61015"/>
                    <a:pt x="116908" y="56257"/>
                    <a:pt x="113629" y="53300"/>
                  </a:cubicBezTo>
                  <a:cubicBezTo>
                    <a:pt x="110350" y="50342"/>
                    <a:pt x="104820" y="42627"/>
                    <a:pt x="109578" y="42241"/>
                  </a:cubicBezTo>
                  <a:cubicBezTo>
                    <a:pt x="114336" y="41855"/>
                    <a:pt x="106235" y="35297"/>
                    <a:pt x="110285" y="33111"/>
                  </a:cubicBezTo>
                  <a:lnTo>
                    <a:pt x="112150" y="32147"/>
                  </a:lnTo>
                  <a:cubicBezTo>
                    <a:pt x="116522" y="30025"/>
                    <a:pt x="122758" y="27196"/>
                    <a:pt x="119865" y="24625"/>
                  </a:cubicBezTo>
                  <a:cubicBezTo>
                    <a:pt x="116972" y="22053"/>
                    <a:pt x="129766" y="24239"/>
                    <a:pt x="131245" y="19867"/>
                  </a:cubicBezTo>
                  <a:cubicBezTo>
                    <a:pt x="132724" y="15495"/>
                    <a:pt x="126102" y="11766"/>
                    <a:pt x="122823" y="12537"/>
                  </a:cubicBezTo>
                  <a:cubicBezTo>
                    <a:pt x="119544" y="13309"/>
                    <a:pt x="111764" y="12859"/>
                    <a:pt x="111764" y="9580"/>
                  </a:cubicBezTo>
                  <a:cubicBezTo>
                    <a:pt x="111764" y="6301"/>
                    <a:pt x="104820" y="0"/>
                    <a:pt x="100384" y="0"/>
                  </a:cubicBezTo>
                  <a:cubicBezTo>
                    <a:pt x="95948" y="0"/>
                    <a:pt x="90804" y="8808"/>
                    <a:pt x="90483" y="12537"/>
                  </a:cubicBezTo>
                  <a:cubicBezTo>
                    <a:pt x="90161" y="16266"/>
                    <a:pt x="83089" y="15816"/>
                    <a:pt x="84053" y="20960"/>
                  </a:cubicBezTo>
                  <a:cubicBezTo>
                    <a:pt x="84053" y="22953"/>
                    <a:pt x="83025" y="23853"/>
                    <a:pt x="81353" y="24367"/>
                  </a:cubicBezTo>
                  <a:cubicBezTo>
                    <a:pt x="79681" y="24882"/>
                    <a:pt x="74924" y="25203"/>
                    <a:pt x="74924" y="27196"/>
                  </a:cubicBezTo>
                  <a:cubicBezTo>
                    <a:pt x="74924" y="30411"/>
                    <a:pt x="69330" y="25975"/>
                    <a:pt x="66308" y="25782"/>
                  </a:cubicBezTo>
                  <a:lnTo>
                    <a:pt x="66308" y="25782"/>
                  </a:lnTo>
                  <a:cubicBezTo>
                    <a:pt x="63351" y="25782"/>
                    <a:pt x="56728" y="36069"/>
                    <a:pt x="55250" y="43077"/>
                  </a:cubicBezTo>
                  <a:cubicBezTo>
                    <a:pt x="53771" y="50085"/>
                    <a:pt x="47213" y="47835"/>
                    <a:pt x="37248" y="48606"/>
                  </a:cubicBezTo>
                  <a:cubicBezTo>
                    <a:pt x="27282" y="49378"/>
                    <a:pt x="31397" y="59600"/>
                    <a:pt x="29147" y="64358"/>
                  </a:cubicBezTo>
                  <a:cubicBezTo>
                    <a:pt x="26896" y="69116"/>
                    <a:pt x="16288" y="60822"/>
                    <a:pt x="10759" y="59729"/>
                  </a:cubicBezTo>
                  <a:cubicBezTo>
                    <a:pt x="10289" y="59671"/>
                    <a:pt x="9813" y="59671"/>
                    <a:pt x="9344" y="59729"/>
                  </a:cubicBezTo>
                  <a:cubicBezTo>
                    <a:pt x="4715" y="60115"/>
                    <a:pt x="-3193" y="72716"/>
                    <a:pt x="1372" y="77024"/>
                  </a:cubicBezTo>
                  <a:close/>
                </a:path>
              </a:pathLst>
            </a:custGeom>
            <a:solidFill>
              <a:srgbClr val="00938B"/>
            </a:solidFill>
            <a:ln w="6429" cap="flat">
              <a:noFill/>
              <a:prstDash val="solid"/>
              <a:miter/>
            </a:ln>
          </p:spPr>
          <p:txBody>
            <a:bodyPr rtlCol="0" anchor="ctr"/>
            <a:lstStyle/>
            <a:p>
              <a:endParaRPr lang="en-GB" sz="2400"/>
            </a:p>
          </p:txBody>
        </p:sp>
        <p:sp>
          <p:nvSpPr>
            <p:cNvPr id="326" name="Freeform 116">
              <a:extLst>
                <a:ext uri="{FF2B5EF4-FFF2-40B4-BE49-F238E27FC236}">
                  <a16:creationId xmlns:a16="http://schemas.microsoft.com/office/drawing/2014/main" id="{2367F18D-766B-42CB-A040-5EB801A8C7D1}"/>
                </a:ext>
              </a:extLst>
            </p:cNvPr>
            <p:cNvSpPr/>
            <p:nvPr/>
          </p:nvSpPr>
          <p:spPr>
            <a:xfrm>
              <a:off x="5567425" y="2877025"/>
              <a:ext cx="135017" cy="141446"/>
            </a:xfrm>
            <a:custGeom>
              <a:avLst/>
              <a:gdLst>
                <a:gd name="connsiteX0" fmla="*/ 131445 w 135016"/>
                <a:gd name="connsiteY0" fmla="*/ 125490 h 141446"/>
                <a:gd name="connsiteX1" fmla="*/ 133245 w 135016"/>
                <a:gd name="connsiteY1" fmla="*/ 112631 h 141446"/>
                <a:gd name="connsiteX2" fmla="*/ 138389 w 135016"/>
                <a:gd name="connsiteY2" fmla="*/ 109673 h 141446"/>
                <a:gd name="connsiteX3" fmla="*/ 138774 w 135016"/>
                <a:gd name="connsiteY3" fmla="*/ 101958 h 141446"/>
                <a:gd name="connsiteX4" fmla="*/ 128487 w 135016"/>
                <a:gd name="connsiteY4" fmla="*/ 92057 h 141446"/>
                <a:gd name="connsiteX5" fmla="*/ 127009 w 135016"/>
                <a:gd name="connsiteY5" fmla="*/ 97586 h 141446"/>
                <a:gd name="connsiteX6" fmla="*/ 131766 w 135016"/>
                <a:gd name="connsiteY6" fmla="*/ 103437 h 141446"/>
                <a:gd name="connsiteX7" fmla="*/ 124051 w 135016"/>
                <a:gd name="connsiteY7" fmla="*/ 101251 h 141446"/>
                <a:gd name="connsiteX8" fmla="*/ 116336 w 135016"/>
                <a:gd name="connsiteY8" fmla="*/ 94822 h 141446"/>
                <a:gd name="connsiteX9" fmla="*/ 105342 w 135016"/>
                <a:gd name="connsiteY9" fmla="*/ 83827 h 141446"/>
                <a:gd name="connsiteX10" fmla="*/ 102770 w 135016"/>
                <a:gd name="connsiteY10" fmla="*/ 75019 h 141446"/>
                <a:gd name="connsiteX11" fmla="*/ 96341 w 135016"/>
                <a:gd name="connsiteY11" fmla="*/ 63575 h 141446"/>
                <a:gd name="connsiteX12" fmla="*/ 89911 w 135016"/>
                <a:gd name="connsiteY12" fmla="*/ 58110 h 141446"/>
                <a:gd name="connsiteX13" fmla="*/ 83482 w 135016"/>
                <a:gd name="connsiteY13" fmla="*/ 51680 h 141446"/>
                <a:gd name="connsiteX14" fmla="*/ 75766 w 135016"/>
                <a:gd name="connsiteY14" fmla="*/ 48016 h 141446"/>
                <a:gd name="connsiteX15" fmla="*/ 66187 w 135016"/>
                <a:gd name="connsiteY15" fmla="*/ 43965 h 141446"/>
                <a:gd name="connsiteX16" fmla="*/ 55514 w 135016"/>
                <a:gd name="connsiteY16" fmla="*/ 33357 h 141446"/>
                <a:gd name="connsiteX17" fmla="*/ 34619 w 135016"/>
                <a:gd name="connsiteY17" fmla="*/ 14583 h 141446"/>
                <a:gd name="connsiteX18" fmla="*/ 16616 w 135016"/>
                <a:gd name="connsiteY18" fmla="*/ 6160 h 141446"/>
                <a:gd name="connsiteX19" fmla="*/ 414 w 135016"/>
                <a:gd name="connsiteY19" fmla="*/ 1338 h 141446"/>
                <a:gd name="connsiteX20" fmla="*/ 17324 w 135016"/>
                <a:gd name="connsiteY20" fmla="*/ 25256 h 141446"/>
                <a:gd name="connsiteX21" fmla="*/ 34233 w 135016"/>
                <a:gd name="connsiteY21" fmla="*/ 42872 h 141446"/>
                <a:gd name="connsiteX22" fmla="*/ 47799 w 135016"/>
                <a:gd name="connsiteY22" fmla="*/ 67883 h 141446"/>
                <a:gd name="connsiteX23" fmla="*/ 67087 w 135016"/>
                <a:gd name="connsiteY23" fmla="*/ 96557 h 141446"/>
                <a:gd name="connsiteX24" fmla="*/ 85089 w 135016"/>
                <a:gd name="connsiteY24" fmla="*/ 117839 h 141446"/>
                <a:gd name="connsiteX25" fmla="*/ 107463 w 135016"/>
                <a:gd name="connsiteY25" fmla="*/ 137127 h 141446"/>
                <a:gd name="connsiteX26" fmla="*/ 113893 w 135016"/>
                <a:gd name="connsiteY26" fmla="*/ 143556 h 141446"/>
                <a:gd name="connsiteX27" fmla="*/ 127137 w 135016"/>
                <a:gd name="connsiteY27" fmla="*/ 143942 h 141446"/>
                <a:gd name="connsiteX28" fmla="*/ 131445 w 135016"/>
                <a:gd name="connsiteY28" fmla="*/ 125490 h 14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5016" h="141446">
                  <a:moveTo>
                    <a:pt x="131445" y="125490"/>
                  </a:moveTo>
                  <a:cubicBezTo>
                    <a:pt x="131670" y="121156"/>
                    <a:pt x="132274" y="116855"/>
                    <a:pt x="133245" y="112631"/>
                  </a:cubicBezTo>
                  <a:cubicBezTo>
                    <a:pt x="133245" y="110059"/>
                    <a:pt x="135110" y="108966"/>
                    <a:pt x="138389" y="109673"/>
                  </a:cubicBezTo>
                  <a:cubicBezTo>
                    <a:pt x="141668" y="110381"/>
                    <a:pt x="141346" y="102730"/>
                    <a:pt x="138774" y="101958"/>
                  </a:cubicBezTo>
                  <a:cubicBezTo>
                    <a:pt x="136203" y="101187"/>
                    <a:pt x="134724" y="92057"/>
                    <a:pt x="128487" y="92057"/>
                  </a:cubicBezTo>
                  <a:cubicBezTo>
                    <a:pt x="122251" y="92057"/>
                    <a:pt x="123344" y="97200"/>
                    <a:pt x="127009" y="97586"/>
                  </a:cubicBezTo>
                  <a:cubicBezTo>
                    <a:pt x="130674" y="97972"/>
                    <a:pt x="132859" y="100865"/>
                    <a:pt x="131766" y="103437"/>
                  </a:cubicBezTo>
                  <a:cubicBezTo>
                    <a:pt x="130674" y="106009"/>
                    <a:pt x="129195" y="100865"/>
                    <a:pt x="124051" y="101251"/>
                  </a:cubicBezTo>
                  <a:cubicBezTo>
                    <a:pt x="118908" y="101637"/>
                    <a:pt x="122251" y="94822"/>
                    <a:pt x="116336" y="94822"/>
                  </a:cubicBezTo>
                  <a:cubicBezTo>
                    <a:pt x="110421" y="94822"/>
                    <a:pt x="111578" y="83827"/>
                    <a:pt x="105342" y="83827"/>
                  </a:cubicBezTo>
                  <a:cubicBezTo>
                    <a:pt x="99105" y="83827"/>
                    <a:pt x="98912" y="78684"/>
                    <a:pt x="102770" y="75019"/>
                  </a:cubicBezTo>
                  <a:cubicBezTo>
                    <a:pt x="106627" y="71354"/>
                    <a:pt x="96341" y="68011"/>
                    <a:pt x="96341" y="63575"/>
                  </a:cubicBezTo>
                  <a:cubicBezTo>
                    <a:pt x="96341" y="59138"/>
                    <a:pt x="89911" y="61775"/>
                    <a:pt x="89911" y="58110"/>
                  </a:cubicBezTo>
                  <a:cubicBezTo>
                    <a:pt x="89911" y="54445"/>
                    <a:pt x="86954" y="56245"/>
                    <a:pt x="83482" y="51680"/>
                  </a:cubicBezTo>
                  <a:cubicBezTo>
                    <a:pt x="80010" y="47116"/>
                    <a:pt x="78660" y="51680"/>
                    <a:pt x="75766" y="48016"/>
                  </a:cubicBezTo>
                  <a:cubicBezTo>
                    <a:pt x="72873" y="44351"/>
                    <a:pt x="68759" y="42872"/>
                    <a:pt x="66187" y="43965"/>
                  </a:cubicBezTo>
                  <a:cubicBezTo>
                    <a:pt x="63615" y="45058"/>
                    <a:pt x="57764" y="39207"/>
                    <a:pt x="55514" y="33357"/>
                  </a:cubicBezTo>
                  <a:cubicBezTo>
                    <a:pt x="53778" y="28663"/>
                    <a:pt x="36804" y="20819"/>
                    <a:pt x="34619" y="14583"/>
                  </a:cubicBezTo>
                  <a:cubicBezTo>
                    <a:pt x="32433" y="8346"/>
                    <a:pt x="26518" y="5775"/>
                    <a:pt x="16616" y="6160"/>
                  </a:cubicBezTo>
                  <a:cubicBezTo>
                    <a:pt x="6715" y="6546"/>
                    <a:pt x="2729" y="-3548"/>
                    <a:pt x="414" y="1338"/>
                  </a:cubicBezTo>
                  <a:cubicBezTo>
                    <a:pt x="-2543" y="7768"/>
                    <a:pt x="11087" y="21591"/>
                    <a:pt x="17324" y="25256"/>
                  </a:cubicBezTo>
                  <a:cubicBezTo>
                    <a:pt x="23560" y="28921"/>
                    <a:pt x="26903" y="42165"/>
                    <a:pt x="34233" y="42872"/>
                  </a:cubicBezTo>
                  <a:cubicBezTo>
                    <a:pt x="41562" y="43579"/>
                    <a:pt x="42334" y="66789"/>
                    <a:pt x="47799" y="67883"/>
                  </a:cubicBezTo>
                  <a:cubicBezTo>
                    <a:pt x="53264" y="68975"/>
                    <a:pt x="65094" y="87171"/>
                    <a:pt x="67087" y="96557"/>
                  </a:cubicBezTo>
                  <a:cubicBezTo>
                    <a:pt x="69080" y="105944"/>
                    <a:pt x="81039" y="110895"/>
                    <a:pt x="85089" y="117839"/>
                  </a:cubicBezTo>
                  <a:cubicBezTo>
                    <a:pt x="89140" y="124783"/>
                    <a:pt x="105277" y="134362"/>
                    <a:pt x="107463" y="137127"/>
                  </a:cubicBezTo>
                  <a:cubicBezTo>
                    <a:pt x="109649" y="139891"/>
                    <a:pt x="111900" y="146707"/>
                    <a:pt x="113893" y="143556"/>
                  </a:cubicBezTo>
                  <a:cubicBezTo>
                    <a:pt x="115886" y="140406"/>
                    <a:pt x="123473" y="143556"/>
                    <a:pt x="127137" y="143942"/>
                  </a:cubicBezTo>
                  <a:cubicBezTo>
                    <a:pt x="130802" y="144328"/>
                    <a:pt x="131766" y="130762"/>
                    <a:pt x="131445" y="125490"/>
                  </a:cubicBezTo>
                  <a:close/>
                </a:path>
              </a:pathLst>
            </a:custGeom>
            <a:solidFill>
              <a:srgbClr val="00938B"/>
            </a:solidFill>
            <a:ln w="6429" cap="flat">
              <a:noFill/>
              <a:prstDash val="solid"/>
              <a:miter/>
            </a:ln>
          </p:spPr>
          <p:txBody>
            <a:bodyPr rtlCol="0" anchor="ctr"/>
            <a:lstStyle/>
            <a:p>
              <a:endParaRPr lang="en-GB" sz="2400"/>
            </a:p>
          </p:txBody>
        </p:sp>
        <p:sp>
          <p:nvSpPr>
            <p:cNvPr id="327" name="Freeform 117">
              <a:extLst>
                <a:ext uri="{FF2B5EF4-FFF2-40B4-BE49-F238E27FC236}">
                  <a16:creationId xmlns:a16="http://schemas.microsoft.com/office/drawing/2014/main" id="{C5F067DA-7349-4274-B1B8-DF4BFF94876E}"/>
                </a:ext>
              </a:extLst>
            </p:cNvPr>
            <p:cNvSpPr/>
            <p:nvPr/>
          </p:nvSpPr>
          <p:spPr>
            <a:xfrm>
              <a:off x="5694004" y="3021854"/>
              <a:ext cx="122158" cy="32147"/>
            </a:xfrm>
            <a:custGeom>
              <a:avLst/>
              <a:gdLst>
                <a:gd name="connsiteX0" fmla="*/ 109214 w 122158"/>
                <a:gd name="connsiteY0" fmla="*/ 33318 h 32146"/>
                <a:gd name="connsiteX1" fmla="*/ 123874 w 122158"/>
                <a:gd name="connsiteY1" fmla="*/ 33704 h 32146"/>
                <a:gd name="connsiteX2" fmla="*/ 111401 w 122158"/>
                <a:gd name="connsiteY2" fmla="*/ 25988 h 32146"/>
                <a:gd name="connsiteX3" fmla="*/ 89733 w 122158"/>
                <a:gd name="connsiteY3" fmla="*/ 22710 h 32146"/>
                <a:gd name="connsiteX4" fmla="*/ 102206 w 122158"/>
                <a:gd name="connsiteY4" fmla="*/ 14223 h 32146"/>
                <a:gd name="connsiteX5" fmla="*/ 87548 w 122158"/>
                <a:gd name="connsiteY5" fmla="*/ 13901 h 32146"/>
                <a:gd name="connsiteX6" fmla="*/ 61830 w 122158"/>
                <a:gd name="connsiteY6" fmla="*/ 10944 h 32146"/>
                <a:gd name="connsiteX7" fmla="*/ 35341 w 122158"/>
                <a:gd name="connsiteY7" fmla="*/ 5029 h 32146"/>
                <a:gd name="connsiteX8" fmla="*/ 6280 w 122158"/>
                <a:gd name="connsiteY8" fmla="*/ 3550 h 32146"/>
                <a:gd name="connsiteX9" fmla="*/ 430 w 122158"/>
                <a:gd name="connsiteY9" fmla="*/ 10944 h 32146"/>
                <a:gd name="connsiteX10" fmla="*/ 9624 w 122158"/>
                <a:gd name="connsiteY10" fmla="*/ 12744 h 32146"/>
                <a:gd name="connsiteX11" fmla="*/ 16053 w 122158"/>
                <a:gd name="connsiteY11" fmla="*/ 19752 h 32146"/>
                <a:gd name="connsiteX12" fmla="*/ 38106 w 122158"/>
                <a:gd name="connsiteY12" fmla="*/ 21616 h 32146"/>
                <a:gd name="connsiteX13" fmla="*/ 61637 w 122158"/>
                <a:gd name="connsiteY13" fmla="*/ 27467 h 32146"/>
                <a:gd name="connsiteX14" fmla="*/ 92498 w 122158"/>
                <a:gd name="connsiteY14" fmla="*/ 32611 h 32146"/>
                <a:gd name="connsiteX15" fmla="*/ 109214 w 122158"/>
                <a:gd name="connsiteY15" fmla="*/ 33318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2158" h="32146">
                  <a:moveTo>
                    <a:pt x="109214" y="33318"/>
                  </a:moveTo>
                  <a:cubicBezTo>
                    <a:pt x="111786" y="29653"/>
                    <a:pt x="116544" y="39233"/>
                    <a:pt x="123874" y="33704"/>
                  </a:cubicBezTo>
                  <a:cubicBezTo>
                    <a:pt x="131203" y="28175"/>
                    <a:pt x="111786" y="30425"/>
                    <a:pt x="111401" y="25988"/>
                  </a:cubicBezTo>
                  <a:cubicBezTo>
                    <a:pt x="111015" y="21552"/>
                    <a:pt x="96677" y="25603"/>
                    <a:pt x="89733" y="22710"/>
                  </a:cubicBezTo>
                  <a:cubicBezTo>
                    <a:pt x="82790" y="19816"/>
                    <a:pt x="97449" y="17180"/>
                    <a:pt x="102206" y="14223"/>
                  </a:cubicBezTo>
                  <a:cubicBezTo>
                    <a:pt x="106964" y="11265"/>
                    <a:pt x="99249" y="10172"/>
                    <a:pt x="87548" y="13901"/>
                  </a:cubicBezTo>
                  <a:cubicBezTo>
                    <a:pt x="75846" y="17630"/>
                    <a:pt x="61830" y="5800"/>
                    <a:pt x="61830" y="10944"/>
                  </a:cubicBezTo>
                  <a:cubicBezTo>
                    <a:pt x="61830" y="16087"/>
                    <a:pt x="40484" y="8693"/>
                    <a:pt x="35341" y="5029"/>
                  </a:cubicBezTo>
                  <a:cubicBezTo>
                    <a:pt x="30198" y="1364"/>
                    <a:pt x="10331" y="-3394"/>
                    <a:pt x="6280" y="3550"/>
                  </a:cubicBezTo>
                  <a:cubicBezTo>
                    <a:pt x="2230" y="10494"/>
                    <a:pt x="-1242" y="4321"/>
                    <a:pt x="430" y="10944"/>
                  </a:cubicBezTo>
                  <a:cubicBezTo>
                    <a:pt x="1522" y="15316"/>
                    <a:pt x="6280" y="12744"/>
                    <a:pt x="9624" y="12744"/>
                  </a:cubicBezTo>
                  <a:cubicBezTo>
                    <a:pt x="12967" y="12744"/>
                    <a:pt x="11488" y="19173"/>
                    <a:pt x="16053" y="19752"/>
                  </a:cubicBezTo>
                  <a:cubicBezTo>
                    <a:pt x="20618" y="20331"/>
                    <a:pt x="36627" y="24895"/>
                    <a:pt x="38106" y="21616"/>
                  </a:cubicBezTo>
                  <a:cubicBezTo>
                    <a:pt x="39584" y="18337"/>
                    <a:pt x="54243" y="21616"/>
                    <a:pt x="61637" y="27467"/>
                  </a:cubicBezTo>
                  <a:cubicBezTo>
                    <a:pt x="69031" y="33318"/>
                    <a:pt x="85876" y="33897"/>
                    <a:pt x="92498" y="32611"/>
                  </a:cubicBezTo>
                  <a:cubicBezTo>
                    <a:pt x="99120" y="31325"/>
                    <a:pt x="106643" y="36983"/>
                    <a:pt x="109214" y="33318"/>
                  </a:cubicBezTo>
                  <a:close/>
                </a:path>
              </a:pathLst>
            </a:custGeom>
            <a:solidFill>
              <a:srgbClr val="00938B"/>
            </a:solidFill>
            <a:ln w="6429" cap="flat">
              <a:noFill/>
              <a:prstDash val="solid"/>
              <a:miter/>
            </a:ln>
          </p:spPr>
          <p:txBody>
            <a:bodyPr rtlCol="0" anchor="ctr"/>
            <a:lstStyle/>
            <a:p>
              <a:endParaRPr lang="en-GB" sz="2400"/>
            </a:p>
          </p:txBody>
        </p:sp>
        <p:sp>
          <p:nvSpPr>
            <p:cNvPr id="328" name="Freeform 118">
              <a:extLst>
                <a:ext uri="{FF2B5EF4-FFF2-40B4-BE49-F238E27FC236}">
                  <a16:creationId xmlns:a16="http://schemas.microsoft.com/office/drawing/2014/main" id="{2876A46A-1F9F-44AC-9A25-43FAC7328476}"/>
                </a:ext>
              </a:extLst>
            </p:cNvPr>
            <p:cNvSpPr/>
            <p:nvPr/>
          </p:nvSpPr>
          <p:spPr>
            <a:xfrm>
              <a:off x="5856667" y="2927747"/>
              <a:ext cx="77153" cy="90011"/>
            </a:xfrm>
            <a:custGeom>
              <a:avLst/>
              <a:gdLst>
                <a:gd name="connsiteX0" fmla="*/ 12322 w 77152"/>
                <a:gd name="connsiteY0" fmla="*/ 28991 h 90011"/>
                <a:gd name="connsiteX1" fmla="*/ 2357 w 77152"/>
                <a:gd name="connsiteY1" fmla="*/ 52844 h 90011"/>
                <a:gd name="connsiteX2" fmla="*/ 10072 w 77152"/>
                <a:gd name="connsiteY2" fmla="*/ 65702 h 90011"/>
                <a:gd name="connsiteX3" fmla="*/ 13801 w 77152"/>
                <a:gd name="connsiteY3" fmla="*/ 78561 h 90011"/>
                <a:gd name="connsiteX4" fmla="*/ 15280 w 77152"/>
                <a:gd name="connsiteY4" fmla="*/ 92899 h 90011"/>
                <a:gd name="connsiteX5" fmla="*/ 21709 w 77152"/>
                <a:gd name="connsiteY5" fmla="*/ 80811 h 90011"/>
                <a:gd name="connsiteX6" fmla="*/ 20231 w 77152"/>
                <a:gd name="connsiteY6" fmla="*/ 57987 h 90011"/>
                <a:gd name="connsiteX7" fmla="*/ 28267 w 77152"/>
                <a:gd name="connsiteY7" fmla="*/ 63131 h 90011"/>
                <a:gd name="connsiteX8" fmla="*/ 34697 w 77152"/>
                <a:gd name="connsiteY8" fmla="*/ 75668 h 90011"/>
                <a:gd name="connsiteX9" fmla="*/ 46077 w 77152"/>
                <a:gd name="connsiteY9" fmla="*/ 77082 h 90011"/>
                <a:gd name="connsiteX10" fmla="*/ 46784 w 77152"/>
                <a:gd name="connsiteY10" fmla="*/ 67567 h 90011"/>
                <a:gd name="connsiteX11" fmla="*/ 44212 w 77152"/>
                <a:gd name="connsiteY11" fmla="*/ 53229 h 90011"/>
                <a:gd name="connsiteX12" fmla="*/ 40162 w 77152"/>
                <a:gd name="connsiteY12" fmla="*/ 42942 h 90011"/>
                <a:gd name="connsiteX13" fmla="*/ 58935 w 77152"/>
                <a:gd name="connsiteY13" fmla="*/ 29376 h 90011"/>
                <a:gd name="connsiteX14" fmla="*/ 33540 w 77152"/>
                <a:gd name="connsiteY14" fmla="*/ 36706 h 90011"/>
                <a:gd name="connsiteX15" fmla="*/ 18109 w 77152"/>
                <a:gd name="connsiteY15" fmla="*/ 24554 h 90011"/>
                <a:gd name="connsiteX16" fmla="*/ 59321 w 77152"/>
                <a:gd name="connsiteY16" fmla="*/ 15361 h 90011"/>
                <a:gd name="connsiteX17" fmla="*/ 80988 w 77152"/>
                <a:gd name="connsiteY17" fmla="*/ 2502 h 90011"/>
                <a:gd name="connsiteX18" fmla="*/ 67744 w 77152"/>
                <a:gd name="connsiteY18" fmla="*/ 7645 h 90011"/>
                <a:gd name="connsiteX19" fmla="*/ 36497 w 77152"/>
                <a:gd name="connsiteY19" fmla="*/ 4366 h 90011"/>
                <a:gd name="connsiteX20" fmla="*/ 21452 w 77152"/>
                <a:gd name="connsiteY20" fmla="*/ 10796 h 90011"/>
                <a:gd name="connsiteX21" fmla="*/ 12322 w 77152"/>
                <a:gd name="connsiteY21" fmla="*/ 28991 h 9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152" h="90011">
                  <a:moveTo>
                    <a:pt x="12322" y="28991"/>
                  </a:moveTo>
                  <a:cubicBezTo>
                    <a:pt x="8979" y="30791"/>
                    <a:pt x="8979" y="42171"/>
                    <a:pt x="2357" y="52844"/>
                  </a:cubicBezTo>
                  <a:cubicBezTo>
                    <a:pt x="-4265" y="63516"/>
                    <a:pt x="4607" y="64995"/>
                    <a:pt x="10072" y="65702"/>
                  </a:cubicBezTo>
                  <a:cubicBezTo>
                    <a:pt x="15537" y="66410"/>
                    <a:pt x="14894" y="74125"/>
                    <a:pt x="13801" y="78561"/>
                  </a:cubicBezTo>
                  <a:cubicBezTo>
                    <a:pt x="12708" y="82997"/>
                    <a:pt x="10458" y="94699"/>
                    <a:pt x="15280" y="92899"/>
                  </a:cubicBezTo>
                  <a:cubicBezTo>
                    <a:pt x="21131" y="90713"/>
                    <a:pt x="24795" y="83383"/>
                    <a:pt x="21709" y="80811"/>
                  </a:cubicBezTo>
                  <a:cubicBezTo>
                    <a:pt x="18623" y="78240"/>
                    <a:pt x="18752" y="62038"/>
                    <a:pt x="20231" y="57987"/>
                  </a:cubicBezTo>
                  <a:cubicBezTo>
                    <a:pt x="21709" y="53937"/>
                    <a:pt x="31610" y="56894"/>
                    <a:pt x="28267" y="63131"/>
                  </a:cubicBezTo>
                  <a:cubicBezTo>
                    <a:pt x="24924" y="69367"/>
                    <a:pt x="34697" y="68660"/>
                    <a:pt x="34697" y="75668"/>
                  </a:cubicBezTo>
                  <a:cubicBezTo>
                    <a:pt x="34697" y="82676"/>
                    <a:pt x="40162" y="78947"/>
                    <a:pt x="46077" y="77082"/>
                  </a:cubicBezTo>
                  <a:cubicBezTo>
                    <a:pt x="51992" y="75218"/>
                    <a:pt x="50834" y="71939"/>
                    <a:pt x="46784" y="67567"/>
                  </a:cubicBezTo>
                  <a:cubicBezTo>
                    <a:pt x="42734" y="63195"/>
                    <a:pt x="49741" y="56894"/>
                    <a:pt x="44212" y="53229"/>
                  </a:cubicBezTo>
                  <a:cubicBezTo>
                    <a:pt x="38683" y="49565"/>
                    <a:pt x="35018" y="44035"/>
                    <a:pt x="40162" y="42942"/>
                  </a:cubicBezTo>
                  <a:cubicBezTo>
                    <a:pt x="45305" y="41849"/>
                    <a:pt x="60736" y="33041"/>
                    <a:pt x="58935" y="29376"/>
                  </a:cubicBezTo>
                  <a:cubicBezTo>
                    <a:pt x="57135" y="25712"/>
                    <a:pt x="35404" y="30084"/>
                    <a:pt x="33540" y="36706"/>
                  </a:cubicBezTo>
                  <a:cubicBezTo>
                    <a:pt x="31675" y="43328"/>
                    <a:pt x="16309" y="35934"/>
                    <a:pt x="18109" y="24554"/>
                  </a:cubicBezTo>
                  <a:cubicBezTo>
                    <a:pt x="19909" y="13175"/>
                    <a:pt x="50256" y="11310"/>
                    <a:pt x="59321" y="15361"/>
                  </a:cubicBezTo>
                  <a:cubicBezTo>
                    <a:pt x="68387" y="19411"/>
                    <a:pt x="77645" y="8931"/>
                    <a:pt x="80988" y="2502"/>
                  </a:cubicBezTo>
                  <a:cubicBezTo>
                    <a:pt x="84331" y="-3928"/>
                    <a:pt x="73980" y="3595"/>
                    <a:pt x="67744" y="7645"/>
                  </a:cubicBezTo>
                  <a:cubicBezTo>
                    <a:pt x="61507" y="11696"/>
                    <a:pt x="44984" y="7324"/>
                    <a:pt x="36497" y="4366"/>
                  </a:cubicBezTo>
                  <a:cubicBezTo>
                    <a:pt x="28010" y="1409"/>
                    <a:pt x="28396" y="9510"/>
                    <a:pt x="21452" y="10796"/>
                  </a:cubicBezTo>
                  <a:cubicBezTo>
                    <a:pt x="14508" y="12081"/>
                    <a:pt x="15601" y="27126"/>
                    <a:pt x="12322" y="28991"/>
                  </a:cubicBezTo>
                  <a:close/>
                </a:path>
              </a:pathLst>
            </a:custGeom>
            <a:solidFill>
              <a:srgbClr val="00938B"/>
            </a:solidFill>
            <a:ln w="6429" cap="flat">
              <a:noFill/>
              <a:prstDash val="solid"/>
              <a:miter/>
            </a:ln>
          </p:spPr>
          <p:txBody>
            <a:bodyPr rtlCol="0" anchor="ctr"/>
            <a:lstStyle/>
            <a:p>
              <a:endParaRPr lang="en-GB" sz="2400"/>
            </a:p>
          </p:txBody>
        </p:sp>
        <p:sp>
          <p:nvSpPr>
            <p:cNvPr id="329" name="Freeform 119">
              <a:extLst>
                <a:ext uri="{FF2B5EF4-FFF2-40B4-BE49-F238E27FC236}">
                  <a16:creationId xmlns:a16="http://schemas.microsoft.com/office/drawing/2014/main" id="{31FE56F2-933F-4031-A252-451F0AEDE075}"/>
                </a:ext>
              </a:extLst>
            </p:cNvPr>
            <p:cNvSpPr/>
            <p:nvPr/>
          </p:nvSpPr>
          <p:spPr>
            <a:xfrm>
              <a:off x="6010684" y="2952847"/>
              <a:ext cx="244315" cy="128588"/>
            </a:xfrm>
            <a:custGeom>
              <a:avLst/>
              <a:gdLst>
                <a:gd name="connsiteX0" fmla="*/ 7082 w 244316"/>
                <a:gd name="connsiteY0" fmla="*/ 14499 h 128587"/>
                <a:gd name="connsiteX1" fmla="*/ 14091 w 244316"/>
                <a:gd name="connsiteY1" fmla="*/ 22986 h 128587"/>
                <a:gd name="connsiteX2" fmla="*/ 33893 w 244316"/>
                <a:gd name="connsiteY2" fmla="*/ 24079 h 128587"/>
                <a:gd name="connsiteX3" fmla="*/ 32800 w 244316"/>
                <a:gd name="connsiteY3" fmla="*/ 27744 h 128587"/>
                <a:gd name="connsiteX4" fmla="*/ 22191 w 244316"/>
                <a:gd name="connsiteY4" fmla="*/ 29608 h 128587"/>
                <a:gd name="connsiteX5" fmla="*/ 14798 w 244316"/>
                <a:gd name="connsiteY5" fmla="*/ 31409 h 128587"/>
                <a:gd name="connsiteX6" fmla="*/ 22513 w 244316"/>
                <a:gd name="connsiteY6" fmla="*/ 42467 h 128587"/>
                <a:gd name="connsiteX7" fmla="*/ 31000 w 244316"/>
                <a:gd name="connsiteY7" fmla="*/ 42467 h 128587"/>
                <a:gd name="connsiteX8" fmla="*/ 43859 w 244316"/>
                <a:gd name="connsiteY8" fmla="*/ 46132 h 128587"/>
                <a:gd name="connsiteX9" fmla="*/ 54853 w 244316"/>
                <a:gd name="connsiteY9" fmla="*/ 51982 h 128587"/>
                <a:gd name="connsiteX10" fmla="*/ 89764 w 244316"/>
                <a:gd name="connsiteY10" fmla="*/ 64134 h 128587"/>
                <a:gd name="connsiteX11" fmla="*/ 96772 w 244316"/>
                <a:gd name="connsiteY11" fmla="*/ 78472 h 128587"/>
                <a:gd name="connsiteX12" fmla="*/ 96387 w 244316"/>
                <a:gd name="connsiteY12" fmla="*/ 89466 h 128587"/>
                <a:gd name="connsiteX13" fmla="*/ 84621 w 244316"/>
                <a:gd name="connsiteY13" fmla="*/ 99431 h 128587"/>
                <a:gd name="connsiteX14" fmla="*/ 113296 w 244316"/>
                <a:gd name="connsiteY14" fmla="*/ 97953 h 128587"/>
                <a:gd name="connsiteX15" fmla="*/ 126540 w 244316"/>
                <a:gd name="connsiteY15" fmla="*/ 108240 h 128587"/>
                <a:gd name="connsiteX16" fmla="*/ 139399 w 244316"/>
                <a:gd name="connsiteY16" fmla="*/ 112612 h 128587"/>
                <a:gd name="connsiteX17" fmla="*/ 154508 w 244316"/>
                <a:gd name="connsiteY17" fmla="*/ 104189 h 128587"/>
                <a:gd name="connsiteX18" fmla="*/ 161838 w 244316"/>
                <a:gd name="connsiteY18" fmla="*/ 94995 h 128587"/>
                <a:gd name="connsiteX19" fmla="*/ 187941 w 244316"/>
                <a:gd name="connsiteY19" fmla="*/ 100846 h 128587"/>
                <a:gd name="connsiteX20" fmla="*/ 215137 w 244316"/>
                <a:gd name="connsiteY20" fmla="*/ 125149 h 128587"/>
                <a:gd name="connsiteX21" fmla="*/ 241176 w 244316"/>
                <a:gd name="connsiteY21" fmla="*/ 129907 h 128587"/>
                <a:gd name="connsiteX22" fmla="*/ 239376 w 244316"/>
                <a:gd name="connsiteY22" fmla="*/ 122191 h 128587"/>
                <a:gd name="connsiteX23" fmla="*/ 230568 w 244316"/>
                <a:gd name="connsiteY23" fmla="*/ 113769 h 128587"/>
                <a:gd name="connsiteX24" fmla="*/ 218030 w 244316"/>
                <a:gd name="connsiteY24" fmla="*/ 107854 h 128587"/>
                <a:gd name="connsiteX25" fmla="*/ 209222 w 244316"/>
                <a:gd name="connsiteY25" fmla="*/ 91330 h 128587"/>
                <a:gd name="connsiteX26" fmla="*/ 206264 w 244316"/>
                <a:gd name="connsiteY26" fmla="*/ 81043 h 128587"/>
                <a:gd name="connsiteX27" fmla="*/ 208901 w 244316"/>
                <a:gd name="connsiteY27" fmla="*/ 72942 h 128587"/>
                <a:gd name="connsiteX28" fmla="*/ 184212 w 244316"/>
                <a:gd name="connsiteY28" fmla="*/ 59376 h 128587"/>
                <a:gd name="connsiteX29" fmla="*/ 135413 w 244316"/>
                <a:gd name="connsiteY29" fmla="*/ 32501 h 128587"/>
                <a:gd name="connsiteX30" fmla="*/ 126219 w 244316"/>
                <a:gd name="connsiteY30" fmla="*/ 29866 h 128587"/>
                <a:gd name="connsiteX31" fmla="*/ 83592 w 244316"/>
                <a:gd name="connsiteY31" fmla="*/ 14885 h 128587"/>
                <a:gd name="connsiteX32" fmla="*/ 72533 w 244316"/>
                <a:gd name="connsiteY32" fmla="*/ 24786 h 128587"/>
                <a:gd name="connsiteX33" fmla="*/ 52345 w 244316"/>
                <a:gd name="connsiteY33" fmla="*/ 37645 h 128587"/>
                <a:gd name="connsiteX34" fmla="*/ 39101 w 244316"/>
                <a:gd name="connsiteY34" fmla="*/ 6720 h 128587"/>
                <a:gd name="connsiteX35" fmla="*/ 10812 w 244316"/>
                <a:gd name="connsiteY35" fmla="*/ 3055 h 128587"/>
                <a:gd name="connsiteX36" fmla="*/ 139 w 244316"/>
                <a:gd name="connsiteY36" fmla="*/ 11156 h 128587"/>
                <a:gd name="connsiteX37" fmla="*/ 7082 w 244316"/>
                <a:gd name="connsiteY37" fmla="*/ 14499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44316" h="128587">
                  <a:moveTo>
                    <a:pt x="7082" y="14499"/>
                  </a:moveTo>
                  <a:cubicBezTo>
                    <a:pt x="11840" y="14499"/>
                    <a:pt x="11840" y="18228"/>
                    <a:pt x="14091" y="22986"/>
                  </a:cubicBezTo>
                  <a:cubicBezTo>
                    <a:pt x="16341" y="27744"/>
                    <a:pt x="29521" y="24465"/>
                    <a:pt x="33893" y="24079"/>
                  </a:cubicBezTo>
                  <a:cubicBezTo>
                    <a:pt x="38265" y="23693"/>
                    <a:pt x="39037" y="29994"/>
                    <a:pt x="32800" y="27744"/>
                  </a:cubicBezTo>
                  <a:cubicBezTo>
                    <a:pt x="26564" y="25493"/>
                    <a:pt x="26371" y="30701"/>
                    <a:pt x="22191" y="29608"/>
                  </a:cubicBezTo>
                  <a:cubicBezTo>
                    <a:pt x="18013" y="28515"/>
                    <a:pt x="11840" y="28837"/>
                    <a:pt x="14798" y="31409"/>
                  </a:cubicBezTo>
                  <a:cubicBezTo>
                    <a:pt x="17755" y="33980"/>
                    <a:pt x="22513" y="36552"/>
                    <a:pt x="22513" y="42467"/>
                  </a:cubicBezTo>
                  <a:cubicBezTo>
                    <a:pt x="22513" y="48382"/>
                    <a:pt x="31000" y="47225"/>
                    <a:pt x="31000" y="42467"/>
                  </a:cubicBezTo>
                  <a:cubicBezTo>
                    <a:pt x="31000" y="37709"/>
                    <a:pt x="35372" y="43946"/>
                    <a:pt x="43859" y="46132"/>
                  </a:cubicBezTo>
                  <a:cubicBezTo>
                    <a:pt x="52345" y="48318"/>
                    <a:pt x="46430" y="51661"/>
                    <a:pt x="54853" y="51982"/>
                  </a:cubicBezTo>
                  <a:cubicBezTo>
                    <a:pt x="67217" y="53513"/>
                    <a:pt x="79117" y="57653"/>
                    <a:pt x="89764" y="64134"/>
                  </a:cubicBezTo>
                  <a:cubicBezTo>
                    <a:pt x="97158" y="69663"/>
                    <a:pt x="91950" y="73328"/>
                    <a:pt x="96772" y="78472"/>
                  </a:cubicBezTo>
                  <a:cubicBezTo>
                    <a:pt x="101594" y="83615"/>
                    <a:pt x="103202" y="89466"/>
                    <a:pt x="96387" y="89466"/>
                  </a:cubicBezTo>
                  <a:cubicBezTo>
                    <a:pt x="89571" y="89466"/>
                    <a:pt x="82821" y="95895"/>
                    <a:pt x="84621" y="99431"/>
                  </a:cubicBezTo>
                  <a:cubicBezTo>
                    <a:pt x="86421" y="102968"/>
                    <a:pt x="108152" y="97953"/>
                    <a:pt x="113296" y="97953"/>
                  </a:cubicBezTo>
                  <a:cubicBezTo>
                    <a:pt x="116639" y="97953"/>
                    <a:pt x="120047" y="103932"/>
                    <a:pt x="126540" y="108240"/>
                  </a:cubicBezTo>
                  <a:cubicBezTo>
                    <a:pt x="130340" y="110863"/>
                    <a:pt x="134789" y="112374"/>
                    <a:pt x="139399" y="112612"/>
                  </a:cubicBezTo>
                  <a:cubicBezTo>
                    <a:pt x="155601" y="113383"/>
                    <a:pt x="151551" y="104189"/>
                    <a:pt x="154508" y="104189"/>
                  </a:cubicBezTo>
                  <a:cubicBezTo>
                    <a:pt x="157466" y="104189"/>
                    <a:pt x="158559" y="99046"/>
                    <a:pt x="161838" y="94995"/>
                  </a:cubicBezTo>
                  <a:cubicBezTo>
                    <a:pt x="165117" y="90945"/>
                    <a:pt x="179454" y="94288"/>
                    <a:pt x="187941" y="100846"/>
                  </a:cubicBezTo>
                  <a:cubicBezTo>
                    <a:pt x="196428" y="107404"/>
                    <a:pt x="206264" y="126949"/>
                    <a:pt x="215137" y="125149"/>
                  </a:cubicBezTo>
                  <a:cubicBezTo>
                    <a:pt x="224010" y="123349"/>
                    <a:pt x="233140" y="130292"/>
                    <a:pt x="241176" y="129907"/>
                  </a:cubicBezTo>
                  <a:cubicBezTo>
                    <a:pt x="249213" y="129521"/>
                    <a:pt x="241948" y="123477"/>
                    <a:pt x="239376" y="122191"/>
                  </a:cubicBezTo>
                  <a:cubicBezTo>
                    <a:pt x="236804" y="120905"/>
                    <a:pt x="230182" y="116662"/>
                    <a:pt x="230568" y="113769"/>
                  </a:cubicBezTo>
                  <a:cubicBezTo>
                    <a:pt x="230953" y="110876"/>
                    <a:pt x="223174" y="111197"/>
                    <a:pt x="218030" y="107854"/>
                  </a:cubicBezTo>
                  <a:cubicBezTo>
                    <a:pt x="212887" y="104511"/>
                    <a:pt x="214751" y="93902"/>
                    <a:pt x="209222" y="91330"/>
                  </a:cubicBezTo>
                  <a:cubicBezTo>
                    <a:pt x="203693" y="88759"/>
                    <a:pt x="199707" y="80658"/>
                    <a:pt x="206264" y="81043"/>
                  </a:cubicBezTo>
                  <a:cubicBezTo>
                    <a:pt x="212822" y="81429"/>
                    <a:pt x="213980" y="77700"/>
                    <a:pt x="208901" y="72942"/>
                  </a:cubicBezTo>
                  <a:cubicBezTo>
                    <a:pt x="203821" y="68185"/>
                    <a:pt x="184983" y="66513"/>
                    <a:pt x="184212" y="59376"/>
                  </a:cubicBezTo>
                  <a:cubicBezTo>
                    <a:pt x="183440" y="52240"/>
                    <a:pt x="150072" y="35845"/>
                    <a:pt x="135413" y="32501"/>
                  </a:cubicBezTo>
                  <a:cubicBezTo>
                    <a:pt x="132777" y="31923"/>
                    <a:pt x="129626" y="30959"/>
                    <a:pt x="126219" y="29866"/>
                  </a:cubicBezTo>
                  <a:cubicBezTo>
                    <a:pt x="110274" y="24465"/>
                    <a:pt x="88092" y="14628"/>
                    <a:pt x="83592" y="14885"/>
                  </a:cubicBezTo>
                  <a:cubicBezTo>
                    <a:pt x="78063" y="15271"/>
                    <a:pt x="77163" y="24786"/>
                    <a:pt x="72533" y="24786"/>
                  </a:cubicBezTo>
                  <a:cubicBezTo>
                    <a:pt x="67905" y="24786"/>
                    <a:pt x="61154" y="34752"/>
                    <a:pt x="52345" y="37645"/>
                  </a:cubicBezTo>
                  <a:cubicBezTo>
                    <a:pt x="43537" y="40538"/>
                    <a:pt x="43151" y="12249"/>
                    <a:pt x="39101" y="6720"/>
                  </a:cubicBezTo>
                  <a:cubicBezTo>
                    <a:pt x="35050" y="1190"/>
                    <a:pt x="12997" y="-3181"/>
                    <a:pt x="10812" y="3055"/>
                  </a:cubicBezTo>
                  <a:cubicBezTo>
                    <a:pt x="8625" y="9292"/>
                    <a:pt x="974" y="6013"/>
                    <a:pt x="139" y="11156"/>
                  </a:cubicBezTo>
                  <a:cubicBezTo>
                    <a:pt x="-697" y="16300"/>
                    <a:pt x="2325" y="14499"/>
                    <a:pt x="7082" y="14499"/>
                  </a:cubicBezTo>
                  <a:close/>
                </a:path>
              </a:pathLst>
            </a:custGeom>
            <a:solidFill>
              <a:srgbClr val="00938B"/>
            </a:solidFill>
            <a:ln w="6429" cap="flat">
              <a:noFill/>
              <a:prstDash val="solid"/>
              <a:miter/>
            </a:ln>
          </p:spPr>
          <p:txBody>
            <a:bodyPr rtlCol="0" anchor="ctr"/>
            <a:lstStyle/>
            <a:p>
              <a:endParaRPr lang="en-GB" sz="2400"/>
            </a:p>
          </p:txBody>
        </p:sp>
        <p:sp>
          <p:nvSpPr>
            <p:cNvPr id="330" name="Freeform 120">
              <a:extLst>
                <a:ext uri="{FF2B5EF4-FFF2-40B4-BE49-F238E27FC236}">
                  <a16:creationId xmlns:a16="http://schemas.microsoft.com/office/drawing/2014/main" id="{BE6FEDC0-C734-42A4-9F0F-EDD2DEBDCBC7}"/>
                </a:ext>
              </a:extLst>
            </p:cNvPr>
            <p:cNvSpPr/>
            <p:nvPr/>
          </p:nvSpPr>
          <p:spPr>
            <a:xfrm>
              <a:off x="5966088" y="2923530"/>
              <a:ext cx="12859" cy="25718"/>
            </a:xfrm>
            <a:custGeom>
              <a:avLst/>
              <a:gdLst>
                <a:gd name="connsiteX0" fmla="*/ 13487 w 12858"/>
                <a:gd name="connsiteY0" fmla="*/ 20350 h 25717"/>
                <a:gd name="connsiteX1" fmla="*/ 17859 w 12858"/>
                <a:gd name="connsiteY1" fmla="*/ 11156 h 25717"/>
                <a:gd name="connsiteX2" fmla="*/ 10529 w 12858"/>
                <a:gd name="connsiteY2" fmla="*/ 7812 h 25717"/>
                <a:gd name="connsiteX3" fmla="*/ 2107 w 12858"/>
                <a:gd name="connsiteY3" fmla="*/ 3055 h 25717"/>
                <a:gd name="connsiteX4" fmla="*/ 8536 w 12858"/>
                <a:gd name="connsiteY4" fmla="*/ 30251 h 25717"/>
                <a:gd name="connsiteX5" fmla="*/ 13487 w 12858"/>
                <a:gd name="connsiteY5" fmla="*/ 20350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8" h="25717">
                  <a:moveTo>
                    <a:pt x="13487" y="20350"/>
                  </a:moveTo>
                  <a:cubicBezTo>
                    <a:pt x="21588" y="21057"/>
                    <a:pt x="17859" y="16299"/>
                    <a:pt x="17859" y="11156"/>
                  </a:cubicBezTo>
                  <a:cubicBezTo>
                    <a:pt x="17859" y="6012"/>
                    <a:pt x="10529" y="10384"/>
                    <a:pt x="10529" y="7812"/>
                  </a:cubicBezTo>
                  <a:cubicBezTo>
                    <a:pt x="10529" y="5241"/>
                    <a:pt x="7957" y="-5047"/>
                    <a:pt x="2107" y="3055"/>
                  </a:cubicBezTo>
                  <a:cubicBezTo>
                    <a:pt x="-3744" y="11156"/>
                    <a:pt x="3971" y="31087"/>
                    <a:pt x="8536" y="30251"/>
                  </a:cubicBezTo>
                  <a:cubicBezTo>
                    <a:pt x="13101" y="29415"/>
                    <a:pt x="5386" y="19578"/>
                    <a:pt x="13487" y="20350"/>
                  </a:cubicBezTo>
                  <a:close/>
                </a:path>
              </a:pathLst>
            </a:custGeom>
            <a:solidFill>
              <a:srgbClr val="00938B"/>
            </a:solidFill>
            <a:ln w="6429" cap="flat">
              <a:noFill/>
              <a:prstDash val="solid"/>
              <a:miter/>
            </a:ln>
          </p:spPr>
          <p:txBody>
            <a:bodyPr rtlCol="0" anchor="ctr"/>
            <a:lstStyle/>
            <a:p>
              <a:endParaRPr lang="en-GB" sz="2400"/>
            </a:p>
          </p:txBody>
        </p:sp>
        <p:sp>
          <p:nvSpPr>
            <p:cNvPr id="331" name="Freeform 121">
              <a:extLst>
                <a:ext uri="{FF2B5EF4-FFF2-40B4-BE49-F238E27FC236}">
                  <a16:creationId xmlns:a16="http://schemas.microsoft.com/office/drawing/2014/main" id="{4BD13385-282D-47DE-ADC2-D95CC73711AA}"/>
                </a:ext>
              </a:extLst>
            </p:cNvPr>
            <p:cNvSpPr/>
            <p:nvPr/>
          </p:nvSpPr>
          <p:spPr>
            <a:xfrm>
              <a:off x="5607026" y="2960136"/>
              <a:ext cx="6429" cy="6429"/>
            </a:xfrm>
            <a:custGeom>
              <a:avLst/>
              <a:gdLst>
                <a:gd name="connsiteX0" fmla="*/ 96 w 6429"/>
                <a:gd name="connsiteY0" fmla="*/ 1746 h 6429"/>
                <a:gd name="connsiteX1" fmla="*/ 5947 w 6429"/>
                <a:gd name="connsiteY1" fmla="*/ 8690 h 6429"/>
                <a:gd name="connsiteX2" fmla="*/ 96 w 6429"/>
                <a:gd name="connsiteY2" fmla="*/ 1746 h 6429"/>
              </a:gdLst>
              <a:ahLst/>
              <a:cxnLst>
                <a:cxn ang="0">
                  <a:pos x="connsiteX0" y="connsiteY0"/>
                </a:cxn>
                <a:cxn ang="0">
                  <a:pos x="connsiteX1" y="connsiteY1"/>
                </a:cxn>
                <a:cxn ang="0">
                  <a:pos x="connsiteX2" y="connsiteY2"/>
                </a:cxn>
              </a:cxnLst>
              <a:rect l="l" t="t" r="r" b="b"/>
              <a:pathLst>
                <a:path w="6429" h="6429">
                  <a:moveTo>
                    <a:pt x="96" y="1746"/>
                  </a:moveTo>
                  <a:cubicBezTo>
                    <a:pt x="-675" y="3546"/>
                    <a:pt x="3375" y="10940"/>
                    <a:pt x="5947" y="8690"/>
                  </a:cubicBezTo>
                  <a:cubicBezTo>
                    <a:pt x="8519" y="6439"/>
                    <a:pt x="2668" y="-4105"/>
                    <a:pt x="96" y="1746"/>
                  </a:cubicBezTo>
                  <a:close/>
                </a:path>
              </a:pathLst>
            </a:custGeom>
            <a:solidFill>
              <a:srgbClr val="00938B"/>
            </a:solidFill>
            <a:ln w="6429" cap="flat">
              <a:noFill/>
              <a:prstDash val="solid"/>
              <a:miter/>
            </a:ln>
          </p:spPr>
          <p:txBody>
            <a:bodyPr rtlCol="0" anchor="ctr"/>
            <a:lstStyle/>
            <a:p>
              <a:endParaRPr lang="en-GB" sz="2400"/>
            </a:p>
          </p:txBody>
        </p:sp>
        <p:sp>
          <p:nvSpPr>
            <p:cNvPr id="332" name="Freeform 122">
              <a:extLst>
                <a:ext uri="{FF2B5EF4-FFF2-40B4-BE49-F238E27FC236}">
                  <a16:creationId xmlns:a16="http://schemas.microsoft.com/office/drawing/2014/main" id="{399699D3-0E48-46E3-BE79-B142D718F89E}"/>
                </a:ext>
              </a:extLst>
            </p:cNvPr>
            <p:cNvSpPr/>
            <p:nvPr/>
          </p:nvSpPr>
          <p:spPr>
            <a:xfrm>
              <a:off x="5870669" y="3051693"/>
              <a:ext cx="51435" cy="6429"/>
            </a:xfrm>
            <a:custGeom>
              <a:avLst/>
              <a:gdLst>
                <a:gd name="connsiteX0" fmla="*/ 45705 w 51435"/>
                <a:gd name="connsiteY0" fmla="*/ 3865 h 6429"/>
                <a:gd name="connsiteX1" fmla="*/ 49755 w 51435"/>
                <a:gd name="connsiteY1" fmla="*/ 200 h 6429"/>
                <a:gd name="connsiteX2" fmla="*/ 23266 w 51435"/>
                <a:gd name="connsiteY2" fmla="*/ 2386 h 6429"/>
                <a:gd name="connsiteX3" fmla="*/ 121 w 51435"/>
                <a:gd name="connsiteY3" fmla="*/ 5729 h 6429"/>
                <a:gd name="connsiteX4" fmla="*/ 20373 w 51435"/>
                <a:gd name="connsiteY4" fmla="*/ 9394 h 6429"/>
                <a:gd name="connsiteX5" fmla="*/ 45705 w 51435"/>
                <a:gd name="connsiteY5" fmla="*/ 3865 h 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35" h="6429">
                  <a:moveTo>
                    <a:pt x="45705" y="3865"/>
                  </a:moveTo>
                  <a:cubicBezTo>
                    <a:pt x="52134" y="3479"/>
                    <a:pt x="59657" y="1679"/>
                    <a:pt x="49755" y="200"/>
                  </a:cubicBezTo>
                  <a:cubicBezTo>
                    <a:pt x="39854" y="-1279"/>
                    <a:pt x="33232" y="6051"/>
                    <a:pt x="23266" y="2386"/>
                  </a:cubicBezTo>
                  <a:cubicBezTo>
                    <a:pt x="13301" y="-1279"/>
                    <a:pt x="-1487" y="2386"/>
                    <a:pt x="121" y="5729"/>
                  </a:cubicBezTo>
                  <a:cubicBezTo>
                    <a:pt x="1728" y="9073"/>
                    <a:pt x="10408" y="9008"/>
                    <a:pt x="20373" y="9394"/>
                  </a:cubicBezTo>
                  <a:cubicBezTo>
                    <a:pt x="30339" y="9780"/>
                    <a:pt x="39083" y="4250"/>
                    <a:pt x="45705" y="3865"/>
                  </a:cubicBezTo>
                  <a:close/>
                </a:path>
              </a:pathLst>
            </a:custGeom>
            <a:solidFill>
              <a:srgbClr val="00938B"/>
            </a:solidFill>
            <a:ln w="6429" cap="flat">
              <a:noFill/>
              <a:prstDash val="solid"/>
              <a:miter/>
            </a:ln>
          </p:spPr>
          <p:txBody>
            <a:bodyPr rtlCol="0" anchor="ctr"/>
            <a:lstStyle/>
            <a:p>
              <a:endParaRPr lang="en-GB" sz="2400"/>
            </a:p>
          </p:txBody>
        </p:sp>
        <p:sp>
          <p:nvSpPr>
            <p:cNvPr id="333" name="Freeform 123">
              <a:extLst>
                <a:ext uri="{FF2B5EF4-FFF2-40B4-BE49-F238E27FC236}">
                  <a16:creationId xmlns:a16="http://schemas.microsoft.com/office/drawing/2014/main" id="{DD5E47C3-724F-49B2-AEA7-DD8631ED41FD}"/>
                </a:ext>
              </a:extLst>
            </p:cNvPr>
            <p:cNvSpPr/>
            <p:nvPr/>
          </p:nvSpPr>
          <p:spPr>
            <a:xfrm>
              <a:off x="5949320" y="2986662"/>
              <a:ext cx="12859" cy="6429"/>
            </a:xfrm>
            <a:custGeom>
              <a:avLst/>
              <a:gdLst>
                <a:gd name="connsiteX0" fmla="*/ 15210 w 12858"/>
                <a:gd name="connsiteY0" fmla="*/ 7173 h 6429"/>
                <a:gd name="connsiteX1" fmla="*/ 101 w 12858"/>
                <a:gd name="connsiteY1" fmla="*/ 3122 h 6429"/>
                <a:gd name="connsiteX2" fmla="*/ 15210 w 12858"/>
                <a:gd name="connsiteY2" fmla="*/ 7173 h 6429"/>
              </a:gdLst>
              <a:ahLst/>
              <a:cxnLst>
                <a:cxn ang="0">
                  <a:pos x="connsiteX0" y="connsiteY0"/>
                </a:cxn>
                <a:cxn ang="0">
                  <a:pos x="connsiteX1" y="connsiteY1"/>
                </a:cxn>
                <a:cxn ang="0">
                  <a:pos x="connsiteX2" y="connsiteY2"/>
                </a:cxn>
              </a:cxnLst>
              <a:rect l="l" t="t" r="r" b="b"/>
              <a:pathLst>
                <a:path w="12858" h="6429">
                  <a:moveTo>
                    <a:pt x="15210" y="7173"/>
                  </a:moveTo>
                  <a:cubicBezTo>
                    <a:pt x="18103" y="2030"/>
                    <a:pt x="-1571" y="-3693"/>
                    <a:pt x="101" y="3122"/>
                  </a:cubicBezTo>
                  <a:cubicBezTo>
                    <a:pt x="1773" y="9938"/>
                    <a:pt x="12253" y="12317"/>
                    <a:pt x="15210" y="7173"/>
                  </a:cubicBezTo>
                  <a:close/>
                </a:path>
              </a:pathLst>
            </a:custGeom>
            <a:solidFill>
              <a:srgbClr val="00938B"/>
            </a:solidFill>
            <a:ln w="6429" cap="flat">
              <a:noFill/>
              <a:prstDash val="solid"/>
              <a:miter/>
            </a:ln>
          </p:spPr>
          <p:txBody>
            <a:bodyPr rtlCol="0" anchor="ctr"/>
            <a:lstStyle/>
            <a:p>
              <a:endParaRPr lang="en-GB" sz="2400"/>
            </a:p>
          </p:txBody>
        </p:sp>
        <p:sp>
          <p:nvSpPr>
            <p:cNvPr id="334" name="Freeform 124">
              <a:extLst>
                <a:ext uri="{FF2B5EF4-FFF2-40B4-BE49-F238E27FC236}">
                  <a16:creationId xmlns:a16="http://schemas.microsoft.com/office/drawing/2014/main" id="{E801BABD-D42E-42CE-A751-650B5288778A}"/>
                </a:ext>
              </a:extLst>
            </p:cNvPr>
            <p:cNvSpPr/>
            <p:nvPr/>
          </p:nvSpPr>
          <p:spPr>
            <a:xfrm>
              <a:off x="5860723" y="3067626"/>
              <a:ext cx="19288" cy="6429"/>
            </a:xfrm>
            <a:custGeom>
              <a:avLst/>
              <a:gdLst>
                <a:gd name="connsiteX0" fmla="*/ 11225 w 19288"/>
                <a:gd name="connsiteY0" fmla="*/ 7027 h 6429"/>
                <a:gd name="connsiteX1" fmla="*/ 22927 w 19288"/>
                <a:gd name="connsiteY1" fmla="*/ 7799 h 6429"/>
                <a:gd name="connsiteX2" fmla="*/ 167 w 19288"/>
                <a:gd name="connsiteY2" fmla="*/ 1369 h 6429"/>
                <a:gd name="connsiteX3" fmla="*/ 11225 w 19288"/>
                <a:gd name="connsiteY3" fmla="*/ 7027 h 6429"/>
              </a:gdLst>
              <a:ahLst/>
              <a:cxnLst>
                <a:cxn ang="0">
                  <a:pos x="connsiteX0" y="connsiteY0"/>
                </a:cxn>
                <a:cxn ang="0">
                  <a:pos x="connsiteX1" y="connsiteY1"/>
                </a:cxn>
                <a:cxn ang="0">
                  <a:pos x="connsiteX2" y="connsiteY2"/>
                </a:cxn>
                <a:cxn ang="0">
                  <a:pos x="connsiteX3" y="connsiteY3"/>
                </a:cxn>
              </a:cxnLst>
              <a:rect l="l" t="t" r="r" b="b"/>
              <a:pathLst>
                <a:path w="19288" h="6429">
                  <a:moveTo>
                    <a:pt x="11225" y="7027"/>
                  </a:moveTo>
                  <a:cubicBezTo>
                    <a:pt x="13797" y="9213"/>
                    <a:pt x="22927" y="14035"/>
                    <a:pt x="22927" y="7799"/>
                  </a:cubicBezTo>
                  <a:cubicBezTo>
                    <a:pt x="22927" y="1562"/>
                    <a:pt x="-2276" y="-2167"/>
                    <a:pt x="167" y="1369"/>
                  </a:cubicBezTo>
                  <a:cubicBezTo>
                    <a:pt x="2610" y="4905"/>
                    <a:pt x="8590" y="4841"/>
                    <a:pt x="11225" y="7027"/>
                  </a:cubicBezTo>
                  <a:close/>
                </a:path>
              </a:pathLst>
            </a:custGeom>
            <a:solidFill>
              <a:srgbClr val="00938B"/>
            </a:solidFill>
            <a:ln w="6429" cap="flat">
              <a:noFill/>
              <a:prstDash val="solid"/>
              <a:miter/>
            </a:ln>
          </p:spPr>
          <p:txBody>
            <a:bodyPr rtlCol="0" anchor="ctr"/>
            <a:lstStyle/>
            <a:p>
              <a:endParaRPr lang="en-GB" sz="2400"/>
            </a:p>
          </p:txBody>
        </p:sp>
        <p:sp>
          <p:nvSpPr>
            <p:cNvPr id="335" name="Freeform 125">
              <a:extLst>
                <a:ext uri="{FF2B5EF4-FFF2-40B4-BE49-F238E27FC236}">
                  <a16:creationId xmlns:a16="http://schemas.microsoft.com/office/drawing/2014/main" id="{73C30D47-D0E7-4C6C-9766-2C69A886D5E8}"/>
                </a:ext>
              </a:extLst>
            </p:cNvPr>
            <p:cNvSpPr/>
            <p:nvPr/>
          </p:nvSpPr>
          <p:spPr>
            <a:xfrm>
              <a:off x="5917442" y="3052022"/>
              <a:ext cx="45006" cy="25718"/>
            </a:xfrm>
            <a:custGeom>
              <a:avLst/>
              <a:gdLst>
                <a:gd name="connsiteX0" fmla="*/ 2212 w 45005"/>
                <a:gd name="connsiteY0" fmla="*/ 25974 h 25717"/>
                <a:gd name="connsiteX1" fmla="*/ 17835 w 45005"/>
                <a:gd name="connsiteY1" fmla="*/ 17037 h 25717"/>
                <a:gd name="connsiteX2" fmla="*/ 19507 w 45005"/>
                <a:gd name="connsiteY2" fmla="*/ 14916 h 25717"/>
                <a:gd name="connsiteX3" fmla="*/ 20729 w 45005"/>
                <a:gd name="connsiteY3" fmla="*/ 13823 h 25717"/>
                <a:gd name="connsiteX4" fmla="*/ 22015 w 45005"/>
                <a:gd name="connsiteY4" fmla="*/ 12987 h 25717"/>
                <a:gd name="connsiteX5" fmla="*/ 48182 w 45005"/>
                <a:gd name="connsiteY5" fmla="*/ 964 h 25717"/>
                <a:gd name="connsiteX6" fmla="*/ 29794 w 45005"/>
                <a:gd name="connsiteY6" fmla="*/ 1350 h 25717"/>
                <a:gd name="connsiteX7" fmla="*/ 19121 w 45005"/>
                <a:gd name="connsiteY7" fmla="*/ 7779 h 25717"/>
                <a:gd name="connsiteX8" fmla="*/ 18093 w 45005"/>
                <a:gd name="connsiteY8" fmla="*/ 8551 h 25717"/>
                <a:gd name="connsiteX9" fmla="*/ 14042 w 45005"/>
                <a:gd name="connsiteY9" fmla="*/ 10222 h 25717"/>
                <a:gd name="connsiteX10" fmla="*/ 12370 w 45005"/>
                <a:gd name="connsiteY10" fmla="*/ 10544 h 25717"/>
                <a:gd name="connsiteX11" fmla="*/ 12370 w 45005"/>
                <a:gd name="connsiteY11" fmla="*/ 10544 h 25717"/>
                <a:gd name="connsiteX12" fmla="*/ 8320 w 45005"/>
                <a:gd name="connsiteY12" fmla="*/ 11572 h 25717"/>
                <a:gd name="connsiteX13" fmla="*/ 2212 w 45005"/>
                <a:gd name="connsiteY13" fmla="*/ 25974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005" h="25717">
                  <a:moveTo>
                    <a:pt x="2212" y="25974"/>
                  </a:moveTo>
                  <a:cubicBezTo>
                    <a:pt x="6970" y="28482"/>
                    <a:pt x="13913" y="21795"/>
                    <a:pt x="17835" y="17037"/>
                  </a:cubicBezTo>
                  <a:cubicBezTo>
                    <a:pt x="18478" y="16266"/>
                    <a:pt x="19057" y="15559"/>
                    <a:pt x="19507" y="14916"/>
                  </a:cubicBezTo>
                  <a:cubicBezTo>
                    <a:pt x="19873" y="14504"/>
                    <a:pt x="20278" y="14138"/>
                    <a:pt x="20729" y="13823"/>
                  </a:cubicBezTo>
                  <a:cubicBezTo>
                    <a:pt x="21140" y="13514"/>
                    <a:pt x="21564" y="13238"/>
                    <a:pt x="22015" y="12987"/>
                  </a:cubicBezTo>
                  <a:cubicBezTo>
                    <a:pt x="29087" y="8743"/>
                    <a:pt x="47218" y="3471"/>
                    <a:pt x="48182" y="964"/>
                  </a:cubicBezTo>
                  <a:cubicBezTo>
                    <a:pt x="49146" y="-1544"/>
                    <a:pt x="37123" y="1671"/>
                    <a:pt x="29794" y="1350"/>
                  </a:cubicBezTo>
                  <a:cubicBezTo>
                    <a:pt x="24843" y="1350"/>
                    <a:pt x="22850" y="5207"/>
                    <a:pt x="19121" y="7779"/>
                  </a:cubicBezTo>
                  <a:lnTo>
                    <a:pt x="18093" y="8551"/>
                  </a:lnTo>
                  <a:cubicBezTo>
                    <a:pt x="16852" y="9348"/>
                    <a:pt x="15482" y="9914"/>
                    <a:pt x="14042" y="10222"/>
                  </a:cubicBezTo>
                  <a:lnTo>
                    <a:pt x="12370" y="10544"/>
                  </a:lnTo>
                  <a:lnTo>
                    <a:pt x="12370" y="10544"/>
                  </a:lnTo>
                  <a:cubicBezTo>
                    <a:pt x="10975" y="10685"/>
                    <a:pt x="9612" y="11032"/>
                    <a:pt x="8320" y="11572"/>
                  </a:cubicBezTo>
                  <a:cubicBezTo>
                    <a:pt x="1055" y="14787"/>
                    <a:pt x="-2674" y="23338"/>
                    <a:pt x="2212" y="25974"/>
                  </a:cubicBezTo>
                  <a:close/>
                </a:path>
              </a:pathLst>
            </a:custGeom>
            <a:solidFill>
              <a:srgbClr val="00938B"/>
            </a:solidFill>
            <a:ln w="6429" cap="flat">
              <a:noFill/>
              <a:prstDash val="solid"/>
              <a:miter/>
            </a:ln>
          </p:spPr>
          <p:txBody>
            <a:bodyPr rtlCol="0" anchor="ctr"/>
            <a:lstStyle/>
            <a:p>
              <a:endParaRPr lang="en-GB" sz="2400"/>
            </a:p>
          </p:txBody>
        </p:sp>
        <p:sp>
          <p:nvSpPr>
            <p:cNvPr id="336" name="Freeform 126">
              <a:extLst>
                <a:ext uri="{FF2B5EF4-FFF2-40B4-BE49-F238E27FC236}">
                  <a16:creationId xmlns:a16="http://schemas.microsoft.com/office/drawing/2014/main" id="{7E4E91BA-E66E-4B13-B69D-B0BADA7B6594}"/>
                </a:ext>
              </a:extLst>
            </p:cNvPr>
            <p:cNvSpPr/>
            <p:nvPr/>
          </p:nvSpPr>
          <p:spPr>
            <a:xfrm>
              <a:off x="5589282" y="2929431"/>
              <a:ext cx="6429" cy="6429"/>
            </a:xfrm>
            <a:custGeom>
              <a:avLst/>
              <a:gdLst>
                <a:gd name="connsiteX0" fmla="*/ 95 w 6429"/>
                <a:gd name="connsiteY0" fmla="*/ 818 h 6429"/>
                <a:gd name="connsiteX1" fmla="*/ 7810 w 6429"/>
                <a:gd name="connsiteY1" fmla="*/ 10783 h 6429"/>
                <a:gd name="connsiteX2" fmla="*/ 95 w 6429"/>
                <a:gd name="connsiteY2" fmla="*/ 818 h 6429"/>
              </a:gdLst>
              <a:ahLst/>
              <a:cxnLst>
                <a:cxn ang="0">
                  <a:pos x="connsiteX0" y="connsiteY0"/>
                </a:cxn>
                <a:cxn ang="0">
                  <a:pos x="connsiteX1" y="connsiteY1"/>
                </a:cxn>
                <a:cxn ang="0">
                  <a:pos x="connsiteX2" y="connsiteY2"/>
                </a:cxn>
              </a:cxnLst>
              <a:rect l="l" t="t" r="r" b="b"/>
              <a:pathLst>
                <a:path w="6429" h="6429">
                  <a:moveTo>
                    <a:pt x="95" y="818"/>
                  </a:moveTo>
                  <a:cubicBezTo>
                    <a:pt x="-677" y="4482"/>
                    <a:pt x="3374" y="15155"/>
                    <a:pt x="7810" y="10783"/>
                  </a:cubicBezTo>
                  <a:cubicBezTo>
                    <a:pt x="12247" y="6411"/>
                    <a:pt x="802" y="-2783"/>
                    <a:pt x="95" y="818"/>
                  </a:cubicBezTo>
                  <a:close/>
                </a:path>
              </a:pathLst>
            </a:custGeom>
            <a:solidFill>
              <a:srgbClr val="00938B"/>
            </a:solidFill>
            <a:ln w="6429" cap="flat">
              <a:noFill/>
              <a:prstDash val="solid"/>
              <a:miter/>
            </a:ln>
          </p:spPr>
          <p:txBody>
            <a:bodyPr rtlCol="0" anchor="ctr"/>
            <a:lstStyle/>
            <a:p>
              <a:endParaRPr lang="en-GB" sz="2400"/>
            </a:p>
          </p:txBody>
        </p:sp>
        <p:sp>
          <p:nvSpPr>
            <p:cNvPr id="337" name="Freeform 127">
              <a:extLst>
                <a:ext uri="{FF2B5EF4-FFF2-40B4-BE49-F238E27FC236}">
                  <a16:creationId xmlns:a16="http://schemas.microsoft.com/office/drawing/2014/main" id="{E9C826F7-5650-46CC-8993-958CB579EBB5}"/>
                </a:ext>
              </a:extLst>
            </p:cNvPr>
            <p:cNvSpPr/>
            <p:nvPr/>
          </p:nvSpPr>
          <p:spPr>
            <a:xfrm>
              <a:off x="5720366" y="2982499"/>
              <a:ext cx="6429" cy="6429"/>
            </a:xfrm>
            <a:custGeom>
              <a:avLst/>
              <a:gdLst>
                <a:gd name="connsiteX0" fmla="*/ 557 w 6429"/>
                <a:gd name="connsiteY0" fmla="*/ 4714 h 6429"/>
                <a:gd name="connsiteX1" fmla="*/ 6986 w 6429"/>
                <a:gd name="connsiteY1" fmla="*/ 1757 h 6429"/>
                <a:gd name="connsiteX2" fmla="*/ 557 w 6429"/>
                <a:gd name="connsiteY2" fmla="*/ 4714 h 6429"/>
              </a:gdLst>
              <a:ahLst/>
              <a:cxnLst>
                <a:cxn ang="0">
                  <a:pos x="connsiteX0" y="connsiteY0"/>
                </a:cxn>
                <a:cxn ang="0">
                  <a:pos x="connsiteX1" y="connsiteY1"/>
                </a:cxn>
                <a:cxn ang="0">
                  <a:pos x="connsiteX2" y="connsiteY2"/>
                </a:cxn>
              </a:cxnLst>
              <a:rect l="l" t="t" r="r" b="b"/>
              <a:pathLst>
                <a:path w="6429" h="6429">
                  <a:moveTo>
                    <a:pt x="557" y="4714"/>
                  </a:moveTo>
                  <a:cubicBezTo>
                    <a:pt x="3450" y="9472"/>
                    <a:pt x="6986" y="5100"/>
                    <a:pt x="6986" y="1757"/>
                  </a:cubicBezTo>
                  <a:cubicBezTo>
                    <a:pt x="6986" y="-1586"/>
                    <a:pt x="-2336" y="85"/>
                    <a:pt x="557" y="4714"/>
                  </a:cubicBezTo>
                  <a:close/>
                </a:path>
              </a:pathLst>
            </a:custGeom>
            <a:solidFill>
              <a:srgbClr val="00938B"/>
            </a:solidFill>
            <a:ln w="6429" cap="flat">
              <a:noFill/>
              <a:prstDash val="solid"/>
              <a:miter/>
            </a:ln>
          </p:spPr>
          <p:txBody>
            <a:bodyPr rtlCol="0" anchor="ctr"/>
            <a:lstStyle/>
            <a:p>
              <a:endParaRPr lang="en-GB" sz="2400"/>
            </a:p>
          </p:txBody>
        </p:sp>
        <p:sp>
          <p:nvSpPr>
            <p:cNvPr id="338" name="Freeform 128">
              <a:extLst>
                <a:ext uri="{FF2B5EF4-FFF2-40B4-BE49-F238E27FC236}">
                  <a16:creationId xmlns:a16="http://schemas.microsoft.com/office/drawing/2014/main" id="{30B1D32C-CC2B-4F42-B38C-481B0CA385DB}"/>
                </a:ext>
              </a:extLst>
            </p:cNvPr>
            <p:cNvSpPr/>
            <p:nvPr/>
          </p:nvSpPr>
          <p:spPr>
            <a:xfrm>
              <a:off x="5824613" y="3049990"/>
              <a:ext cx="32147" cy="12859"/>
            </a:xfrm>
            <a:custGeom>
              <a:avLst/>
              <a:gdLst>
                <a:gd name="connsiteX0" fmla="*/ 17888 w 32146"/>
                <a:gd name="connsiteY0" fmla="*/ 1196 h 12858"/>
                <a:gd name="connsiteX1" fmla="*/ 6509 w 32146"/>
                <a:gd name="connsiteY1" fmla="*/ 2610 h 12858"/>
                <a:gd name="connsiteX2" fmla="*/ 658 w 32146"/>
                <a:gd name="connsiteY2" fmla="*/ 9039 h 12858"/>
                <a:gd name="connsiteX3" fmla="*/ 18660 w 32146"/>
                <a:gd name="connsiteY3" fmla="*/ 11997 h 12858"/>
                <a:gd name="connsiteX4" fmla="*/ 36276 w 32146"/>
                <a:gd name="connsiteY4" fmla="*/ 6853 h 12858"/>
                <a:gd name="connsiteX5" fmla="*/ 17888 w 32146"/>
                <a:gd name="connsiteY5" fmla="*/ 1196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46" h="12858">
                  <a:moveTo>
                    <a:pt x="17888" y="1196"/>
                  </a:moveTo>
                  <a:cubicBezTo>
                    <a:pt x="16410" y="4474"/>
                    <a:pt x="10173" y="5182"/>
                    <a:pt x="6509" y="2610"/>
                  </a:cubicBezTo>
                  <a:cubicBezTo>
                    <a:pt x="2844" y="38"/>
                    <a:pt x="-1721" y="6146"/>
                    <a:pt x="658" y="9039"/>
                  </a:cubicBezTo>
                  <a:cubicBezTo>
                    <a:pt x="5422" y="13752"/>
                    <a:pt x="12642" y="14942"/>
                    <a:pt x="18660" y="11997"/>
                  </a:cubicBezTo>
                  <a:cubicBezTo>
                    <a:pt x="27854" y="7561"/>
                    <a:pt x="34091" y="11611"/>
                    <a:pt x="36276" y="6853"/>
                  </a:cubicBezTo>
                  <a:cubicBezTo>
                    <a:pt x="38463" y="2096"/>
                    <a:pt x="19367" y="-2148"/>
                    <a:pt x="17888" y="1196"/>
                  </a:cubicBezTo>
                  <a:close/>
                </a:path>
              </a:pathLst>
            </a:custGeom>
            <a:solidFill>
              <a:srgbClr val="00938B"/>
            </a:solidFill>
            <a:ln w="6429" cap="flat">
              <a:noFill/>
              <a:prstDash val="solid"/>
              <a:miter/>
            </a:ln>
          </p:spPr>
          <p:txBody>
            <a:bodyPr rtlCol="0" anchor="ctr"/>
            <a:lstStyle/>
            <a:p>
              <a:endParaRPr lang="en-GB" sz="2400"/>
            </a:p>
          </p:txBody>
        </p:sp>
        <p:sp>
          <p:nvSpPr>
            <p:cNvPr id="339" name="Freeform 129">
              <a:extLst>
                <a:ext uri="{FF2B5EF4-FFF2-40B4-BE49-F238E27FC236}">
                  <a16:creationId xmlns:a16="http://schemas.microsoft.com/office/drawing/2014/main" id="{41DB9900-519E-4415-BC95-E0A6119E3602}"/>
                </a:ext>
              </a:extLst>
            </p:cNvPr>
            <p:cNvSpPr/>
            <p:nvPr/>
          </p:nvSpPr>
          <p:spPr>
            <a:xfrm>
              <a:off x="4684198" y="2478629"/>
              <a:ext cx="32147" cy="6429"/>
            </a:xfrm>
            <a:custGeom>
              <a:avLst/>
              <a:gdLst>
                <a:gd name="connsiteX0" fmla="*/ 35672 w 32146"/>
                <a:gd name="connsiteY0" fmla="*/ 3750 h 6429"/>
                <a:gd name="connsiteX1" fmla="*/ 27957 w 32146"/>
                <a:gd name="connsiteY1" fmla="*/ 3171 h 6429"/>
                <a:gd name="connsiteX2" fmla="*/ 8283 w 32146"/>
                <a:gd name="connsiteY2" fmla="*/ 985 h 6429"/>
                <a:gd name="connsiteX3" fmla="*/ 761 w 32146"/>
                <a:gd name="connsiteY3" fmla="*/ 4135 h 6429"/>
                <a:gd name="connsiteX4" fmla="*/ 18956 w 32146"/>
                <a:gd name="connsiteY4" fmla="*/ 8893 h 6429"/>
                <a:gd name="connsiteX5" fmla="*/ 35672 w 32146"/>
                <a:gd name="connsiteY5" fmla="*/ 3750 h 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146" h="6429">
                  <a:moveTo>
                    <a:pt x="35672" y="3750"/>
                  </a:moveTo>
                  <a:cubicBezTo>
                    <a:pt x="35672" y="1885"/>
                    <a:pt x="30914" y="4843"/>
                    <a:pt x="27957" y="3171"/>
                  </a:cubicBezTo>
                  <a:cubicBezTo>
                    <a:pt x="24999" y="1499"/>
                    <a:pt x="11819" y="4264"/>
                    <a:pt x="8283" y="985"/>
                  </a:cubicBezTo>
                  <a:cubicBezTo>
                    <a:pt x="4747" y="-2294"/>
                    <a:pt x="-2326" y="3621"/>
                    <a:pt x="761" y="4135"/>
                  </a:cubicBezTo>
                  <a:cubicBezTo>
                    <a:pt x="6663" y="6296"/>
                    <a:pt x="12751" y="7890"/>
                    <a:pt x="18956" y="8893"/>
                  </a:cubicBezTo>
                  <a:cubicBezTo>
                    <a:pt x="26285" y="9086"/>
                    <a:pt x="35993" y="5550"/>
                    <a:pt x="35672" y="3750"/>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40" name="Freeform 130">
              <a:extLst>
                <a:ext uri="{FF2B5EF4-FFF2-40B4-BE49-F238E27FC236}">
                  <a16:creationId xmlns:a16="http://schemas.microsoft.com/office/drawing/2014/main" id="{B1B3E90B-30B1-4C9D-86EA-35063243A91F}"/>
                </a:ext>
              </a:extLst>
            </p:cNvPr>
            <p:cNvSpPr/>
            <p:nvPr/>
          </p:nvSpPr>
          <p:spPr>
            <a:xfrm>
              <a:off x="4793600" y="2475818"/>
              <a:ext cx="25718" cy="12859"/>
            </a:xfrm>
            <a:custGeom>
              <a:avLst/>
              <a:gdLst>
                <a:gd name="connsiteX0" fmla="*/ 19560 w 25717"/>
                <a:gd name="connsiteY0" fmla="*/ 11127 h 12858"/>
                <a:gd name="connsiteX1" fmla="*/ 25990 w 25717"/>
                <a:gd name="connsiteY1" fmla="*/ 3219 h 12858"/>
                <a:gd name="connsiteX2" fmla="*/ 25990 w 25717"/>
                <a:gd name="connsiteY2" fmla="*/ 840 h 12858"/>
                <a:gd name="connsiteX3" fmla="*/ 8373 w 25717"/>
                <a:gd name="connsiteY3" fmla="*/ 6176 h 12858"/>
                <a:gd name="connsiteX4" fmla="*/ 2651 w 25717"/>
                <a:gd name="connsiteY4" fmla="*/ 14985 h 12858"/>
                <a:gd name="connsiteX5" fmla="*/ 19560 w 25717"/>
                <a:gd name="connsiteY5" fmla="*/ 11127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717" h="12858">
                  <a:moveTo>
                    <a:pt x="19560" y="11127"/>
                  </a:moveTo>
                  <a:cubicBezTo>
                    <a:pt x="19174" y="9134"/>
                    <a:pt x="21939" y="4698"/>
                    <a:pt x="25990" y="3219"/>
                  </a:cubicBezTo>
                  <a:cubicBezTo>
                    <a:pt x="30040" y="1740"/>
                    <a:pt x="28561" y="-1539"/>
                    <a:pt x="25990" y="840"/>
                  </a:cubicBezTo>
                  <a:cubicBezTo>
                    <a:pt x="20762" y="4299"/>
                    <a:pt x="14642" y="6151"/>
                    <a:pt x="8373" y="6176"/>
                  </a:cubicBezTo>
                  <a:cubicBezTo>
                    <a:pt x="79" y="6562"/>
                    <a:pt x="-2493" y="11963"/>
                    <a:pt x="2651" y="14985"/>
                  </a:cubicBezTo>
                  <a:cubicBezTo>
                    <a:pt x="9273" y="18778"/>
                    <a:pt x="19946" y="13184"/>
                    <a:pt x="19560" y="11127"/>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41" name="Freeform 131">
              <a:extLst>
                <a:ext uri="{FF2B5EF4-FFF2-40B4-BE49-F238E27FC236}">
                  <a16:creationId xmlns:a16="http://schemas.microsoft.com/office/drawing/2014/main" id="{7455A398-40E3-491A-9B09-2BF27C17CB5D}"/>
                </a:ext>
              </a:extLst>
            </p:cNvPr>
            <p:cNvSpPr/>
            <p:nvPr/>
          </p:nvSpPr>
          <p:spPr>
            <a:xfrm>
              <a:off x="4667782" y="2110157"/>
              <a:ext cx="12859" cy="6429"/>
            </a:xfrm>
            <a:custGeom>
              <a:avLst/>
              <a:gdLst>
                <a:gd name="connsiteX0" fmla="*/ 1360 w 12858"/>
                <a:gd name="connsiteY0" fmla="*/ 11535 h 6429"/>
                <a:gd name="connsiteX1" fmla="*/ 14218 w 12858"/>
                <a:gd name="connsiteY1" fmla="*/ 3048 h 6429"/>
                <a:gd name="connsiteX2" fmla="*/ 6310 w 12858"/>
                <a:gd name="connsiteY2" fmla="*/ 669 h 6429"/>
                <a:gd name="connsiteX3" fmla="*/ 1360 w 12858"/>
                <a:gd name="connsiteY3" fmla="*/ 11535 h 6429"/>
              </a:gdLst>
              <a:ahLst/>
              <a:cxnLst>
                <a:cxn ang="0">
                  <a:pos x="connsiteX0" y="connsiteY0"/>
                </a:cxn>
                <a:cxn ang="0">
                  <a:pos x="connsiteX1" y="connsiteY1"/>
                </a:cxn>
                <a:cxn ang="0">
                  <a:pos x="connsiteX2" y="connsiteY2"/>
                </a:cxn>
                <a:cxn ang="0">
                  <a:pos x="connsiteX3" y="connsiteY3"/>
                </a:cxn>
              </a:cxnLst>
              <a:rect l="l" t="t" r="r" b="b"/>
              <a:pathLst>
                <a:path w="12858" h="6429">
                  <a:moveTo>
                    <a:pt x="1360" y="11535"/>
                  </a:moveTo>
                  <a:cubicBezTo>
                    <a:pt x="6208" y="9670"/>
                    <a:pt x="10599" y="6771"/>
                    <a:pt x="14218" y="3048"/>
                  </a:cubicBezTo>
                  <a:cubicBezTo>
                    <a:pt x="16212" y="1055"/>
                    <a:pt x="12933" y="-1131"/>
                    <a:pt x="6310" y="669"/>
                  </a:cubicBezTo>
                  <a:cubicBezTo>
                    <a:pt x="-312" y="2469"/>
                    <a:pt x="-1276" y="11535"/>
                    <a:pt x="1360" y="11535"/>
                  </a:cubicBezTo>
                  <a:close/>
                </a:path>
              </a:pathLst>
            </a:custGeom>
            <a:solidFill>
              <a:srgbClr val="0098E4"/>
            </a:solidFill>
            <a:ln w="6429" cap="flat">
              <a:noFill/>
              <a:prstDash val="solid"/>
              <a:miter/>
            </a:ln>
          </p:spPr>
          <p:txBody>
            <a:bodyPr rtlCol="0" anchor="ctr"/>
            <a:lstStyle/>
            <a:p>
              <a:endParaRPr lang="en-GB" sz="2400"/>
            </a:p>
          </p:txBody>
        </p:sp>
        <p:sp>
          <p:nvSpPr>
            <p:cNvPr id="342" name="Freeform 132">
              <a:extLst>
                <a:ext uri="{FF2B5EF4-FFF2-40B4-BE49-F238E27FC236}">
                  <a16:creationId xmlns:a16="http://schemas.microsoft.com/office/drawing/2014/main" id="{C45F858C-CFF5-406C-BFC7-E688B7A04A4A}"/>
                </a:ext>
              </a:extLst>
            </p:cNvPr>
            <p:cNvSpPr/>
            <p:nvPr/>
          </p:nvSpPr>
          <p:spPr>
            <a:xfrm>
              <a:off x="4671301" y="2103591"/>
              <a:ext cx="6429" cy="6429"/>
            </a:xfrm>
            <a:custGeom>
              <a:avLst/>
              <a:gdLst>
                <a:gd name="connsiteX0" fmla="*/ 8257 w 6429"/>
                <a:gd name="connsiteY0" fmla="*/ 1577 h 0"/>
                <a:gd name="connsiteX1" fmla="*/ 413 w 6429"/>
                <a:gd name="connsiteY1" fmla="*/ 2541 h 0"/>
                <a:gd name="connsiteX2" fmla="*/ 8019 w 6429"/>
                <a:gd name="connsiteY2" fmla="*/ 1879 h 0"/>
                <a:gd name="connsiteX3" fmla="*/ 8257 w 6429"/>
                <a:gd name="connsiteY3" fmla="*/ 1577 h 0"/>
              </a:gdLst>
              <a:ahLst/>
              <a:cxnLst>
                <a:cxn ang="0">
                  <a:pos x="connsiteX0" y="connsiteY0"/>
                </a:cxn>
                <a:cxn ang="0">
                  <a:pos x="connsiteX1" y="connsiteY1"/>
                </a:cxn>
                <a:cxn ang="0">
                  <a:pos x="connsiteX2" y="connsiteY2"/>
                </a:cxn>
                <a:cxn ang="0">
                  <a:pos x="connsiteX3" y="connsiteY3"/>
                </a:cxn>
              </a:cxnLst>
              <a:rect l="l" t="t" r="r" b="b"/>
              <a:pathLst>
                <a:path w="6429">
                  <a:moveTo>
                    <a:pt x="8257" y="1577"/>
                  </a:moveTo>
                  <a:cubicBezTo>
                    <a:pt x="9735" y="-1188"/>
                    <a:pt x="-2352" y="34"/>
                    <a:pt x="413" y="2541"/>
                  </a:cubicBezTo>
                  <a:cubicBezTo>
                    <a:pt x="2695" y="4457"/>
                    <a:pt x="6103" y="4162"/>
                    <a:pt x="8019" y="1879"/>
                  </a:cubicBezTo>
                  <a:cubicBezTo>
                    <a:pt x="8102" y="1783"/>
                    <a:pt x="8179" y="1680"/>
                    <a:pt x="8257" y="1577"/>
                  </a:cubicBezTo>
                  <a:close/>
                </a:path>
              </a:pathLst>
            </a:custGeom>
            <a:solidFill>
              <a:srgbClr val="0098E4"/>
            </a:solidFill>
            <a:ln w="6429" cap="flat">
              <a:noFill/>
              <a:prstDash val="solid"/>
              <a:miter/>
            </a:ln>
          </p:spPr>
          <p:txBody>
            <a:bodyPr rtlCol="0" anchor="ctr"/>
            <a:lstStyle/>
            <a:p>
              <a:endParaRPr lang="en-GB" sz="2400"/>
            </a:p>
          </p:txBody>
        </p:sp>
        <p:sp>
          <p:nvSpPr>
            <p:cNvPr id="343" name="Freeform 133">
              <a:extLst>
                <a:ext uri="{FF2B5EF4-FFF2-40B4-BE49-F238E27FC236}">
                  <a16:creationId xmlns:a16="http://schemas.microsoft.com/office/drawing/2014/main" id="{4FF54FDB-242C-43F7-9DAE-1BAAB476EADB}"/>
                </a:ext>
              </a:extLst>
            </p:cNvPr>
            <p:cNvSpPr/>
            <p:nvPr/>
          </p:nvSpPr>
          <p:spPr>
            <a:xfrm>
              <a:off x="6734558" y="2020499"/>
              <a:ext cx="38576" cy="6429"/>
            </a:xfrm>
            <a:custGeom>
              <a:avLst/>
              <a:gdLst>
                <a:gd name="connsiteX0" fmla="*/ 15898 w 38576"/>
                <a:gd name="connsiteY0" fmla="*/ 381 h 6429"/>
                <a:gd name="connsiteX1" fmla="*/ 467 w 38576"/>
                <a:gd name="connsiteY1" fmla="*/ 5138 h 6429"/>
                <a:gd name="connsiteX2" fmla="*/ 23613 w 38576"/>
                <a:gd name="connsiteY2" fmla="*/ 10282 h 6429"/>
                <a:gd name="connsiteX3" fmla="*/ 38658 w 38576"/>
                <a:gd name="connsiteY3" fmla="*/ 8096 h 6429"/>
                <a:gd name="connsiteX4" fmla="*/ 15898 w 38576"/>
                <a:gd name="connsiteY4" fmla="*/ 381 h 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6" h="6429">
                  <a:moveTo>
                    <a:pt x="15898" y="381"/>
                  </a:moveTo>
                  <a:cubicBezTo>
                    <a:pt x="13326" y="2245"/>
                    <a:pt x="-2940" y="1345"/>
                    <a:pt x="467" y="5138"/>
                  </a:cubicBezTo>
                  <a:cubicBezTo>
                    <a:pt x="3875" y="8932"/>
                    <a:pt x="17376" y="6617"/>
                    <a:pt x="23613" y="10282"/>
                  </a:cubicBezTo>
                  <a:cubicBezTo>
                    <a:pt x="29849" y="13947"/>
                    <a:pt x="38658" y="11053"/>
                    <a:pt x="38658" y="8096"/>
                  </a:cubicBezTo>
                  <a:cubicBezTo>
                    <a:pt x="38658" y="5138"/>
                    <a:pt x="18469" y="-1677"/>
                    <a:pt x="15898" y="381"/>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44" name="Freeform 134">
              <a:extLst>
                <a:ext uri="{FF2B5EF4-FFF2-40B4-BE49-F238E27FC236}">
                  <a16:creationId xmlns:a16="http://schemas.microsoft.com/office/drawing/2014/main" id="{8A96B982-77AB-40CA-BF4A-3FF487C8DBAD}"/>
                </a:ext>
              </a:extLst>
            </p:cNvPr>
            <p:cNvSpPr/>
            <p:nvPr/>
          </p:nvSpPr>
          <p:spPr>
            <a:xfrm>
              <a:off x="4925879" y="3095288"/>
              <a:ext cx="83582" cy="173593"/>
            </a:xfrm>
            <a:custGeom>
              <a:avLst/>
              <a:gdLst>
                <a:gd name="connsiteX0" fmla="*/ 76305 w 83581"/>
                <a:gd name="connsiteY0" fmla="*/ 2189 h 173593"/>
                <a:gd name="connsiteX1" fmla="*/ 71933 w 83581"/>
                <a:gd name="connsiteY1" fmla="*/ 5854 h 173593"/>
                <a:gd name="connsiteX2" fmla="*/ 70068 w 83581"/>
                <a:gd name="connsiteY2" fmla="*/ 14662 h 173593"/>
                <a:gd name="connsiteX3" fmla="*/ 62739 w 83581"/>
                <a:gd name="connsiteY3" fmla="*/ 20191 h 173593"/>
                <a:gd name="connsiteX4" fmla="*/ 56309 w 83581"/>
                <a:gd name="connsiteY4" fmla="*/ 25656 h 173593"/>
                <a:gd name="connsiteX5" fmla="*/ 55924 w 83581"/>
                <a:gd name="connsiteY5" fmla="*/ 32086 h 173593"/>
                <a:gd name="connsiteX6" fmla="*/ 46730 w 83581"/>
                <a:gd name="connsiteY6" fmla="*/ 39801 h 173593"/>
                <a:gd name="connsiteX7" fmla="*/ 29435 w 83581"/>
                <a:gd name="connsiteY7" fmla="*/ 48609 h 173593"/>
                <a:gd name="connsiteX8" fmla="*/ 13683 w 83581"/>
                <a:gd name="connsiteY8" fmla="*/ 51567 h 173593"/>
                <a:gd name="connsiteX9" fmla="*/ 8539 w 83581"/>
                <a:gd name="connsiteY9" fmla="*/ 68090 h 173593"/>
                <a:gd name="connsiteX10" fmla="*/ 9954 w 83581"/>
                <a:gd name="connsiteY10" fmla="*/ 90529 h 173593"/>
                <a:gd name="connsiteX11" fmla="*/ 7061 w 83581"/>
                <a:gd name="connsiteY11" fmla="*/ 115861 h 173593"/>
                <a:gd name="connsiteX12" fmla="*/ 2239 w 83581"/>
                <a:gd name="connsiteY12" fmla="*/ 145628 h 173593"/>
                <a:gd name="connsiteX13" fmla="*/ 10339 w 83581"/>
                <a:gd name="connsiteY13" fmla="*/ 169160 h 173593"/>
                <a:gd name="connsiteX14" fmla="*/ 32392 w 83581"/>
                <a:gd name="connsiteY14" fmla="*/ 174689 h 173593"/>
                <a:gd name="connsiteX15" fmla="*/ 45251 w 83581"/>
                <a:gd name="connsiteY15" fmla="*/ 169867 h 173593"/>
                <a:gd name="connsiteX16" fmla="*/ 63253 w 83581"/>
                <a:gd name="connsiteY16" fmla="*/ 117725 h 173593"/>
                <a:gd name="connsiteX17" fmla="*/ 76884 w 83581"/>
                <a:gd name="connsiteY17" fmla="*/ 69183 h 173593"/>
                <a:gd name="connsiteX18" fmla="*/ 79070 w 83581"/>
                <a:gd name="connsiteY18" fmla="*/ 55231 h 173593"/>
                <a:gd name="connsiteX19" fmla="*/ 82349 w 83581"/>
                <a:gd name="connsiteY19" fmla="*/ 47516 h 173593"/>
                <a:gd name="connsiteX20" fmla="*/ 89742 w 83581"/>
                <a:gd name="connsiteY20" fmla="*/ 46037 h 173593"/>
                <a:gd name="connsiteX21" fmla="*/ 84920 w 83581"/>
                <a:gd name="connsiteY21" fmla="*/ 22570 h 173593"/>
                <a:gd name="connsiteX22" fmla="*/ 76305 w 83581"/>
                <a:gd name="connsiteY22" fmla="*/ 2189 h 173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3581" h="173593">
                  <a:moveTo>
                    <a:pt x="76305" y="2189"/>
                  </a:moveTo>
                  <a:cubicBezTo>
                    <a:pt x="74698" y="-3855"/>
                    <a:pt x="73347" y="4375"/>
                    <a:pt x="71933" y="5854"/>
                  </a:cubicBezTo>
                  <a:cubicBezTo>
                    <a:pt x="70268" y="8471"/>
                    <a:pt x="69606" y="11595"/>
                    <a:pt x="70068" y="14662"/>
                  </a:cubicBezTo>
                  <a:cubicBezTo>
                    <a:pt x="70454" y="17620"/>
                    <a:pt x="65632" y="20513"/>
                    <a:pt x="62739" y="20191"/>
                  </a:cubicBezTo>
                  <a:cubicBezTo>
                    <a:pt x="59846" y="19870"/>
                    <a:pt x="55024" y="21670"/>
                    <a:pt x="56309" y="25656"/>
                  </a:cubicBezTo>
                  <a:cubicBezTo>
                    <a:pt x="57595" y="29643"/>
                    <a:pt x="54059" y="29000"/>
                    <a:pt x="55924" y="32086"/>
                  </a:cubicBezTo>
                  <a:cubicBezTo>
                    <a:pt x="57788" y="35172"/>
                    <a:pt x="51873" y="39480"/>
                    <a:pt x="46730" y="39801"/>
                  </a:cubicBezTo>
                  <a:cubicBezTo>
                    <a:pt x="41586" y="40123"/>
                    <a:pt x="34964" y="49381"/>
                    <a:pt x="29435" y="48609"/>
                  </a:cubicBezTo>
                  <a:cubicBezTo>
                    <a:pt x="23906" y="47838"/>
                    <a:pt x="18441" y="52338"/>
                    <a:pt x="13683" y="51567"/>
                  </a:cubicBezTo>
                  <a:cubicBezTo>
                    <a:pt x="8925" y="50795"/>
                    <a:pt x="12204" y="61532"/>
                    <a:pt x="8539" y="68090"/>
                  </a:cubicBezTo>
                  <a:cubicBezTo>
                    <a:pt x="4874" y="74648"/>
                    <a:pt x="6675" y="82428"/>
                    <a:pt x="9954" y="90529"/>
                  </a:cubicBezTo>
                  <a:cubicBezTo>
                    <a:pt x="13233" y="98630"/>
                    <a:pt x="15869" y="105188"/>
                    <a:pt x="7061" y="115861"/>
                  </a:cubicBezTo>
                  <a:cubicBezTo>
                    <a:pt x="-127" y="124032"/>
                    <a:pt x="-1999" y="135605"/>
                    <a:pt x="2239" y="145628"/>
                  </a:cubicBezTo>
                  <a:cubicBezTo>
                    <a:pt x="5582" y="152958"/>
                    <a:pt x="5582" y="164017"/>
                    <a:pt x="10339" y="169160"/>
                  </a:cubicBezTo>
                  <a:cubicBezTo>
                    <a:pt x="15097" y="174304"/>
                    <a:pt x="28342" y="178676"/>
                    <a:pt x="32392" y="174689"/>
                  </a:cubicBezTo>
                  <a:cubicBezTo>
                    <a:pt x="36443" y="170703"/>
                    <a:pt x="40686" y="175204"/>
                    <a:pt x="45251" y="169867"/>
                  </a:cubicBezTo>
                  <a:cubicBezTo>
                    <a:pt x="49816" y="164531"/>
                    <a:pt x="57017" y="136434"/>
                    <a:pt x="63253" y="117725"/>
                  </a:cubicBezTo>
                  <a:cubicBezTo>
                    <a:pt x="69490" y="99015"/>
                    <a:pt x="77591" y="74327"/>
                    <a:pt x="76884" y="69183"/>
                  </a:cubicBezTo>
                  <a:cubicBezTo>
                    <a:pt x="76176" y="64040"/>
                    <a:pt x="81255" y="60761"/>
                    <a:pt x="79070" y="55231"/>
                  </a:cubicBezTo>
                  <a:cubicBezTo>
                    <a:pt x="76884" y="49702"/>
                    <a:pt x="79777" y="43144"/>
                    <a:pt x="82349" y="47516"/>
                  </a:cubicBezTo>
                  <a:cubicBezTo>
                    <a:pt x="84920" y="51888"/>
                    <a:pt x="88778" y="51953"/>
                    <a:pt x="89742" y="46037"/>
                  </a:cubicBezTo>
                  <a:cubicBezTo>
                    <a:pt x="90707" y="40123"/>
                    <a:pt x="85306" y="30993"/>
                    <a:pt x="84920" y="22570"/>
                  </a:cubicBezTo>
                  <a:cubicBezTo>
                    <a:pt x="84535" y="14148"/>
                    <a:pt x="77398" y="6175"/>
                    <a:pt x="76305" y="2189"/>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45" name="Freeform 135">
              <a:extLst>
                <a:ext uri="{FF2B5EF4-FFF2-40B4-BE49-F238E27FC236}">
                  <a16:creationId xmlns:a16="http://schemas.microsoft.com/office/drawing/2014/main" id="{558EE2F5-5973-4EFA-8A40-F83F0514AED5}"/>
                </a:ext>
              </a:extLst>
            </p:cNvPr>
            <p:cNvSpPr/>
            <p:nvPr/>
          </p:nvSpPr>
          <p:spPr>
            <a:xfrm>
              <a:off x="5055369" y="2786677"/>
              <a:ext cx="12859" cy="6429"/>
            </a:xfrm>
            <a:custGeom>
              <a:avLst/>
              <a:gdLst>
                <a:gd name="connsiteX0" fmla="*/ 757 w 12858"/>
                <a:gd name="connsiteY0" fmla="*/ 3669 h 0"/>
                <a:gd name="connsiteX1" fmla="*/ 13616 w 12858"/>
                <a:gd name="connsiteY1" fmla="*/ 1226 h 0"/>
                <a:gd name="connsiteX2" fmla="*/ 757 w 12858"/>
                <a:gd name="connsiteY2" fmla="*/ 3669 h 0"/>
              </a:gdLst>
              <a:ahLst/>
              <a:cxnLst>
                <a:cxn ang="0">
                  <a:pos x="connsiteX0" y="connsiteY0"/>
                </a:cxn>
                <a:cxn ang="0">
                  <a:pos x="connsiteX1" y="connsiteY1"/>
                </a:cxn>
                <a:cxn ang="0">
                  <a:pos x="connsiteX2" y="connsiteY2"/>
                </a:cxn>
              </a:cxnLst>
              <a:rect l="l" t="t" r="r" b="b"/>
              <a:pathLst>
                <a:path w="12858">
                  <a:moveTo>
                    <a:pt x="757" y="3669"/>
                  </a:moveTo>
                  <a:cubicBezTo>
                    <a:pt x="4872" y="7912"/>
                    <a:pt x="12973" y="2962"/>
                    <a:pt x="13616" y="1226"/>
                  </a:cubicBezTo>
                  <a:cubicBezTo>
                    <a:pt x="14259" y="-510"/>
                    <a:pt x="-3872" y="-960"/>
                    <a:pt x="757" y="3669"/>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46" name="Freeform 136">
              <a:extLst>
                <a:ext uri="{FF2B5EF4-FFF2-40B4-BE49-F238E27FC236}">
                  <a16:creationId xmlns:a16="http://schemas.microsoft.com/office/drawing/2014/main" id="{50AA0976-469E-499E-869B-B5281AE2511C}"/>
                </a:ext>
              </a:extLst>
            </p:cNvPr>
            <p:cNvSpPr/>
            <p:nvPr/>
          </p:nvSpPr>
          <p:spPr>
            <a:xfrm>
              <a:off x="5517720" y="1595185"/>
              <a:ext cx="12859" cy="6429"/>
            </a:xfrm>
            <a:custGeom>
              <a:avLst/>
              <a:gdLst>
                <a:gd name="connsiteX0" fmla="*/ 17651 w 12858"/>
                <a:gd name="connsiteY0" fmla="*/ 3156 h 6429"/>
                <a:gd name="connsiteX1" fmla="*/ 1063 w 12858"/>
                <a:gd name="connsiteY1" fmla="*/ 5342 h 6429"/>
                <a:gd name="connsiteX2" fmla="*/ 17651 w 12858"/>
                <a:gd name="connsiteY2" fmla="*/ 3156 h 6429"/>
              </a:gdLst>
              <a:ahLst/>
              <a:cxnLst>
                <a:cxn ang="0">
                  <a:pos x="connsiteX0" y="connsiteY0"/>
                </a:cxn>
                <a:cxn ang="0">
                  <a:pos x="connsiteX1" y="connsiteY1"/>
                </a:cxn>
                <a:cxn ang="0">
                  <a:pos x="connsiteX2" y="connsiteY2"/>
                </a:cxn>
              </a:cxnLst>
              <a:rect l="l" t="t" r="r" b="b"/>
              <a:pathLst>
                <a:path w="12858" h="6429">
                  <a:moveTo>
                    <a:pt x="17651" y="3156"/>
                  </a:moveTo>
                  <a:cubicBezTo>
                    <a:pt x="19065" y="-2373"/>
                    <a:pt x="-5302" y="6"/>
                    <a:pt x="1063" y="5342"/>
                  </a:cubicBezTo>
                  <a:cubicBezTo>
                    <a:pt x="3313" y="7207"/>
                    <a:pt x="16172" y="8621"/>
                    <a:pt x="17651" y="3156"/>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47" name="Freeform 137">
              <a:extLst>
                <a:ext uri="{FF2B5EF4-FFF2-40B4-BE49-F238E27FC236}">
                  <a16:creationId xmlns:a16="http://schemas.microsoft.com/office/drawing/2014/main" id="{168F27D1-6945-4525-9F18-4D4D32836F50}"/>
                </a:ext>
              </a:extLst>
            </p:cNvPr>
            <p:cNvSpPr/>
            <p:nvPr/>
          </p:nvSpPr>
          <p:spPr>
            <a:xfrm>
              <a:off x="5379689" y="1811481"/>
              <a:ext cx="6429" cy="6429"/>
            </a:xfrm>
            <a:custGeom>
              <a:avLst/>
              <a:gdLst>
                <a:gd name="connsiteX0" fmla="*/ 992 w 6429"/>
                <a:gd name="connsiteY0" fmla="*/ 6229 h 6429"/>
                <a:gd name="connsiteX1" fmla="*/ 10508 w 6429"/>
                <a:gd name="connsiteY1" fmla="*/ 2179 h 6429"/>
                <a:gd name="connsiteX2" fmla="*/ 992 w 6429"/>
                <a:gd name="connsiteY2" fmla="*/ 6229 h 6429"/>
              </a:gdLst>
              <a:ahLst/>
              <a:cxnLst>
                <a:cxn ang="0">
                  <a:pos x="connsiteX0" y="connsiteY0"/>
                </a:cxn>
                <a:cxn ang="0">
                  <a:pos x="connsiteX1" y="connsiteY1"/>
                </a:cxn>
                <a:cxn ang="0">
                  <a:pos x="connsiteX2" y="connsiteY2"/>
                </a:cxn>
              </a:cxnLst>
              <a:rect l="l" t="t" r="r" b="b"/>
              <a:pathLst>
                <a:path w="6429" h="6429">
                  <a:moveTo>
                    <a:pt x="992" y="6229"/>
                  </a:moveTo>
                  <a:cubicBezTo>
                    <a:pt x="6843" y="9123"/>
                    <a:pt x="11279" y="8030"/>
                    <a:pt x="10508" y="2179"/>
                  </a:cubicBezTo>
                  <a:cubicBezTo>
                    <a:pt x="9736" y="-3672"/>
                    <a:pt x="-3701" y="3851"/>
                    <a:pt x="992" y="6229"/>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48" name="Freeform 138">
              <a:extLst>
                <a:ext uri="{FF2B5EF4-FFF2-40B4-BE49-F238E27FC236}">
                  <a16:creationId xmlns:a16="http://schemas.microsoft.com/office/drawing/2014/main" id="{2BA8F1F9-CE89-45D4-80C7-86D1C8144905}"/>
                </a:ext>
              </a:extLst>
            </p:cNvPr>
            <p:cNvSpPr/>
            <p:nvPr/>
          </p:nvSpPr>
          <p:spPr>
            <a:xfrm>
              <a:off x="5531422" y="1592067"/>
              <a:ext cx="64294" cy="45006"/>
            </a:xfrm>
            <a:custGeom>
              <a:avLst/>
              <a:gdLst>
                <a:gd name="connsiteX0" fmla="*/ 13464 w 64293"/>
                <a:gd name="connsiteY0" fmla="*/ 32313 h 45005"/>
                <a:gd name="connsiteX1" fmla="*/ 10507 w 64293"/>
                <a:gd name="connsiteY1" fmla="*/ 37135 h 45005"/>
                <a:gd name="connsiteX2" fmla="*/ 1698 w 64293"/>
                <a:gd name="connsiteY2" fmla="*/ 41507 h 45005"/>
                <a:gd name="connsiteX3" fmla="*/ 12757 w 64293"/>
                <a:gd name="connsiteY3" fmla="*/ 48901 h 45005"/>
                <a:gd name="connsiteX4" fmla="*/ 27416 w 64293"/>
                <a:gd name="connsiteY4" fmla="*/ 40028 h 45005"/>
                <a:gd name="connsiteX5" fmla="*/ 61620 w 64293"/>
                <a:gd name="connsiteY5" fmla="*/ 29741 h 45005"/>
                <a:gd name="connsiteX6" fmla="*/ 64899 w 64293"/>
                <a:gd name="connsiteY6" fmla="*/ 19454 h 45005"/>
                <a:gd name="connsiteX7" fmla="*/ 59756 w 64293"/>
                <a:gd name="connsiteY7" fmla="*/ 13603 h 45005"/>
                <a:gd name="connsiteX8" fmla="*/ 50562 w 64293"/>
                <a:gd name="connsiteY8" fmla="*/ 745 h 45005"/>
                <a:gd name="connsiteX9" fmla="*/ 32559 w 64293"/>
                <a:gd name="connsiteY9" fmla="*/ 7174 h 45005"/>
                <a:gd name="connsiteX10" fmla="*/ 18608 w 64293"/>
                <a:gd name="connsiteY10" fmla="*/ 15661 h 45005"/>
                <a:gd name="connsiteX11" fmla="*/ 13079 w 64293"/>
                <a:gd name="connsiteY11" fmla="*/ 24083 h 45005"/>
                <a:gd name="connsiteX12" fmla="*/ 13464 w 64293"/>
                <a:gd name="connsiteY12" fmla="*/ 32313 h 4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293" h="45005">
                  <a:moveTo>
                    <a:pt x="13464" y="32313"/>
                  </a:moveTo>
                  <a:cubicBezTo>
                    <a:pt x="20472" y="35270"/>
                    <a:pt x="17901" y="37135"/>
                    <a:pt x="10507" y="37135"/>
                  </a:cubicBezTo>
                  <a:cubicBezTo>
                    <a:pt x="3113" y="37135"/>
                    <a:pt x="-3124" y="39578"/>
                    <a:pt x="1698" y="41507"/>
                  </a:cubicBezTo>
                  <a:cubicBezTo>
                    <a:pt x="5363" y="42986"/>
                    <a:pt x="5042" y="47036"/>
                    <a:pt x="12757" y="48901"/>
                  </a:cubicBezTo>
                  <a:cubicBezTo>
                    <a:pt x="20472" y="50765"/>
                    <a:pt x="28187" y="44464"/>
                    <a:pt x="27416" y="40028"/>
                  </a:cubicBezTo>
                  <a:cubicBezTo>
                    <a:pt x="26644" y="35592"/>
                    <a:pt x="54226" y="31606"/>
                    <a:pt x="61620" y="29741"/>
                  </a:cubicBezTo>
                  <a:cubicBezTo>
                    <a:pt x="69014" y="27877"/>
                    <a:pt x="56863" y="20226"/>
                    <a:pt x="64899" y="19454"/>
                  </a:cubicBezTo>
                  <a:cubicBezTo>
                    <a:pt x="72936" y="18683"/>
                    <a:pt x="69657" y="15082"/>
                    <a:pt x="59756" y="13603"/>
                  </a:cubicBezTo>
                  <a:cubicBezTo>
                    <a:pt x="49854" y="12125"/>
                    <a:pt x="53905" y="3702"/>
                    <a:pt x="50562" y="745"/>
                  </a:cubicBezTo>
                  <a:cubicBezTo>
                    <a:pt x="47218" y="-2213"/>
                    <a:pt x="45418" y="4409"/>
                    <a:pt x="32559" y="7174"/>
                  </a:cubicBezTo>
                  <a:cubicBezTo>
                    <a:pt x="19701" y="9939"/>
                    <a:pt x="13271" y="13089"/>
                    <a:pt x="18608" y="15661"/>
                  </a:cubicBezTo>
                  <a:cubicBezTo>
                    <a:pt x="23944" y="18233"/>
                    <a:pt x="18608" y="24469"/>
                    <a:pt x="13079" y="24083"/>
                  </a:cubicBezTo>
                  <a:cubicBezTo>
                    <a:pt x="7549" y="23697"/>
                    <a:pt x="6520" y="29420"/>
                    <a:pt x="13464" y="32313"/>
                  </a:cubicBezTo>
                  <a:close/>
                </a:path>
              </a:pathLst>
            </a:custGeom>
            <a:solidFill>
              <a:srgbClr val="99BDED"/>
            </a:solidFill>
            <a:ln w="6429" cap="flat">
              <a:solidFill>
                <a:srgbClr val="99BDED"/>
              </a:solidFill>
              <a:prstDash val="solid"/>
              <a:miter/>
            </a:ln>
          </p:spPr>
          <p:txBody>
            <a:bodyPr rtlCol="0" anchor="ctr"/>
            <a:lstStyle/>
            <a:p>
              <a:endParaRPr lang="en-GB" sz="2400" dirty="0">
                <a:solidFill>
                  <a:srgbClr val="FFFFFF"/>
                </a:solidFill>
              </a:endParaRPr>
            </a:p>
          </p:txBody>
        </p:sp>
        <p:sp>
          <p:nvSpPr>
            <p:cNvPr id="349" name="Freeform 139">
              <a:extLst>
                <a:ext uri="{FF2B5EF4-FFF2-40B4-BE49-F238E27FC236}">
                  <a16:creationId xmlns:a16="http://schemas.microsoft.com/office/drawing/2014/main" id="{AF96A94A-674B-4659-B15F-07A3722F1BC2}"/>
                </a:ext>
              </a:extLst>
            </p:cNvPr>
            <p:cNvSpPr/>
            <p:nvPr/>
          </p:nvSpPr>
          <p:spPr>
            <a:xfrm>
              <a:off x="5094714" y="1615274"/>
              <a:ext cx="38576" cy="12859"/>
            </a:xfrm>
            <a:custGeom>
              <a:avLst/>
              <a:gdLst>
                <a:gd name="connsiteX0" fmla="*/ 18055 w 38576"/>
                <a:gd name="connsiteY0" fmla="*/ 1391 h 12858"/>
                <a:gd name="connsiteX1" fmla="*/ 8861 w 38576"/>
                <a:gd name="connsiteY1" fmla="*/ 4734 h 12858"/>
                <a:gd name="connsiteX2" fmla="*/ 1531 w 38576"/>
                <a:gd name="connsiteY2" fmla="*/ 12064 h 12858"/>
                <a:gd name="connsiteX3" fmla="*/ 28727 w 38576"/>
                <a:gd name="connsiteY3" fmla="*/ 9878 h 12858"/>
                <a:gd name="connsiteX4" fmla="*/ 41972 w 38576"/>
                <a:gd name="connsiteY4" fmla="*/ 4734 h 12858"/>
                <a:gd name="connsiteX5" fmla="*/ 18055 w 38576"/>
                <a:gd name="connsiteY5" fmla="*/ 1391 h 1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76" h="12858">
                  <a:moveTo>
                    <a:pt x="18055" y="1391"/>
                  </a:moveTo>
                  <a:cubicBezTo>
                    <a:pt x="19148" y="4348"/>
                    <a:pt x="16254" y="4734"/>
                    <a:pt x="8861" y="4734"/>
                  </a:cubicBezTo>
                  <a:cubicBezTo>
                    <a:pt x="1467" y="4734"/>
                    <a:pt x="-2326" y="8849"/>
                    <a:pt x="1531" y="12064"/>
                  </a:cubicBezTo>
                  <a:cubicBezTo>
                    <a:pt x="5389" y="15278"/>
                    <a:pt x="25449" y="14250"/>
                    <a:pt x="28727" y="9878"/>
                  </a:cubicBezTo>
                  <a:cubicBezTo>
                    <a:pt x="32006" y="5506"/>
                    <a:pt x="40493" y="9106"/>
                    <a:pt x="41972" y="4734"/>
                  </a:cubicBezTo>
                  <a:cubicBezTo>
                    <a:pt x="43451" y="362"/>
                    <a:pt x="16962" y="-1502"/>
                    <a:pt x="18055" y="1391"/>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50" name="Freeform 140">
              <a:extLst>
                <a:ext uri="{FF2B5EF4-FFF2-40B4-BE49-F238E27FC236}">
                  <a16:creationId xmlns:a16="http://schemas.microsoft.com/office/drawing/2014/main" id="{F4D9C9D1-3CD8-4F02-A3C1-9482826F4A54}"/>
                </a:ext>
              </a:extLst>
            </p:cNvPr>
            <p:cNvSpPr/>
            <p:nvPr/>
          </p:nvSpPr>
          <p:spPr>
            <a:xfrm>
              <a:off x="5555285" y="1626161"/>
              <a:ext cx="70723" cy="32147"/>
            </a:xfrm>
            <a:custGeom>
              <a:avLst/>
              <a:gdLst>
                <a:gd name="connsiteX0" fmla="*/ 9082 w 70723"/>
                <a:gd name="connsiteY0" fmla="*/ 8506 h 32146"/>
                <a:gd name="connsiteX1" fmla="*/ 595 w 70723"/>
                <a:gd name="connsiteY1" fmla="*/ 19564 h 32146"/>
                <a:gd name="connsiteX2" fmla="*/ 9789 w 70723"/>
                <a:gd name="connsiteY2" fmla="*/ 22136 h 32146"/>
                <a:gd name="connsiteX3" fmla="*/ 21941 w 70723"/>
                <a:gd name="connsiteY3" fmla="*/ 30558 h 32146"/>
                <a:gd name="connsiteX4" fmla="*/ 57238 w 70723"/>
                <a:gd name="connsiteY4" fmla="*/ 37952 h 32146"/>
                <a:gd name="connsiteX5" fmla="*/ 65661 w 70723"/>
                <a:gd name="connsiteY5" fmla="*/ 28758 h 32146"/>
                <a:gd name="connsiteX6" fmla="*/ 71190 w 70723"/>
                <a:gd name="connsiteY6" fmla="*/ 14806 h 32146"/>
                <a:gd name="connsiteX7" fmla="*/ 52802 w 70723"/>
                <a:gd name="connsiteY7" fmla="*/ 6705 h 32146"/>
                <a:gd name="connsiteX8" fmla="*/ 43607 w 70723"/>
                <a:gd name="connsiteY8" fmla="*/ 1176 h 32146"/>
                <a:gd name="connsiteX9" fmla="*/ 9082 w 70723"/>
                <a:gd name="connsiteY9" fmla="*/ 8506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723" h="32146">
                  <a:moveTo>
                    <a:pt x="9082" y="8506"/>
                  </a:moveTo>
                  <a:cubicBezTo>
                    <a:pt x="9082" y="12556"/>
                    <a:pt x="-2748" y="16607"/>
                    <a:pt x="595" y="19564"/>
                  </a:cubicBezTo>
                  <a:cubicBezTo>
                    <a:pt x="3938" y="22522"/>
                    <a:pt x="6124" y="21364"/>
                    <a:pt x="9789" y="22136"/>
                  </a:cubicBezTo>
                  <a:cubicBezTo>
                    <a:pt x="13454" y="22907"/>
                    <a:pt x="15318" y="32037"/>
                    <a:pt x="21941" y="30558"/>
                  </a:cubicBezTo>
                  <a:cubicBezTo>
                    <a:pt x="28563" y="29080"/>
                    <a:pt x="46565" y="37952"/>
                    <a:pt x="57238" y="37952"/>
                  </a:cubicBezTo>
                  <a:cubicBezTo>
                    <a:pt x="67911" y="37952"/>
                    <a:pt x="68939" y="29144"/>
                    <a:pt x="65661" y="28758"/>
                  </a:cubicBezTo>
                  <a:cubicBezTo>
                    <a:pt x="62382" y="28372"/>
                    <a:pt x="65661" y="23229"/>
                    <a:pt x="71190" y="14806"/>
                  </a:cubicBezTo>
                  <a:cubicBezTo>
                    <a:pt x="76719" y="6384"/>
                    <a:pt x="52802" y="83"/>
                    <a:pt x="52802" y="6705"/>
                  </a:cubicBezTo>
                  <a:cubicBezTo>
                    <a:pt x="52802" y="13328"/>
                    <a:pt x="45794" y="5227"/>
                    <a:pt x="43607" y="1176"/>
                  </a:cubicBezTo>
                  <a:cubicBezTo>
                    <a:pt x="41422" y="-2874"/>
                    <a:pt x="9082" y="4520"/>
                    <a:pt x="9082" y="8506"/>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51" name="Freeform 141">
              <a:extLst>
                <a:ext uri="{FF2B5EF4-FFF2-40B4-BE49-F238E27FC236}">
                  <a16:creationId xmlns:a16="http://schemas.microsoft.com/office/drawing/2014/main" id="{B668D844-9450-4DD3-B758-4D57AF63C795}"/>
                </a:ext>
              </a:extLst>
            </p:cNvPr>
            <p:cNvSpPr/>
            <p:nvPr/>
          </p:nvSpPr>
          <p:spPr>
            <a:xfrm>
              <a:off x="5271086" y="1802280"/>
              <a:ext cx="19288" cy="6429"/>
            </a:xfrm>
            <a:custGeom>
              <a:avLst/>
              <a:gdLst>
                <a:gd name="connsiteX0" fmla="*/ 2289 w 19288"/>
                <a:gd name="connsiteY0" fmla="*/ 9901 h 6429"/>
                <a:gd name="connsiteX1" fmla="*/ 21577 w 19288"/>
                <a:gd name="connsiteY1" fmla="*/ 5465 h 6429"/>
                <a:gd name="connsiteX2" fmla="*/ 7947 w 19288"/>
                <a:gd name="connsiteY2" fmla="*/ 0 h 6429"/>
                <a:gd name="connsiteX3" fmla="*/ 2289 w 19288"/>
                <a:gd name="connsiteY3" fmla="*/ 9901 h 6429"/>
              </a:gdLst>
              <a:ahLst/>
              <a:cxnLst>
                <a:cxn ang="0">
                  <a:pos x="connsiteX0" y="connsiteY0"/>
                </a:cxn>
                <a:cxn ang="0">
                  <a:pos x="connsiteX1" y="connsiteY1"/>
                </a:cxn>
                <a:cxn ang="0">
                  <a:pos x="connsiteX2" y="connsiteY2"/>
                </a:cxn>
                <a:cxn ang="0">
                  <a:pos x="connsiteX3" y="connsiteY3"/>
                </a:cxn>
              </a:cxnLst>
              <a:rect l="l" t="t" r="r" b="b"/>
              <a:pathLst>
                <a:path w="19288" h="6429">
                  <a:moveTo>
                    <a:pt x="2289" y="9901"/>
                  </a:moveTo>
                  <a:cubicBezTo>
                    <a:pt x="7046" y="10608"/>
                    <a:pt x="19905" y="8037"/>
                    <a:pt x="21577" y="5465"/>
                  </a:cubicBezTo>
                  <a:cubicBezTo>
                    <a:pt x="23248" y="2893"/>
                    <a:pt x="16433" y="0"/>
                    <a:pt x="7947" y="0"/>
                  </a:cubicBezTo>
                  <a:cubicBezTo>
                    <a:pt x="-540" y="0"/>
                    <a:pt x="-1890" y="9258"/>
                    <a:pt x="2289" y="9901"/>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52" name="Freeform 142">
              <a:extLst>
                <a:ext uri="{FF2B5EF4-FFF2-40B4-BE49-F238E27FC236}">
                  <a16:creationId xmlns:a16="http://schemas.microsoft.com/office/drawing/2014/main" id="{623A347C-9652-4016-B59B-707EE64042D1}"/>
                </a:ext>
              </a:extLst>
            </p:cNvPr>
            <p:cNvSpPr/>
            <p:nvPr/>
          </p:nvSpPr>
          <p:spPr>
            <a:xfrm>
              <a:off x="5139460" y="1600542"/>
              <a:ext cx="32147" cy="12859"/>
            </a:xfrm>
            <a:custGeom>
              <a:avLst/>
              <a:gdLst>
                <a:gd name="connsiteX0" fmla="*/ 36189 w 32146"/>
                <a:gd name="connsiteY0" fmla="*/ 9179 h 12858"/>
                <a:gd name="connsiteX1" fmla="*/ 30659 w 32146"/>
                <a:gd name="connsiteY1" fmla="*/ 2749 h 12858"/>
                <a:gd name="connsiteX2" fmla="*/ 10471 w 32146"/>
                <a:gd name="connsiteY2" fmla="*/ 2364 h 12858"/>
                <a:gd name="connsiteX3" fmla="*/ 891 w 32146"/>
                <a:gd name="connsiteY3" fmla="*/ 13744 h 12858"/>
                <a:gd name="connsiteX4" fmla="*/ 36189 w 32146"/>
                <a:gd name="connsiteY4" fmla="*/ 9179 h 12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46" h="12858">
                  <a:moveTo>
                    <a:pt x="36189" y="9179"/>
                  </a:moveTo>
                  <a:cubicBezTo>
                    <a:pt x="38760" y="5836"/>
                    <a:pt x="31366" y="5836"/>
                    <a:pt x="30659" y="2749"/>
                  </a:cubicBezTo>
                  <a:cubicBezTo>
                    <a:pt x="29952" y="-337"/>
                    <a:pt x="9314" y="-1301"/>
                    <a:pt x="10471" y="2364"/>
                  </a:cubicBezTo>
                  <a:cubicBezTo>
                    <a:pt x="11628" y="6028"/>
                    <a:pt x="-3802" y="10079"/>
                    <a:pt x="891" y="13744"/>
                  </a:cubicBezTo>
                  <a:cubicBezTo>
                    <a:pt x="9699" y="20559"/>
                    <a:pt x="33617" y="12458"/>
                    <a:pt x="36189" y="9179"/>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53" name="Freeform 143">
              <a:extLst>
                <a:ext uri="{FF2B5EF4-FFF2-40B4-BE49-F238E27FC236}">
                  <a16:creationId xmlns:a16="http://schemas.microsoft.com/office/drawing/2014/main" id="{D8A618BE-556C-4FF6-B30D-71EDF33723AE}"/>
                </a:ext>
              </a:extLst>
            </p:cNvPr>
            <p:cNvSpPr/>
            <p:nvPr/>
          </p:nvSpPr>
          <p:spPr>
            <a:xfrm>
              <a:off x="6205534" y="1751820"/>
              <a:ext cx="57864" cy="19288"/>
            </a:xfrm>
            <a:custGeom>
              <a:avLst/>
              <a:gdLst>
                <a:gd name="connsiteX0" fmla="*/ 1126 w 57864"/>
                <a:gd name="connsiteY0" fmla="*/ 9827 h 19288"/>
                <a:gd name="connsiteX1" fmla="*/ 31216 w 57864"/>
                <a:gd name="connsiteY1" fmla="*/ 20114 h 19288"/>
                <a:gd name="connsiteX2" fmla="*/ 60984 w 57864"/>
                <a:gd name="connsiteY2" fmla="*/ 14199 h 19288"/>
                <a:gd name="connsiteX3" fmla="*/ 40795 w 57864"/>
                <a:gd name="connsiteY3" fmla="*/ 7769 h 19288"/>
                <a:gd name="connsiteX4" fmla="*/ 26458 w 57864"/>
                <a:gd name="connsiteY4" fmla="*/ 4876 h 19288"/>
                <a:gd name="connsiteX5" fmla="*/ 9549 w 57864"/>
                <a:gd name="connsiteY5" fmla="*/ 1147 h 19288"/>
                <a:gd name="connsiteX6" fmla="*/ 1126 w 57864"/>
                <a:gd name="connsiteY6" fmla="*/ 9827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864" h="19288">
                  <a:moveTo>
                    <a:pt x="1126" y="9827"/>
                  </a:moveTo>
                  <a:cubicBezTo>
                    <a:pt x="9934" y="10534"/>
                    <a:pt x="14371" y="19021"/>
                    <a:pt x="31216" y="20114"/>
                  </a:cubicBezTo>
                  <a:cubicBezTo>
                    <a:pt x="48061" y="21207"/>
                    <a:pt x="60662" y="17928"/>
                    <a:pt x="60984" y="14199"/>
                  </a:cubicBezTo>
                  <a:cubicBezTo>
                    <a:pt x="61305" y="10470"/>
                    <a:pt x="45553" y="5069"/>
                    <a:pt x="40795" y="7769"/>
                  </a:cubicBezTo>
                  <a:cubicBezTo>
                    <a:pt x="36038" y="10470"/>
                    <a:pt x="32373" y="3011"/>
                    <a:pt x="26458" y="4876"/>
                  </a:cubicBezTo>
                  <a:cubicBezTo>
                    <a:pt x="20543" y="6740"/>
                    <a:pt x="12506" y="6291"/>
                    <a:pt x="9549" y="1147"/>
                  </a:cubicBezTo>
                  <a:cubicBezTo>
                    <a:pt x="6591" y="-3996"/>
                    <a:pt x="-3310" y="9827"/>
                    <a:pt x="1126" y="9827"/>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54" name="Freeform 144">
              <a:extLst>
                <a:ext uri="{FF2B5EF4-FFF2-40B4-BE49-F238E27FC236}">
                  <a16:creationId xmlns:a16="http://schemas.microsoft.com/office/drawing/2014/main" id="{B02CF225-1416-4496-8412-947AEBC617BE}"/>
                </a:ext>
              </a:extLst>
            </p:cNvPr>
            <p:cNvSpPr/>
            <p:nvPr/>
          </p:nvSpPr>
          <p:spPr>
            <a:xfrm>
              <a:off x="5620104" y="1645768"/>
              <a:ext cx="70723" cy="38576"/>
            </a:xfrm>
            <a:custGeom>
              <a:avLst/>
              <a:gdLst>
                <a:gd name="connsiteX0" fmla="*/ 1228 w 70723"/>
                <a:gd name="connsiteY0" fmla="*/ 40720 h 38576"/>
                <a:gd name="connsiteX1" fmla="*/ 33889 w 70723"/>
                <a:gd name="connsiteY1" fmla="*/ 37441 h 38576"/>
                <a:gd name="connsiteX2" fmla="*/ 76901 w 70723"/>
                <a:gd name="connsiteY2" fmla="*/ 23103 h 38576"/>
                <a:gd name="connsiteX3" fmla="*/ 60763 w 70723"/>
                <a:gd name="connsiteY3" fmla="*/ 12430 h 38576"/>
                <a:gd name="connsiteX4" fmla="*/ 42761 w 70723"/>
                <a:gd name="connsiteY4" fmla="*/ 16095 h 38576"/>
                <a:gd name="connsiteX5" fmla="*/ 44176 w 70723"/>
                <a:gd name="connsiteY5" fmla="*/ 9666 h 38576"/>
                <a:gd name="connsiteX6" fmla="*/ 36846 w 70723"/>
                <a:gd name="connsiteY6" fmla="*/ 1565 h 38576"/>
                <a:gd name="connsiteX7" fmla="*/ 23988 w 70723"/>
                <a:gd name="connsiteY7" fmla="*/ 6322 h 38576"/>
                <a:gd name="connsiteX8" fmla="*/ 19551 w 70723"/>
                <a:gd name="connsiteY8" fmla="*/ 16224 h 38576"/>
                <a:gd name="connsiteX9" fmla="*/ 10357 w 70723"/>
                <a:gd name="connsiteY9" fmla="*/ 23232 h 38576"/>
                <a:gd name="connsiteX10" fmla="*/ 1228 w 70723"/>
                <a:gd name="connsiteY10" fmla="*/ 40720 h 3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723" h="38576">
                  <a:moveTo>
                    <a:pt x="1228" y="40720"/>
                  </a:moveTo>
                  <a:cubicBezTo>
                    <a:pt x="6371" y="43677"/>
                    <a:pt x="22895" y="37055"/>
                    <a:pt x="33889" y="37441"/>
                  </a:cubicBezTo>
                  <a:cubicBezTo>
                    <a:pt x="44883" y="37826"/>
                    <a:pt x="75808" y="28954"/>
                    <a:pt x="76901" y="23103"/>
                  </a:cubicBezTo>
                  <a:cubicBezTo>
                    <a:pt x="77994" y="17252"/>
                    <a:pt x="65521" y="17574"/>
                    <a:pt x="60763" y="12430"/>
                  </a:cubicBezTo>
                  <a:cubicBezTo>
                    <a:pt x="56006" y="7287"/>
                    <a:pt x="45333" y="11723"/>
                    <a:pt x="42761" y="16095"/>
                  </a:cubicBezTo>
                  <a:cubicBezTo>
                    <a:pt x="40190" y="20467"/>
                    <a:pt x="37232" y="16481"/>
                    <a:pt x="44176" y="9666"/>
                  </a:cubicBezTo>
                  <a:cubicBezTo>
                    <a:pt x="51119" y="2851"/>
                    <a:pt x="37232" y="-2872"/>
                    <a:pt x="36846" y="1565"/>
                  </a:cubicBezTo>
                  <a:cubicBezTo>
                    <a:pt x="36461" y="6001"/>
                    <a:pt x="23988" y="2272"/>
                    <a:pt x="23988" y="6322"/>
                  </a:cubicBezTo>
                  <a:cubicBezTo>
                    <a:pt x="23988" y="10373"/>
                    <a:pt x="19166" y="12237"/>
                    <a:pt x="19551" y="16224"/>
                  </a:cubicBezTo>
                  <a:cubicBezTo>
                    <a:pt x="19937" y="20210"/>
                    <a:pt x="10743" y="14038"/>
                    <a:pt x="10357" y="23232"/>
                  </a:cubicBezTo>
                  <a:cubicBezTo>
                    <a:pt x="9972" y="32426"/>
                    <a:pt x="-4173" y="37633"/>
                    <a:pt x="1228" y="40720"/>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55" name="Freeform 145">
              <a:extLst>
                <a:ext uri="{FF2B5EF4-FFF2-40B4-BE49-F238E27FC236}">
                  <a16:creationId xmlns:a16="http://schemas.microsoft.com/office/drawing/2014/main" id="{E6CCC931-0CBA-4753-A29B-0613C9E03AA7}"/>
                </a:ext>
              </a:extLst>
            </p:cNvPr>
            <p:cNvSpPr/>
            <p:nvPr/>
          </p:nvSpPr>
          <p:spPr>
            <a:xfrm>
              <a:off x="6091917" y="1732983"/>
              <a:ext cx="96441" cy="32147"/>
            </a:xfrm>
            <a:custGeom>
              <a:avLst/>
              <a:gdLst>
                <a:gd name="connsiteX0" fmla="*/ 3387 w 96440"/>
                <a:gd name="connsiteY0" fmla="*/ 29242 h 32146"/>
                <a:gd name="connsiteX1" fmla="*/ 13289 w 96440"/>
                <a:gd name="connsiteY1" fmla="*/ 37279 h 32146"/>
                <a:gd name="connsiteX2" fmla="*/ 31677 w 96440"/>
                <a:gd name="connsiteY2" fmla="*/ 34386 h 32146"/>
                <a:gd name="connsiteX3" fmla="*/ 43442 w 96440"/>
                <a:gd name="connsiteY3" fmla="*/ 36572 h 32146"/>
                <a:gd name="connsiteX4" fmla="*/ 65495 w 96440"/>
                <a:gd name="connsiteY4" fmla="*/ 34386 h 32146"/>
                <a:gd name="connsiteX5" fmla="*/ 64402 w 96440"/>
                <a:gd name="connsiteY5" fmla="*/ 20048 h 32146"/>
                <a:gd name="connsiteX6" fmla="*/ 70832 w 96440"/>
                <a:gd name="connsiteY6" fmla="*/ 22234 h 32146"/>
                <a:gd name="connsiteX7" fmla="*/ 86969 w 96440"/>
                <a:gd name="connsiteY7" fmla="*/ 33614 h 32146"/>
                <a:gd name="connsiteX8" fmla="*/ 95778 w 96440"/>
                <a:gd name="connsiteY8" fmla="*/ 22941 h 32146"/>
                <a:gd name="connsiteX9" fmla="*/ 92499 w 96440"/>
                <a:gd name="connsiteY9" fmla="*/ 12333 h 32146"/>
                <a:gd name="connsiteX10" fmla="*/ 65688 w 96440"/>
                <a:gd name="connsiteY10" fmla="*/ 7189 h 32146"/>
                <a:gd name="connsiteX11" fmla="*/ 48007 w 96440"/>
                <a:gd name="connsiteY11" fmla="*/ 11561 h 32146"/>
                <a:gd name="connsiteX12" fmla="*/ 24154 w 96440"/>
                <a:gd name="connsiteY12" fmla="*/ 181 h 32146"/>
                <a:gd name="connsiteX13" fmla="*/ 3387 w 96440"/>
                <a:gd name="connsiteY13" fmla="*/ 29242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440" h="32146">
                  <a:moveTo>
                    <a:pt x="3387" y="29242"/>
                  </a:moveTo>
                  <a:cubicBezTo>
                    <a:pt x="7187" y="31242"/>
                    <a:pt x="10550" y="33974"/>
                    <a:pt x="13289" y="37279"/>
                  </a:cubicBezTo>
                  <a:cubicBezTo>
                    <a:pt x="16246" y="40236"/>
                    <a:pt x="27305" y="35800"/>
                    <a:pt x="31677" y="34386"/>
                  </a:cubicBezTo>
                  <a:cubicBezTo>
                    <a:pt x="36049" y="32971"/>
                    <a:pt x="36435" y="40815"/>
                    <a:pt x="43442" y="36572"/>
                  </a:cubicBezTo>
                  <a:cubicBezTo>
                    <a:pt x="50451" y="32328"/>
                    <a:pt x="57394" y="34386"/>
                    <a:pt x="65495" y="34386"/>
                  </a:cubicBezTo>
                  <a:cubicBezTo>
                    <a:pt x="73596" y="34386"/>
                    <a:pt x="64016" y="24420"/>
                    <a:pt x="64402" y="20048"/>
                  </a:cubicBezTo>
                  <a:cubicBezTo>
                    <a:pt x="64788" y="15676"/>
                    <a:pt x="73918" y="18569"/>
                    <a:pt x="70832" y="22234"/>
                  </a:cubicBezTo>
                  <a:cubicBezTo>
                    <a:pt x="67746" y="25899"/>
                    <a:pt x="75203" y="34386"/>
                    <a:pt x="86969" y="33614"/>
                  </a:cubicBezTo>
                  <a:cubicBezTo>
                    <a:pt x="98735" y="32843"/>
                    <a:pt x="89927" y="25513"/>
                    <a:pt x="95778" y="22941"/>
                  </a:cubicBezTo>
                  <a:cubicBezTo>
                    <a:pt x="101629" y="20370"/>
                    <a:pt x="100921" y="17476"/>
                    <a:pt x="92499" y="12333"/>
                  </a:cubicBezTo>
                  <a:cubicBezTo>
                    <a:pt x="84076" y="7189"/>
                    <a:pt x="73210" y="10468"/>
                    <a:pt x="65688" y="7189"/>
                  </a:cubicBezTo>
                  <a:cubicBezTo>
                    <a:pt x="58166" y="3910"/>
                    <a:pt x="48393" y="3460"/>
                    <a:pt x="48007" y="11561"/>
                  </a:cubicBezTo>
                  <a:cubicBezTo>
                    <a:pt x="47622" y="19662"/>
                    <a:pt x="32255" y="2753"/>
                    <a:pt x="24154" y="181"/>
                  </a:cubicBezTo>
                  <a:cubicBezTo>
                    <a:pt x="16054" y="-2390"/>
                    <a:pt x="-9021" y="23134"/>
                    <a:pt x="3387" y="29242"/>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56" name="Freeform 146">
              <a:extLst>
                <a:ext uri="{FF2B5EF4-FFF2-40B4-BE49-F238E27FC236}">
                  <a16:creationId xmlns:a16="http://schemas.microsoft.com/office/drawing/2014/main" id="{8CBADAA0-295B-4776-ACDB-5228A75E9371}"/>
                </a:ext>
              </a:extLst>
            </p:cNvPr>
            <p:cNvSpPr/>
            <p:nvPr/>
          </p:nvSpPr>
          <p:spPr>
            <a:xfrm>
              <a:off x="6614903" y="1850309"/>
              <a:ext cx="45006" cy="12859"/>
            </a:xfrm>
            <a:custGeom>
              <a:avLst/>
              <a:gdLst>
                <a:gd name="connsiteX0" fmla="*/ 1630 w 45005"/>
                <a:gd name="connsiteY0" fmla="*/ 14208 h 12858"/>
                <a:gd name="connsiteX1" fmla="*/ 19247 w 45005"/>
                <a:gd name="connsiteY1" fmla="*/ 13822 h 12858"/>
                <a:gd name="connsiteX2" fmla="*/ 45350 w 45005"/>
                <a:gd name="connsiteY2" fmla="*/ 10929 h 12858"/>
                <a:gd name="connsiteX3" fmla="*/ 31720 w 45005"/>
                <a:gd name="connsiteY3" fmla="*/ 256 h 12858"/>
                <a:gd name="connsiteX4" fmla="*/ 1630 w 45005"/>
                <a:gd name="connsiteY4" fmla="*/ 14208 h 12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05" h="12858">
                  <a:moveTo>
                    <a:pt x="1630" y="14208"/>
                  </a:moveTo>
                  <a:cubicBezTo>
                    <a:pt x="8960" y="17873"/>
                    <a:pt x="13332" y="9772"/>
                    <a:pt x="19247" y="13822"/>
                  </a:cubicBezTo>
                  <a:cubicBezTo>
                    <a:pt x="25161" y="17873"/>
                    <a:pt x="39435" y="12022"/>
                    <a:pt x="45350" y="10929"/>
                  </a:cubicBezTo>
                  <a:cubicBezTo>
                    <a:pt x="51265" y="9836"/>
                    <a:pt x="48243" y="2442"/>
                    <a:pt x="31720" y="256"/>
                  </a:cubicBezTo>
                  <a:cubicBezTo>
                    <a:pt x="15196" y="-1930"/>
                    <a:pt x="-6085" y="10479"/>
                    <a:pt x="1630" y="14208"/>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57" name="Freeform 147">
              <a:extLst>
                <a:ext uri="{FF2B5EF4-FFF2-40B4-BE49-F238E27FC236}">
                  <a16:creationId xmlns:a16="http://schemas.microsoft.com/office/drawing/2014/main" id="{5D23AC51-093B-461D-B441-B39EC2B8F26E}"/>
                </a:ext>
              </a:extLst>
            </p:cNvPr>
            <p:cNvSpPr/>
            <p:nvPr/>
          </p:nvSpPr>
          <p:spPr>
            <a:xfrm>
              <a:off x="6135231" y="1793550"/>
              <a:ext cx="38576" cy="12859"/>
            </a:xfrm>
            <a:custGeom>
              <a:avLst/>
              <a:gdLst>
                <a:gd name="connsiteX0" fmla="*/ 36903 w 38576"/>
                <a:gd name="connsiteY0" fmla="*/ 15674 h 12858"/>
                <a:gd name="connsiteX1" fmla="*/ 20701 w 38576"/>
                <a:gd name="connsiteY1" fmla="*/ 244 h 12858"/>
                <a:gd name="connsiteX2" fmla="*/ 127 w 38576"/>
                <a:gd name="connsiteY2" fmla="*/ 9823 h 12858"/>
                <a:gd name="connsiteX3" fmla="*/ 36903 w 38576"/>
                <a:gd name="connsiteY3" fmla="*/ 15674 h 12858"/>
              </a:gdLst>
              <a:ahLst/>
              <a:cxnLst>
                <a:cxn ang="0">
                  <a:pos x="connsiteX0" y="connsiteY0"/>
                </a:cxn>
                <a:cxn ang="0">
                  <a:pos x="connsiteX1" y="connsiteY1"/>
                </a:cxn>
                <a:cxn ang="0">
                  <a:pos x="connsiteX2" y="connsiteY2"/>
                </a:cxn>
                <a:cxn ang="0">
                  <a:pos x="connsiteX3" y="connsiteY3"/>
                </a:cxn>
              </a:cxnLst>
              <a:rect l="l" t="t" r="r" b="b"/>
              <a:pathLst>
                <a:path w="38576" h="12858">
                  <a:moveTo>
                    <a:pt x="36903" y="15674"/>
                  </a:moveTo>
                  <a:cubicBezTo>
                    <a:pt x="43333" y="14195"/>
                    <a:pt x="32081" y="2108"/>
                    <a:pt x="20701" y="244"/>
                  </a:cubicBezTo>
                  <a:cubicBezTo>
                    <a:pt x="9322" y="-1621"/>
                    <a:pt x="-1287" y="7766"/>
                    <a:pt x="127" y="9823"/>
                  </a:cubicBezTo>
                  <a:cubicBezTo>
                    <a:pt x="3471" y="14581"/>
                    <a:pt x="30281" y="17153"/>
                    <a:pt x="36903" y="15674"/>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58" name="Freeform 148">
              <a:extLst>
                <a:ext uri="{FF2B5EF4-FFF2-40B4-BE49-F238E27FC236}">
                  <a16:creationId xmlns:a16="http://schemas.microsoft.com/office/drawing/2014/main" id="{F65EFED9-EEBB-480A-B5D4-F8AD78CBE77D}"/>
                </a:ext>
              </a:extLst>
            </p:cNvPr>
            <p:cNvSpPr/>
            <p:nvPr/>
          </p:nvSpPr>
          <p:spPr>
            <a:xfrm>
              <a:off x="6128973" y="1783006"/>
              <a:ext cx="12859" cy="6429"/>
            </a:xfrm>
            <a:custGeom>
              <a:avLst/>
              <a:gdLst>
                <a:gd name="connsiteX0" fmla="*/ 13716 w 12858"/>
                <a:gd name="connsiteY0" fmla="*/ 1979 h 6429"/>
                <a:gd name="connsiteX1" fmla="*/ 2015 w 12858"/>
                <a:gd name="connsiteY1" fmla="*/ 6737 h 6429"/>
                <a:gd name="connsiteX2" fmla="*/ 13716 w 12858"/>
                <a:gd name="connsiteY2" fmla="*/ 1979 h 6429"/>
              </a:gdLst>
              <a:ahLst/>
              <a:cxnLst>
                <a:cxn ang="0">
                  <a:pos x="connsiteX0" y="connsiteY0"/>
                </a:cxn>
                <a:cxn ang="0">
                  <a:pos x="connsiteX1" y="connsiteY1"/>
                </a:cxn>
                <a:cxn ang="0">
                  <a:pos x="connsiteX2" y="connsiteY2"/>
                </a:cxn>
              </a:cxnLst>
              <a:rect l="l" t="t" r="r" b="b"/>
              <a:pathLst>
                <a:path w="12858" h="6429">
                  <a:moveTo>
                    <a:pt x="13716" y="1979"/>
                  </a:moveTo>
                  <a:cubicBezTo>
                    <a:pt x="13716" y="-3550"/>
                    <a:pt x="-6279" y="3972"/>
                    <a:pt x="2015" y="6737"/>
                  </a:cubicBezTo>
                  <a:cubicBezTo>
                    <a:pt x="6386" y="8216"/>
                    <a:pt x="13716" y="7508"/>
                    <a:pt x="13716" y="1979"/>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59" name="Freeform 149">
              <a:extLst>
                <a:ext uri="{FF2B5EF4-FFF2-40B4-BE49-F238E27FC236}">
                  <a16:creationId xmlns:a16="http://schemas.microsoft.com/office/drawing/2014/main" id="{D041588D-78E7-4BDA-A26B-F95E087D6CBF}"/>
                </a:ext>
              </a:extLst>
            </p:cNvPr>
            <p:cNvSpPr/>
            <p:nvPr/>
          </p:nvSpPr>
          <p:spPr>
            <a:xfrm>
              <a:off x="5181682" y="1597025"/>
              <a:ext cx="25718" cy="6429"/>
            </a:xfrm>
            <a:custGeom>
              <a:avLst/>
              <a:gdLst>
                <a:gd name="connsiteX0" fmla="*/ 20776 w 25717"/>
                <a:gd name="connsiteY0" fmla="*/ 10832 h 6429"/>
                <a:gd name="connsiteX1" fmla="*/ 27205 w 25717"/>
                <a:gd name="connsiteY1" fmla="*/ 223 h 6429"/>
                <a:gd name="connsiteX2" fmla="*/ 15054 w 25717"/>
                <a:gd name="connsiteY2" fmla="*/ 4209 h 6429"/>
                <a:gd name="connsiteX3" fmla="*/ 395 w 25717"/>
                <a:gd name="connsiteY3" fmla="*/ 9739 h 6429"/>
                <a:gd name="connsiteX4" fmla="*/ 20776 w 25717"/>
                <a:gd name="connsiteY4" fmla="*/ 10832 h 6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 h="6429">
                  <a:moveTo>
                    <a:pt x="20776" y="10832"/>
                  </a:moveTo>
                  <a:cubicBezTo>
                    <a:pt x="34728" y="9417"/>
                    <a:pt x="34342" y="1638"/>
                    <a:pt x="27205" y="223"/>
                  </a:cubicBezTo>
                  <a:cubicBezTo>
                    <a:pt x="20069" y="-1191"/>
                    <a:pt x="18783" y="4595"/>
                    <a:pt x="15054" y="4209"/>
                  </a:cubicBezTo>
                  <a:cubicBezTo>
                    <a:pt x="11325" y="3824"/>
                    <a:pt x="-2498" y="6588"/>
                    <a:pt x="395" y="9739"/>
                  </a:cubicBezTo>
                  <a:cubicBezTo>
                    <a:pt x="3288" y="12889"/>
                    <a:pt x="13961" y="11603"/>
                    <a:pt x="20776" y="10832"/>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60" name="Freeform 150">
              <a:extLst>
                <a:ext uri="{FF2B5EF4-FFF2-40B4-BE49-F238E27FC236}">
                  <a16:creationId xmlns:a16="http://schemas.microsoft.com/office/drawing/2014/main" id="{5D0575D5-DA4F-4999-9AAC-F0657AE7AE57}"/>
                </a:ext>
              </a:extLst>
            </p:cNvPr>
            <p:cNvSpPr/>
            <p:nvPr/>
          </p:nvSpPr>
          <p:spPr>
            <a:xfrm>
              <a:off x="4185537" y="1693238"/>
              <a:ext cx="2571746" cy="1703782"/>
            </a:xfrm>
            <a:custGeom>
              <a:avLst/>
              <a:gdLst>
                <a:gd name="connsiteX0" fmla="*/ 2543963 w 2571750"/>
                <a:gd name="connsiteY0" fmla="*/ 287007 h 1703784"/>
                <a:gd name="connsiteX1" fmla="*/ 2557915 w 2571750"/>
                <a:gd name="connsiteY1" fmla="*/ 289901 h 1703784"/>
                <a:gd name="connsiteX2" fmla="*/ 2555022 w 2571750"/>
                <a:gd name="connsiteY2" fmla="*/ 286429 h 1703784"/>
                <a:gd name="connsiteX3" fmla="*/ 2557722 w 2571750"/>
                <a:gd name="connsiteY3" fmla="*/ 285336 h 1703784"/>
                <a:gd name="connsiteX4" fmla="*/ 2564538 w 2571750"/>
                <a:gd name="connsiteY4" fmla="*/ 286043 h 1703784"/>
                <a:gd name="connsiteX5" fmla="*/ 2570967 w 2571750"/>
                <a:gd name="connsiteY5" fmla="*/ 279292 h 1703784"/>
                <a:gd name="connsiteX6" fmla="*/ 2572446 w 2571750"/>
                <a:gd name="connsiteY6" fmla="*/ 275949 h 1703784"/>
                <a:gd name="connsiteX7" fmla="*/ 2554058 w 2571750"/>
                <a:gd name="connsiteY7" fmla="*/ 263090 h 1703784"/>
                <a:gd name="connsiteX8" fmla="*/ 2536955 w 2571750"/>
                <a:gd name="connsiteY8" fmla="*/ 259040 h 1703784"/>
                <a:gd name="connsiteX9" fmla="*/ 2531297 w 2571750"/>
                <a:gd name="connsiteY9" fmla="*/ 256146 h 1703784"/>
                <a:gd name="connsiteX10" fmla="*/ 2515096 w 2571750"/>
                <a:gd name="connsiteY10" fmla="*/ 256146 h 1703784"/>
                <a:gd name="connsiteX11" fmla="*/ 2520818 w 2571750"/>
                <a:gd name="connsiteY11" fmla="*/ 261869 h 1703784"/>
                <a:gd name="connsiteX12" fmla="*/ 2518953 w 2571750"/>
                <a:gd name="connsiteY12" fmla="*/ 269712 h 1703784"/>
                <a:gd name="connsiteX13" fmla="*/ 2511109 w 2571750"/>
                <a:gd name="connsiteY13" fmla="*/ 266240 h 1703784"/>
                <a:gd name="connsiteX14" fmla="*/ 2510531 w 2571750"/>
                <a:gd name="connsiteY14" fmla="*/ 253382 h 1703784"/>
                <a:gd name="connsiteX15" fmla="*/ 2505773 w 2571750"/>
                <a:gd name="connsiteY15" fmla="*/ 246952 h 1703784"/>
                <a:gd name="connsiteX16" fmla="*/ 2481663 w 2571750"/>
                <a:gd name="connsiteY16" fmla="*/ 232808 h 1703784"/>
                <a:gd name="connsiteX17" fmla="*/ 2463146 w 2571750"/>
                <a:gd name="connsiteY17" fmla="*/ 222714 h 1703784"/>
                <a:gd name="connsiteX18" fmla="*/ 2443472 w 2571750"/>
                <a:gd name="connsiteY18" fmla="*/ 213713 h 1703784"/>
                <a:gd name="connsiteX19" fmla="*/ 2408754 w 2571750"/>
                <a:gd name="connsiteY19" fmla="*/ 199375 h 1703784"/>
                <a:gd name="connsiteX20" fmla="*/ 2397374 w 2571750"/>
                <a:gd name="connsiteY20" fmla="*/ 194617 h 1703784"/>
                <a:gd name="connsiteX21" fmla="*/ 2368120 w 2571750"/>
                <a:gd name="connsiteY21" fmla="*/ 193524 h 1703784"/>
                <a:gd name="connsiteX22" fmla="*/ 2356740 w 2571750"/>
                <a:gd name="connsiteY22" fmla="*/ 195324 h 1703784"/>
                <a:gd name="connsiteX23" fmla="*/ 2328065 w 2571750"/>
                <a:gd name="connsiteY23" fmla="*/ 188895 h 1703784"/>
                <a:gd name="connsiteX24" fmla="*/ 2324079 w 2571750"/>
                <a:gd name="connsiteY24" fmla="*/ 196739 h 1703784"/>
                <a:gd name="connsiteX25" fmla="*/ 2330122 w 2571750"/>
                <a:gd name="connsiteY25" fmla="*/ 206705 h 1703784"/>
                <a:gd name="connsiteX26" fmla="*/ 2326972 w 2571750"/>
                <a:gd name="connsiteY26" fmla="*/ 218792 h 1703784"/>
                <a:gd name="connsiteX27" fmla="*/ 2309870 w 2571750"/>
                <a:gd name="connsiteY27" fmla="*/ 212362 h 1703784"/>
                <a:gd name="connsiteX28" fmla="*/ 2297783 w 2571750"/>
                <a:gd name="connsiteY28" fmla="*/ 204454 h 1703784"/>
                <a:gd name="connsiteX29" fmla="*/ 2303633 w 2571750"/>
                <a:gd name="connsiteY29" fmla="*/ 201175 h 1703784"/>
                <a:gd name="connsiteX30" fmla="*/ 2311522 w 2571750"/>
                <a:gd name="connsiteY30" fmla="*/ 200590 h 1703784"/>
                <a:gd name="connsiteX31" fmla="*/ 2312827 w 2571750"/>
                <a:gd name="connsiteY31" fmla="*/ 197703 h 1703784"/>
                <a:gd name="connsiteX32" fmla="*/ 2297204 w 2571750"/>
                <a:gd name="connsiteY32" fmla="*/ 191274 h 1703784"/>
                <a:gd name="connsiteX33" fmla="*/ 2282545 w 2571750"/>
                <a:gd name="connsiteY33" fmla="*/ 202847 h 1703784"/>
                <a:gd name="connsiteX34" fmla="*/ 2251491 w 2571750"/>
                <a:gd name="connsiteY34" fmla="*/ 199311 h 1703784"/>
                <a:gd name="connsiteX35" fmla="*/ 2214008 w 2571750"/>
                <a:gd name="connsiteY35" fmla="*/ 201561 h 1703784"/>
                <a:gd name="connsiteX36" fmla="*/ 2211436 w 2571750"/>
                <a:gd name="connsiteY36" fmla="*/ 213134 h 1703784"/>
                <a:gd name="connsiteX37" fmla="*/ 2208157 w 2571750"/>
                <a:gd name="connsiteY37" fmla="*/ 201175 h 1703784"/>
                <a:gd name="connsiteX38" fmla="*/ 2198577 w 2571750"/>
                <a:gd name="connsiteY38" fmla="*/ 197703 h 1703784"/>
                <a:gd name="connsiteX39" fmla="*/ 2192148 w 2571750"/>
                <a:gd name="connsiteY39" fmla="*/ 195132 h 1703784"/>
                <a:gd name="connsiteX40" fmla="*/ 2194334 w 2571750"/>
                <a:gd name="connsiteY40" fmla="*/ 187224 h 1703784"/>
                <a:gd name="connsiteX41" fmla="*/ 2174146 w 2571750"/>
                <a:gd name="connsiteY41" fmla="*/ 169543 h 1703784"/>
                <a:gd name="connsiteX42" fmla="*/ 2127083 w 2571750"/>
                <a:gd name="connsiteY42" fmla="*/ 169543 h 1703784"/>
                <a:gd name="connsiteX43" fmla="*/ 2098086 w 2571750"/>
                <a:gd name="connsiteY43" fmla="*/ 171214 h 1703784"/>
                <a:gd name="connsiteX44" fmla="*/ 2094807 w 2571750"/>
                <a:gd name="connsiteY44" fmla="*/ 165171 h 1703784"/>
                <a:gd name="connsiteX45" fmla="*/ 2079184 w 2571750"/>
                <a:gd name="connsiteY45" fmla="*/ 160542 h 1703784"/>
                <a:gd name="connsiteX46" fmla="*/ 2074362 w 2571750"/>
                <a:gd name="connsiteY46" fmla="*/ 158548 h 1703784"/>
                <a:gd name="connsiteX47" fmla="*/ 2058803 w 2571750"/>
                <a:gd name="connsiteY47" fmla="*/ 153405 h 1703784"/>
                <a:gd name="connsiteX48" fmla="*/ 2057453 w 2571750"/>
                <a:gd name="connsiteY48" fmla="*/ 149354 h 1703784"/>
                <a:gd name="connsiteX49" fmla="*/ 2067611 w 2571750"/>
                <a:gd name="connsiteY49" fmla="*/ 144597 h 1703784"/>
                <a:gd name="connsiteX50" fmla="*/ 2027556 w 2571750"/>
                <a:gd name="connsiteY50" fmla="*/ 138167 h 1703784"/>
                <a:gd name="connsiteX51" fmla="*/ 2020162 w 2571750"/>
                <a:gd name="connsiteY51" fmla="*/ 150255 h 1703784"/>
                <a:gd name="connsiteX52" fmla="*/ 2006982 w 2571750"/>
                <a:gd name="connsiteY52" fmla="*/ 149162 h 1703784"/>
                <a:gd name="connsiteX53" fmla="*/ 2016690 w 2571750"/>
                <a:gd name="connsiteY53" fmla="*/ 143118 h 1703784"/>
                <a:gd name="connsiteX54" fmla="*/ 2002739 w 2571750"/>
                <a:gd name="connsiteY54" fmla="*/ 138875 h 1703784"/>
                <a:gd name="connsiteX55" fmla="*/ 2009682 w 2571750"/>
                <a:gd name="connsiteY55" fmla="*/ 135596 h 1703784"/>
                <a:gd name="connsiteX56" fmla="*/ 2022219 w 2571750"/>
                <a:gd name="connsiteY56" fmla="*/ 135596 h 1703784"/>
                <a:gd name="connsiteX57" fmla="*/ 2010261 w 2571750"/>
                <a:gd name="connsiteY57" fmla="*/ 131931 h 1703784"/>
                <a:gd name="connsiteX58" fmla="*/ 1975735 w 2571750"/>
                <a:gd name="connsiteY58" fmla="*/ 127302 h 1703784"/>
                <a:gd name="connsiteX59" fmla="*/ 1957026 w 2571750"/>
                <a:gd name="connsiteY59" fmla="*/ 123444 h 1703784"/>
                <a:gd name="connsiteX60" fmla="*/ 1954261 w 2571750"/>
                <a:gd name="connsiteY60" fmla="*/ 129166 h 1703784"/>
                <a:gd name="connsiteX61" fmla="*/ 1943203 w 2571750"/>
                <a:gd name="connsiteY61" fmla="*/ 133024 h 1703784"/>
                <a:gd name="connsiteX62" fmla="*/ 1931822 w 2571750"/>
                <a:gd name="connsiteY62" fmla="*/ 140739 h 1703784"/>
                <a:gd name="connsiteX63" fmla="*/ 1941724 w 2571750"/>
                <a:gd name="connsiteY63" fmla="*/ 140739 h 1703784"/>
                <a:gd name="connsiteX64" fmla="*/ 1938445 w 2571750"/>
                <a:gd name="connsiteY64" fmla="*/ 147168 h 1703784"/>
                <a:gd name="connsiteX65" fmla="*/ 1942302 w 2571750"/>
                <a:gd name="connsiteY65" fmla="*/ 155591 h 1703784"/>
                <a:gd name="connsiteX66" fmla="*/ 1932208 w 2571750"/>
                <a:gd name="connsiteY66" fmla="*/ 155591 h 1703784"/>
                <a:gd name="connsiteX67" fmla="*/ 1920443 w 2571750"/>
                <a:gd name="connsiteY67" fmla="*/ 154884 h 1703784"/>
                <a:gd name="connsiteX68" fmla="*/ 1916971 w 2571750"/>
                <a:gd name="connsiteY68" fmla="*/ 157584 h 1703784"/>
                <a:gd name="connsiteX69" fmla="*/ 1916971 w 2571750"/>
                <a:gd name="connsiteY69" fmla="*/ 162599 h 1703784"/>
                <a:gd name="connsiteX70" fmla="*/ 1907005 w 2571750"/>
                <a:gd name="connsiteY70" fmla="*/ 156684 h 1703784"/>
                <a:gd name="connsiteX71" fmla="*/ 1887717 w 2571750"/>
                <a:gd name="connsiteY71" fmla="*/ 153405 h 1703784"/>
                <a:gd name="connsiteX72" fmla="*/ 1873380 w 2571750"/>
                <a:gd name="connsiteY72" fmla="*/ 158163 h 1703784"/>
                <a:gd name="connsiteX73" fmla="*/ 1854670 w 2571750"/>
                <a:gd name="connsiteY73" fmla="*/ 151026 h 1703784"/>
                <a:gd name="connsiteX74" fmla="*/ 1847662 w 2571750"/>
                <a:gd name="connsiteY74" fmla="*/ 150448 h 1703784"/>
                <a:gd name="connsiteX75" fmla="*/ 1840847 w 2571750"/>
                <a:gd name="connsiteY75" fmla="*/ 163306 h 1703784"/>
                <a:gd name="connsiteX76" fmla="*/ 1833003 w 2571750"/>
                <a:gd name="connsiteY76" fmla="*/ 172886 h 1703784"/>
                <a:gd name="connsiteX77" fmla="*/ 1825288 w 2571750"/>
                <a:gd name="connsiteY77" fmla="*/ 170443 h 1703784"/>
                <a:gd name="connsiteX78" fmla="*/ 1806707 w 2571750"/>
                <a:gd name="connsiteY78" fmla="*/ 153726 h 1703784"/>
                <a:gd name="connsiteX79" fmla="*/ 1795327 w 2571750"/>
                <a:gd name="connsiteY79" fmla="*/ 140868 h 1703784"/>
                <a:gd name="connsiteX80" fmla="*/ 1800278 w 2571750"/>
                <a:gd name="connsiteY80" fmla="*/ 140868 h 1703784"/>
                <a:gd name="connsiteX81" fmla="*/ 1809279 w 2571750"/>
                <a:gd name="connsiteY81" fmla="*/ 141768 h 1703784"/>
                <a:gd name="connsiteX82" fmla="*/ 1809999 w 2571750"/>
                <a:gd name="connsiteY82" fmla="*/ 135075 h 1703784"/>
                <a:gd name="connsiteX83" fmla="*/ 1806900 w 2571750"/>
                <a:gd name="connsiteY83" fmla="*/ 133345 h 1703784"/>
                <a:gd name="connsiteX84" fmla="*/ 1806321 w 2571750"/>
                <a:gd name="connsiteY84" fmla="*/ 128395 h 1703784"/>
                <a:gd name="connsiteX85" fmla="*/ 1803749 w 2571750"/>
                <a:gd name="connsiteY85" fmla="*/ 119779 h 1703784"/>
                <a:gd name="connsiteX86" fmla="*/ 1801371 w 2571750"/>
                <a:gd name="connsiteY86" fmla="*/ 115343 h 1703784"/>
                <a:gd name="connsiteX87" fmla="*/ 1792948 w 2571750"/>
                <a:gd name="connsiteY87" fmla="*/ 109428 h 1703784"/>
                <a:gd name="connsiteX88" fmla="*/ 1776360 w 2571750"/>
                <a:gd name="connsiteY88" fmla="*/ 109428 h 1703784"/>
                <a:gd name="connsiteX89" fmla="*/ 1771795 w 2571750"/>
                <a:gd name="connsiteY89" fmla="*/ 109107 h 1703784"/>
                <a:gd name="connsiteX90" fmla="*/ 1757651 w 2571750"/>
                <a:gd name="connsiteY90" fmla="*/ 105249 h 1703784"/>
                <a:gd name="connsiteX91" fmla="*/ 1746592 w 2571750"/>
                <a:gd name="connsiteY91" fmla="*/ 96955 h 1703784"/>
                <a:gd name="connsiteX92" fmla="*/ 1740742 w 2571750"/>
                <a:gd name="connsiteY92" fmla="*/ 102999 h 1703784"/>
                <a:gd name="connsiteX93" fmla="*/ 1734312 w 2571750"/>
                <a:gd name="connsiteY93" fmla="*/ 104233 h 1703784"/>
                <a:gd name="connsiteX94" fmla="*/ 1734312 w 2571750"/>
                <a:gd name="connsiteY94" fmla="*/ 109428 h 1703784"/>
                <a:gd name="connsiteX95" fmla="*/ 1734312 w 2571750"/>
                <a:gd name="connsiteY95" fmla="*/ 118815 h 1703784"/>
                <a:gd name="connsiteX96" fmla="*/ 1726983 w 2571750"/>
                <a:gd name="connsiteY96" fmla="*/ 119394 h 1703784"/>
                <a:gd name="connsiteX97" fmla="*/ 1711874 w 2571750"/>
                <a:gd name="connsiteY97" fmla="*/ 120808 h 1703784"/>
                <a:gd name="connsiteX98" fmla="*/ 1695157 w 2571750"/>
                <a:gd name="connsiteY98" fmla="*/ 117722 h 1703784"/>
                <a:gd name="connsiteX99" fmla="*/ 1689885 w 2571750"/>
                <a:gd name="connsiteY99" fmla="*/ 116822 h 1703784"/>
                <a:gd name="connsiteX100" fmla="*/ 1672397 w 2571750"/>
                <a:gd name="connsiteY100" fmla="*/ 114379 h 1703784"/>
                <a:gd name="connsiteX101" fmla="*/ 1677541 w 2571750"/>
                <a:gd name="connsiteY101" fmla="*/ 108528 h 1703784"/>
                <a:gd name="connsiteX102" fmla="*/ 1666354 w 2571750"/>
                <a:gd name="connsiteY102" fmla="*/ 106342 h 1703784"/>
                <a:gd name="connsiteX103" fmla="*/ 1643401 w 2571750"/>
                <a:gd name="connsiteY103" fmla="*/ 102806 h 1703784"/>
                <a:gd name="connsiteX104" fmla="*/ 1612154 w 2571750"/>
                <a:gd name="connsiteY104" fmla="*/ 106856 h 1703784"/>
                <a:gd name="connsiteX105" fmla="*/ 1610482 w 2571750"/>
                <a:gd name="connsiteY105" fmla="*/ 113286 h 1703784"/>
                <a:gd name="connsiteX106" fmla="*/ 1608489 w 2571750"/>
                <a:gd name="connsiteY106" fmla="*/ 101198 h 1703784"/>
                <a:gd name="connsiteX107" fmla="*/ 1602060 w 2571750"/>
                <a:gd name="connsiteY107" fmla="*/ 99720 h 1703784"/>
                <a:gd name="connsiteX108" fmla="*/ 1589201 w 2571750"/>
                <a:gd name="connsiteY108" fmla="*/ 101520 h 1703784"/>
                <a:gd name="connsiteX109" fmla="*/ 1574864 w 2571750"/>
                <a:gd name="connsiteY109" fmla="*/ 94191 h 1703784"/>
                <a:gd name="connsiteX110" fmla="*/ 1560912 w 2571750"/>
                <a:gd name="connsiteY110" fmla="*/ 102291 h 1703784"/>
                <a:gd name="connsiteX111" fmla="*/ 1568434 w 2571750"/>
                <a:gd name="connsiteY111" fmla="*/ 104284 h 1703784"/>
                <a:gd name="connsiteX112" fmla="*/ 1553197 w 2571750"/>
                <a:gd name="connsiteY112" fmla="*/ 108721 h 1703784"/>
                <a:gd name="connsiteX113" fmla="*/ 1534230 w 2571750"/>
                <a:gd name="connsiteY113" fmla="*/ 115150 h 1703784"/>
                <a:gd name="connsiteX114" fmla="*/ 1513849 w 2571750"/>
                <a:gd name="connsiteY114" fmla="*/ 121580 h 1703784"/>
                <a:gd name="connsiteX115" fmla="*/ 1516999 w 2571750"/>
                <a:gd name="connsiteY115" fmla="*/ 112900 h 1703784"/>
                <a:gd name="connsiteX116" fmla="*/ 1528572 w 2571750"/>
                <a:gd name="connsiteY116" fmla="*/ 106856 h 1703784"/>
                <a:gd name="connsiteX117" fmla="*/ 1542138 w 2571750"/>
                <a:gd name="connsiteY117" fmla="*/ 102613 h 1703784"/>
                <a:gd name="connsiteX118" fmla="*/ 1552039 w 2571750"/>
                <a:gd name="connsiteY118" fmla="*/ 96184 h 1703784"/>
                <a:gd name="connsiteX119" fmla="*/ 1564898 w 2571750"/>
                <a:gd name="connsiteY119" fmla="*/ 88275 h 1703784"/>
                <a:gd name="connsiteX120" fmla="*/ 1586244 w 2571750"/>
                <a:gd name="connsiteY120" fmla="*/ 79596 h 1703784"/>
                <a:gd name="connsiteX121" fmla="*/ 1592095 w 2571750"/>
                <a:gd name="connsiteY121" fmla="*/ 73166 h 1703784"/>
                <a:gd name="connsiteX122" fmla="*/ 1607203 w 2571750"/>
                <a:gd name="connsiteY122" fmla="*/ 67251 h 1703784"/>
                <a:gd name="connsiteX123" fmla="*/ 1612861 w 2571750"/>
                <a:gd name="connsiteY123" fmla="*/ 59729 h 1703784"/>
                <a:gd name="connsiteX124" fmla="*/ 1607332 w 2571750"/>
                <a:gd name="connsiteY124" fmla="*/ 55486 h 1703784"/>
                <a:gd name="connsiteX125" fmla="*/ 1613762 w 2571750"/>
                <a:gd name="connsiteY125" fmla="*/ 53300 h 1703784"/>
                <a:gd name="connsiteX126" fmla="*/ 1610611 w 2571750"/>
                <a:gd name="connsiteY126" fmla="*/ 47578 h 1703784"/>
                <a:gd name="connsiteX127" fmla="*/ 1609518 w 2571750"/>
                <a:gd name="connsiteY127" fmla="*/ 41534 h 1703784"/>
                <a:gd name="connsiteX128" fmla="*/ 1601417 w 2571750"/>
                <a:gd name="connsiteY128" fmla="*/ 40055 h 1703784"/>
                <a:gd name="connsiteX129" fmla="*/ 1598845 w 2571750"/>
                <a:gd name="connsiteY129" fmla="*/ 29961 h 1703784"/>
                <a:gd name="connsiteX130" fmla="*/ 1588044 w 2571750"/>
                <a:gd name="connsiteY130" fmla="*/ 30347 h 1703784"/>
                <a:gd name="connsiteX131" fmla="*/ 1570042 w 2571750"/>
                <a:gd name="connsiteY131" fmla="*/ 26103 h 1703784"/>
                <a:gd name="connsiteX132" fmla="*/ 1562327 w 2571750"/>
                <a:gd name="connsiteY132" fmla="*/ 25396 h 1703784"/>
                <a:gd name="connsiteX133" fmla="*/ 1547025 w 2571750"/>
                <a:gd name="connsiteY133" fmla="*/ 25718 h 1703784"/>
                <a:gd name="connsiteX134" fmla="*/ 1538988 w 2571750"/>
                <a:gd name="connsiteY134" fmla="*/ 30347 h 1703784"/>
                <a:gd name="connsiteX135" fmla="*/ 1523365 w 2571750"/>
                <a:gd name="connsiteY135" fmla="*/ 31825 h 1703784"/>
                <a:gd name="connsiteX136" fmla="*/ 1532365 w 2571750"/>
                <a:gd name="connsiteY136" fmla="*/ 20253 h 1703784"/>
                <a:gd name="connsiteX137" fmla="*/ 1511984 w 2571750"/>
                <a:gd name="connsiteY137" fmla="*/ 18774 h 1703784"/>
                <a:gd name="connsiteX138" fmla="*/ 1497261 w 2571750"/>
                <a:gd name="connsiteY138" fmla="*/ 16524 h 1703784"/>
                <a:gd name="connsiteX139" fmla="*/ 1500926 w 2571750"/>
                <a:gd name="connsiteY139" fmla="*/ 15109 h 1703784"/>
                <a:gd name="connsiteX140" fmla="*/ 1512499 w 2571750"/>
                <a:gd name="connsiteY140" fmla="*/ 10673 h 1703784"/>
                <a:gd name="connsiteX141" fmla="*/ 1513977 w 2571750"/>
                <a:gd name="connsiteY141" fmla="*/ 5915 h 1703784"/>
                <a:gd name="connsiteX142" fmla="*/ 1503498 w 2571750"/>
                <a:gd name="connsiteY142" fmla="*/ 3343 h 1703784"/>
                <a:gd name="connsiteX143" fmla="*/ 1490639 w 2571750"/>
                <a:gd name="connsiteY143" fmla="*/ 0 h 1703784"/>
                <a:gd name="connsiteX144" fmla="*/ 1474308 w 2571750"/>
                <a:gd name="connsiteY144" fmla="*/ 3536 h 1703784"/>
                <a:gd name="connsiteX145" fmla="*/ 1460549 w 2571750"/>
                <a:gd name="connsiteY145" fmla="*/ 13823 h 1703784"/>
                <a:gd name="connsiteX146" fmla="*/ 1452063 w 2571750"/>
                <a:gd name="connsiteY146" fmla="*/ 24625 h 1703784"/>
                <a:gd name="connsiteX147" fmla="*/ 1454441 w 2571750"/>
                <a:gd name="connsiteY147" fmla="*/ 29961 h 1703784"/>
                <a:gd name="connsiteX148" fmla="*/ 1447498 w 2571750"/>
                <a:gd name="connsiteY148" fmla="*/ 32147 h 1703784"/>
                <a:gd name="connsiteX149" fmla="*/ 1428531 w 2571750"/>
                <a:gd name="connsiteY149" fmla="*/ 34719 h 1703784"/>
                <a:gd name="connsiteX150" fmla="*/ 1436632 w 2571750"/>
                <a:gd name="connsiteY150" fmla="*/ 41148 h 1703784"/>
                <a:gd name="connsiteX151" fmla="*/ 1427245 w 2571750"/>
                <a:gd name="connsiteY151" fmla="*/ 39348 h 1703784"/>
                <a:gd name="connsiteX152" fmla="*/ 1416444 w 2571750"/>
                <a:gd name="connsiteY152" fmla="*/ 41727 h 1703784"/>
                <a:gd name="connsiteX153" fmla="*/ 1408343 w 2571750"/>
                <a:gd name="connsiteY153" fmla="*/ 43398 h 1703784"/>
                <a:gd name="connsiteX154" fmla="*/ 1400242 w 2571750"/>
                <a:gd name="connsiteY154" fmla="*/ 43913 h 1703784"/>
                <a:gd name="connsiteX155" fmla="*/ 1403778 w 2571750"/>
                <a:gd name="connsiteY155" fmla="*/ 36969 h 1703784"/>
                <a:gd name="connsiteX156" fmla="*/ 1392012 w 2571750"/>
                <a:gd name="connsiteY156" fmla="*/ 40055 h 1703784"/>
                <a:gd name="connsiteX157" fmla="*/ 1383718 w 2571750"/>
                <a:gd name="connsiteY157" fmla="*/ 38769 h 1703784"/>
                <a:gd name="connsiteX158" fmla="*/ 1375617 w 2571750"/>
                <a:gd name="connsiteY158" fmla="*/ 42820 h 1703784"/>
                <a:gd name="connsiteX159" fmla="*/ 1363723 w 2571750"/>
                <a:gd name="connsiteY159" fmla="*/ 43913 h 1703784"/>
                <a:gd name="connsiteX160" fmla="*/ 1371245 w 2571750"/>
                <a:gd name="connsiteY160" fmla="*/ 49056 h 1703784"/>
                <a:gd name="connsiteX161" fmla="*/ 1350671 w 2571750"/>
                <a:gd name="connsiteY161" fmla="*/ 52207 h 1703784"/>
                <a:gd name="connsiteX162" fmla="*/ 1335048 w 2571750"/>
                <a:gd name="connsiteY162" fmla="*/ 54393 h 1703784"/>
                <a:gd name="connsiteX163" fmla="*/ 1323475 w 2571750"/>
                <a:gd name="connsiteY163" fmla="*/ 59922 h 1703784"/>
                <a:gd name="connsiteX164" fmla="*/ 1311709 w 2571750"/>
                <a:gd name="connsiteY164" fmla="*/ 64680 h 1703784"/>
                <a:gd name="connsiteX165" fmla="*/ 1302798 w 2571750"/>
                <a:gd name="connsiteY165" fmla="*/ 66473 h 1703784"/>
                <a:gd name="connsiteX166" fmla="*/ 1302129 w 2571750"/>
                <a:gd name="connsiteY166" fmla="*/ 65965 h 1703784"/>
                <a:gd name="connsiteX167" fmla="*/ 1297179 w 2571750"/>
                <a:gd name="connsiteY167" fmla="*/ 67637 h 1703784"/>
                <a:gd name="connsiteX168" fmla="*/ 1295379 w 2571750"/>
                <a:gd name="connsiteY168" fmla="*/ 70595 h 1703784"/>
                <a:gd name="connsiteX169" fmla="*/ 1290750 w 2571750"/>
                <a:gd name="connsiteY169" fmla="*/ 73681 h 1703784"/>
                <a:gd name="connsiteX170" fmla="*/ 1294093 w 2571750"/>
                <a:gd name="connsiteY170" fmla="*/ 78117 h 1703784"/>
                <a:gd name="connsiteX171" fmla="*/ 1283420 w 2571750"/>
                <a:gd name="connsiteY171" fmla="*/ 77538 h 1703784"/>
                <a:gd name="connsiteX172" fmla="*/ 1290235 w 2571750"/>
                <a:gd name="connsiteY172" fmla="*/ 81396 h 1703784"/>
                <a:gd name="connsiteX173" fmla="*/ 1295668 w 2571750"/>
                <a:gd name="connsiteY173" fmla="*/ 85369 h 1703784"/>
                <a:gd name="connsiteX174" fmla="*/ 1295700 w 2571750"/>
                <a:gd name="connsiteY174" fmla="*/ 85639 h 1703784"/>
                <a:gd name="connsiteX175" fmla="*/ 1286377 w 2571750"/>
                <a:gd name="connsiteY175" fmla="*/ 86218 h 1703784"/>
                <a:gd name="connsiteX176" fmla="*/ 1291136 w 2571750"/>
                <a:gd name="connsiteY176" fmla="*/ 89497 h 1703784"/>
                <a:gd name="connsiteX177" fmla="*/ 1295186 w 2571750"/>
                <a:gd name="connsiteY177" fmla="*/ 93933 h 1703784"/>
                <a:gd name="connsiteX178" fmla="*/ 1295764 w 2571750"/>
                <a:gd name="connsiteY178" fmla="*/ 94512 h 1703784"/>
                <a:gd name="connsiteX179" fmla="*/ 1294479 w 2571750"/>
                <a:gd name="connsiteY179" fmla="*/ 99784 h 1703784"/>
                <a:gd name="connsiteX180" fmla="*/ 1290942 w 2571750"/>
                <a:gd name="connsiteY180" fmla="*/ 100877 h 1703784"/>
                <a:gd name="connsiteX181" fmla="*/ 1279177 w 2571750"/>
                <a:gd name="connsiteY181" fmla="*/ 100363 h 1703784"/>
                <a:gd name="connsiteX182" fmla="*/ 1273326 w 2571750"/>
                <a:gd name="connsiteY182" fmla="*/ 102356 h 1703784"/>
                <a:gd name="connsiteX183" fmla="*/ 1254938 w 2571750"/>
                <a:gd name="connsiteY183" fmla="*/ 103256 h 1703784"/>
                <a:gd name="connsiteX184" fmla="*/ 1222791 w 2571750"/>
                <a:gd name="connsiteY184" fmla="*/ 106021 h 1703784"/>
                <a:gd name="connsiteX185" fmla="*/ 1218548 w 2571750"/>
                <a:gd name="connsiteY185" fmla="*/ 118365 h 1703784"/>
                <a:gd name="connsiteX186" fmla="*/ 1218548 w 2571750"/>
                <a:gd name="connsiteY186" fmla="*/ 127173 h 1703784"/>
                <a:gd name="connsiteX187" fmla="*/ 1235457 w 2571750"/>
                <a:gd name="connsiteY187" fmla="*/ 136174 h 1703784"/>
                <a:gd name="connsiteX188" fmla="*/ 1242593 w 2571750"/>
                <a:gd name="connsiteY188" fmla="*/ 148262 h 1703784"/>
                <a:gd name="connsiteX189" fmla="*/ 1221505 w 2571750"/>
                <a:gd name="connsiteY189" fmla="*/ 141511 h 1703784"/>
                <a:gd name="connsiteX190" fmla="*/ 1193023 w 2571750"/>
                <a:gd name="connsiteY190" fmla="*/ 134117 h 1703784"/>
                <a:gd name="connsiteX191" fmla="*/ 1184022 w 2571750"/>
                <a:gd name="connsiteY191" fmla="*/ 129552 h 1703784"/>
                <a:gd name="connsiteX192" fmla="*/ 1176114 w 2571750"/>
                <a:gd name="connsiteY192" fmla="*/ 135981 h 1703784"/>
                <a:gd name="connsiteX193" fmla="*/ 1181257 w 2571750"/>
                <a:gd name="connsiteY193" fmla="*/ 137846 h 1703784"/>
                <a:gd name="connsiteX194" fmla="*/ 1188072 w 2571750"/>
                <a:gd name="connsiteY194" fmla="*/ 141832 h 1703784"/>
                <a:gd name="connsiteX195" fmla="*/ 1177786 w 2571750"/>
                <a:gd name="connsiteY195" fmla="*/ 143697 h 1703784"/>
                <a:gd name="connsiteX196" fmla="*/ 1164412 w 2571750"/>
                <a:gd name="connsiteY196" fmla="*/ 146365 h 1703784"/>
                <a:gd name="connsiteX197" fmla="*/ 1164348 w 2571750"/>
                <a:gd name="connsiteY197" fmla="*/ 146461 h 1703784"/>
                <a:gd name="connsiteX198" fmla="*/ 1180872 w 2571750"/>
                <a:gd name="connsiteY198" fmla="*/ 159320 h 1703784"/>
                <a:gd name="connsiteX199" fmla="*/ 1192123 w 2571750"/>
                <a:gd name="connsiteY199" fmla="*/ 165749 h 1703784"/>
                <a:gd name="connsiteX200" fmla="*/ 1190259 w 2571750"/>
                <a:gd name="connsiteY200" fmla="*/ 169414 h 1703784"/>
                <a:gd name="connsiteX201" fmla="*/ 1175921 w 2571750"/>
                <a:gd name="connsiteY201" fmla="*/ 162085 h 1703784"/>
                <a:gd name="connsiteX202" fmla="*/ 1154833 w 2571750"/>
                <a:gd name="connsiteY202" fmla="*/ 160220 h 1703784"/>
                <a:gd name="connsiteX203" fmla="*/ 1154061 w 2571750"/>
                <a:gd name="connsiteY203" fmla="*/ 152183 h 1703784"/>
                <a:gd name="connsiteX204" fmla="*/ 1157018 w 2571750"/>
                <a:gd name="connsiteY204" fmla="*/ 139839 h 1703784"/>
                <a:gd name="connsiteX205" fmla="*/ 1151682 w 2571750"/>
                <a:gd name="connsiteY205" fmla="*/ 124408 h 1703784"/>
                <a:gd name="connsiteX206" fmla="*/ 1148403 w 2571750"/>
                <a:gd name="connsiteY206" fmla="*/ 129359 h 1703784"/>
                <a:gd name="connsiteX207" fmla="*/ 1145253 w 2571750"/>
                <a:gd name="connsiteY207" fmla="*/ 142218 h 1703784"/>
                <a:gd name="connsiteX208" fmla="*/ 1130401 w 2571750"/>
                <a:gd name="connsiteY208" fmla="*/ 149933 h 1703784"/>
                <a:gd name="connsiteX209" fmla="*/ 1125386 w 2571750"/>
                <a:gd name="connsiteY209" fmla="*/ 157648 h 1703784"/>
                <a:gd name="connsiteX210" fmla="*/ 1139531 w 2571750"/>
                <a:gd name="connsiteY210" fmla="*/ 174751 h 1703784"/>
                <a:gd name="connsiteX211" fmla="*/ 1132201 w 2571750"/>
                <a:gd name="connsiteY211" fmla="*/ 195710 h 1703784"/>
                <a:gd name="connsiteX212" fmla="*/ 1132780 w 2571750"/>
                <a:gd name="connsiteY212" fmla="*/ 208183 h 1703784"/>
                <a:gd name="connsiteX213" fmla="*/ 1142295 w 2571750"/>
                <a:gd name="connsiteY213" fmla="*/ 209855 h 1703784"/>
                <a:gd name="connsiteX214" fmla="*/ 1156826 w 2571750"/>
                <a:gd name="connsiteY214" fmla="*/ 206705 h 1703784"/>
                <a:gd name="connsiteX215" fmla="*/ 1180679 w 2571750"/>
                <a:gd name="connsiteY215" fmla="*/ 214805 h 1703784"/>
                <a:gd name="connsiteX216" fmla="*/ 1185308 w 2571750"/>
                <a:gd name="connsiteY216" fmla="*/ 224385 h 1703784"/>
                <a:gd name="connsiteX217" fmla="*/ 1179586 w 2571750"/>
                <a:gd name="connsiteY217" fmla="*/ 233515 h 1703784"/>
                <a:gd name="connsiteX218" fmla="*/ 1193923 w 2571750"/>
                <a:gd name="connsiteY218" fmla="*/ 243095 h 1703784"/>
                <a:gd name="connsiteX219" fmla="*/ 1179971 w 2571750"/>
                <a:gd name="connsiteY219" fmla="*/ 242002 h 1703784"/>
                <a:gd name="connsiteX220" fmla="*/ 1174313 w 2571750"/>
                <a:gd name="connsiteY220" fmla="*/ 234094 h 1703784"/>
                <a:gd name="connsiteX221" fmla="*/ 1177400 w 2571750"/>
                <a:gd name="connsiteY221" fmla="*/ 225092 h 1703784"/>
                <a:gd name="connsiteX222" fmla="*/ 1170970 w 2571750"/>
                <a:gd name="connsiteY222" fmla="*/ 217184 h 1703784"/>
                <a:gd name="connsiteX223" fmla="*/ 1163062 w 2571750"/>
                <a:gd name="connsiteY223" fmla="*/ 212041 h 1703784"/>
                <a:gd name="connsiteX224" fmla="*/ 1143774 w 2571750"/>
                <a:gd name="connsiteY224" fmla="*/ 217184 h 1703784"/>
                <a:gd name="connsiteX225" fmla="*/ 1146346 w 2571750"/>
                <a:gd name="connsiteY225" fmla="*/ 234479 h 1703784"/>
                <a:gd name="connsiteX226" fmla="*/ 1136059 w 2571750"/>
                <a:gd name="connsiteY226" fmla="*/ 249138 h 1703784"/>
                <a:gd name="connsiteX227" fmla="*/ 1126672 w 2571750"/>
                <a:gd name="connsiteY227" fmla="*/ 257432 h 1703784"/>
                <a:gd name="connsiteX228" fmla="*/ 1115292 w 2571750"/>
                <a:gd name="connsiteY228" fmla="*/ 267334 h 1703784"/>
                <a:gd name="connsiteX229" fmla="*/ 1104105 w 2571750"/>
                <a:gd name="connsiteY229" fmla="*/ 267334 h 1703784"/>
                <a:gd name="connsiteX230" fmla="*/ 1089767 w 2571750"/>
                <a:gd name="connsiteY230" fmla="*/ 268426 h 1703784"/>
                <a:gd name="connsiteX231" fmla="*/ 1079802 w 2571750"/>
                <a:gd name="connsiteY231" fmla="*/ 265340 h 1703784"/>
                <a:gd name="connsiteX232" fmla="*/ 1073977 w 2571750"/>
                <a:gd name="connsiteY232" fmla="*/ 263553 h 1703784"/>
                <a:gd name="connsiteX233" fmla="*/ 1073758 w 2571750"/>
                <a:gd name="connsiteY233" fmla="*/ 260004 h 1703784"/>
                <a:gd name="connsiteX234" fmla="*/ 1080188 w 2571750"/>
                <a:gd name="connsiteY234" fmla="*/ 261676 h 1703784"/>
                <a:gd name="connsiteX235" fmla="*/ 1087324 w 2571750"/>
                <a:gd name="connsiteY235" fmla="*/ 260904 h 1703784"/>
                <a:gd name="connsiteX236" fmla="*/ 1094525 w 2571750"/>
                <a:gd name="connsiteY236" fmla="*/ 263862 h 1703784"/>
                <a:gd name="connsiteX237" fmla="*/ 1100954 w 2571750"/>
                <a:gd name="connsiteY237" fmla="*/ 261483 h 1703784"/>
                <a:gd name="connsiteX238" fmla="*/ 1103912 w 2571750"/>
                <a:gd name="connsiteY238" fmla="*/ 258525 h 1703784"/>
                <a:gd name="connsiteX239" fmla="*/ 1109377 w 2571750"/>
                <a:gd name="connsiteY239" fmla="*/ 253960 h 1703784"/>
                <a:gd name="connsiteX240" fmla="*/ 1113234 w 2571750"/>
                <a:gd name="connsiteY240" fmla="*/ 247531 h 1703784"/>
                <a:gd name="connsiteX241" fmla="*/ 1116578 w 2571750"/>
                <a:gd name="connsiteY241" fmla="*/ 243481 h 1703784"/>
                <a:gd name="connsiteX242" fmla="*/ 1122621 w 2571750"/>
                <a:gd name="connsiteY242" fmla="*/ 239430 h 1703784"/>
                <a:gd name="connsiteX243" fmla="*/ 1124808 w 2571750"/>
                <a:gd name="connsiteY243" fmla="*/ 233515 h 1703784"/>
                <a:gd name="connsiteX244" fmla="*/ 1128151 w 2571750"/>
                <a:gd name="connsiteY244" fmla="*/ 225285 h 1703784"/>
                <a:gd name="connsiteX245" fmla="*/ 1128536 w 2571750"/>
                <a:gd name="connsiteY245" fmla="*/ 220721 h 1703784"/>
                <a:gd name="connsiteX246" fmla="*/ 1118764 w 2571750"/>
                <a:gd name="connsiteY246" fmla="*/ 210048 h 1703784"/>
                <a:gd name="connsiteX247" fmla="*/ 1118378 w 2571750"/>
                <a:gd name="connsiteY247" fmla="*/ 197189 h 1703784"/>
                <a:gd name="connsiteX248" fmla="*/ 1118378 w 2571750"/>
                <a:gd name="connsiteY248" fmla="*/ 185423 h 1703784"/>
                <a:gd name="connsiteX249" fmla="*/ 1121529 w 2571750"/>
                <a:gd name="connsiteY249" fmla="*/ 172565 h 1703784"/>
                <a:gd name="connsiteX250" fmla="*/ 1111434 w 2571750"/>
                <a:gd name="connsiteY250" fmla="*/ 158420 h 1703784"/>
                <a:gd name="connsiteX251" fmla="*/ 1115485 w 2571750"/>
                <a:gd name="connsiteY251" fmla="*/ 149033 h 1703784"/>
                <a:gd name="connsiteX252" fmla="*/ 1120821 w 2571750"/>
                <a:gd name="connsiteY252" fmla="*/ 127945 h 1703784"/>
                <a:gd name="connsiteX253" fmla="*/ 1105391 w 2571750"/>
                <a:gd name="connsiteY253" fmla="*/ 122737 h 1703784"/>
                <a:gd name="connsiteX254" fmla="*/ 1081666 w 2571750"/>
                <a:gd name="connsiteY254" fmla="*/ 121644 h 1703784"/>
                <a:gd name="connsiteX255" fmla="*/ 1074658 w 2571750"/>
                <a:gd name="connsiteY255" fmla="*/ 128652 h 1703784"/>
                <a:gd name="connsiteX256" fmla="*/ 1066429 w 2571750"/>
                <a:gd name="connsiteY256" fmla="*/ 146268 h 1703784"/>
                <a:gd name="connsiteX257" fmla="*/ 1049905 w 2571750"/>
                <a:gd name="connsiteY257" fmla="*/ 159127 h 1703784"/>
                <a:gd name="connsiteX258" fmla="*/ 1044762 w 2571750"/>
                <a:gd name="connsiteY258" fmla="*/ 169993 h 1703784"/>
                <a:gd name="connsiteX259" fmla="*/ 1051705 w 2571750"/>
                <a:gd name="connsiteY259" fmla="*/ 171664 h 1703784"/>
                <a:gd name="connsiteX260" fmla="*/ 1050227 w 2571750"/>
                <a:gd name="connsiteY260" fmla="*/ 181566 h 1703784"/>
                <a:gd name="connsiteX261" fmla="*/ 1049519 w 2571750"/>
                <a:gd name="connsiteY261" fmla="*/ 187416 h 1703784"/>
                <a:gd name="connsiteX262" fmla="*/ 1045276 w 2571750"/>
                <a:gd name="connsiteY262" fmla="*/ 195903 h 1703784"/>
                <a:gd name="connsiteX263" fmla="*/ 1059999 w 2571750"/>
                <a:gd name="connsiteY263" fmla="*/ 201432 h 1703784"/>
                <a:gd name="connsiteX264" fmla="*/ 1065336 w 2571750"/>
                <a:gd name="connsiteY264" fmla="*/ 211527 h 1703784"/>
                <a:gd name="connsiteX265" fmla="*/ 1072858 w 2571750"/>
                <a:gd name="connsiteY265" fmla="*/ 215384 h 1703784"/>
                <a:gd name="connsiteX266" fmla="*/ 1065143 w 2571750"/>
                <a:gd name="connsiteY266" fmla="*/ 227664 h 1703784"/>
                <a:gd name="connsiteX267" fmla="*/ 1050098 w 2571750"/>
                <a:gd name="connsiteY267" fmla="*/ 215770 h 1703784"/>
                <a:gd name="connsiteX268" fmla="*/ 1030038 w 2571750"/>
                <a:gd name="connsiteY268" fmla="*/ 207090 h 1703784"/>
                <a:gd name="connsiteX269" fmla="*/ 1013515 w 2571750"/>
                <a:gd name="connsiteY269" fmla="*/ 200275 h 1703784"/>
                <a:gd name="connsiteX270" fmla="*/ 990562 w 2571750"/>
                <a:gd name="connsiteY270" fmla="*/ 194232 h 1703784"/>
                <a:gd name="connsiteX271" fmla="*/ 967931 w 2571750"/>
                <a:gd name="connsiteY271" fmla="*/ 192238 h 1703784"/>
                <a:gd name="connsiteX272" fmla="*/ 958737 w 2571750"/>
                <a:gd name="connsiteY272" fmla="*/ 185423 h 1703784"/>
                <a:gd name="connsiteX273" fmla="*/ 943692 w 2571750"/>
                <a:gd name="connsiteY273" fmla="*/ 180473 h 1703784"/>
                <a:gd name="connsiteX274" fmla="*/ 947164 w 2571750"/>
                <a:gd name="connsiteY274" fmla="*/ 190760 h 1703784"/>
                <a:gd name="connsiteX275" fmla="*/ 956358 w 2571750"/>
                <a:gd name="connsiteY275" fmla="*/ 194424 h 1703784"/>
                <a:gd name="connsiteX276" fmla="*/ 964266 w 2571750"/>
                <a:gd name="connsiteY276" fmla="*/ 200146 h 1703784"/>
                <a:gd name="connsiteX277" fmla="*/ 969988 w 2571750"/>
                <a:gd name="connsiteY277" fmla="*/ 210434 h 1703784"/>
                <a:gd name="connsiteX278" fmla="*/ 966130 w 2571750"/>
                <a:gd name="connsiteY278" fmla="*/ 217184 h 1703784"/>
                <a:gd name="connsiteX279" fmla="*/ 957644 w 2571750"/>
                <a:gd name="connsiteY279" fmla="*/ 221428 h 1703784"/>
                <a:gd name="connsiteX280" fmla="*/ 951214 w 2571750"/>
                <a:gd name="connsiteY280" fmla="*/ 224000 h 1703784"/>
                <a:gd name="connsiteX281" fmla="*/ 951214 w 2571750"/>
                <a:gd name="connsiteY281" fmla="*/ 216670 h 1703784"/>
                <a:gd name="connsiteX282" fmla="*/ 943692 w 2571750"/>
                <a:gd name="connsiteY282" fmla="*/ 210948 h 1703784"/>
                <a:gd name="connsiteX283" fmla="*/ 924404 w 2571750"/>
                <a:gd name="connsiteY283" fmla="*/ 220528 h 1703784"/>
                <a:gd name="connsiteX284" fmla="*/ 903444 w 2571750"/>
                <a:gd name="connsiteY284" fmla="*/ 220528 h 1703784"/>
                <a:gd name="connsiteX285" fmla="*/ 891871 w 2571750"/>
                <a:gd name="connsiteY285" fmla="*/ 228950 h 1703784"/>
                <a:gd name="connsiteX286" fmla="*/ 875155 w 2571750"/>
                <a:gd name="connsiteY286" fmla="*/ 227664 h 1703784"/>
                <a:gd name="connsiteX287" fmla="*/ 878305 w 2571750"/>
                <a:gd name="connsiteY287" fmla="*/ 224385 h 1703784"/>
                <a:gd name="connsiteX288" fmla="*/ 881198 w 2571750"/>
                <a:gd name="connsiteY288" fmla="*/ 220721 h 1703784"/>
                <a:gd name="connsiteX289" fmla="*/ 883963 w 2571750"/>
                <a:gd name="connsiteY289" fmla="*/ 212234 h 1703784"/>
                <a:gd name="connsiteX290" fmla="*/ 867054 w 2571750"/>
                <a:gd name="connsiteY290" fmla="*/ 217184 h 1703784"/>
                <a:gd name="connsiteX291" fmla="*/ 864675 w 2571750"/>
                <a:gd name="connsiteY291" fmla="*/ 224192 h 1703784"/>
                <a:gd name="connsiteX292" fmla="*/ 859146 w 2571750"/>
                <a:gd name="connsiteY292" fmla="*/ 220913 h 1703784"/>
                <a:gd name="connsiteX293" fmla="*/ 830728 w 2571750"/>
                <a:gd name="connsiteY293" fmla="*/ 229336 h 1703784"/>
                <a:gd name="connsiteX294" fmla="*/ 818769 w 2571750"/>
                <a:gd name="connsiteY294" fmla="*/ 236665 h 1703784"/>
                <a:gd name="connsiteX295" fmla="*/ 805139 w 2571750"/>
                <a:gd name="connsiteY295" fmla="*/ 240909 h 1703784"/>
                <a:gd name="connsiteX296" fmla="*/ 802439 w 2571750"/>
                <a:gd name="connsiteY296" fmla="*/ 253767 h 1703784"/>
                <a:gd name="connsiteX297" fmla="*/ 781286 w 2571750"/>
                <a:gd name="connsiteY297" fmla="*/ 256532 h 1703784"/>
                <a:gd name="connsiteX298" fmla="*/ 771385 w 2571750"/>
                <a:gd name="connsiteY298" fmla="*/ 247145 h 1703784"/>
                <a:gd name="connsiteX299" fmla="*/ 770999 w 2571750"/>
                <a:gd name="connsiteY299" fmla="*/ 239237 h 1703784"/>
                <a:gd name="connsiteX300" fmla="*/ 779614 w 2571750"/>
                <a:gd name="connsiteY300" fmla="*/ 235958 h 1703784"/>
                <a:gd name="connsiteX301" fmla="*/ 790673 w 2571750"/>
                <a:gd name="connsiteY301" fmla="*/ 235380 h 1703784"/>
                <a:gd name="connsiteX302" fmla="*/ 783151 w 2571750"/>
                <a:gd name="connsiteY302" fmla="*/ 223421 h 1703784"/>
                <a:gd name="connsiteX303" fmla="*/ 767334 w 2571750"/>
                <a:gd name="connsiteY303" fmla="*/ 219049 h 1703784"/>
                <a:gd name="connsiteX304" fmla="*/ 751904 w 2571750"/>
                <a:gd name="connsiteY304" fmla="*/ 217377 h 1703784"/>
                <a:gd name="connsiteX305" fmla="*/ 754090 w 2571750"/>
                <a:gd name="connsiteY305" fmla="*/ 222135 h 1703784"/>
                <a:gd name="connsiteX306" fmla="*/ 757754 w 2571750"/>
                <a:gd name="connsiteY306" fmla="*/ 230815 h 1703784"/>
                <a:gd name="connsiteX307" fmla="*/ 752997 w 2571750"/>
                <a:gd name="connsiteY307" fmla="*/ 244573 h 1703784"/>
                <a:gd name="connsiteX308" fmla="*/ 757047 w 2571750"/>
                <a:gd name="connsiteY308" fmla="*/ 248945 h 1703784"/>
                <a:gd name="connsiteX309" fmla="*/ 761612 w 2571750"/>
                <a:gd name="connsiteY309" fmla="*/ 260004 h 1703784"/>
                <a:gd name="connsiteX310" fmla="*/ 757754 w 2571750"/>
                <a:gd name="connsiteY310" fmla="*/ 269584 h 1703784"/>
                <a:gd name="connsiteX311" fmla="*/ 752418 w 2571750"/>
                <a:gd name="connsiteY311" fmla="*/ 269584 h 1703784"/>
                <a:gd name="connsiteX312" fmla="*/ 748753 w 2571750"/>
                <a:gd name="connsiteY312" fmla="*/ 265919 h 1703784"/>
                <a:gd name="connsiteX313" fmla="*/ 736280 w 2571750"/>
                <a:gd name="connsiteY313" fmla="*/ 263476 h 1703784"/>
                <a:gd name="connsiteX314" fmla="*/ 728372 w 2571750"/>
                <a:gd name="connsiteY314" fmla="*/ 267334 h 1703784"/>
                <a:gd name="connsiteX315" fmla="*/ 717378 w 2571750"/>
                <a:gd name="connsiteY315" fmla="*/ 272156 h 1703784"/>
                <a:gd name="connsiteX316" fmla="*/ 705419 w 2571750"/>
                <a:gd name="connsiteY316" fmla="*/ 280771 h 1703784"/>
                <a:gd name="connsiteX317" fmla="*/ 706127 w 2571750"/>
                <a:gd name="connsiteY317" fmla="*/ 291637 h 1703784"/>
                <a:gd name="connsiteX318" fmla="*/ 711270 w 2571750"/>
                <a:gd name="connsiteY318" fmla="*/ 301345 h 1703784"/>
                <a:gd name="connsiteX319" fmla="*/ 696418 w 2571750"/>
                <a:gd name="connsiteY319" fmla="*/ 300445 h 1703784"/>
                <a:gd name="connsiteX320" fmla="*/ 683559 w 2571750"/>
                <a:gd name="connsiteY320" fmla="*/ 297487 h 1703784"/>
                <a:gd name="connsiteX321" fmla="*/ 669415 w 2571750"/>
                <a:gd name="connsiteY321" fmla="*/ 289065 h 1703784"/>
                <a:gd name="connsiteX322" fmla="*/ 661892 w 2571750"/>
                <a:gd name="connsiteY322" fmla="*/ 296008 h 1703784"/>
                <a:gd name="connsiteX323" fmla="*/ 665557 w 2571750"/>
                <a:gd name="connsiteY323" fmla="*/ 303209 h 1703784"/>
                <a:gd name="connsiteX324" fmla="*/ 677644 w 2571750"/>
                <a:gd name="connsiteY324" fmla="*/ 307389 h 1703784"/>
                <a:gd name="connsiteX325" fmla="*/ 678737 w 2571750"/>
                <a:gd name="connsiteY325" fmla="*/ 314975 h 1703784"/>
                <a:gd name="connsiteX326" fmla="*/ 669415 w 2571750"/>
                <a:gd name="connsiteY326" fmla="*/ 316390 h 1703784"/>
                <a:gd name="connsiteX327" fmla="*/ 659642 w 2571750"/>
                <a:gd name="connsiteY327" fmla="*/ 313496 h 1703784"/>
                <a:gd name="connsiteX328" fmla="*/ 648262 w 2571750"/>
                <a:gd name="connsiteY328" fmla="*/ 307067 h 1703784"/>
                <a:gd name="connsiteX329" fmla="*/ 641833 w 2571750"/>
                <a:gd name="connsiteY329" fmla="*/ 299866 h 1703784"/>
                <a:gd name="connsiteX330" fmla="*/ 638875 w 2571750"/>
                <a:gd name="connsiteY330" fmla="*/ 290865 h 1703784"/>
                <a:gd name="connsiteX331" fmla="*/ 639261 w 2571750"/>
                <a:gd name="connsiteY331" fmla="*/ 282764 h 1703784"/>
                <a:gd name="connsiteX332" fmla="*/ 640161 w 2571750"/>
                <a:gd name="connsiteY332" fmla="*/ 274920 h 1703784"/>
                <a:gd name="connsiteX333" fmla="*/ 630646 w 2571750"/>
                <a:gd name="connsiteY333" fmla="*/ 267912 h 1703784"/>
                <a:gd name="connsiteX334" fmla="*/ 623123 w 2571750"/>
                <a:gd name="connsiteY334" fmla="*/ 262383 h 1703784"/>
                <a:gd name="connsiteX335" fmla="*/ 610972 w 2571750"/>
                <a:gd name="connsiteY335" fmla="*/ 252289 h 1703784"/>
                <a:gd name="connsiteX336" fmla="*/ 606536 w 2571750"/>
                <a:gd name="connsiteY336" fmla="*/ 248238 h 1703784"/>
                <a:gd name="connsiteX337" fmla="*/ 616501 w 2571750"/>
                <a:gd name="connsiteY337" fmla="*/ 251903 h 1703784"/>
                <a:gd name="connsiteX338" fmla="*/ 633732 w 2571750"/>
                <a:gd name="connsiteY338" fmla="*/ 259297 h 1703784"/>
                <a:gd name="connsiteX339" fmla="*/ 655399 w 2571750"/>
                <a:gd name="connsiteY339" fmla="*/ 265726 h 1703784"/>
                <a:gd name="connsiteX340" fmla="*/ 684460 w 2571750"/>
                <a:gd name="connsiteY340" fmla="*/ 270548 h 1703784"/>
                <a:gd name="connsiteX341" fmla="*/ 720464 w 2571750"/>
                <a:gd name="connsiteY341" fmla="*/ 254732 h 1703784"/>
                <a:gd name="connsiteX342" fmla="*/ 719371 w 2571750"/>
                <a:gd name="connsiteY342" fmla="*/ 240009 h 1703784"/>
                <a:gd name="connsiteX343" fmla="*/ 712235 w 2571750"/>
                <a:gd name="connsiteY343" fmla="*/ 234544 h 1703784"/>
                <a:gd name="connsiteX344" fmla="*/ 701947 w 2571750"/>
                <a:gd name="connsiteY344" fmla="*/ 228114 h 1703784"/>
                <a:gd name="connsiteX345" fmla="*/ 691660 w 2571750"/>
                <a:gd name="connsiteY345" fmla="*/ 222392 h 1703784"/>
                <a:gd name="connsiteX346" fmla="*/ 673465 w 2571750"/>
                <a:gd name="connsiteY346" fmla="*/ 213198 h 1703784"/>
                <a:gd name="connsiteX347" fmla="*/ 644404 w 2571750"/>
                <a:gd name="connsiteY347" fmla="*/ 201818 h 1703784"/>
                <a:gd name="connsiteX348" fmla="*/ 637975 w 2571750"/>
                <a:gd name="connsiteY348" fmla="*/ 201047 h 1703784"/>
                <a:gd name="connsiteX349" fmla="*/ 628974 w 2571750"/>
                <a:gd name="connsiteY349" fmla="*/ 201047 h 1703784"/>
                <a:gd name="connsiteX350" fmla="*/ 617594 w 2571750"/>
                <a:gd name="connsiteY350" fmla="*/ 200275 h 1703784"/>
                <a:gd name="connsiteX351" fmla="*/ 610586 w 2571750"/>
                <a:gd name="connsiteY351" fmla="*/ 196225 h 1703784"/>
                <a:gd name="connsiteX352" fmla="*/ 619780 w 2571750"/>
                <a:gd name="connsiteY352" fmla="*/ 193331 h 1703784"/>
                <a:gd name="connsiteX353" fmla="*/ 611550 w 2571750"/>
                <a:gd name="connsiteY353" fmla="*/ 189988 h 1703784"/>
                <a:gd name="connsiteX354" fmla="*/ 602742 w 2571750"/>
                <a:gd name="connsiteY354" fmla="*/ 191660 h 1703784"/>
                <a:gd name="connsiteX355" fmla="*/ 595155 w 2571750"/>
                <a:gd name="connsiteY355" fmla="*/ 191274 h 1703784"/>
                <a:gd name="connsiteX356" fmla="*/ 594320 w 2571750"/>
                <a:gd name="connsiteY356" fmla="*/ 190695 h 1703784"/>
                <a:gd name="connsiteX357" fmla="*/ 587890 w 2571750"/>
                <a:gd name="connsiteY357" fmla="*/ 195132 h 1703784"/>
                <a:gd name="connsiteX358" fmla="*/ 577603 w 2571750"/>
                <a:gd name="connsiteY358" fmla="*/ 199889 h 1703784"/>
                <a:gd name="connsiteX359" fmla="*/ 569117 w 2571750"/>
                <a:gd name="connsiteY359" fmla="*/ 207283 h 1703784"/>
                <a:gd name="connsiteX360" fmla="*/ 564359 w 2571750"/>
                <a:gd name="connsiteY360" fmla="*/ 210948 h 1703784"/>
                <a:gd name="connsiteX361" fmla="*/ 562559 w 2571750"/>
                <a:gd name="connsiteY361" fmla="*/ 217377 h 1703784"/>
                <a:gd name="connsiteX362" fmla="*/ 564359 w 2571750"/>
                <a:gd name="connsiteY362" fmla="*/ 224321 h 1703784"/>
                <a:gd name="connsiteX363" fmla="*/ 572074 w 2571750"/>
                <a:gd name="connsiteY363" fmla="*/ 228757 h 1703784"/>
                <a:gd name="connsiteX364" fmla="*/ 580882 w 2571750"/>
                <a:gd name="connsiteY364" fmla="*/ 237951 h 1703784"/>
                <a:gd name="connsiteX365" fmla="*/ 573167 w 2571750"/>
                <a:gd name="connsiteY365" fmla="*/ 247145 h 1703784"/>
                <a:gd name="connsiteX366" fmla="*/ 569502 w 2571750"/>
                <a:gd name="connsiteY366" fmla="*/ 254475 h 1703784"/>
                <a:gd name="connsiteX367" fmla="*/ 581268 w 2571750"/>
                <a:gd name="connsiteY367" fmla="*/ 273184 h 1703784"/>
                <a:gd name="connsiteX368" fmla="*/ 577218 w 2571750"/>
                <a:gd name="connsiteY368" fmla="*/ 280578 h 1703784"/>
                <a:gd name="connsiteX369" fmla="*/ 579082 w 2571750"/>
                <a:gd name="connsiteY369" fmla="*/ 290094 h 1703784"/>
                <a:gd name="connsiteX370" fmla="*/ 576125 w 2571750"/>
                <a:gd name="connsiteY370" fmla="*/ 293758 h 1703784"/>
                <a:gd name="connsiteX371" fmla="*/ 582554 w 2571750"/>
                <a:gd name="connsiteY371" fmla="*/ 297809 h 1703784"/>
                <a:gd name="connsiteX372" fmla="*/ 580754 w 2571750"/>
                <a:gd name="connsiteY372" fmla="*/ 304238 h 1703784"/>
                <a:gd name="connsiteX373" fmla="*/ 587183 w 2571750"/>
                <a:gd name="connsiteY373" fmla="*/ 310667 h 1703784"/>
                <a:gd name="connsiteX374" fmla="*/ 579468 w 2571750"/>
                <a:gd name="connsiteY374" fmla="*/ 317675 h 1703784"/>
                <a:gd name="connsiteX375" fmla="*/ 595284 w 2571750"/>
                <a:gd name="connsiteY375" fmla="*/ 329827 h 1703784"/>
                <a:gd name="connsiteX376" fmla="*/ 598627 w 2571750"/>
                <a:gd name="connsiteY376" fmla="*/ 339728 h 1703784"/>
                <a:gd name="connsiteX377" fmla="*/ 580239 w 2571750"/>
                <a:gd name="connsiteY377" fmla="*/ 357345 h 1703784"/>
                <a:gd name="connsiteX378" fmla="*/ 560951 w 2571750"/>
                <a:gd name="connsiteY378" fmla="*/ 372775 h 1703784"/>
                <a:gd name="connsiteX379" fmla="*/ 555036 w 2571750"/>
                <a:gd name="connsiteY379" fmla="*/ 380362 h 1703784"/>
                <a:gd name="connsiteX380" fmla="*/ 560180 w 2571750"/>
                <a:gd name="connsiteY380" fmla="*/ 378497 h 1703784"/>
                <a:gd name="connsiteX381" fmla="*/ 568088 w 2571750"/>
                <a:gd name="connsiteY381" fmla="*/ 386598 h 1703784"/>
                <a:gd name="connsiteX382" fmla="*/ 578953 w 2571750"/>
                <a:gd name="connsiteY382" fmla="*/ 388977 h 1703784"/>
                <a:gd name="connsiteX383" fmla="*/ 573038 w 2571750"/>
                <a:gd name="connsiteY383" fmla="*/ 390585 h 1703784"/>
                <a:gd name="connsiteX384" fmla="*/ 561144 w 2571750"/>
                <a:gd name="connsiteY384" fmla="*/ 394635 h 1703784"/>
                <a:gd name="connsiteX385" fmla="*/ 555036 w 2571750"/>
                <a:gd name="connsiteY385" fmla="*/ 399457 h 1703784"/>
                <a:gd name="connsiteX386" fmla="*/ 552272 w 2571750"/>
                <a:gd name="connsiteY386" fmla="*/ 400679 h 1703784"/>
                <a:gd name="connsiteX387" fmla="*/ 528804 w 2571750"/>
                <a:gd name="connsiteY387" fmla="*/ 398300 h 1703784"/>
                <a:gd name="connsiteX388" fmla="*/ 505659 w 2571750"/>
                <a:gd name="connsiteY388" fmla="*/ 402929 h 1703784"/>
                <a:gd name="connsiteX389" fmla="*/ 498072 w 2571750"/>
                <a:gd name="connsiteY389" fmla="*/ 410066 h 1703784"/>
                <a:gd name="connsiteX390" fmla="*/ 500644 w 2571750"/>
                <a:gd name="connsiteY390" fmla="*/ 417974 h 1703784"/>
                <a:gd name="connsiteX391" fmla="*/ 508037 w 2571750"/>
                <a:gd name="connsiteY391" fmla="*/ 422217 h 1703784"/>
                <a:gd name="connsiteX392" fmla="*/ 510609 w 2571750"/>
                <a:gd name="connsiteY392" fmla="*/ 427168 h 1703784"/>
                <a:gd name="connsiteX393" fmla="*/ 510609 w 2571750"/>
                <a:gd name="connsiteY393" fmla="*/ 427168 h 1703784"/>
                <a:gd name="connsiteX394" fmla="*/ 509516 w 2571750"/>
                <a:gd name="connsiteY394" fmla="*/ 439448 h 1703784"/>
                <a:gd name="connsiteX395" fmla="*/ 499422 w 2571750"/>
                <a:gd name="connsiteY395" fmla="*/ 444270 h 1703784"/>
                <a:gd name="connsiteX396" fmla="*/ 488364 w 2571750"/>
                <a:gd name="connsiteY396" fmla="*/ 431411 h 1703784"/>
                <a:gd name="connsiteX397" fmla="*/ 476405 w 2571750"/>
                <a:gd name="connsiteY397" fmla="*/ 436940 h 1703784"/>
                <a:gd name="connsiteX398" fmla="*/ 471454 w 2571750"/>
                <a:gd name="connsiteY398" fmla="*/ 446906 h 1703784"/>
                <a:gd name="connsiteX399" fmla="*/ 469654 w 2571750"/>
                <a:gd name="connsiteY399" fmla="*/ 458672 h 1703784"/>
                <a:gd name="connsiteX400" fmla="*/ 469654 w 2571750"/>
                <a:gd name="connsiteY400" fmla="*/ 459315 h 1703784"/>
                <a:gd name="connsiteX401" fmla="*/ 468433 w 2571750"/>
                <a:gd name="connsiteY401" fmla="*/ 472752 h 1703784"/>
                <a:gd name="connsiteX402" fmla="*/ 469075 w 2571750"/>
                <a:gd name="connsiteY402" fmla="*/ 476224 h 1703784"/>
                <a:gd name="connsiteX403" fmla="*/ 471004 w 2571750"/>
                <a:gd name="connsiteY403" fmla="*/ 478088 h 1703784"/>
                <a:gd name="connsiteX404" fmla="*/ 467018 w 2571750"/>
                <a:gd name="connsiteY404" fmla="*/ 484904 h 1703784"/>
                <a:gd name="connsiteX405" fmla="*/ 461103 w 2571750"/>
                <a:gd name="connsiteY405" fmla="*/ 484904 h 1703784"/>
                <a:gd name="connsiteX406" fmla="*/ 452680 w 2571750"/>
                <a:gd name="connsiteY406" fmla="*/ 485482 h 1703784"/>
                <a:gd name="connsiteX407" fmla="*/ 451909 w 2571750"/>
                <a:gd name="connsiteY407" fmla="*/ 488375 h 1703784"/>
                <a:gd name="connsiteX408" fmla="*/ 445094 w 2571750"/>
                <a:gd name="connsiteY408" fmla="*/ 491912 h 1703784"/>
                <a:gd name="connsiteX409" fmla="*/ 439243 w 2571750"/>
                <a:gd name="connsiteY409" fmla="*/ 484196 h 1703784"/>
                <a:gd name="connsiteX410" fmla="*/ 412047 w 2571750"/>
                <a:gd name="connsiteY410" fmla="*/ 491912 h 1703784"/>
                <a:gd name="connsiteX411" fmla="*/ 392759 w 2571750"/>
                <a:gd name="connsiteY411" fmla="*/ 498341 h 1703784"/>
                <a:gd name="connsiteX412" fmla="*/ 389223 w 2571750"/>
                <a:gd name="connsiteY412" fmla="*/ 501106 h 1703784"/>
                <a:gd name="connsiteX413" fmla="*/ 389223 w 2571750"/>
                <a:gd name="connsiteY413" fmla="*/ 502649 h 1703784"/>
                <a:gd name="connsiteX414" fmla="*/ 389223 w 2571750"/>
                <a:gd name="connsiteY414" fmla="*/ 515507 h 1703784"/>
                <a:gd name="connsiteX415" fmla="*/ 389994 w 2571750"/>
                <a:gd name="connsiteY415" fmla="*/ 520458 h 1703784"/>
                <a:gd name="connsiteX416" fmla="*/ 392759 w 2571750"/>
                <a:gd name="connsiteY416" fmla="*/ 526566 h 1703784"/>
                <a:gd name="connsiteX417" fmla="*/ 394430 w 2571750"/>
                <a:gd name="connsiteY417" fmla="*/ 532995 h 1703784"/>
                <a:gd name="connsiteX418" fmla="*/ 397452 w 2571750"/>
                <a:gd name="connsiteY418" fmla="*/ 542961 h 1703784"/>
                <a:gd name="connsiteX419" fmla="*/ 397838 w 2571750"/>
                <a:gd name="connsiteY419" fmla="*/ 548490 h 1703784"/>
                <a:gd name="connsiteX420" fmla="*/ 397195 w 2571750"/>
                <a:gd name="connsiteY420" fmla="*/ 549840 h 1703784"/>
                <a:gd name="connsiteX421" fmla="*/ 390766 w 2571750"/>
                <a:gd name="connsiteY421" fmla="*/ 549840 h 1703784"/>
                <a:gd name="connsiteX422" fmla="*/ 380543 w 2571750"/>
                <a:gd name="connsiteY422" fmla="*/ 554534 h 1703784"/>
                <a:gd name="connsiteX423" fmla="*/ 367684 w 2571750"/>
                <a:gd name="connsiteY423" fmla="*/ 559484 h 1703784"/>
                <a:gd name="connsiteX424" fmla="*/ 368520 w 2571750"/>
                <a:gd name="connsiteY424" fmla="*/ 565914 h 1703784"/>
                <a:gd name="connsiteX425" fmla="*/ 372635 w 2571750"/>
                <a:gd name="connsiteY425" fmla="*/ 576394 h 1703784"/>
                <a:gd name="connsiteX426" fmla="*/ 385494 w 2571750"/>
                <a:gd name="connsiteY426" fmla="*/ 586038 h 1703784"/>
                <a:gd name="connsiteX427" fmla="*/ 385494 w 2571750"/>
                <a:gd name="connsiteY427" fmla="*/ 586938 h 1703784"/>
                <a:gd name="connsiteX428" fmla="*/ 396295 w 2571750"/>
                <a:gd name="connsiteY428" fmla="*/ 586295 h 1703784"/>
                <a:gd name="connsiteX429" fmla="*/ 398352 w 2571750"/>
                <a:gd name="connsiteY429" fmla="*/ 580573 h 1703784"/>
                <a:gd name="connsiteX430" fmla="*/ 409861 w 2571750"/>
                <a:gd name="connsiteY430" fmla="*/ 584238 h 1703784"/>
                <a:gd name="connsiteX431" fmla="*/ 419312 w 2571750"/>
                <a:gd name="connsiteY431" fmla="*/ 585459 h 1703784"/>
                <a:gd name="connsiteX432" fmla="*/ 420212 w 2571750"/>
                <a:gd name="connsiteY432" fmla="*/ 587966 h 1703784"/>
                <a:gd name="connsiteX433" fmla="*/ 424198 w 2571750"/>
                <a:gd name="connsiteY433" fmla="*/ 595810 h 1703784"/>
                <a:gd name="connsiteX434" fmla="*/ 422527 w 2571750"/>
                <a:gd name="connsiteY434" fmla="*/ 599154 h 1703784"/>
                <a:gd name="connsiteX435" fmla="*/ 417062 w 2571750"/>
                <a:gd name="connsiteY435" fmla="*/ 602304 h 1703784"/>
                <a:gd name="connsiteX436" fmla="*/ 415647 w 2571750"/>
                <a:gd name="connsiteY436" fmla="*/ 607190 h 1703784"/>
                <a:gd name="connsiteX437" fmla="*/ 413590 w 2571750"/>
                <a:gd name="connsiteY437" fmla="*/ 612655 h 1703784"/>
                <a:gd name="connsiteX438" fmla="*/ 411597 w 2571750"/>
                <a:gd name="connsiteY438" fmla="*/ 615549 h 1703784"/>
                <a:gd name="connsiteX439" fmla="*/ 414619 w 2571750"/>
                <a:gd name="connsiteY439" fmla="*/ 620178 h 1703784"/>
                <a:gd name="connsiteX440" fmla="*/ 414297 w 2571750"/>
                <a:gd name="connsiteY440" fmla="*/ 620178 h 1703784"/>
                <a:gd name="connsiteX441" fmla="*/ 406903 w 2571750"/>
                <a:gd name="connsiteY441" fmla="*/ 625193 h 1703784"/>
                <a:gd name="connsiteX442" fmla="*/ 403817 w 2571750"/>
                <a:gd name="connsiteY442" fmla="*/ 631236 h 1703784"/>
                <a:gd name="connsiteX443" fmla="*/ 399445 w 2571750"/>
                <a:gd name="connsiteY443" fmla="*/ 636765 h 1703784"/>
                <a:gd name="connsiteX444" fmla="*/ 391730 w 2571750"/>
                <a:gd name="connsiteY444" fmla="*/ 636765 h 1703784"/>
                <a:gd name="connsiteX445" fmla="*/ 382986 w 2571750"/>
                <a:gd name="connsiteY445" fmla="*/ 638437 h 1703784"/>
                <a:gd name="connsiteX446" fmla="*/ 385172 w 2571750"/>
                <a:gd name="connsiteY446" fmla="*/ 643709 h 1703784"/>
                <a:gd name="connsiteX447" fmla="*/ 394752 w 2571750"/>
                <a:gd name="connsiteY447" fmla="*/ 647760 h 1703784"/>
                <a:gd name="connsiteX448" fmla="*/ 405746 w 2571750"/>
                <a:gd name="connsiteY448" fmla="*/ 665247 h 1703784"/>
                <a:gd name="connsiteX449" fmla="*/ 415712 w 2571750"/>
                <a:gd name="connsiteY449" fmla="*/ 670520 h 1703784"/>
                <a:gd name="connsiteX450" fmla="*/ 426384 w 2571750"/>
                <a:gd name="connsiteY450" fmla="*/ 676242 h 1703784"/>
                <a:gd name="connsiteX451" fmla="*/ 431592 w 2571750"/>
                <a:gd name="connsiteY451" fmla="*/ 678428 h 1703784"/>
                <a:gd name="connsiteX452" fmla="*/ 438021 w 2571750"/>
                <a:gd name="connsiteY452" fmla="*/ 683121 h 1703784"/>
                <a:gd name="connsiteX453" fmla="*/ 446830 w 2571750"/>
                <a:gd name="connsiteY453" fmla="*/ 689551 h 1703784"/>
                <a:gd name="connsiteX454" fmla="*/ 447473 w 2571750"/>
                <a:gd name="connsiteY454" fmla="*/ 689872 h 1703784"/>
                <a:gd name="connsiteX455" fmla="*/ 450816 w 2571750"/>
                <a:gd name="connsiteY455" fmla="*/ 697587 h 1703784"/>
                <a:gd name="connsiteX456" fmla="*/ 450494 w 2571750"/>
                <a:gd name="connsiteY456" fmla="*/ 715975 h 1703784"/>
                <a:gd name="connsiteX457" fmla="*/ 458788 w 2571750"/>
                <a:gd name="connsiteY457" fmla="*/ 726519 h 1703784"/>
                <a:gd name="connsiteX458" fmla="*/ 459303 w 2571750"/>
                <a:gd name="connsiteY458" fmla="*/ 726841 h 1703784"/>
                <a:gd name="connsiteX459" fmla="*/ 465732 w 2571750"/>
                <a:gd name="connsiteY459" fmla="*/ 737449 h 1703784"/>
                <a:gd name="connsiteX460" fmla="*/ 474540 w 2571750"/>
                <a:gd name="connsiteY460" fmla="*/ 740407 h 1703784"/>
                <a:gd name="connsiteX461" fmla="*/ 485728 w 2571750"/>
                <a:gd name="connsiteY461" fmla="*/ 744457 h 1703784"/>
                <a:gd name="connsiteX462" fmla="*/ 472483 w 2571750"/>
                <a:gd name="connsiteY462" fmla="*/ 745550 h 1703784"/>
                <a:gd name="connsiteX463" fmla="*/ 475119 w 2571750"/>
                <a:gd name="connsiteY463" fmla="*/ 756030 h 1703784"/>
                <a:gd name="connsiteX464" fmla="*/ 480462 w 2571750"/>
                <a:gd name="connsiteY464" fmla="*/ 764485 h 1703784"/>
                <a:gd name="connsiteX465" fmla="*/ 481548 w 2571750"/>
                <a:gd name="connsiteY465" fmla="*/ 764646 h 1703784"/>
                <a:gd name="connsiteX466" fmla="*/ 493121 w 2571750"/>
                <a:gd name="connsiteY466" fmla="*/ 770175 h 1703784"/>
                <a:gd name="connsiteX467" fmla="*/ 490871 w 2571750"/>
                <a:gd name="connsiteY467" fmla="*/ 757702 h 1703784"/>
                <a:gd name="connsiteX468" fmla="*/ 499551 w 2571750"/>
                <a:gd name="connsiteY468" fmla="*/ 757316 h 1703784"/>
                <a:gd name="connsiteX469" fmla="*/ 493829 w 2571750"/>
                <a:gd name="connsiteY469" fmla="*/ 752366 h 1703784"/>
                <a:gd name="connsiteX470" fmla="*/ 498265 w 2571750"/>
                <a:gd name="connsiteY470" fmla="*/ 749987 h 1703784"/>
                <a:gd name="connsiteX471" fmla="*/ 507202 w 2571750"/>
                <a:gd name="connsiteY471" fmla="*/ 748894 h 1703784"/>
                <a:gd name="connsiteX472" fmla="*/ 503215 w 2571750"/>
                <a:gd name="connsiteY472" fmla="*/ 738735 h 1703784"/>
                <a:gd name="connsiteX473" fmla="*/ 492928 w 2571750"/>
                <a:gd name="connsiteY473" fmla="*/ 739121 h 1703784"/>
                <a:gd name="connsiteX474" fmla="*/ 496979 w 2571750"/>
                <a:gd name="connsiteY474" fmla="*/ 732692 h 1703784"/>
                <a:gd name="connsiteX475" fmla="*/ 486820 w 2571750"/>
                <a:gd name="connsiteY475" fmla="*/ 718740 h 1703784"/>
                <a:gd name="connsiteX476" fmla="*/ 493250 w 2571750"/>
                <a:gd name="connsiteY476" fmla="*/ 715268 h 1703784"/>
                <a:gd name="connsiteX477" fmla="*/ 503215 w 2571750"/>
                <a:gd name="connsiteY477" fmla="*/ 716747 h 1703784"/>
                <a:gd name="connsiteX478" fmla="*/ 505594 w 2571750"/>
                <a:gd name="connsiteY478" fmla="*/ 707360 h 1703784"/>
                <a:gd name="connsiteX479" fmla="*/ 513117 w 2571750"/>
                <a:gd name="connsiteY479" fmla="*/ 709739 h 1703784"/>
                <a:gd name="connsiteX480" fmla="*/ 522504 w 2571750"/>
                <a:gd name="connsiteY480" fmla="*/ 705174 h 1703784"/>
                <a:gd name="connsiteX481" fmla="*/ 530862 w 2571750"/>
                <a:gd name="connsiteY481" fmla="*/ 709160 h 1703784"/>
                <a:gd name="connsiteX482" fmla="*/ 538127 w 2571750"/>
                <a:gd name="connsiteY482" fmla="*/ 712696 h 1703784"/>
                <a:gd name="connsiteX483" fmla="*/ 549700 w 2571750"/>
                <a:gd name="connsiteY483" fmla="*/ 705495 h 1703784"/>
                <a:gd name="connsiteX484" fmla="*/ 566416 w 2571750"/>
                <a:gd name="connsiteY484" fmla="*/ 703888 h 1703784"/>
                <a:gd name="connsiteX485" fmla="*/ 557029 w 2571750"/>
                <a:gd name="connsiteY485" fmla="*/ 696366 h 1703784"/>
                <a:gd name="connsiteX486" fmla="*/ 553943 w 2571750"/>
                <a:gd name="connsiteY486" fmla="*/ 689936 h 1703784"/>
                <a:gd name="connsiteX487" fmla="*/ 552272 w 2571750"/>
                <a:gd name="connsiteY487" fmla="*/ 687043 h 1703784"/>
                <a:gd name="connsiteX488" fmla="*/ 549700 w 2571750"/>
                <a:gd name="connsiteY488" fmla="*/ 677656 h 1703784"/>
                <a:gd name="connsiteX489" fmla="*/ 559601 w 2571750"/>
                <a:gd name="connsiteY489" fmla="*/ 666984 h 1703784"/>
                <a:gd name="connsiteX490" fmla="*/ 562173 w 2571750"/>
                <a:gd name="connsiteY490" fmla="*/ 664347 h 1703784"/>
                <a:gd name="connsiteX491" fmla="*/ 562173 w 2571750"/>
                <a:gd name="connsiteY491" fmla="*/ 657918 h 1703784"/>
                <a:gd name="connsiteX492" fmla="*/ 568602 w 2571750"/>
                <a:gd name="connsiteY492" fmla="*/ 647824 h 1703784"/>
                <a:gd name="connsiteX493" fmla="*/ 575031 w 2571750"/>
                <a:gd name="connsiteY493" fmla="*/ 641073 h 1703784"/>
                <a:gd name="connsiteX494" fmla="*/ 575031 w 2571750"/>
                <a:gd name="connsiteY494" fmla="*/ 640430 h 1703784"/>
                <a:gd name="connsiteX495" fmla="*/ 580947 w 2571750"/>
                <a:gd name="connsiteY495" fmla="*/ 631108 h 1703784"/>
                <a:gd name="connsiteX496" fmla="*/ 591555 w 2571750"/>
                <a:gd name="connsiteY496" fmla="*/ 618635 h 1703784"/>
                <a:gd name="connsiteX497" fmla="*/ 605378 w 2571750"/>
                <a:gd name="connsiteY497" fmla="*/ 616577 h 1703784"/>
                <a:gd name="connsiteX498" fmla="*/ 606600 w 2571750"/>
                <a:gd name="connsiteY498" fmla="*/ 624678 h 1703784"/>
                <a:gd name="connsiteX499" fmla="*/ 626852 w 2571750"/>
                <a:gd name="connsiteY499" fmla="*/ 627636 h 1703784"/>
                <a:gd name="connsiteX500" fmla="*/ 610329 w 2571750"/>
                <a:gd name="connsiteY500" fmla="*/ 636830 h 1703784"/>
                <a:gd name="connsiteX501" fmla="*/ 622802 w 2571750"/>
                <a:gd name="connsiteY501" fmla="*/ 642488 h 1703784"/>
                <a:gd name="connsiteX502" fmla="*/ 623380 w 2571750"/>
                <a:gd name="connsiteY502" fmla="*/ 652067 h 1703784"/>
                <a:gd name="connsiteX503" fmla="*/ 633475 w 2571750"/>
                <a:gd name="connsiteY503" fmla="*/ 649688 h 1703784"/>
                <a:gd name="connsiteX504" fmla="*/ 645433 w 2571750"/>
                <a:gd name="connsiteY504" fmla="*/ 644545 h 1703784"/>
                <a:gd name="connsiteX505" fmla="*/ 661957 w 2571750"/>
                <a:gd name="connsiteY505" fmla="*/ 642166 h 1703784"/>
                <a:gd name="connsiteX506" fmla="*/ 649419 w 2571750"/>
                <a:gd name="connsiteY506" fmla="*/ 638823 h 1703784"/>
                <a:gd name="connsiteX507" fmla="*/ 639325 w 2571750"/>
                <a:gd name="connsiteY507" fmla="*/ 630625 h 1703784"/>
                <a:gd name="connsiteX508" fmla="*/ 639325 w 2571750"/>
                <a:gd name="connsiteY508" fmla="*/ 628729 h 1703784"/>
                <a:gd name="connsiteX509" fmla="*/ 654949 w 2571750"/>
                <a:gd name="connsiteY509" fmla="*/ 618827 h 1703784"/>
                <a:gd name="connsiteX510" fmla="*/ 670765 w 2571750"/>
                <a:gd name="connsiteY510" fmla="*/ 614070 h 1703784"/>
                <a:gd name="connsiteX511" fmla="*/ 680859 w 2571750"/>
                <a:gd name="connsiteY511" fmla="*/ 611177 h 1703784"/>
                <a:gd name="connsiteX512" fmla="*/ 693718 w 2571750"/>
                <a:gd name="connsiteY512" fmla="*/ 611177 h 1703784"/>
                <a:gd name="connsiteX513" fmla="*/ 678287 w 2571750"/>
                <a:gd name="connsiteY513" fmla="*/ 620178 h 1703784"/>
                <a:gd name="connsiteX514" fmla="*/ 683045 w 2571750"/>
                <a:gd name="connsiteY514" fmla="*/ 627186 h 1703784"/>
                <a:gd name="connsiteX515" fmla="*/ 675716 w 2571750"/>
                <a:gd name="connsiteY515" fmla="*/ 634322 h 1703784"/>
                <a:gd name="connsiteX516" fmla="*/ 668900 w 2571750"/>
                <a:gd name="connsiteY516" fmla="*/ 639659 h 1703784"/>
                <a:gd name="connsiteX517" fmla="*/ 665622 w 2571750"/>
                <a:gd name="connsiteY517" fmla="*/ 642552 h 1703784"/>
                <a:gd name="connsiteX518" fmla="*/ 675330 w 2571750"/>
                <a:gd name="connsiteY518" fmla="*/ 650460 h 1703784"/>
                <a:gd name="connsiteX519" fmla="*/ 698540 w 2571750"/>
                <a:gd name="connsiteY519" fmla="*/ 667176 h 1703784"/>
                <a:gd name="connsiteX520" fmla="*/ 701755 w 2571750"/>
                <a:gd name="connsiteY520" fmla="*/ 669748 h 1703784"/>
                <a:gd name="connsiteX521" fmla="*/ 721043 w 2571750"/>
                <a:gd name="connsiteY521" fmla="*/ 680421 h 1703784"/>
                <a:gd name="connsiteX522" fmla="*/ 725800 w 2571750"/>
                <a:gd name="connsiteY522" fmla="*/ 693280 h 1703784"/>
                <a:gd name="connsiteX523" fmla="*/ 722971 w 2571750"/>
                <a:gd name="connsiteY523" fmla="*/ 697523 h 1703784"/>
                <a:gd name="connsiteX524" fmla="*/ 699954 w 2571750"/>
                <a:gd name="connsiteY524" fmla="*/ 705238 h 1703784"/>
                <a:gd name="connsiteX525" fmla="*/ 678223 w 2571750"/>
                <a:gd name="connsiteY525" fmla="*/ 705817 h 1703784"/>
                <a:gd name="connsiteX526" fmla="*/ 663564 w 2571750"/>
                <a:gd name="connsiteY526" fmla="*/ 700995 h 1703784"/>
                <a:gd name="connsiteX527" fmla="*/ 652506 w 2571750"/>
                <a:gd name="connsiteY527" fmla="*/ 696044 h 1703784"/>
                <a:gd name="connsiteX528" fmla="*/ 633989 w 2571750"/>
                <a:gd name="connsiteY528" fmla="*/ 691094 h 1703784"/>
                <a:gd name="connsiteX529" fmla="*/ 596313 w 2571750"/>
                <a:gd name="connsiteY529" fmla="*/ 702666 h 1703784"/>
                <a:gd name="connsiteX530" fmla="*/ 569117 w 2571750"/>
                <a:gd name="connsiteY530" fmla="*/ 704145 h 1703784"/>
                <a:gd name="connsiteX531" fmla="*/ 562687 w 2571750"/>
                <a:gd name="connsiteY531" fmla="*/ 713661 h 1703784"/>
                <a:gd name="connsiteX532" fmla="*/ 536584 w 2571750"/>
                <a:gd name="connsiteY532" fmla="*/ 715911 h 1703784"/>
                <a:gd name="connsiteX533" fmla="*/ 534012 w 2571750"/>
                <a:gd name="connsiteY533" fmla="*/ 725105 h 1703784"/>
                <a:gd name="connsiteX534" fmla="*/ 539156 w 2571750"/>
                <a:gd name="connsiteY534" fmla="*/ 728577 h 1703784"/>
                <a:gd name="connsiteX535" fmla="*/ 540249 w 2571750"/>
                <a:gd name="connsiteY535" fmla="*/ 737771 h 1703784"/>
                <a:gd name="connsiteX536" fmla="*/ 539959 w 2571750"/>
                <a:gd name="connsiteY536" fmla="*/ 745769 h 1703784"/>
                <a:gd name="connsiteX537" fmla="*/ 540634 w 2571750"/>
                <a:gd name="connsiteY537" fmla="*/ 746386 h 1703784"/>
                <a:gd name="connsiteX538" fmla="*/ 540634 w 2571750"/>
                <a:gd name="connsiteY538" fmla="*/ 753201 h 1703784"/>
                <a:gd name="connsiteX539" fmla="*/ 547064 w 2571750"/>
                <a:gd name="connsiteY539" fmla="*/ 759631 h 1703784"/>
                <a:gd name="connsiteX540" fmla="*/ 555165 w 2571750"/>
                <a:gd name="connsiteY540" fmla="*/ 764581 h 1703784"/>
                <a:gd name="connsiteX541" fmla="*/ 561594 w 2571750"/>
                <a:gd name="connsiteY541" fmla="*/ 766446 h 1703784"/>
                <a:gd name="connsiteX542" fmla="*/ 569309 w 2571750"/>
                <a:gd name="connsiteY542" fmla="*/ 774290 h 1703784"/>
                <a:gd name="connsiteX543" fmla="*/ 585319 w 2571750"/>
                <a:gd name="connsiteY543" fmla="*/ 771397 h 1703784"/>
                <a:gd name="connsiteX544" fmla="*/ 595413 w 2571750"/>
                <a:gd name="connsiteY544" fmla="*/ 766767 h 1703784"/>
                <a:gd name="connsiteX545" fmla="*/ 612322 w 2571750"/>
                <a:gd name="connsiteY545" fmla="*/ 776669 h 1703784"/>
                <a:gd name="connsiteX546" fmla="*/ 625181 w 2571750"/>
                <a:gd name="connsiteY546" fmla="*/ 774483 h 1703784"/>
                <a:gd name="connsiteX547" fmla="*/ 636754 w 2571750"/>
                <a:gd name="connsiteY547" fmla="*/ 767153 h 1703784"/>
                <a:gd name="connsiteX548" fmla="*/ 646269 w 2571750"/>
                <a:gd name="connsiteY548" fmla="*/ 769532 h 1703784"/>
                <a:gd name="connsiteX549" fmla="*/ 655849 w 2571750"/>
                <a:gd name="connsiteY549" fmla="*/ 766960 h 1703784"/>
                <a:gd name="connsiteX550" fmla="*/ 652506 w 2571750"/>
                <a:gd name="connsiteY550" fmla="*/ 776862 h 1703784"/>
                <a:gd name="connsiteX551" fmla="*/ 652827 w 2571750"/>
                <a:gd name="connsiteY551" fmla="*/ 781105 h 1703784"/>
                <a:gd name="connsiteX552" fmla="*/ 652827 w 2571750"/>
                <a:gd name="connsiteY552" fmla="*/ 787534 h 1703784"/>
                <a:gd name="connsiteX553" fmla="*/ 651863 w 2571750"/>
                <a:gd name="connsiteY553" fmla="*/ 796728 h 1703784"/>
                <a:gd name="connsiteX554" fmla="*/ 651863 w 2571750"/>
                <a:gd name="connsiteY554" fmla="*/ 798400 h 1703784"/>
                <a:gd name="connsiteX555" fmla="*/ 642669 w 2571750"/>
                <a:gd name="connsiteY555" fmla="*/ 816981 h 1703784"/>
                <a:gd name="connsiteX556" fmla="*/ 648519 w 2571750"/>
                <a:gd name="connsiteY556" fmla="*/ 819488 h 1703784"/>
                <a:gd name="connsiteX557" fmla="*/ 649162 w 2571750"/>
                <a:gd name="connsiteY557" fmla="*/ 819488 h 1703784"/>
                <a:gd name="connsiteX558" fmla="*/ 649162 w 2571750"/>
                <a:gd name="connsiteY558" fmla="*/ 819488 h 1703784"/>
                <a:gd name="connsiteX559" fmla="*/ 648776 w 2571750"/>
                <a:gd name="connsiteY559" fmla="*/ 823153 h 1703784"/>
                <a:gd name="connsiteX560" fmla="*/ 649162 w 2571750"/>
                <a:gd name="connsiteY560" fmla="*/ 819488 h 1703784"/>
                <a:gd name="connsiteX561" fmla="*/ 642733 w 2571750"/>
                <a:gd name="connsiteY561" fmla="*/ 816788 h 1703784"/>
                <a:gd name="connsiteX562" fmla="*/ 640740 w 2571750"/>
                <a:gd name="connsiteY562" fmla="*/ 822639 h 1703784"/>
                <a:gd name="connsiteX563" fmla="*/ 630903 w 2571750"/>
                <a:gd name="connsiteY563" fmla="*/ 844756 h 1703784"/>
                <a:gd name="connsiteX564" fmla="*/ 629553 w 2571750"/>
                <a:gd name="connsiteY564" fmla="*/ 846684 h 1703784"/>
                <a:gd name="connsiteX565" fmla="*/ 616308 w 2571750"/>
                <a:gd name="connsiteY565" fmla="*/ 845977 h 1703784"/>
                <a:gd name="connsiteX566" fmla="*/ 600685 w 2571750"/>
                <a:gd name="connsiteY566" fmla="*/ 842634 h 1703784"/>
                <a:gd name="connsiteX567" fmla="*/ 574967 w 2571750"/>
                <a:gd name="connsiteY567" fmla="*/ 846877 h 1703784"/>
                <a:gd name="connsiteX568" fmla="*/ 561015 w 2571750"/>
                <a:gd name="connsiteY568" fmla="*/ 848163 h 1703784"/>
                <a:gd name="connsiteX569" fmla="*/ 538255 w 2571750"/>
                <a:gd name="connsiteY569" fmla="*/ 841734 h 1703784"/>
                <a:gd name="connsiteX570" fmla="*/ 519482 w 2571750"/>
                <a:gd name="connsiteY570" fmla="*/ 837233 h 1703784"/>
                <a:gd name="connsiteX571" fmla="*/ 519096 w 2571750"/>
                <a:gd name="connsiteY571" fmla="*/ 836783 h 1703784"/>
                <a:gd name="connsiteX572" fmla="*/ 502380 w 2571750"/>
                <a:gd name="connsiteY572" fmla="*/ 832347 h 1703784"/>
                <a:gd name="connsiteX573" fmla="*/ 483477 w 2571750"/>
                <a:gd name="connsiteY573" fmla="*/ 822639 h 1703784"/>
                <a:gd name="connsiteX574" fmla="*/ 455767 w 2571750"/>
                <a:gd name="connsiteY574" fmla="*/ 836783 h 1703784"/>
                <a:gd name="connsiteX575" fmla="*/ 457374 w 2571750"/>
                <a:gd name="connsiteY575" fmla="*/ 852921 h 1703784"/>
                <a:gd name="connsiteX576" fmla="*/ 439224 w 2571750"/>
                <a:gd name="connsiteY576" fmla="*/ 854059 h 1703784"/>
                <a:gd name="connsiteX577" fmla="*/ 438086 w 2571750"/>
                <a:gd name="connsiteY577" fmla="*/ 852921 h 1703784"/>
                <a:gd name="connsiteX578" fmla="*/ 415133 w 2571750"/>
                <a:gd name="connsiteY578" fmla="*/ 844691 h 1703784"/>
                <a:gd name="connsiteX579" fmla="*/ 402789 w 2571750"/>
                <a:gd name="connsiteY579" fmla="*/ 835819 h 1703784"/>
                <a:gd name="connsiteX580" fmla="*/ 394752 w 2571750"/>
                <a:gd name="connsiteY580" fmla="*/ 828682 h 1703784"/>
                <a:gd name="connsiteX581" fmla="*/ 372120 w 2571750"/>
                <a:gd name="connsiteY581" fmla="*/ 824117 h 1703784"/>
                <a:gd name="connsiteX582" fmla="*/ 357783 w 2571750"/>
                <a:gd name="connsiteY582" fmla="*/ 821096 h 1703784"/>
                <a:gd name="connsiteX583" fmla="*/ 353025 w 2571750"/>
                <a:gd name="connsiteY583" fmla="*/ 815824 h 1703784"/>
                <a:gd name="connsiteX584" fmla="*/ 347882 w 2571750"/>
                <a:gd name="connsiteY584" fmla="*/ 811580 h 1703784"/>
                <a:gd name="connsiteX585" fmla="*/ 338173 w 2571750"/>
                <a:gd name="connsiteY585" fmla="*/ 807401 h 1703784"/>
                <a:gd name="connsiteX586" fmla="*/ 347882 w 2571750"/>
                <a:gd name="connsiteY586" fmla="*/ 798721 h 1703784"/>
                <a:gd name="connsiteX587" fmla="*/ 349856 w 2571750"/>
                <a:gd name="connsiteY587" fmla="*/ 783664 h 1703784"/>
                <a:gd name="connsiteX588" fmla="*/ 348267 w 2571750"/>
                <a:gd name="connsiteY588" fmla="*/ 782005 h 1703784"/>
                <a:gd name="connsiteX589" fmla="*/ 350453 w 2571750"/>
                <a:gd name="connsiteY589" fmla="*/ 771204 h 1703784"/>
                <a:gd name="connsiteX590" fmla="*/ 348782 w 2571750"/>
                <a:gd name="connsiteY590" fmla="*/ 766767 h 1703784"/>
                <a:gd name="connsiteX591" fmla="*/ 342931 w 2571750"/>
                <a:gd name="connsiteY591" fmla="*/ 764774 h 1703784"/>
                <a:gd name="connsiteX592" fmla="*/ 325829 w 2571750"/>
                <a:gd name="connsiteY592" fmla="*/ 763810 h 1703784"/>
                <a:gd name="connsiteX593" fmla="*/ 319400 w 2571750"/>
                <a:gd name="connsiteY593" fmla="*/ 765739 h 1703784"/>
                <a:gd name="connsiteX594" fmla="*/ 307698 w 2571750"/>
                <a:gd name="connsiteY594" fmla="*/ 763488 h 1703784"/>
                <a:gd name="connsiteX595" fmla="*/ 294839 w 2571750"/>
                <a:gd name="connsiteY595" fmla="*/ 764774 h 1703784"/>
                <a:gd name="connsiteX596" fmla="*/ 277609 w 2571750"/>
                <a:gd name="connsiteY596" fmla="*/ 768246 h 1703784"/>
                <a:gd name="connsiteX597" fmla="*/ 230931 w 2571750"/>
                <a:gd name="connsiteY597" fmla="*/ 771011 h 1703784"/>
                <a:gd name="connsiteX598" fmla="*/ 211643 w 2571750"/>
                <a:gd name="connsiteY598" fmla="*/ 781298 h 1703784"/>
                <a:gd name="connsiteX599" fmla="*/ 192355 w 2571750"/>
                <a:gd name="connsiteY599" fmla="*/ 791392 h 1703784"/>
                <a:gd name="connsiteX600" fmla="*/ 187662 w 2571750"/>
                <a:gd name="connsiteY600" fmla="*/ 793449 h 1703784"/>
                <a:gd name="connsiteX601" fmla="*/ 173260 w 2571750"/>
                <a:gd name="connsiteY601" fmla="*/ 790106 h 1703784"/>
                <a:gd name="connsiteX602" fmla="*/ 152107 w 2571750"/>
                <a:gd name="connsiteY602" fmla="*/ 787920 h 1703784"/>
                <a:gd name="connsiteX603" fmla="*/ 140534 w 2571750"/>
                <a:gd name="connsiteY603" fmla="*/ 782584 h 1703784"/>
                <a:gd name="connsiteX604" fmla="*/ 126968 w 2571750"/>
                <a:gd name="connsiteY604" fmla="*/ 807915 h 1703784"/>
                <a:gd name="connsiteX605" fmla="*/ 108002 w 2571750"/>
                <a:gd name="connsiteY605" fmla="*/ 816917 h 1703784"/>
                <a:gd name="connsiteX606" fmla="*/ 98679 w 2571750"/>
                <a:gd name="connsiteY606" fmla="*/ 827589 h 1703784"/>
                <a:gd name="connsiteX607" fmla="*/ 91671 w 2571750"/>
                <a:gd name="connsiteY607" fmla="*/ 839355 h 1703784"/>
                <a:gd name="connsiteX608" fmla="*/ 91671 w 2571750"/>
                <a:gd name="connsiteY608" fmla="*/ 858257 h 1703784"/>
                <a:gd name="connsiteX609" fmla="*/ 77012 w 2571750"/>
                <a:gd name="connsiteY609" fmla="*/ 878638 h 1703784"/>
                <a:gd name="connsiteX610" fmla="*/ 58817 w 2571750"/>
                <a:gd name="connsiteY610" fmla="*/ 890983 h 1703784"/>
                <a:gd name="connsiteX611" fmla="*/ 49816 w 2571750"/>
                <a:gd name="connsiteY611" fmla="*/ 895355 h 1703784"/>
                <a:gd name="connsiteX612" fmla="*/ 43001 w 2571750"/>
                <a:gd name="connsiteY612" fmla="*/ 906735 h 1703784"/>
                <a:gd name="connsiteX613" fmla="*/ 26477 w 2571750"/>
                <a:gd name="connsiteY613" fmla="*/ 929559 h 1703784"/>
                <a:gd name="connsiteX614" fmla="*/ 4617 w 2571750"/>
                <a:gd name="connsiteY614" fmla="*/ 968135 h 1703784"/>
                <a:gd name="connsiteX615" fmla="*/ 695 w 2571750"/>
                <a:gd name="connsiteY615" fmla="*/ 981380 h 1703784"/>
                <a:gd name="connsiteX616" fmla="*/ 7639 w 2571750"/>
                <a:gd name="connsiteY616" fmla="*/ 995396 h 1703784"/>
                <a:gd name="connsiteX617" fmla="*/ 10404 w 2571750"/>
                <a:gd name="connsiteY617" fmla="*/ 1015391 h 1703784"/>
                <a:gd name="connsiteX618" fmla="*/ 6353 w 2571750"/>
                <a:gd name="connsiteY618" fmla="*/ 1039823 h 1703784"/>
                <a:gd name="connsiteX619" fmla="*/ 4232 w 2571750"/>
                <a:gd name="connsiteY619" fmla="*/ 1050624 h 1703784"/>
                <a:gd name="connsiteX620" fmla="*/ 1403 w 2571750"/>
                <a:gd name="connsiteY620" fmla="*/ 1060590 h 1703784"/>
                <a:gd name="connsiteX621" fmla="*/ 5968 w 2571750"/>
                <a:gd name="connsiteY621" fmla="*/ 1078206 h 1703784"/>
                <a:gd name="connsiteX622" fmla="*/ 6739 w 2571750"/>
                <a:gd name="connsiteY622" fmla="*/ 1080585 h 1703784"/>
                <a:gd name="connsiteX623" fmla="*/ 5132 w 2571750"/>
                <a:gd name="connsiteY623" fmla="*/ 1088043 h 1703784"/>
                <a:gd name="connsiteX624" fmla="*/ 6546 w 2571750"/>
                <a:gd name="connsiteY624" fmla="*/ 1093830 h 1703784"/>
                <a:gd name="connsiteX625" fmla="*/ 7768 w 2571750"/>
                <a:gd name="connsiteY625" fmla="*/ 1095373 h 1703784"/>
                <a:gd name="connsiteX626" fmla="*/ 17733 w 2571750"/>
                <a:gd name="connsiteY626" fmla="*/ 1103024 h 1703784"/>
                <a:gd name="connsiteX627" fmla="*/ 23070 w 2571750"/>
                <a:gd name="connsiteY627" fmla="*/ 1112411 h 1703784"/>
                <a:gd name="connsiteX628" fmla="*/ 24484 w 2571750"/>
                <a:gd name="connsiteY628" fmla="*/ 1113439 h 1703784"/>
                <a:gd name="connsiteX629" fmla="*/ 33357 w 2571750"/>
                <a:gd name="connsiteY629" fmla="*/ 1124369 h 1703784"/>
                <a:gd name="connsiteX630" fmla="*/ 47373 w 2571750"/>
                <a:gd name="connsiteY630" fmla="*/ 1139607 h 1703784"/>
                <a:gd name="connsiteX631" fmla="*/ 49173 w 2571750"/>
                <a:gd name="connsiteY631" fmla="*/ 1144172 h 1703784"/>
                <a:gd name="connsiteX632" fmla="*/ 59074 w 2571750"/>
                <a:gd name="connsiteY632" fmla="*/ 1159795 h 1703784"/>
                <a:gd name="connsiteX633" fmla="*/ 69040 w 2571750"/>
                <a:gd name="connsiteY633" fmla="*/ 1166224 h 1703784"/>
                <a:gd name="connsiteX634" fmla="*/ 85178 w 2571750"/>
                <a:gd name="connsiteY634" fmla="*/ 1177026 h 1703784"/>
                <a:gd name="connsiteX635" fmla="*/ 114174 w 2571750"/>
                <a:gd name="connsiteY635" fmla="*/ 1195157 h 1703784"/>
                <a:gd name="connsiteX636" fmla="*/ 117196 w 2571750"/>
                <a:gd name="connsiteY636" fmla="*/ 1195671 h 1703784"/>
                <a:gd name="connsiteX637" fmla="*/ 153907 w 2571750"/>
                <a:gd name="connsiteY637" fmla="*/ 1187634 h 1703784"/>
                <a:gd name="connsiteX638" fmla="*/ 178018 w 2571750"/>
                <a:gd name="connsiteY638" fmla="*/ 1189049 h 1703784"/>
                <a:gd name="connsiteX639" fmla="*/ 187340 w 2571750"/>
                <a:gd name="connsiteY639" fmla="*/ 1192456 h 1703784"/>
                <a:gd name="connsiteX640" fmla="*/ 211386 w 2571750"/>
                <a:gd name="connsiteY640" fmla="*/ 1182684 h 1703784"/>
                <a:gd name="connsiteX641" fmla="*/ 225788 w 2571750"/>
                <a:gd name="connsiteY641" fmla="*/ 1176576 h 1703784"/>
                <a:gd name="connsiteX642" fmla="*/ 228295 w 2571750"/>
                <a:gd name="connsiteY642" fmla="*/ 1174968 h 1703784"/>
                <a:gd name="connsiteX643" fmla="*/ 235239 w 2571750"/>
                <a:gd name="connsiteY643" fmla="*/ 1172268 h 1703784"/>
                <a:gd name="connsiteX644" fmla="*/ 243533 w 2571750"/>
                <a:gd name="connsiteY644" fmla="*/ 1171497 h 1703784"/>
                <a:gd name="connsiteX645" fmla="*/ 252020 w 2571750"/>
                <a:gd name="connsiteY645" fmla="*/ 1168796 h 1703784"/>
                <a:gd name="connsiteX646" fmla="*/ 252020 w 2571750"/>
                <a:gd name="connsiteY646" fmla="*/ 1168796 h 1703784"/>
                <a:gd name="connsiteX647" fmla="*/ 270601 w 2571750"/>
                <a:gd name="connsiteY647" fmla="*/ 1173554 h 1703784"/>
                <a:gd name="connsiteX648" fmla="*/ 282366 w 2571750"/>
                <a:gd name="connsiteY648" fmla="*/ 1186413 h 1703784"/>
                <a:gd name="connsiteX649" fmla="*/ 288796 w 2571750"/>
                <a:gd name="connsiteY649" fmla="*/ 1197085 h 1703784"/>
                <a:gd name="connsiteX650" fmla="*/ 301654 w 2571750"/>
                <a:gd name="connsiteY650" fmla="*/ 1194321 h 1703784"/>
                <a:gd name="connsiteX651" fmla="*/ 318178 w 2571750"/>
                <a:gd name="connsiteY651" fmla="*/ 1192521 h 1703784"/>
                <a:gd name="connsiteX652" fmla="*/ 320171 w 2571750"/>
                <a:gd name="connsiteY652" fmla="*/ 1192521 h 1703784"/>
                <a:gd name="connsiteX653" fmla="*/ 325379 w 2571750"/>
                <a:gd name="connsiteY653" fmla="*/ 1199400 h 1703784"/>
                <a:gd name="connsiteX654" fmla="*/ 334894 w 2571750"/>
                <a:gd name="connsiteY654" fmla="*/ 1201458 h 1703784"/>
                <a:gd name="connsiteX655" fmla="*/ 338366 w 2571750"/>
                <a:gd name="connsiteY655" fmla="*/ 1213545 h 1703784"/>
                <a:gd name="connsiteX656" fmla="*/ 336052 w 2571750"/>
                <a:gd name="connsiteY656" fmla="*/ 1224603 h 1703784"/>
                <a:gd name="connsiteX657" fmla="*/ 336052 w 2571750"/>
                <a:gd name="connsiteY657" fmla="*/ 1224989 h 1703784"/>
                <a:gd name="connsiteX658" fmla="*/ 334644 w 2571750"/>
                <a:gd name="connsiteY658" fmla="*/ 1232312 h 1703784"/>
                <a:gd name="connsiteX659" fmla="*/ 333094 w 2571750"/>
                <a:gd name="connsiteY659" fmla="*/ 1233026 h 1703784"/>
                <a:gd name="connsiteX660" fmla="*/ 332580 w 2571750"/>
                <a:gd name="connsiteY660" fmla="*/ 1237976 h 1703784"/>
                <a:gd name="connsiteX661" fmla="*/ 333030 w 2571750"/>
                <a:gd name="connsiteY661" fmla="*/ 1241255 h 1703784"/>
                <a:gd name="connsiteX662" fmla="*/ 330908 w 2571750"/>
                <a:gd name="connsiteY662" fmla="*/ 1243891 h 1703784"/>
                <a:gd name="connsiteX663" fmla="*/ 335666 w 2571750"/>
                <a:gd name="connsiteY663" fmla="*/ 1250321 h 1703784"/>
                <a:gd name="connsiteX664" fmla="*/ 328915 w 2571750"/>
                <a:gd name="connsiteY664" fmla="*/ 1255464 h 1703784"/>
                <a:gd name="connsiteX665" fmla="*/ 323900 w 2571750"/>
                <a:gd name="connsiteY665" fmla="*/ 1263372 h 1703784"/>
                <a:gd name="connsiteX666" fmla="*/ 330329 w 2571750"/>
                <a:gd name="connsiteY666" fmla="*/ 1274367 h 1703784"/>
                <a:gd name="connsiteX667" fmla="*/ 339331 w 2571750"/>
                <a:gd name="connsiteY667" fmla="*/ 1285811 h 1703784"/>
                <a:gd name="connsiteX668" fmla="*/ 351611 w 2571750"/>
                <a:gd name="connsiteY668" fmla="*/ 1301113 h 1703784"/>
                <a:gd name="connsiteX669" fmla="*/ 352897 w 2571750"/>
                <a:gd name="connsiteY669" fmla="*/ 1302142 h 1703784"/>
                <a:gd name="connsiteX670" fmla="*/ 363569 w 2571750"/>
                <a:gd name="connsiteY670" fmla="*/ 1315000 h 1703784"/>
                <a:gd name="connsiteX671" fmla="*/ 368006 w 2571750"/>
                <a:gd name="connsiteY671" fmla="*/ 1328695 h 1703784"/>
                <a:gd name="connsiteX672" fmla="*/ 368327 w 2571750"/>
                <a:gd name="connsiteY672" fmla="*/ 1329916 h 1703784"/>
                <a:gd name="connsiteX673" fmla="*/ 379193 w 2571750"/>
                <a:gd name="connsiteY673" fmla="*/ 1355634 h 1703784"/>
                <a:gd name="connsiteX674" fmla="*/ 377135 w 2571750"/>
                <a:gd name="connsiteY674" fmla="*/ 1368493 h 1703784"/>
                <a:gd name="connsiteX675" fmla="*/ 384851 w 2571750"/>
                <a:gd name="connsiteY675" fmla="*/ 1394596 h 1703784"/>
                <a:gd name="connsiteX676" fmla="*/ 376042 w 2571750"/>
                <a:gd name="connsiteY676" fmla="*/ 1412598 h 1703784"/>
                <a:gd name="connsiteX677" fmla="*/ 367041 w 2571750"/>
                <a:gd name="connsiteY677" fmla="*/ 1436451 h 1703784"/>
                <a:gd name="connsiteX678" fmla="*/ 360612 w 2571750"/>
                <a:gd name="connsiteY678" fmla="*/ 1453939 h 1703784"/>
                <a:gd name="connsiteX679" fmla="*/ 359005 w 2571750"/>
                <a:gd name="connsiteY679" fmla="*/ 1470591 h 1703784"/>
                <a:gd name="connsiteX680" fmla="*/ 359005 w 2571750"/>
                <a:gd name="connsiteY680" fmla="*/ 1471106 h 1703784"/>
                <a:gd name="connsiteX681" fmla="*/ 366013 w 2571750"/>
                <a:gd name="connsiteY681" fmla="*/ 1487372 h 1703784"/>
                <a:gd name="connsiteX682" fmla="*/ 378164 w 2571750"/>
                <a:gd name="connsiteY682" fmla="*/ 1512704 h 1703784"/>
                <a:gd name="connsiteX683" fmla="*/ 391023 w 2571750"/>
                <a:gd name="connsiteY683" fmla="*/ 1538421 h 1703784"/>
                <a:gd name="connsiteX684" fmla="*/ 391537 w 2571750"/>
                <a:gd name="connsiteY684" fmla="*/ 1559381 h 1703784"/>
                <a:gd name="connsiteX685" fmla="*/ 395974 w 2571750"/>
                <a:gd name="connsiteY685" fmla="*/ 1578669 h 1703784"/>
                <a:gd name="connsiteX686" fmla="*/ 404396 w 2571750"/>
                <a:gd name="connsiteY686" fmla="*/ 1608758 h 1703784"/>
                <a:gd name="connsiteX687" fmla="*/ 412111 w 2571750"/>
                <a:gd name="connsiteY687" fmla="*/ 1618660 h 1703784"/>
                <a:gd name="connsiteX688" fmla="*/ 421498 w 2571750"/>
                <a:gd name="connsiteY688" fmla="*/ 1638527 h 1703784"/>
                <a:gd name="connsiteX689" fmla="*/ 433457 w 2571750"/>
                <a:gd name="connsiteY689" fmla="*/ 1663151 h 1703784"/>
                <a:gd name="connsiteX690" fmla="*/ 433457 w 2571750"/>
                <a:gd name="connsiteY690" fmla="*/ 1674724 h 1703784"/>
                <a:gd name="connsiteX691" fmla="*/ 433457 w 2571750"/>
                <a:gd name="connsiteY691" fmla="*/ 1684818 h 1703784"/>
                <a:gd name="connsiteX692" fmla="*/ 437507 w 2571750"/>
                <a:gd name="connsiteY692" fmla="*/ 1695491 h 1703784"/>
                <a:gd name="connsiteX693" fmla="*/ 442651 w 2571750"/>
                <a:gd name="connsiteY693" fmla="*/ 1698577 h 1703784"/>
                <a:gd name="connsiteX694" fmla="*/ 449080 w 2571750"/>
                <a:gd name="connsiteY694" fmla="*/ 1703913 h 1703784"/>
                <a:gd name="connsiteX695" fmla="*/ 456339 w 2571750"/>
                <a:gd name="connsiteY695" fmla="*/ 1704350 h 1703784"/>
                <a:gd name="connsiteX696" fmla="*/ 457181 w 2571750"/>
                <a:gd name="connsiteY696" fmla="*/ 1703399 h 1703784"/>
                <a:gd name="connsiteX697" fmla="*/ 471904 w 2571750"/>
                <a:gd name="connsiteY697" fmla="*/ 1699541 h 1703784"/>
                <a:gd name="connsiteX698" fmla="*/ 483284 w 2571750"/>
                <a:gd name="connsiteY698" fmla="*/ 1694912 h 1703784"/>
                <a:gd name="connsiteX699" fmla="*/ 502572 w 2571750"/>
                <a:gd name="connsiteY699" fmla="*/ 1694912 h 1703784"/>
                <a:gd name="connsiteX700" fmla="*/ 514531 w 2571750"/>
                <a:gd name="connsiteY700" fmla="*/ 1693433 h 1703784"/>
                <a:gd name="connsiteX701" fmla="*/ 522439 w 2571750"/>
                <a:gd name="connsiteY701" fmla="*/ 1691762 h 1703784"/>
                <a:gd name="connsiteX702" fmla="*/ 532726 w 2571750"/>
                <a:gd name="connsiteY702" fmla="*/ 1688290 h 1703784"/>
                <a:gd name="connsiteX703" fmla="*/ 558444 w 2571750"/>
                <a:gd name="connsiteY703" fmla="*/ 1672088 h 1703784"/>
                <a:gd name="connsiteX704" fmla="*/ 588019 w 2571750"/>
                <a:gd name="connsiteY704" fmla="*/ 1635890 h 1703784"/>
                <a:gd name="connsiteX705" fmla="*/ 605828 w 2571750"/>
                <a:gd name="connsiteY705" fmla="*/ 1616088 h 1703784"/>
                <a:gd name="connsiteX706" fmla="*/ 611679 w 2571750"/>
                <a:gd name="connsiteY706" fmla="*/ 1595578 h 1703784"/>
                <a:gd name="connsiteX707" fmla="*/ 612258 w 2571750"/>
                <a:gd name="connsiteY707" fmla="*/ 1589149 h 1703784"/>
                <a:gd name="connsiteX708" fmla="*/ 607307 w 2571750"/>
                <a:gd name="connsiteY708" fmla="*/ 1584391 h 1703784"/>
                <a:gd name="connsiteX709" fmla="*/ 626595 w 2571750"/>
                <a:gd name="connsiteY709" fmla="*/ 1570054 h 1703784"/>
                <a:gd name="connsiteX710" fmla="*/ 642219 w 2571750"/>
                <a:gd name="connsiteY710" fmla="*/ 1560345 h 1703784"/>
                <a:gd name="connsiteX711" fmla="*/ 643504 w 2571750"/>
                <a:gd name="connsiteY711" fmla="*/ 1542279 h 1703784"/>
                <a:gd name="connsiteX712" fmla="*/ 641319 w 2571750"/>
                <a:gd name="connsiteY712" fmla="*/ 1526720 h 1703784"/>
                <a:gd name="connsiteX713" fmla="*/ 635211 w 2571750"/>
                <a:gd name="connsiteY713" fmla="*/ 1510903 h 1703784"/>
                <a:gd name="connsiteX714" fmla="*/ 637268 w 2571750"/>
                <a:gd name="connsiteY714" fmla="*/ 1501516 h 1703784"/>
                <a:gd name="connsiteX715" fmla="*/ 642926 w 2571750"/>
                <a:gd name="connsiteY715" fmla="*/ 1495087 h 1703784"/>
                <a:gd name="connsiteX716" fmla="*/ 653406 w 2571750"/>
                <a:gd name="connsiteY716" fmla="*/ 1488658 h 1703784"/>
                <a:gd name="connsiteX717" fmla="*/ 666264 w 2571750"/>
                <a:gd name="connsiteY717" fmla="*/ 1474384 h 1703784"/>
                <a:gd name="connsiteX718" fmla="*/ 690503 w 2571750"/>
                <a:gd name="connsiteY718" fmla="*/ 1463904 h 1703784"/>
                <a:gd name="connsiteX719" fmla="*/ 710177 w 2571750"/>
                <a:gd name="connsiteY719" fmla="*/ 1438187 h 1703784"/>
                <a:gd name="connsiteX720" fmla="*/ 707027 w 2571750"/>
                <a:gd name="connsiteY720" fmla="*/ 1413948 h 1703784"/>
                <a:gd name="connsiteX721" fmla="*/ 705934 w 2571750"/>
                <a:gd name="connsiteY721" fmla="*/ 1384180 h 1703784"/>
                <a:gd name="connsiteX722" fmla="*/ 705934 w 2571750"/>
                <a:gd name="connsiteY722" fmla="*/ 1383666 h 1703784"/>
                <a:gd name="connsiteX723" fmla="*/ 697125 w 2571750"/>
                <a:gd name="connsiteY723" fmla="*/ 1372415 h 1703784"/>
                <a:gd name="connsiteX724" fmla="*/ 692560 w 2571750"/>
                <a:gd name="connsiteY724" fmla="*/ 1359556 h 1703784"/>
                <a:gd name="connsiteX725" fmla="*/ 691275 w 2571750"/>
                <a:gd name="connsiteY725" fmla="*/ 1349269 h 1703784"/>
                <a:gd name="connsiteX726" fmla="*/ 693461 w 2571750"/>
                <a:gd name="connsiteY726" fmla="*/ 1339882 h 1703784"/>
                <a:gd name="connsiteX727" fmla="*/ 687031 w 2571750"/>
                <a:gd name="connsiteY727" fmla="*/ 1329402 h 1703784"/>
                <a:gd name="connsiteX728" fmla="*/ 692496 w 2571750"/>
                <a:gd name="connsiteY728" fmla="*/ 1310500 h 1703784"/>
                <a:gd name="connsiteX729" fmla="*/ 704648 w 2571750"/>
                <a:gd name="connsiteY729" fmla="*/ 1283496 h 1703784"/>
                <a:gd name="connsiteX730" fmla="*/ 712556 w 2571750"/>
                <a:gd name="connsiteY730" fmla="*/ 1277067 h 1703784"/>
                <a:gd name="connsiteX731" fmla="*/ 719371 w 2571750"/>
                <a:gd name="connsiteY731" fmla="*/ 1272631 h 1703784"/>
                <a:gd name="connsiteX732" fmla="*/ 720464 w 2571750"/>
                <a:gd name="connsiteY732" fmla="*/ 1271152 h 1703784"/>
                <a:gd name="connsiteX733" fmla="*/ 748046 w 2571750"/>
                <a:gd name="connsiteY733" fmla="*/ 1241963 h 1703784"/>
                <a:gd name="connsiteX734" fmla="*/ 769713 w 2571750"/>
                <a:gd name="connsiteY734" fmla="*/ 1225439 h 1703784"/>
                <a:gd name="connsiteX735" fmla="*/ 800574 w 2571750"/>
                <a:gd name="connsiteY735" fmla="*/ 1195092 h 1703784"/>
                <a:gd name="connsiteX736" fmla="*/ 814912 w 2571750"/>
                <a:gd name="connsiteY736" fmla="*/ 1172140 h 1703784"/>
                <a:gd name="connsiteX737" fmla="*/ 826099 w 2571750"/>
                <a:gd name="connsiteY737" fmla="*/ 1152851 h 1703784"/>
                <a:gd name="connsiteX738" fmla="*/ 837671 w 2571750"/>
                <a:gd name="connsiteY738" fmla="*/ 1128227 h 1703784"/>
                <a:gd name="connsiteX739" fmla="*/ 841915 w 2571750"/>
                <a:gd name="connsiteY739" fmla="*/ 1106560 h 1703784"/>
                <a:gd name="connsiteX740" fmla="*/ 833814 w 2571750"/>
                <a:gd name="connsiteY740" fmla="*/ 1102316 h 1703784"/>
                <a:gd name="connsiteX741" fmla="*/ 805910 w 2571750"/>
                <a:gd name="connsiteY741" fmla="*/ 1109839 h 1703784"/>
                <a:gd name="connsiteX742" fmla="*/ 786044 w 2571750"/>
                <a:gd name="connsiteY742" fmla="*/ 1114468 h 1703784"/>
                <a:gd name="connsiteX743" fmla="*/ 769906 w 2571750"/>
                <a:gd name="connsiteY743" fmla="*/ 1117426 h 1703784"/>
                <a:gd name="connsiteX744" fmla="*/ 749332 w 2571750"/>
                <a:gd name="connsiteY744" fmla="*/ 1115754 h 1703784"/>
                <a:gd name="connsiteX745" fmla="*/ 742903 w 2571750"/>
                <a:gd name="connsiteY745" fmla="*/ 1108682 h 1703784"/>
                <a:gd name="connsiteX746" fmla="*/ 742452 w 2571750"/>
                <a:gd name="connsiteY746" fmla="*/ 1109067 h 1703784"/>
                <a:gd name="connsiteX747" fmla="*/ 742838 w 2571750"/>
                <a:gd name="connsiteY747" fmla="*/ 1108617 h 1703784"/>
                <a:gd name="connsiteX748" fmla="*/ 736409 w 2571750"/>
                <a:gd name="connsiteY748" fmla="*/ 1105788 h 1703784"/>
                <a:gd name="connsiteX749" fmla="*/ 743546 w 2571750"/>
                <a:gd name="connsiteY749" fmla="*/ 1100131 h 1703784"/>
                <a:gd name="connsiteX750" fmla="*/ 742452 w 2571750"/>
                <a:gd name="connsiteY750" fmla="*/ 1092801 h 1703784"/>
                <a:gd name="connsiteX751" fmla="*/ 740845 w 2571750"/>
                <a:gd name="connsiteY751" fmla="*/ 1091258 h 1703784"/>
                <a:gd name="connsiteX752" fmla="*/ 727215 w 2571750"/>
                <a:gd name="connsiteY752" fmla="*/ 1077178 h 1703784"/>
                <a:gd name="connsiteX753" fmla="*/ 707541 w 2571750"/>
                <a:gd name="connsiteY753" fmla="*/ 1063612 h 1703784"/>
                <a:gd name="connsiteX754" fmla="*/ 699633 w 2571750"/>
                <a:gd name="connsiteY754" fmla="*/ 1055704 h 1703784"/>
                <a:gd name="connsiteX755" fmla="*/ 690439 w 2571750"/>
                <a:gd name="connsiteY755" fmla="*/ 1037508 h 1703784"/>
                <a:gd name="connsiteX756" fmla="*/ 683495 w 2571750"/>
                <a:gd name="connsiteY756" fmla="*/ 1023685 h 1703784"/>
                <a:gd name="connsiteX757" fmla="*/ 675780 w 2571750"/>
                <a:gd name="connsiteY757" fmla="*/ 1016549 h 1703784"/>
                <a:gd name="connsiteX758" fmla="*/ 668386 w 2571750"/>
                <a:gd name="connsiteY758" fmla="*/ 997260 h 1703784"/>
                <a:gd name="connsiteX759" fmla="*/ 665622 w 2571750"/>
                <a:gd name="connsiteY759" fmla="*/ 976622 h 1703784"/>
                <a:gd name="connsiteX760" fmla="*/ 654820 w 2571750"/>
                <a:gd name="connsiteY760" fmla="*/ 963764 h 1703784"/>
                <a:gd name="connsiteX761" fmla="*/ 647876 w 2571750"/>
                <a:gd name="connsiteY761" fmla="*/ 954441 h 1703784"/>
                <a:gd name="connsiteX762" fmla="*/ 647876 w 2571750"/>
                <a:gd name="connsiteY762" fmla="*/ 949490 h 1703784"/>
                <a:gd name="connsiteX763" fmla="*/ 642219 w 2571750"/>
                <a:gd name="connsiteY763" fmla="*/ 935667 h 1703784"/>
                <a:gd name="connsiteX764" fmla="*/ 628974 w 2571750"/>
                <a:gd name="connsiteY764" fmla="*/ 910335 h 1703784"/>
                <a:gd name="connsiteX765" fmla="*/ 623123 w 2571750"/>
                <a:gd name="connsiteY765" fmla="*/ 897477 h 1703784"/>
                <a:gd name="connsiteX766" fmla="*/ 614636 w 2571750"/>
                <a:gd name="connsiteY766" fmla="*/ 883653 h 1703784"/>
                <a:gd name="connsiteX767" fmla="*/ 608914 w 2571750"/>
                <a:gd name="connsiteY767" fmla="*/ 860894 h 1703784"/>
                <a:gd name="connsiteX768" fmla="*/ 617208 w 2571750"/>
                <a:gd name="connsiteY768" fmla="*/ 876903 h 1703784"/>
                <a:gd name="connsiteX769" fmla="*/ 629681 w 2571750"/>
                <a:gd name="connsiteY769" fmla="*/ 893233 h 1703784"/>
                <a:gd name="connsiteX770" fmla="*/ 637268 w 2571750"/>
                <a:gd name="connsiteY770" fmla="*/ 875617 h 1703784"/>
                <a:gd name="connsiteX771" fmla="*/ 637268 w 2571750"/>
                <a:gd name="connsiteY771" fmla="*/ 876131 h 1703784"/>
                <a:gd name="connsiteX772" fmla="*/ 639390 w 2571750"/>
                <a:gd name="connsiteY772" fmla="*/ 890276 h 1703784"/>
                <a:gd name="connsiteX773" fmla="*/ 649484 w 2571750"/>
                <a:gd name="connsiteY773" fmla="*/ 902620 h 1703784"/>
                <a:gd name="connsiteX774" fmla="*/ 667486 w 2571750"/>
                <a:gd name="connsiteY774" fmla="*/ 930524 h 1703784"/>
                <a:gd name="connsiteX775" fmla="*/ 677001 w 2571750"/>
                <a:gd name="connsiteY775" fmla="*/ 944283 h 1703784"/>
                <a:gd name="connsiteX776" fmla="*/ 688253 w 2571750"/>
                <a:gd name="connsiteY776" fmla="*/ 958298 h 1703784"/>
                <a:gd name="connsiteX777" fmla="*/ 691339 w 2571750"/>
                <a:gd name="connsiteY777" fmla="*/ 972057 h 1703784"/>
                <a:gd name="connsiteX778" fmla="*/ 701497 w 2571750"/>
                <a:gd name="connsiteY778" fmla="*/ 993017 h 1703784"/>
                <a:gd name="connsiteX779" fmla="*/ 715771 w 2571750"/>
                <a:gd name="connsiteY779" fmla="*/ 1009348 h 1703784"/>
                <a:gd name="connsiteX780" fmla="*/ 727215 w 2571750"/>
                <a:gd name="connsiteY780" fmla="*/ 1028314 h 1703784"/>
                <a:gd name="connsiteX781" fmla="*/ 731394 w 2571750"/>
                <a:gd name="connsiteY781" fmla="*/ 1037894 h 1703784"/>
                <a:gd name="connsiteX782" fmla="*/ 735509 w 2571750"/>
                <a:gd name="connsiteY782" fmla="*/ 1045095 h 1703784"/>
                <a:gd name="connsiteX783" fmla="*/ 736538 w 2571750"/>
                <a:gd name="connsiteY783" fmla="*/ 1052746 h 1703784"/>
                <a:gd name="connsiteX784" fmla="*/ 740202 w 2571750"/>
                <a:gd name="connsiteY784" fmla="*/ 1072613 h 1703784"/>
                <a:gd name="connsiteX785" fmla="*/ 744446 w 2571750"/>
                <a:gd name="connsiteY785" fmla="*/ 1090808 h 1703784"/>
                <a:gd name="connsiteX786" fmla="*/ 767077 w 2571750"/>
                <a:gd name="connsiteY786" fmla="*/ 1088236 h 1703784"/>
                <a:gd name="connsiteX787" fmla="*/ 783022 w 2571750"/>
                <a:gd name="connsiteY787" fmla="*/ 1083286 h 1703784"/>
                <a:gd name="connsiteX788" fmla="*/ 796652 w 2571750"/>
                <a:gd name="connsiteY788" fmla="*/ 1076856 h 1703784"/>
                <a:gd name="connsiteX789" fmla="*/ 808932 w 2571750"/>
                <a:gd name="connsiteY789" fmla="*/ 1074799 h 1703784"/>
                <a:gd name="connsiteX790" fmla="*/ 818705 w 2571750"/>
                <a:gd name="connsiteY790" fmla="*/ 1068369 h 1703784"/>
                <a:gd name="connsiteX791" fmla="*/ 844937 w 2571750"/>
                <a:gd name="connsiteY791" fmla="*/ 1059754 h 1703784"/>
                <a:gd name="connsiteX792" fmla="*/ 856895 w 2571750"/>
                <a:gd name="connsiteY792" fmla="*/ 1047281 h 1703784"/>
                <a:gd name="connsiteX793" fmla="*/ 867504 w 2571750"/>
                <a:gd name="connsiteY793" fmla="*/ 1043295 h 1703784"/>
                <a:gd name="connsiteX794" fmla="*/ 870654 w 2571750"/>
                <a:gd name="connsiteY794" fmla="*/ 1041752 h 1703784"/>
                <a:gd name="connsiteX795" fmla="*/ 890907 w 2571750"/>
                <a:gd name="connsiteY795" fmla="*/ 1038280 h 1703784"/>
                <a:gd name="connsiteX796" fmla="*/ 895665 w 2571750"/>
                <a:gd name="connsiteY796" fmla="*/ 1028507 h 1703784"/>
                <a:gd name="connsiteX797" fmla="*/ 909230 w 2571750"/>
                <a:gd name="connsiteY797" fmla="*/ 1026321 h 1703784"/>
                <a:gd name="connsiteX798" fmla="*/ 917332 w 2571750"/>
                <a:gd name="connsiteY798" fmla="*/ 1014941 h 1703784"/>
                <a:gd name="connsiteX799" fmla="*/ 925240 w 2571750"/>
                <a:gd name="connsiteY799" fmla="*/ 1010891 h 1703784"/>
                <a:gd name="connsiteX800" fmla="*/ 929483 w 2571750"/>
                <a:gd name="connsiteY800" fmla="*/ 994174 h 1703784"/>
                <a:gd name="connsiteX801" fmla="*/ 939577 w 2571750"/>
                <a:gd name="connsiteY801" fmla="*/ 987166 h 1703784"/>
                <a:gd name="connsiteX802" fmla="*/ 949864 w 2571750"/>
                <a:gd name="connsiteY802" fmla="*/ 972700 h 1703784"/>
                <a:gd name="connsiteX803" fmla="*/ 948964 w 2571750"/>
                <a:gd name="connsiteY803" fmla="*/ 965885 h 1703784"/>
                <a:gd name="connsiteX804" fmla="*/ 938484 w 2571750"/>
                <a:gd name="connsiteY804" fmla="*/ 953026 h 1703784"/>
                <a:gd name="connsiteX805" fmla="*/ 917717 w 2571750"/>
                <a:gd name="connsiteY805" fmla="*/ 945311 h 1703784"/>
                <a:gd name="connsiteX806" fmla="*/ 911288 w 2571750"/>
                <a:gd name="connsiteY806" fmla="*/ 932131 h 1703784"/>
                <a:gd name="connsiteX807" fmla="*/ 907880 w 2571750"/>
                <a:gd name="connsiteY807" fmla="*/ 916636 h 1703784"/>
                <a:gd name="connsiteX808" fmla="*/ 892964 w 2571750"/>
                <a:gd name="connsiteY808" fmla="*/ 933352 h 1703784"/>
                <a:gd name="connsiteX809" fmla="*/ 869433 w 2571750"/>
                <a:gd name="connsiteY809" fmla="*/ 944411 h 1703784"/>
                <a:gd name="connsiteX810" fmla="*/ 854774 w 2571750"/>
                <a:gd name="connsiteY810" fmla="*/ 948269 h 1703784"/>
                <a:gd name="connsiteX811" fmla="*/ 852138 w 2571750"/>
                <a:gd name="connsiteY811" fmla="*/ 947561 h 1703784"/>
                <a:gd name="connsiteX812" fmla="*/ 846994 w 2571750"/>
                <a:gd name="connsiteY812" fmla="*/ 939589 h 1703784"/>
                <a:gd name="connsiteX813" fmla="*/ 846994 w 2571750"/>
                <a:gd name="connsiteY813" fmla="*/ 936117 h 1703784"/>
                <a:gd name="connsiteX814" fmla="*/ 845515 w 2571750"/>
                <a:gd name="connsiteY814" fmla="*/ 920172 h 1703784"/>
                <a:gd name="connsiteX815" fmla="*/ 837221 w 2571750"/>
                <a:gd name="connsiteY815" fmla="*/ 932259 h 1703784"/>
                <a:gd name="connsiteX816" fmla="*/ 836321 w 2571750"/>
                <a:gd name="connsiteY816" fmla="*/ 932259 h 1703784"/>
                <a:gd name="connsiteX817" fmla="*/ 829892 w 2571750"/>
                <a:gd name="connsiteY817" fmla="*/ 918822 h 1703784"/>
                <a:gd name="connsiteX818" fmla="*/ 824363 w 2571750"/>
                <a:gd name="connsiteY818" fmla="*/ 905449 h 1703784"/>
                <a:gd name="connsiteX819" fmla="*/ 811504 w 2571750"/>
                <a:gd name="connsiteY819" fmla="*/ 890726 h 1703784"/>
                <a:gd name="connsiteX820" fmla="*/ 809961 w 2571750"/>
                <a:gd name="connsiteY820" fmla="*/ 885454 h 1703784"/>
                <a:gd name="connsiteX821" fmla="*/ 803982 w 2571750"/>
                <a:gd name="connsiteY821" fmla="*/ 869766 h 1703784"/>
                <a:gd name="connsiteX822" fmla="*/ 805074 w 2571750"/>
                <a:gd name="connsiteY822" fmla="*/ 867709 h 1703784"/>
                <a:gd name="connsiteX823" fmla="*/ 810540 w 2571750"/>
                <a:gd name="connsiteY823" fmla="*/ 864815 h 1703784"/>
                <a:gd name="connsiteX824" fmla="*/ 813561 w 2571750"/>
                <a:gd name="connsiteY824" fmla="*/ 864301 h 1703784"/>
                <a:gd name="connsiteX825" fmla="*/ 819219 w 2571750"/>
                <a:gd name="connsiteY825" fmla="*/ 862822 h 1703784"/>
                <a:gd name="connsiteX826" fmla="*/ 827899 w 2571750"/>
                <a:gd name="connsiteY826" fmla="*/ 862436 h 1703784"/>
                <a:gd name="connsiteX827" fmla="*/ 840758 w 2571750"/>
                <a:gd name="connsiteY827" fmla="*/ 881725 h 1703784"/>
                <a:gd name="connsiteX828" fmla="*/ 847894 w 2571750"/>
                <a:gd name="connsiteY828" fmla="*/ 893105 h 1703784"/>
                <a:gd name="connsiteX829" fmla="*/ 862939 w 2571750"/>
                <a:gd name="connsiteY829" fmla="*/ 900627 h 1703784"/>
                <a:gd name="connsiteX830" fmla="*/ 891228 w 2571750"/>
                <a:gd name="connsiteY830" fmla="*/ 911493 h 1703784"/>
                <a:gd name="connsiteX831" fmla="*/ 911288 w 2571750"/>
                <a:gd name="connsiteY831" fmla="*/ 905963 h 1703784"/>
                <a:gd name="connsiteX832" fmla="*/ 920803 w 2571750"/>
                <a:gd name="connsiteY832" fmla="*/ 922358 h 1703784"/>
                <a:gd name="connsiteX833" fmla="*/ 964202 w 2571750"/>
                <a:gd name="connsiteY833" fmla="*/ 930395 h 1703784"/>
                <a:gd name="connsiteX834" fmla="*/ 977060 w 2571750"/>
                <a:gd name="connsiteY834" fmla="*/ 931552 h 1703784"/>
                <a:gd name="connsiteX835" fmla="*/ 976739 w 2571750"/>
                <a:gd name="connsiteY835" fmla="*/ 928466 h 1703784"/>
                <a:gd name="connsiteX836" fmla="*/ 984583 w 2571750"/>
                <a:gd name="connsiteY836" fmla="*/ 915607 h 1703784"/>
                <a:gd name="connsiteX837" fmla="*/ 995898 w 2571750"/>
                <a:gd name="connsiteY837" fmla="*/ 912200 h 1703784"/>
                <a:gd name="connsiteX838" fmla="*/ 992941 w 2571750"/>
                <a:gd name="connsiteY838" fmla="*/ 902877 h 1703784"/>
                <a:gd name="connsiteX839" fmla="*/ 987090 w 2571750"/>
                <a:gd name="connsiteY839" fmla="*/ 889118 h 1703784"/>
                <a:gd name="connsiteX840" fmla="*/ 974232 w 2571750"/>
                <a:gd name="connsiteY840" fmla="*/ 878317 h 1703784"/>
                <a:gd name="connsiteX841" fmla="*/ 967802 w 2571750"/>
                <a:gd name="connsiteY841" fmla="*/ 870859 h 1703784"/>
                <a:gd name="connsiteX842" fmla="*/ 968638 w 2571750"/>
                <a:gd name="connsiteY842" fmla="*/ 871695 h 1703784"/>
                <a:gd name="connsiteX843" fmla="*/ 987926 w 2571750"/>
                <a:gd name="connsiteY843" fmla="*/ 873752 h 1703784"/>
                <a:gd name="connsiteX844" fmla="*/ 1037882 w 2571750"/>
                <a:gd name="connsiteY844" fmla="*/ 867323 h 1703784"/>
                <a:gd name="connsiteX845" fmla="*/ 1036789 w 2571750"/>
                <a:gd name="connsiteY845" fmla="*/ 854850 h 1703784"/>
                <a:gd name="connsiteX846" fmla="*/ 1046691 w 2571750"/>
                <a:gd name="connsiteY846" fmla="*/ 848935 h 1703784"/>
                <a:gd name="connsiteX847" fmla="*/ 1055113 w 2571750"/>
                <a:gd name="connsiteY847" fmla="*/ 846749 h 1703784"/>
                <a:gd name="connsiteX848" fmla="*/ 1068358 w 2571750"/>
                <a:gd name="connsiteY848" fmla="*/ 842313 h 1703784"/>
                <a:gd name="connsiteX849" fmla="*/ 1074273 w 2571750"/>
                <a:gd name="connsiteY849" fmla="*/ 836848 h 1703784"/>
                <a:gd name="connsiteX850" fmla="*/ 1078259 w 2571750"/>
                <a:gd name="connsiteY850" fmla="*/ 823603 h 1703784"/>
                <a:gd name="connsiteX851" fmla="*/ 1086746 w 2571750"/>
                <a:gd name="connsiteY851" fmla="*/ 818460 h 1703784"/>
                <a:gd name="connsiteX852" fmla="*/ 1082695 w 2571750"/>
                <a:gd name="connsiteY852" fmla="*/ 810359 h 1703784"/>
                <a:gd name="connsiteX853" fmla="*/ 1096647 w 2571750"/>
                <a:gd name="connsiteY853" fmla="*/ 810744 h 1703784"/>
                <a:gd name="connsiteX854" fmla="*/ 1097740 w 2571750"/>
                <a:gd name="connsiteY854" fmla="*/ 800843 h 1703784"/>
                <a:gd name="connsiteX855" fmla="*/ 1103655 w 2571750"/>
                <a:gd name="connsiteY855" fmla="*/ 792035 h 1703784"/>
                <a:gd name="connsiteX856" fmla="*/ 1101469 w 2571750"/>
                <a:gd name="connsiteY856" fmla="*/ 784641 h 1703784"/>
                <a:gd name="connsiteX857" fmla="*/ 1103269 w 2571750"/>
                <a:gd name="connsiteY857" fmla="*/ 778212 h 1703784"/>
                <a:gd name="connsiteX858" fmla="*/ 1105134 w 2571750"/>
                <a:gd name="connsiteY858" fmla="*/ 777440 h 1703784"/>
                <a:gd name="connsiteX859" fmla="*/ 1111563 w 2571750"/>
                <a:gd name="connsiteY859" fmla="*/ 775190 h 1703784"/>
                <a:gd name="connsiteX860" fmla="*/ 1128344 w 2571750"/>
                <a:gd name="connsiteY860" fmla="*/ 770175 h 1703784"/>
                <a:gd name="connsiteX861" fmla="*/ 1141202 w 2571750"/>
                <a:gd name="connsiteY861" fmla="*/ 766382 h 1703784"/>
                <a:gd name="connsiteX862" fmla="*/ 1143453 w 2571750"/>
                <a:gd name="connsiteY862" fmla="*/ 767796 h 1703784"/>
                <a:gd name="connsiteX863" fmla="*/ 1147567 w 2571750"/>
                <a:gd name="connsiteY863" fmla="*/ 767089 h 1703784"/>
                <a:gd name="connsiteX864" fmla="*/ 1145124 w 2571750"/>
                <a:gd name="connsiteY864" fmla="*/ 750373 h 1703784"/>
                <a:gd name="connsiteX865" fmla="*/ 1132844 w 2571750"/>
                <a:gd name="connsiteY865" fmla="*/ 742529 h 1703784"/>
                <a:gd name="connsiteX866" fmla="*/ 1130915 w 2571750"/>
                <a:gd name="connsiteY866" fmla="*/ 731727 h 1703784"/>
                <a:gd name="connsiteX867" fmla="*/ 1128665 w 2571750"/>
                <a:gd name="connsiteY867" fmla="*/ 732049 h 1703784"/>
                <a:gd name="connsiteX868" fmla="*/ 1130915 w 2571750"/>
                <a:gd name="connsiteY868" fmla="*/ 731727 h 1703784"/>
                <a:gd name="connsiteX869" fmla="*/ 1132908 w 2571750"/>
                <a:gd name="connsiteY869" fmla="*/ 725298 h 1703784"/>
                <a:gd name="connsiteX870" fmla="*/ 1138438 w 2571750"/>
                <a:gd name="connsiteY870" fmla="*/ 722019 h 1703784"/>
                <a:gd name="connsiteX871" fmla="*/ 1145317 w 2571750"/>
                <a:gd name="connsiteY871" fmla="*/ 717583 h 1703784"/>
                <a:gd name="connsiteX872" fmla="*/ 1152775 w 2571750"/>
                <a:gd name="connsiteY872" fmla="*/ 715139 h 1703784"/>
                <a:gd name="connsiteX873" fmla="*/ 1160491 w 2571750"/>
                <a:gd name="connsiteY873" fmla="*/ 717583 h 1703784"/>
                <a:gd name="connsiteX874" fmla="*/ 1167948 w 2571750"/>
                <a:gd name="connsiteY874" fmla="*/ 712632 h 1703784"/>
                <a:gd name="connsiteX875" fmla="*/ 1179200 w 2571750"/>
                <a:gd name="connsiteY875" fmla="*/ 709353 h 1703784"/>
                <a:gd name="connsiteX876" fmla="*/ 1189165 w 2571750"/>
                <a:gd name="connsiteY876" fmla="*/ 703824 h 1703784"/>
                <a:gd name="connsiteX877" fmla="*/ 1198809 w 2571750"/>
                <a:gd name="connsiteY877" fmla="*/ 698295 h 1703784"/>
                <a:gd name="connsiteX878" fmla="*/ 1209804 w 2571750"/>
                <a:gd name="connsiteY878" fmla="*/ 692830 h 1703784"/>
                <a:gd name="connsiteX879" fmla="*/ 1210961 w 2571750"/>
                <a:gd name="connsiteY879" fmla="*/ 690129 h 1703784"/>
                <a:gd name="connsiteX880" fmla="*/ 1210961 w 2571750"/>
                <a:gd name="connsiteY880" fmla="*/ 685050 h 1703784"/>
                <a:gd name="connsiteX881" fmla="*/ 1217390 w 2571750"/>
                <a:gd name="connsiteY881" fmla="*/ 675727 h 1703784"/>
                <a:gd name="connsiteX882" fmla="*/ 1212440 w 2571750"/>
                <a:gd name="connsiteY882" fmla="*/ 661904 h 1703784"/>
                <a:gd name="connsiteX883" fmla="*/ 1209675 w 2571750"/>
                <a:gd name="connsiteY883" fmla="*/ 651167 h 1703784"/>
                <a:gd name="connsiteX884" fmla="*/ 1216812 w 2571750"/>
                <a:gd name="connsiteY884" fmla="*/ 646345 h 1703784"/>
                <a:gd name="connsiteX885" fmla="*/ 1228513 w 2571750"/>
                <a:gd name="connsiteY885" fmla="*/ 644031 h 1703784"/>
                <a:gd name="connsiteX886" fmla="*/ 1237386 w 2571750"/>
                <a:gd name="connsiteY886" fmla="*/ 646345 h 1703784"/>
                <a:gd name="connsiteX887" fmla="*/ 1237386 w 2571750"/>
                <a:gd name="connsiteY887" fmla="*/ 640495 h 1703784"/>
                <a:gd name="connsiteX888" fmla="*/ 1245037 w 2571750"/>
                <a:gd name="connsiteY888" fmla="*/ 616577 h 1703784"/>
                <a:gd name="connsiteX889" fmla="*/ 1253395 w 2571750"/>
                <a:gd name="connsiteY889" fmla="*/ 616577 h 1703784"/>
                <a:gd name="connsiteX890" fmla="*/ 1264839 w 2571750"/>
                <a:gd name="connsiteY890" fmla="*/ 617606 h 1703784"/>
                <a:gd name="connsiteX891" fmla="*/ 1276541 w 2571750"/>
                <a:gd name="connsiteY891" fmla="*/ 613298 h 1703784"/>
                <a:gd name="connsiteX892" fmla="*/ 1274805 w 2571750"/>
                <a:gd name="connsiteY892" fmla="*/ 603333 h 1703784"/>
                <a:gd name="connsiteX893" fmla="*/ 1282906 w 2571750"/>
                <a:gd name="connsiteY893" fmla="*/ 593946 h 1703784"/>
                <a:gd name="connsiteX894" fmla="*/ 1288242 w 2571750"/>
                <a:gd name="connsiteY894" fmla="*/ 587066 h 1703784"/>
                <a:gd name="connsiteX895" fmla="*/ 1292550 w 2571750"/>
                <a:gd name="connsiteY895" fmla="*/ 579094 h 1703784"/>
                <a:gd name="connsiteX896" fmla="*/ 1292550 w 2571750"/>
                <a:gd name="connsiteY896" fmla="*/ 579094 h 1703784"/>
                <a:gd name="connsiteX897" fmla="*/ 1295829 w 2571750"/>
                <a:gd name="connsiteY897" fmla="*/ 581087 h 1703784"/>
                <a:gd name="connsiteX898" fmla="*/ 1300587 w 2571750"/>
                <a:gd name="connsiteY898" fmla="*/ 581858 h 1703784"/>
                <a:gd name="connsiteX899" fmla="*/ 1300972 w 2571750"/>
                <a:gd name="connsiteY899" fmla="*/ 583337 h 1703784"/>
                <a:gd name="connsiteX900" fmla="*/ 1309909 w 2571750"/>
                <a:gd name="connsiteY900" fmla="*/ 594782 h 1703784"/>
                <a:gd name="connsiteX901" fmla="*/ 1321096 w 2571750"/>
                <a:gd name="connsiteY901" fmla="*/ 600890 h 1703784"/>
                <a:gd name="connsiteX902" fmla="*/ 1331769 w 2571750"/>
                <a:gd name="connsiteY902" fmla="*/ 609505 h 1703784"/>
                <a:gd name="connsiteX903" fmla="*/ 1338199 w 2571750"/>
                <a:gd name="connsiteY903" fmla="*/ 618956 h 1703784"/>
                <a:gd name="connsiteX904" fmla="*/ 1337427 w 2571750"/>
                <a:gd name="connsiteY904" fmla="*/ 631365 h 1703784"/>
                <a:gd name="connsiteX905" fmla="*/ 1334598 w 2571750"/>
                <a:gd name="connsiteY905" fmla="*/ 641587 h 1703784"/>
                <a:gd name="connsiteX906" fmla="*/ 1362566 w 2571750"/>
                <a:gd name="connsiteY906" fmla="*/ 648403 h 1703784"/>
                <a:gd name="connsiteX907" fmla="*/ 1371888 w 2571750"/>
                <a:gd name="connsiteY907" fmla="*/ 654060 h 1703784"/>
                <a:gd name="connsiteX908" fmla="*/ 1379925 w 2571750"/>
                <a:gd name="connsiteY908" fmla="*/ 659654 h 1703784"/>
                <a:gd name="connsiteX909" fmla="*/ 1389505 w 2571750"/>
                <a:gd name="connsiteY909" fmla="*/ 670070 h 1703784"/>
                <a:gd name="connsiteX910" fmla="*/ 1396706 w 2571750"/>
                <a:gd name="connsiteY910" fmla="*/ 682928 h 1703784"/>
                <a:gd name="connsiteX911" fmla="*/ 1412715 w 2571750"/>
                <a:gd name="connsiteY911" fmla="*/ 684536 h 1703784"/>
                <a:gd name="connsiteX912" fmla="*/ 1442354 w 2571750"/>
                <a:gd name="connsiteY912" fmla="*/ 685307 h 1703784"/>
                <a:gd name="connsiteX913" fmla="*/ 1464793 w 2571750"/>
                <a:gd name="connsiteY913" fmla="*/ 690129 h 1703784"/>
                <a:gd name="connsiteX914" fmla="*/ 1478359 w 2571750"/>
                <a:gd name="connsiteY914" fmla="*/ 693344 h 1703784"/>
                <a:gd name="connsiteX915" fmla="*/ 1491218 w 2571750"/>
                <a:gd name="connsiteY915" fmla="*/ 696559 h 1703784"/>
                <a:gd name="connsiteX916" fmla="*/ 1500862 w 2571750"/>
                <a:gd name="connsiteY916" fmla="*/ 701316 h 1703784"/>
                <a:gd name="connsiteX917" fmla="*/ 1522464 w 2571750"/>
                <a:gd name="connsiteY917" fmla="*/ 690129 h 1703784"/>
                <a:gd name="connsiteX918" fmla="*/ 1550496 w 2571750"/>
                <a:gd name="connsiteY918" fmla="*/ 689358 h 1703784"/>
                <a:gd name="connsiteX919" fmla="*/ 1572871 w 2571750"/>
                <a:gd name="connsiteY919" fmla="*/ 679714 h 1703784"/>
                <a:gd name="connsiteX920" fmla="*/ 1588108 w 2571750"/>
                <a:gd name="connsiteY920" fmla="*/ 667691 h 1703784"/>
                <a:gd name="connsiteX921" fmla="*/ 1584894 w 2571750"/>
                <a:gd name="connsiteY921" fmla="*/ 653289 h 1703784"/>
                <a:gd name="connsiteX922" fmla="*/ 1596820 w 2571750"/>
                <a:gd name="connsiteY922" fmla="*/ 650016 h 1703784"/>
                <a:gd name="connsiteX923" fmla="*/ 1596917 w 2571750"/>
                <a:gd name="connsiteY923" fmla="*/ 650074 h 1703784"/>
                <a:gd name="connsiteX924" fmla="*/ 1616912 w 2571750"/>
                <a:gd name="connsiteY924" fmla="*/ 648531 h 1703784"/>
                <a:gd name="connsiteX925" fmla="*/ 1635364 w 2571750"/>
                <a:gd name="connsiteY925" fmla="*/ 642873 h 1703784"/>
                <a:gd name="connsiteX926" fmla="*/ 1646551 w 2571750"/>
                <a:gd name="connsiteY926" fmla="*/ 632522 h 1703784"/>
                <a:gd name="connsiteX927" fmla="*/ 1661789 w 2571750"/>
                <a:gd name="connsiteY927" fmla="*/ 626093 h 1703784"/>
                <a:gd name="connsiteX928" fmla="*/ 1677798 w 2571750"/>
                <a:gd name="connsiteY928" fmla="*/ 622878 h 1703784"/>
                <a:gd name="connsiteX929" fmla="*/ 1690657 w 2571750"/>
                <a:gd name="connsiteY929" fmla="*/ 621271 h 1703784"/>
                <a:gd name="connsiteX930" fmla="*/ 1674647 w 2571750"/>
                <a:gd name="connsiteY930" fmla="*/ 604490 h 1703784"/>
                <a:gd name="connsiteX931" fmla="*/ 1664708 w 2571750"/>
                <a:gd name="connsiteY931" fmla="*/ 603371 h 1703784"/>
                <a:gd name="connsiteX932" fmla="*/ 1662625 w 2571750"/>
                <a:gd name="connsiteY932" fmla="*/ 606097 h 1703784"/>
                <a:gd name="connsiteX933" fmla="*/ 1650602 w 2571750"/>
                <a:gd name="connsiteY933" fmla="*/ 604490 h 1703784"/>
                <a:gd name="connsiteX934" fmla="*/ 1637743 w 2571750"/>
                <a:gd name="connsiteY934" fmla="*/ 603654 h 1703784"/>
                <a:gd name="connsiteX935" fmla="*/ 1639350 w 2571750"/>
                <a:gd name="connsiteY935" fmla="*/ 597225 h 1703784"/>
                <a:gd name="connsiteX936" fmla="*/ 1640122 w 2571750"/>
                <a:gd name="connsiteY936" fmla="*/ 590795 h 1703784"/>
                <a:gd name="connsiteX937" fmla="*/ 1650087 w 2571750"/>
                <a:gd name="connsiteY937" fmla="*/ 570929 h 1703784"/>
                <a:gd name="connsiteX938" fmla="*/ 1652852 w 2571750"/>
                <a:gd name="connsiteY938" fmla="*/ 572986 h 1703784"/>
                <a:gd name="connsiteX939" fmla="*/ 1665003 w 2571750"/>
                <a:gd name="connsiteY939" fmla="*/ 576329 h 1703784"/>
                <a:gd name="connsiteX940" fmla="*/ 1676705 w 2571750"/>
                <a:gd name="connsiteY940" fmla="*/ 569900 h 1703784"/>
                <a:gd name="connsiteX941" fmla="*/ 1682234 w 2571750"/>
                <a:gd name="connsiteY941" fmla="*/ 564435 h 1703784"/>
                <a:gd name="connsiteX942" fmla="*/ 1688149 w 2571750"/>
                <a:gd name="connsiteY942" fmla="*/ 551576 h 1703784"/>
                <a:gd name="connsiteX943" fmla="*/ 1695864 w 2571750"/>
                <a:gd name="connsiteY943" fmla="*/ 539810 h 1703784"/>
                <a:gd name="connsiteX944" fmla="*/ 1701330 w 2571750"/>
                <a:gd name="connsiteY944" fmla="*/ 533381 h 1703784"/>
                <a:gd name="connsiteX945" fmla="*/ 1697665 w 2571750"/>
                <a:gd name="connsiteY945" fmla="*/ 524509 h 1703784"/>
                <a:gd name="connsiteX946" fmla="*/ 1696572 w 2571750"/>
                <a:gd name="connsiteY946" fmla="*/ 518079 h 1703784"/>
                <a:gd name="connsiteX947" fmla="*/ 1712388 w 2571750"/>
                <a:gd name="connsiteY947" fmla="*/ 512936 h 1703784"/>
                <a:gd name="connsiteX948" fmla="*/ 1730197 w 2571750"/>
                <a:gd name="connsiteY948" fmla="*/ 512036 h 1703784"/>
                <a:gd name="connsiteX949" fmla="*/ 1744149 w 2571750"/>
                <a:gd name="connsiteY949" fmla="*/ 514221 h 1703784"/>
                <a:gd name="connsiteX950" fmla="*/ 1759194 w 2571750"/>
                <a:gd name="connsiteY950" fmla="*/ 518658 h 1703784"/>
                <a:gd name="connsiteX951" fmla="*/ 1767295 w 2571750"/>
                <a:gd name="connsiteY951" fmla="*/ 527852 h 1703784"/>
                <a:gd name="connsiteX952" fmla="*/ 1773146 w 2571750"/>
                <a:gd name="connsiteY952" fmla="*/ 539232 h 1703784"/>
                <a:gd name="connsiteX953" fmla="*/ 1780475 w 2571750"/>
                <a:gd name="connsiteY953" fmla="*/ 553891 h 1703784"/>
                <a:gd name="connsiteX954" fmla="*/ 1786905 w 2571750"/>
                <a:gd name="connsiteY954" fmla="*/ 568936 h 1703784"/>
                <a:gd name="connsiteX955" fmla="*/ 1791662 w 2571750"/>
                <a:gd name="connsiteY955" fmla="*/ 575944 h 1703784"/>
                <a:gd name="connsiteX956" fmla="*/ 1803749 w 2571750"/>
                <a:gd name="connsiteY956" fmla="*/ 580380 h 1703784"/>
                <a:gd name="connsiteX957" fmla="*/ 1816608 w 2571750"/>
                <a:gd name="connsiteY957" fmla="*/ 585845 h 1703784"/>
                <a:gd name="connsiteX958" fmla="*/ 1825416 w 2571750"/>
                <a:gd name="connsiteY958" fmla="*/ 591760 h 1703784"/>
                <a:gd name="connsiteX959" fmla="*/ 1827988 w 2571750"/>
                <a:gd name="connsiteY959" fmla="*/ 602433 h 1703784"/>
                <a:gd name="connsiteX960" fmla="*/ 1840140 w 2571750"/>
                <a:gd name="connsiteY960" fmla="*/ 607190 h 1703784"/>
                <a:gd name="connsiteX961" fmla="*/ 1851134 w 2571750"/>
                <a:gd name="connsiteY961" fmla="*/ 604619 h 1703784"/>
                <a:gd name="connsiteX962" fmla="*/ 1863286 w 2571750"/>
                <a:gd name="connsiteY962" fmla="*/ 600182 h 1703784"/>
                <a:gd name="connsiteX963" fmla="*/ 1873187 w 2571750"/>
                <a:gd name="connsiteY963" fmla="*/ 602754 h 1703784"/>
                <a:gd name="connsiteX964" fmla="*/ 1873572 w 2571750"/>
                <a:gd name="connsiteY964" fmla="*/ 613041 h 1703784"/>
                <a:gd name="connsiteX965" fmla="*/ 1867143 w 2571750"/>
                <a:gd name="connsiteY965" fmla="*/ 628857 h 1703784"/>
                <a:gd name="connsiteX966" fmla="*/ 1859749 w 2571750"/>
                <a:gd name="connsiteY966" fmla="*/ 638437 h 1703784"/>
                <a:gd name="connsiteX967" fmla="*/ 1853899 w 2571750"/>
                <a:gd name="connsiteY967" fmla="*/ 646474 h 1703784"/>
                <a:gd name="connsiteX968" fmla="*/ 1842840 w 2571750"/>
                <a:gd name="connsiteY968" fmla="*/ 646474 h 1703784"/>
                <a:gd name="connsiteX969" fmla="*/ 1832617 w 2571750"/>
                <a:gd name="connsiteY969" fmla="*/ 651296 h 1703784"/>
                <a:gd name="connsiteX970" fmla="*/ 1830753 w 2571750"/>
                <a:gd name="connsiteY970" fmla="*/ 660104 h 1703784"/>
                <a:gd name="connsiteX971" fmla="*/ 1831524 w 2571750"/>
                <a:gd name="connsiteY971" fmla="*/ 670391 h 1703784"/>
                <a:gd name="connsiteX972" fmla="*/ 1832360 w 2571750"/>
                <a:gd name="connsiteY972" fmla="*/ 682285 h 1703784"/>
                <a:gd name="connsiteX973" fmla="*/ 1842711 w 2571750"/>
                <a:gd name="connsiteY973" fmla="*/ 676628 h 1703784"/>
                <a:gd name="connsiteX974" fmla="*/ 1857049 w 2571750"/>
                <a:gd name="connsiteY974" fmla="*/ 684728 h 1703784"/>
                <a:gd name="connsiteX975" fmla="*/ 1885660 w 2571750"/>
                <a:gd name="connsiteY975" fmla="*/ 666726 h 1703784"/>
                <a:gd name="connsiteX976" fmla="*/ 1905912 w 2571750"/>
                <a:gd name="connsiteY976" fmla="*/ 644288 h 1703784"/>
                <a:gd name="connsiteX977" fmla="*/ 1924107 w 2571750"/>
                <a:gd name="connsiteY977" fmla="*/ 619856 h 1703784"/>
                <a:gd name="connsiteX978" fmla="*/ 1936580 w 2571750"/>
                <a:gd name="connsiteY978" fmla="*/ 602047 h 1703784"/>
                <a:gd name="connsiteX979" fmla="*/ 1944295 w 2571750"/>
                <a:gd name="connsiteY979" fmla="*/ 589188 h 1703784"/>
                <a:gd name="connsiteX980" fmla="*/ 1949632 w 2571750"/>
                <a:gd name="connsiteY980" fmla="*/ 556463 h 1703784"/>
                <a:gd name="connsiteX981" fmla="*/ 1952011 w 2571750"/>
                <a:gd name="connsiteY981" fmla="*/ 548747 h 1703784"/>
                <a:gd name="connsiteX982" fmla="*/ 1956640 w 2571750"/>
                <a:gd name="connsiteY982" fmla="*/ 539939 h 1703784"/>
                <a:gd name="connsiteX983" fmla="*/ 1958633 w 2571750"/>
                <a:gd name="connsiteY983" fmla="*/ 531645 h 1703784"/>
                <a:gd name="connsiteX984" fmla="*/ 1957926 w 2571750"/>
                <a:gd name="connsiteY984" fmla="*/ 522258 h 1703784"/>
                <a:gd name="connsiteX985" fmla="*/ 1959405 w 2571750"/>
                <a:gd name="connsiteY985" fmla="*/ 518593 h 1703784"/>
                <a:gd name="connsiteX986" fmla="*/ 1954775 w 2571750"/>
                <a:gd name="connsiteY986" fmla="*/ 512550 h 1703784"/>
                <a:gd name="connsiteX987" fmla="*/ 1947253 w 2571750"/>
                <a:gd name="connsiteY987" fmla="*/ 506120 h 1703784"/>
                <a:gd name="connsiteX988" fmla="*/ 1937480 w 2571750"/>
                <a:gd name="connsiteY988" fmla="*/ 498791 h 1703784"/>
                <a:gd name="connsiteX989" fmla="*/ 1926872 w 2571750"/>
                <a:gd name="connsiteY989" fmla="*/ 498791 h 1703784"/>
                <a:gd name="connsiteX990" fmla="*/ 1924493 w 2571750"/>
                <a:gd name="connsiteY990" fmla="*/ 503034 h 1703784"/>
                <a:gd name="connsiteX991" fmla="*/ 1919157 w 2571750"/>
                <a:gd name="connsiteY991" fmla="*/ 507792 h 1703784"/>
                <a:gd name="connsiteX992" fmla="*/ 1912149 w 2571750"/>
                <a:gd name="connsiteY992" fmla="*/ 508371 h 1703784"/>
                <a:gd name="connsiteX993" fmla="*/ 1911634 w 2571750"/>
                <a:gd name="connsiteY993" fmla="*/ 501041 h 1703784"/>
                <a:gd name="connsiteX994" fmla="*/ 1911248 w 2571750"/>
                <a:gd name="connsiteY994" fmla="*/ 496026 h 1703784"/>
                <a:gd name="connsiteX995" fmla="*/ 1903533 w 2571750"/>
                <a:gd name="connsiteY995" fmla="*/ 504899 h 1703784"/>
                <a:gd name="connsiteX996" fmla="*/ 1902054 w 2571750"/>
                <a:gd name="connsiteY996" fmla="*/ 492040 h 1703784"/>
                <a:gd name="connsiteX997" fmla="*/ 1887910 w 2571750"/>
                <a:gd name="connsiteY997" fmla="*/ 491719 h 1703784"/>
                <a:gd name="connsiteX998" fmla="*/ 1888489 w 2571750"/>
                <a:gd name="connsiteY998" fmla="*/ 482525 h 1703784"/>
                <a:gd name="connsiteX999" fmla="*/ 1896718 w 2571750"/>
                <a:gd name="connsiteY999" fmla="*/ 474809 h 1703784"/>
                <a:gd name="connsiteX1000" fmla="*/ 1912727 w 2571750"/>
                <a:gd name="connsiteY1000" fmla="*/ 465423 h 1703784"/>
                <a:gd name="connsiteX1001" fmla="*/ 1919543 w 2571750"/>
                <a:gd name="connsiteY1001" fmla="*/ 456421 h 1703784"/>
                <a:gd name="connsiteX1002" fmla="*/ 1937352 w 2571750"/>
                <a:gd name="connsiteY1002" fmla="*/ 443048 h 1703784"/>
                <a:gd name="connsiteX1003" fmla="*/ 1950918 w 2571750"/>
                <a:gd name="connsiteY1003" fmla="*/ 429032 h 1703784"/>
                <a:gd name="connsiteX1004" fmla="*/ 1964741 w 2571750"/>
                <a:gd name="connsiteY1004" fmla="*/ 417459 h 1703784"/>
                <a:gd name="connsiteX1005" fmla="*/ 1988015 w 2571750"/>
                <a:gd name="connsiteY1005" fmla="*/ 405372 h 1703784"/>
                <a:gd name="connsiteX1006" fmla="*/ 2015019 w 2571750"/>
                <a:gd name="connsiteY1006" fmla="*/ 408651 h 1703784"/>
                <a:gd name="connsiteX1007" fmla="*/ 2020368 w 2571750"/>
                <a:gd name="connsiteY1007" fmla="*/ 409731 h 1703784"/>
                <a:gd name="connsiteX1008" fmla="*/ 2021448 w 2571750"/>
                <a:gd name="connsiteY1008" fmla="*/ 408651 h 1703784"/>
                <a:gd name="connsiteX1009" fmla="*/ 2033021 w 2571750"/>
                <a:gd name="connsiteY1009" fmla="*/ 408651 h 1703784"/>
                <a:gd name="connsiteX1010" fmla="*/ 2044915 w 2571750"/>
                <a:gd name="connsiteY1010" fmla="*/ 407044 h 1703784"/>
                <a:gd name="connsiteX1011" fmla="*/ 2055202 w 2571750"/>
                <a:gd name="connsiteY1011" fmla="*/ 404086 h 1703784"/>
                <a:gd name="connsiteX1012" fmla="*/ 2072690 w 2571750"/>
                <a:gd name="connsiteY1012" fmla="*/ 402093 h 1703784"/>
                <a:gd name="connsiteX1013" fmla="*/ 2082013 w 2571750"/>
                <a:gd name="connsiteY1013" fmla="*/ 403893 h 1703784"/>
                <a:gd name="connsiteX1014" fmla="*/ 2090692 w 2571750"/>
                <a:gd name="connsiteY1014" fmla="*/ 408330 h 1703784"/>
                <a:gd name="connsiteX1015" fmla="*/ 2088442 w 2571750"/>
                <a:gd name="connsiteY1015" fmla="*/ 412187 h 1703784"/>
                <a:gd name="connsiteX1016" fmla="*/ 2084456 w 2571750"/>
                <a:gd name="connsiteY1016" fmla="*/ 416431 h 1703784"/>
                <a:gd name="connsiteX1017" fmla="*/ 2096929 w 2571750"/>
                <a:gd name="connsiteY1017" fmla="*/ 414566 h 1703784"/>
                <a:gd name="connsiteX1018" fmla="*/ 2109788 w 2571750"/>
                <a:gd name="connsiteY1018" fmla="*/ 412380 h 1703784"/>
                <a:gd name="connsiteX1019" fmla="*/ 2118596 w 2571750"/>
                <a:gd name="connsiteY1019" fmla="*/ 412380 h 1703784"/>
                <a:gd name="connsiteX1020" fmla="*/ 2131455 w 2571750"/>
                <a:gd name="connsiteY1020" fmla="*/ 409230 h 1703784"/>
                <a:gd name="connsiteX1021" fmla="*/ 2126504 w 2571750"/>
                <a:gd name="connsiteY1021" fmla="*/ 405372 h 1703784"/>
                <a:gd name="connsiteX1022" fmla="*/ 2125604 w 2571750"/>
                <a:gd name="connsiteY1022" fmla="*/ 394892 h 1703784"/>
                <a:gd name="connsiteX1023" fmla="*/ 2143735 w 2571750"/>
                <a:gd name="connsiteY1023" fmla="*/ 378755 h 1703784"/>
                <a:gd name="connsiteX1024" fmla="*/ 2152929 w 2571750"/>
                <a:gd name="connsiteY1024" fmla="*/ 373418 h 1703784"/>
                <a:gd name="connsiteX1025" fmla="*/ 2159358 w 2571750"/>
                <a:gd name="connsiteY1025" fmla="*/ 362038 h 1703784"/>
                <a:gd name="connsiteX1026" fmla="*/ 2179739 w 2571750"/>
                <a:gd name="connsiteY1026" fmla="*/ 360174 h 1703784"/>
                <a:gd name="connsiteX1027" fmla="*/ 2188033 w 2571750"/>
                <a:gd name="connsiteY1027" fmla="*/ 363710 h 1703784"/>
                <a:gd name="connsiteX1028" fmla="*/ 2197034 w 2571750"/>
                <a:gd name="connsiteY1028" fmla="*/ 360174 h 1703784"/>
                <a:gd name="connsiteX1029" fmla="*/ 2190991 w 2571750"/>
                <a:gd name="connsiteY1029" fmla="*/ 371747 h 1703784"/>
                <a:gd name="connsiteX1030" fmla="*/ 2197934 w 2571750"/>
                <a:gd name="connsiteY1030" fmla="*/ 376569 h 1703784"/>
                <a:gd name="connsiteX1031" fmla="*/ 2194655 w 2571750"/>
                <a:gd name="connsiteY1031" fmla="*/ 381648 h 1703784"/>
                <a:gd name="connsiteX1032" fmla="*/ 2209700 w 2571750"/>
                <a:gd name="connsiteY1032" fmla="*/ 375218 h 1703784"/>
                <a:gd name="connsiteX1033" fmla="*/ 2230274 w 2571750"/>
                <a:gd name="connsiteY1033" fmla="*/ 365446 h 1703784"/>
                <a:gd name="connsiteX1034" fmla="*/ 2232846 w 2571750"/>
                <a:gd name="connsiteY1034" fmla="*/ 353359 h 1703784"/>
                <a:gd name="connsiteX1035" fmla="*/ 2254192 w 2571750"/>
                <a:gd name="connsiteY1035" fmla="*/ 345772 h 1703784"/>
                <a:gd name="connsiteX1036" fmla="*/ 2254192 w 2571750"/>
                <a:gd name="connsiteY1036" fmla="*/ 348729 h 1703784"/>
                <a:gd name="connsiteX1037" fmla="*/ 2244804 w 2571750"/>
                <a:gd name="connsiteY1037" fmla="*/ 358116 h 1703784"/>
                <a:gd name="connsiteX1038" fmla="*/ 2242811 w 2571750"/>
                <a:gd name="connsiteY1038" fmla="*/ 368789 h 1703784"/>
                <a:gd name="connsiteX1039" fmla="*/ 2239083 w 2571750"/>
                <a:gd name="connsiteY1039" fmla="*/ 374254 h 1703784"/>
                <a:gd name="connsiteX1040" fmla="*/ 2235418 w 2571750"/>
                <a:gd name="connsiteY1040" fmla="*/ 379976 h 1703784"/>
                <a:gd name="connsiteX1041" fmla="*/ 2219087 w 2571750"/>
                <a:gd name="connsiteY1041" fmla="*/ 387113 h 1703784"/>
                <a:gd name="connsiteX1042" fmla="*/ 2208993 w 2571750"/>
                <a:gd name="connsiteY1042" fmla="*/ 398364 h 1703784"/>
                <a:gd name="connsiteX1043" fmla="*/ 2186040 w 2571750"/>
                <a:gd name="connsiteY1043" fmla="*/ 419453 h 1703784"/>
                <a:gd name="connsiteX1044" fmla="*/ 2165659 w 2571750"/>
                <a:gd name="connsiteY1044" fmla="*/ 433404 h 1703784"/>
                <a:gd name="connsiteX1045" fmla="*/ 2154022 w 2571750"/>
                <a:gd name="connsiteY1045" fmla="*/ 435847 h 1703784"/>
                <a:gd name="connsiteX1046" fmla="*/ 2149843 w 2571750"/>
                <a:gd name="connsiteY1046" fmla="*/ 450892 h 1703784"/>
                <a:gd name="connsiteX1047" fmla="*/ 2138398 w 2571750"/>
                <a:gd name="connsiteY1047" fmla="*/ 479374 h 1703784"/>
                <a:gd name="connsiteX1048" fmla="*/ 2145214 w 2571750"/>
                <a:gd name="connsiteY1048" fmla="*/ 525280 h 1703784"/>
                <a:gd name="connsiteX1049" fmla="*/ 2149071 w 2571750"/>
                <a:gd name="connsiteY1049" fmla="*/ 546433 h 1703784"/>
                <a:gd name="connsiteX1050" fmla="*/ 2152414 w 2571750"/>
                <a:gd name="connsiteY1050" fmla="*/ 555434 h 1703784"/>
                <a:gd name="connsiteX1051" fmla="*/ 2165273 w 2571750"/>
                <a:gd name="connsiteY1051" fmla="*/ 544182 h 1703784"/>
                <a:gd name="connsiteX1052" fmla="*/ 2171703 w 2571750"/>
                <a:gd name="connsiteY1052" fmla="*/ 537046 h 1703784"/>
                <a:gd name="connsiteX1053" fmla="*/ 2174467 w 2571750"/>
                <a:gd name="connsiteY1053" fmla="*/ 524187 h 1703784"/>
                <a:gd name="connsiteX1054" fmla="*/ 2182890 w 2571750"/>
                <a:gd name="connsiteY1054" fmla="*/ 518465 h 1703784"/>
                <a:gd name="connsiteX1055" fmla="*/ 2192084 w 2571750"/>
                <a:gd name="connsiteY1055" fmla="*/ 516665 h 1703784"/>
                <a:gd name="connsiteX1056" fmla="*/ 2190991 w 2571750"/>
                <a:gd name="connsiteY1056" fmla="*/ 506185 h 1703784"/>
                <a:gd name="connsiteX1057" fmla="*/ 2202885 w 2571750"/>
                <a:gd name="connsiteY1057" fmla="*/ 494805 h 1703784"/>
                <a:gd name="connsiteX1058" fmla="*/ 2217801 w 2571750"/>
                <a:gd name="connsiteY1058" fmla="*/ 492233 h 1703784"/>
                <a:gd name="connsiteX1059" fmla="*/ 2215615 w 2571750"/>
                <a:gd name="connsiteY1059" fmla="*/ 479889 h 1703784"/>
                <a:gd name="connsiteX1060" fmla="*/ 2224423 w 2571750"/>
                <a:gd name="connsiteY1060" fmla="*/ 464844 h 1703784"/>
                <a:gd name="connsiteX1061" fmla="*/ 2233939 w 2571750"/>
                <a:gd name="connsiteY1061" fmla="*/ 464265 h 1703784"/>
                <a:gd name="connsiteX1062" fmla="*/ 2228088 w 2571750"/>
                <a:gd name="connsiteY1062" fmla="*/ 456036 h 1703784"/>
                <a:gd name="connsiteX1063" fmla="*/ 2230660 w 2571750"/>
                <a:gd name="connsiteY1063" fmla="*/ 442084 h 1703784"/>
                <a:gd name="connsiteX1064" fmla="*/ 2230274 w 2571750"/>
                <a:gd name="connsiteY1064" fmla="*/ 435655 h 1703784"/>
                <a:gd name="connsiteX1065" fmla="*/ 2222366 w 2571750"/>
                <a:gd name="connsiteY1065" fmla="*/ 436169 h 1703784"/>
                <a:gd name="connsiteX1066" fmla="*/ 2220952 w 2571750"/>
                <a:gd name="connsiteY1066" fmla="*/ 423310 h 1703784"/>
                <a:gd name="connsiteX1067" fmla="*/ 2231367 w 2571750"/>
                <a:gd name="connsiteY1067" fmla="*/ 412316 h 1703784"/>
                <a:gd name="connsiteX1068" fmla="*/ 2240754 w 2571750"/>
                <a:gd name="connsiteY1068" fmla="*/ 396693 h 1703784"/>
                <a:gd name="connsiteX1069" fmla="*/ 2251620 w 2571750"/>
                <a:gd name="connsiteY1069" fmla="*/ 396114 h 1703784"/>
                <a:gd name="connsiteX1070" fmla="*/ 2256378 w 2571750"/>
                <a:gd name="connsiteY1070" fmla="*/ 398364 h 1703784"/>
                <a:gd name="connsiteX1071" fmla="*/ 2268851 w 2571750"/>
                <a:gd name="connsiteY1071" fmla="*/ 386405 h 1703784"/>
                <a:gd name="connsiteX1072" fmla="*/ 2271422 w 2571750"/>
                <a:gd name="connsiteY1072" fmla="*/ 397271 h 1703784"/>
                <a:gd name="connsiteX1073" fmla="*/ 2282995 w 2571750"/>
                <a:gd name="connsiteY1073" fmla="*/ 390842 h 1703784"/>
                <a:gd name="connsiteX1074" fmla="*/ 2314049 w 2571750"/>
                <a:gd name="connsiteY1074" fmla="*/ 388463 h 1703784"/>
                <a:gd name="connsiteX1075" fmla="*/ 2323243 w 2571750"/>
                <a:gd name="connsiteY1075" fmla="*/ 396307 h 1703784"/>
                <a:gd name="connsiteX1076" fmla="*/ 2328386 w 2571750"/>
                <a:gd name="connsiteY1076" fmla="*/ 388977 h 1703784"/>
                <a:gd name="connsiteX1077" fmla="*/ 2346389 w 2571750"/>
                <a:gd name="connsiteY1077" fmla="*/ 378883 h 1703784"/>
                <a:gd name="connsiteX1078" fmla="*/ 2353718 w 2571750"/>
                <a:gd name="connsiteY1078" fmla="*/ 373932 h 1703784"/>
                <a:gd name="connsiteX1079" fmla="*/ 2360919 w 2571750"/>
                <a:gd name="connsiteY1079" fmla="*/ 369175 h 1703784"/>
                <a:gd name="connsiteX1080" fmla="*/ 2381879 w 2571750"/>
                <a:gd name="connsiteY1080" fmla="*/ 359788 h 1703784"/>
                <a:gd name="connsiteX1081" fmla="*/ 2407596 w 2571750"/>
                <a:gd name="connsiteY1081" fmla="*/ 346929 h 1703784"/>
                <a:gd name="connsiteX1082" fmla="*/ 2412547 w 2571750"/>
                <a:gd name="connsiteY1082" fmla="*/ 345772 h 1703784"/>
                <a:gd name="connsiteX1083" fmla="*/ 2423541 w 2571750"/>
                <a:gd name="connsiteY1083" fmla="*/ 348537 h 1703784"/>
                <a:gd name="connsiteX1084" fmla="*/ 2437172 w 2571750"/>
                <a:gd name="connsiteY1084" fmla="*/ 347443 h 1703784"/>
                <a:gd name="connsiteX1085" fmla="*/ 2436786 w 2571750"/>
                <a:gd name="connsiteY1085" fmla="*/ 337349 h 1703784"/>
                <a:gd name="connsiteX1086" fmla="*/ 2429585 w 2571750"/>
                <a:gd name="connsiteY1086" fmla="*/ 325969 h 1703784"/>
                <a:gd name="connsiteX1087" fmla="*/ 2421162 w 2571750"/>
                <a:gd name="connsiteY1087" fmla="*/ 313818 h 1703784"/>
                <a:gd name="connsiteX1088" fmla="*/ 2413833 w 2571750"/>
                <a:gd name="connsiteY1088" fmla="*/ 309253 h 1703784"/>
                <a:gd name="connsiteX1089" fmla="*/ 2409975 w 2571750"/>
                <a:gd name="connsiteY1089" fmla="*/ 305010 h 1703784"/>
                <a:gd name="connsiteX1090" fmla="*/ 2399495 w 2571750"/>
                <a:gd name="connsiteY1090" fmla="*/ 302824 h 1703784"/>
                <a:gd name="connsiteX1091" fmla="*/ 2411776 w 2571750"/>
                <a:gd name="connsiteY1091" fmla="*/ 299352 h 1703784"/>
                <a:gd name="connsiteX1092" fmla="*/ 2418205 w 2571750"/>
                <a:gd name="connsiteY1092" fmla="*/ 305395 h 1703784"/>
                <a:gd name="connsiteX1093" fmla="*/ 2432350 w 2571750"/>
                <a:gd name="connsiteY1093" fmla="*/ 304495 h 1703784"/>
                <a:gd name="connsiteX1094" fmla="*/ 2448873 w 2571750"/>
                <a:gd name="connsiteY1094" fmla="*/ 296008 h 1703784"/>
                <a:gd name="connsiteX1095" fmla="*/ 2452409 w 2571750"/>
                <a:gd name="connsiteY1095" fmla="*/ 289579 h 1703784"/>
                <a:gd name="connsiteX1096" fmla="*/ 2450159 w 2571750"/>
                <a:gd name="connsiteY1096" fmla="*/ 282250 h 1703784"/>
                <a:gd name="connsiteX1097" fmla="*/ 2448474 w 2571750"/>
                <a:gd name="connsiteY1097" fmla="*/ 278122 h 1703784"/>
                <a:gd name="connsiteX1098" fmla="*/ 2451123 w 2571750"/>
                <a:gd name="connsiteY1098" fmla="*/ 276206 h 1703784"/>
                <a:gd name="connsiteX1099" fmla="*/ 2455688 w 2571750"/>
                <a:gd name="connsiteY1099" fmla="*/ 272156 h 1703784"/>
                <a:gd name="connsiteX1100" fmla="*/ 2462118 w 2571750"/>
                <a:gd name="connsiteY1100" fmla="*/ 271770 h 1703784"/>
                <a:gd name="connsiteX1101" fmla="*/ 2460446 w 2571750"/>
                <a:gd name="connsiteY1101" fmla="*/ 278199 h 1703784"/>
                <a:gd name="connsiteX1102" fmla="*/ 2464882 w 2571750"/>
                <a:gd name="connsiteY1102" fmla="*/ 286622 h 1703784"/>
                <a:gd name="connsiteX1103" fmla="*/ 2477741 w 2571750"/>
                <a:gd name="connsiteY1103" fmla="*/ 287007 h 1703784"/>
                <a:gd name="connsiteX1104" fmla="*/ 2497029 w 2571750"/>
                <a:gd name="connsiteY1104" fmla="*/ 293437 h 1703784"/>
                <a:gd name="connsiteX1105" fmla="*/ 2505837 w 2571750"/>
                <a:gd name="connsiteY1105" fmla="*/ 304110 h 1703784"/>
                <a:gd name="connsiteX1106" fmla="*/ 2518117 w 2571750"/>
                <a:gd name="connsiteY1106" fmla="*/ 308481 h 1703784"/>
                <a:gd name="connsiteX1107" fmla="*/ 2524547 w 2571750"/>
                <a:gd name="connsiteY1107" fmla="*/ 312018 h 1703784"/>
                <a:gd name="connsiteX1108" fmla="*/ 2532069 w 2571750"/>
                <a:gd name="connsiteY1108" fmla="*/ 312725 h 1703784"/>
                <a:gd name="connsiteX1109" fmla="*/ 2538884 w 2571750"/>
                <a:gd name="connsiteY1109" fmla="*/ 311246 h 1703784"/>
                <a:gd name="connsiteX1110" fmla="*/ 2533355 w 2571750"/>
                <a:gd name="connsiteY1110" fmla="*/ 304431 h 1703784"/>
                <a:gd name="connsiteX1111" fmla="*/ 2539463 w 2571750"/>
                <a:gd name="connsiteY1111" fmla="*/ 305910 h 1703784"/>
                <a:gd name="connsiteX1112" fmla="*/ 2540749 w 2571750"/>
                <a:gd name="connsiteY1112" fmla="*/ 299866 h 1703784"/>
                <a:gd name="connsiteX1113" fmla="*/ 2538884 w 2571750"/>
                <a:gd name="connsiteY1113" fmla="*/ 287586 h 1703784"/>
                <a:gd name="connsiteX1114" fmla="*/ 2543963 w 2571750"/>
                <a:gd name="connsiteY1114" fmla="*/ 287007 h 1703784"/>
                <a:gd name="connsiteX1115" fmla="*/ 640097 w 2571750"/>
                <a:gd name="connsiteY1115" fmla="*/ 1429957 h 1703784"/>
                <a:gd name="connsiteX1116" fmla="*/ 626595 w 2571750"/>
                <a:gd name="connsiteY1116" fmla="*/ 1410669 h 1703784"/>
                <a:gd name="connsiteX1117" fmla="*/ 628010 w 2571750"/>
                <a:gd name="connsiteY1117" fmla="*/ 1388617 h 1703784"/>
                <a:gd name="connsiteX1118" fmla="*/ 625052 w 2571750"/>
                <a:gd name="connsiteY1118" fmla="*/ 1372479 h 1703784"/>
                <a:gd name="connsiteX1119" fmla="*/ 626852 w 2571750"/>
                <a:gd name="connsiteY1119" fmla="*/ 1371772 h 1703784"/>
                <a:gd name="connsiteX1120" fmla="*/ 635789 w 2571750"/>
                <a:gd name="connsiteY1120" fmla="*/ 1396975 h 1703784"/>
                <a:gd name="connsiteX1121" fmla="*/ 635146 w 2571750"/>
                <a:gd name="connsiteY1121" fmla="*/ 1401282 h 1703784"/>
                <a:gd name="connsiteX1122" fmla="*/ 640483 w 2571750"/>
                <a:gd name="connsiteY1122" fmla="*/ 1427579 h 1703784"/>
                <a:gd name="connsiteX1123" fmla="*/ 640097 w 2571750"/>
                <a:gd name="connsiteY1123" fmla="*/ 1429957 h 1703784"/>
                <a:gd name="connsiteX1124" fmla="*/ 336952 w 2571750"/>
                <a:gd name="connsiteY1124" fmla="*/ 859608 h 1703784"/>
                <a:gd name="connsiteX1125" fmla="*/ 337659 w 2571750"/>
                <a:gd name="connsiteY1125" fmla="*/ 858965 h 1703784"/>
                <a:gd name="connsiteX1126" fmla="*/ 332130 w 2571750"/>
                <a:gd name="connsiteY1126" fmla="*/ 863079 h 1703784"/>
                <a:gd name="connsiteX1127" fmla="*/ 331744 w 2571750"/>
                <a:gd name="connsiteY1127" fmla="*/ 863465 h 1703784"/>
                <a:gd name="connsiteX1128" fmla="*/ 331423 w 2571750"/>
                <a:gd name="connsiteY1128" fmla="*/ 863787 h 1703784"/>
                <a:gd name="connsiteX1129" fmla="*/ 331101 w 2571750"/>
                <a:gd name="connsiteY1129" fmla="*/ 864430 h 1703784"/>
                <a:gd name="connsiteX1130" fmla="*/ 331423 w 2571750"/>
                <a:gd name="connsiteY1130" fmla="*/ 863787 h 1703784"/>
                <a:gd name="connsiteX1131" fmla="*/ 332644 w 2571750"/>
                <a:gd name="connsiteY1131" fmla="*/ 862694 h 1703784"/>
                <a:gd name="connsiteX1132" fmla="*/ 333094 w 2571750"/>
                <a:gd name="connsiteY1132" fmla="*/ 862372 h 1703784"/>
                <a:gd name="connsiteX1133" fmla="*/ 647362 w 2571750"/>
                <a:gd name="connsiteY1133" fmla="*/ 1192778 h 1703784"/>
                <a:gd name="connsiteX1134" fmla="*/ 646462 w 2571750"/>
                <a:gd name="connsiteY1134" fmla="*/ 1192328 h 1703784"/>
                <a:gd name="connsiteX1135" fmla="*/ 600428 w 2571750"/>
                <a:gd name="connsiteY1135" fmla="*/ 1582848 h 1703784"/>
                <a:gd name="connsiteX1136" fmla="*/ 600428 w 2571750"/>
                <a:gd name="connsiteY1136" fmla="*/ 1583812 h 1703784"/>
                <a:gd name="connsiteX1137" fmla="*/ 600428 w 2571750"/>
                <a:gd name="connsiteY1137" fmla="*/ 1582848 h 1703784"/>
                <a:gd name="connsiteX1138" fmla="*/ 591619 w 2571750"/>
                <a:gd name="connsiteY1138" fmla="*/ 1537135 h 1703784"/>
                <a:gd name="connsiteX1139" fmla="*/ 590912 w 2571750"/>
                <a:gd name="connsiteY1139" fmla="*/ 1536685 h 1703784"/>
                <a:gd name="connsiteX1140" fmla="*/ 590912 w 2571750"/>
                <a:gd name="connsiteY1140" fmla="*/ 1536685 h 1703784"/>
                <a:gd name="connsiteX1141" fmla="*/ 591619 w 2571750"/>
                <a:gd name="connsiteY1141" fmla="*/ 1537135 h 1703784"/>
                <a:gd name="connsiteX1142" fmla="*/ 580818 w 2571750"/>
                <a:gd name="connsiteY1142" fmla="*/ 1352483 h 1703784"/>
                <a:gd name="connsiteX1143" fmla="*/ 571753 w 2571750"/>
                <a:gd name="connsiteY1143" fmla="*/ 1339625 h 1703784"/>
                <a:gd name="connsiteX1144" fmla="*/ 566223 w 2571750"/>
                <a:gd name="connsiteY1144" fmla="*/ 1293590 h 1703784"/>
                <a:gd name="connsiteX1145" fmla="*/ 567381 w 2571750"/>
                <a:gd name="connsiteY1145" fmla="*/ 1294748 h 1703784"/>
                <a:gd name="connsiteX1146" fmla="*/ 570467 w 2571750"/>
                <a:gd name="connsiteY1146" fmla="*/ 1307606 h 1703784"/>
                <a:gd name="connsiteX1147" fmla="*/ 578118 w 2571750"/>
                <a:gd name="connsiteY1147" fmla="*/ 1331267 h 1703784"/>
                <a:gd name="connsiteX1148" fmla="*/ 584547 w 2571750"/>
                <a:gd name="connsiteY1148" fmla="*/ 1347533 h 1703784"/>
                <a:gd name="connsiteX1149" fmla="*/ 587569 w 2571750"/>
                <a:gd name="connsiteY1149" fmla="*/ 1357498 h 1703784"/>
                <a:gd name="connsiteX1150" fmla="*/ 580818 w 2571750"/>
                <a:gd name="connsiteY1150" fmla="*/ 1352483 h 1703784"/>
                <a:gd name="connsiteX1151" fmla="*/ 389158 w 2571750"/>
                <a:gd name="connsiteY1151" fmla="*/ 1223896 h 1703784"/>
                <a:gd name="connsiteX1152" fmla="*/ 389158 w 2571750"/>
                <a:gd name="connsiteY1152" fmla="*/ 1223896 h 1703784"/>
                <a:gd name="connsiteX1153" fmla="*/ 402017 w 2571750"/>
                <a:gd name="connsiteY1153" fmla="*/ 1151951 h 1703784"/>
                <a:gd name="connsiteX1154" fmla="*/ 402724 w 2571750"/>
                <a:gd name="connsiteY1154" fmla="*/ 1153687 h 1703784"/>
                <a:gd name="connsiteX1155" fmla="*/ 402146 w 2571750"/>
                <a:gd name="connsiteY1155" fmla="*/ 1152208 h 1703784"/>
                <a:gd name="connsiteX1156" fmla="*/ 400603 w 2571750"/>
                <a:gd name="connsiteY1156" fmla="*/ 1147837 h 1703784"/>
                <a:gd name="connsiteX1157" fmla="*/ 401631 w 2571750"/>
                <a:gd name="connsiteY1157" fmla="*/ 1150923 h 1703784"/>
                <a:gd name="connsiteX1158" fmla="*/ 400731 w 2571750"/>
                <a:gd name="connsiteY1158" fmla="*/ 1148094 h 1703784"/>
                <a:gd name="connsiteX1159" fmla="*/ 403946 w 2571750"/>
                <a:gd name="connsiteY1159" fmla="*/ 1156195 h 1703784"/>
                <a:gd name="connsiteX1160" fmla="*/ 403174 w 2571750"/>
                <a:gd name="connsiteY1160" fmla="*/ 1154716 h 1703784"/>
                <a:gd name="connsiteX1161" fmla="*/ 404074 w 2571750"/>
                <a:gd name="connsiteY1161" fmla="*/ 1156452 h 1703784"/>
                <a:gd name="connsiteX1162" fmla="*/ 388323 w 2571750"/>
                <a:gd name="connsiteY1162" fmla="*/ 1223896 h 1703784"/>
                <a:gd name="connsiteX1163" fmla="*/ 388323 w 2571750"/>
                <a:gd name="connsiteY1163" fmla="*/ 1223896 h 1703784"/>
                <a:gd name="connsiteX1164" fmla="*/ 385043 w 2571750"/>
                <a:gd name="connsiteY1164" fmla="*/ 1223896 h 1703784"/>
                <a:gd name="connsiteX1165" fmla="*/ 385043 w 2571750"/>
                <a:gd name="connsiteY1165" fmla="*/ 1223896 h 1703784"/>
                <a:gd name="connsiteX1166" fmla="*/ 390380 w 2571750"/>
                <a:gd name="connsiteY1166" fmla="*/ 1223896 h 1703784"/>
                <a:gd name="connsiteX1167" fmla="*/ 391344 w 2571750"/>
                <a:gd name="connsiteY1167" fmla="*/ 1223896 h 1703784"/>
                <a:gd name="connsiteX1168" fmla="*/ 498522 w 2571750"/>
                <a:gd name="connsiteY1168" fmla="*/ 1123405 h 1703784"/>
                <a:gd name="connsiteX1169" fmla="*/ 498522 w 2571750"/>
                <a:gd name="connsiteY1169" fmla="*/ 1123791 h 1703784"/>
                <a:gd name="connsiteX1170" fmla="*/ 497365 w 2571750"/>
                <a:gd name="connsiteY1170" fmla="*/ 1121733 h 1703784"/>
                <a:gd name="connsiteX1171" fmla="*/ 497686 w 2571750"/>
                <a:gd name="connsiteY1171" fmla="*/ 1122119 h 1703784"/>
                <a:gd name="connsiteX1172" fmla="*/ 496015 w 2571750"/>
                <a:gd name="connsiteY1172" fmla="*/ 1119933 h 1703784"/>
                <a:gd name="connsiteX1173" fmla="*/ 496015 w 2571750"/>
                <a:gd name="connsiteY1173" fmla="*/ 1119933 h 1703784"/>
                <a:gd name="connsiteX1174" fmla="*/ 583776 w 2571750"/>
                <a:gd name="connsiteY1174" fmla="*/ 1281182 h 1703784"/>
                <a:gd name="connsiteX1175" fmla="*/ 583776 w 2571750"/>
                <a:gd name="connsiteY1175" fmla="*/ 1281182 h 1703784"/>
                <a:gd name="connsiteX1176" fmla="*/ 585319 w 2571750"/>
                <a:gd name="connsiteY1176" fmla="*/ 1280732 h 1703784"/>
                <a:gd name="connsiteX1177" fmla="*/ 585897 w 2571750"/>
                <a:gd name="connsiteY1177" fmla="*/ 1280732 h 1703784"/>
                <a:gd name="connsiteX1178" fmla="*/ 585769 w 2571750"/>
                <a:gd name="connsiteY1178" fmla="*/ 1280925 h 1703784"/>
                <a:gd name="connsiteX1179" fmla="*/ 582168 w 2571750"/>
                <a:gd name="connsiteY1179" fmla="*/ 1281503 h 1703784"/>
                <a:gd name="connsiteX1180" fmla="*/ 582168 w 2571750"/>
                <a:gd name="connsiteY1180" fmla="*/ 1281503 h 1703784"/>
                <a:gd name="connsiteX1181" fmla="*/ 577539 w 2571750"/>
                <a:gd name="connsiteY1181" fmla="*/ 1267166 h 1703784"/>
                <a:gd name="connsiteX1182" fmla="*/ 578375 w 2571750"/>
                <a:gd name="connsiteY1182" fmla="*/ 1266844 h 1703784"/>
                <a:gd name="connsiteX1183" fmla="*/ 586540 w 2571750"/>
                <a:gd name="connsiteY1183" fmla="*/ 1280025 h 1703784"/>
                <a:gd name="connsiteX1184" fmla="*/ 587119 w 2571750"/>
                <a:gd name="connsiteY1184" fmla="*/ 1279060 h 1703784"/>
                <a:gd name="connsiteX1185" fmla="*/ 586669 w 2571750"/>
                <a:gd name="connsiteY1185" fmla="*/ 1280282 h 1703784"/>
                <a:gd name="connsiteX1186" fmla="*/ 579275 w 2571750"/>
                <a:gd name="connsiteY1186" fmla="*/ 1266523 h 1703784"/>
                <a:gd name="connsiteX1187" fmla="*/ 580432 w 2571750"/>
                <a:gd name="connsiteY1187" fmla="*/ 1266137 h 1703784"/>
                <a:gd name="connsiteX1188" fmla="*/ 581268 w 2571750"/>
                <a:gd name="connsiteY1188" fmla="*/ 1265880 h 1703784"/>
                <a:gd name="connsiteX1189" fmla="*/ 582618 w 2571750"/>
                <a:gd name="connsiteY1189" fmla="*/ 1265494 h 1703784"/>
                <a:gd name="connsiteX1190" fmla="*/ 544556 w 2571750"/>
                <a:gd name="connsiteY1190" fmla="*/ 1186156 h 1703784"/>
                <a:gd name="connsiteX1191" fmla="*/ 541534 w 2571750"/>
                <a:gd name="connsiteY1191" fmla="*/ 1178505 h 1703784"/>
                <a:gd name="connsiteX1192" fmla="*/ 544363 w 2571750"/>
                <a:gd name="connsiteY1192" fmla="*/ 1185641 h 1703784"/>
                <a:gd name="connsiteX1193" fmla="*/ 412754 w 2571750"/>
                <a:gd name="connsiteY1193" fmla="*/ 1217595 h 1703784"/>
                <a:gd name="connsiteX1194" fmla="*/ 411983 w 2571750"/>
                <a:gd name="connsiteY1194" fmla="*/ 1218753 h 1703784"/>
                <a:gd name="connsiteX1195" fmla="*/ 411983 w 2571750"/>
                <a:gd name="connsiteY1195" fmla="*/ 1218753 h 1703784"/>
                <a:gd name="connsiteX1196" fmla="*/ 412883 w 2571750"/>
                <a:gd name="connsiteY1196" fmla="*/ 1217852 h 1703784"/>
                <a:gd name="connsiteX1197" fmla="*/ 404267 w 2571750"/>
                <a:gd name="connsiteY1197" fmla="*/ 1156838 h 1703784"/>
                <a:gd name="connsiteX1198" fmla="*/ 404267 w 2571750"/>
                <a:gd name="connsiteY1198" fmla="*/ 1156838 h 1703784"/>
                <a:gd name="connsiteX1199" fmla="*/ 405360 w 2571750"/>
                <a:gd name="connsiteY1199" fmla="*/ 1158188 h 1703784"/>
                <a:gd name="connsiteX1200" fmla="*/ 404396 w 2571750"/>
                <a:gd name="connsiteY1200" fmla="*/ 1157095 h 1703784"/>
                <a:gd name="connsiteX1201" fmla="*/ 388130 w 2571750"/>
                <a:gd name="connsiteY1201" fmla="*/ 1086758 h 1703784"/>
                <a:gd name="connsiteX1202" fmla="*/ 387551 w 2571750"/>
                <a:gd name="connsiteY1202" fmla="*/ 1086758 h 1703784"/>
                <a:gd name="connsiteX1203" fmla="*/ 388837 w 2571750"/>
                <a:gd name="connsiteY1203" fmla="*/ 1087079 h 1703784"/>
                <a:gd name="connsiteX1204" fmla="*/ 386072 w 2571750"/>
                <a:gd name="connsiteY1204" fmla="*/ 1085664 h 1703784"/>
                <a:gd name="connsiteX1205" fmla="*/ 386458 w 2571750"/>
                <a:gd name="connsiteY1205" fmla="*/ 1086050 h 1703784"/>
                <a:gd name="connsiteX1206" fmla="*/ 381893 w 2571750"/>
                <a:gd name="connsiteY1206" fmla="*/ 1223896 h 1703784"/>
                <a:gd name="connsiteX1207" fmla="*/ 376814 w 2571750"/>
                <a:gd name="connsiteY1207" fmla="*/ 1223896 h 1703784"/>
                <a:gd name="connsiteX1208" fmla="*/ 372699 w 2571750"/>
                <a:gd name="connsiteY1208" fmla="*/ 1223896 h 1703784"/>
                <a:gd name="connsiteX1209" fmla="*/ 384208 w 2571750"/>
                <a:gd name="connsiteY1209" fmla="*/ 1223896 h 1703784"/>
                <a:gd name="connsiteX1210" fmla="*/ 384208 w 2571750"/>
                <a:gd name="connsiteY1210" fmla="*/ 1223896 h 1703784"/>
                <a:gd name="connsiteX1211" fmla="*/ 490871 w 2571750"/>
                <a:gd name="connsiteY1211" fmla="*/ 1476442 h 1703784"/>
                <a:gd name="connsiteX1212" fmla="*/ 490871 w 2571750"/>
                <a:gd name="connsiteY1212" fmla="*/ 1476442 h 1703784"/>
                <a:gd name="connsiteX1213" fmla="*/ 495886 w 2571750"/>
                <a:gd name="connsiteY1213" fmla="*/ 1475477 h 1703784"/>
                <a:gd name="connsiteX1214" fmla="*/ 495886 w 2571750"/>
                <a:gd name="connsiteY1214" fmla="*/ 1475477 h 1703784"/>
                <a:gd name="connsiteX1215" fmla="*/ 494150 w 2571750"/>
                <a:gd name="connsiteY1215" fmla="*/ 1475477 h 1703784"/>
                <a:gd name="connsiteX1216" fmla="*/ 494150 w 2571750"/>
                <a:gd name="connsiteY1216" fmla="*/ 1475477 h 1703784"/>
                <a:gd name="connsiteX1217" fmla="*/ 503280 w 2571750"/>
                <a:gd name="connsiteY1217" fmla="*/ 1474127 h 1703784"/>
                <a:gd name="connsiteX1218" fmla="*/ 503280 w 2571750"/>
                <a:gd name="connsiteY1218" fmla="*/ 1474127 h 1703784"/>
                <a:gd name="connsiteX1219" fmla="*/ 505401 w 2571750"/>
                <a:gd name="connsiteY1219" fmla="*/ 1474127 h 1703784"/>
                <a:gd name="connsiteX1220" fmla="*/ 504373 w 2571750"/>
                <a:gd name="connsiteY1220" fmla="*/ 1474127 h 1703784"/>
                <a:gd name="connsiteX1221" fmla="*/ 507459 w 2571750"/>
                <a:gd name="connsiteY1221" fmla="*/ 1474127 h 1703784"/>
                <a:gd name="connsiteX1222" fmla="*/ 506366 w 2571750"/>
                <a:gd name="connsiteY1222" fmla="*/ 1474127 h 1703784"/>
                <a:gd name="connsiteX1223" fmla="*/ 509645 w 2571750"/>
                <a:gd name="connsiteY1223" fmla="*/ 1474127 h 1703784"/>
                <a:gd name="connsiteX1224" fmla="*/ 509645 w 2571750"/>
                <a:gd name="connsiteY1224" fmla="*/ 1474127 h 1703784"/>
                <a:gd name="connsiteX1225" fmla="*/ 515367 w 2571750"/>
                <a:gd name="connsiteY1225" fmla="*/ 1475349 h 1703784"/>
                <a:gd name="connsiteX1226" fmla="*/ 515367 w 2571750"/>
                <a:gd name="connsiteY1226" fmla="*/ 1474899 h 1703784"/>
                <a:gd name="connsiteX1227" fmla="*/ 515367 w 2571750"/>
                <a:gd name="connsiteY1227" fmla="*/ 1475092 h 1703784"/>
                <a:gd name="connsiteX1228" fmla="*/ 514981 w 2571750"/>
                <a:gd name="connsiteY1228" fmla="*/ 1474770 h 1703784"/>
                <a:gd name="connsiteX1229" fmla="*/ 514531 w 2571750"/>
                <a:gd name="connsiteY1229" fmla="*/ 1474770 h 1703784"/>
                <a:gd name="connsiteX1230" fmla="*/ 514145 w 2571750"/>
                <a:gd name="connsiteY1230" fmla="*/ 1474449 h 1703784"/>
                <a:gd name="connsiteX1231" fmla="*/ 513502 w 2571750"/>
                <a:gd name="connsiteY1231" fmla="*/ 1474449 h 1703784"/>
                <a:gd name="connsiteX1232" fmla="*/ 513052 w 2571750"/>
                <a:gd name="connsiteY1232" fmla="*/ 1474449 h 1703784"/>
                <a:gd name="connsiteX1233" fmla="*/ 513052 w 2571750"/>
                <a:gd name="connsiteY1233" fmla="*/ 1474449 h 1703784"/>
                <a:gd name="connsiteX1234" fmla="*/ 511702 w 2571750"/>
                <a:gd name="connsiteY1234" fmla="*/ 1474449 h 1703784"/>
                <a:gd name="connsiteX1235" fmla="*/ 511702 w 2571750"/>
                <a:gd name="connsiteY1235" fmla="*/ 1474449 h 1703784"/>
                <a:gd name="connsiteX1236" fmla="*/ 565130 w 2571750"/>
                <a:gd name="connsiteY1236" fmla="*/ 1532313 h 1703784"/>
                <a:gd name="connsiteX1237" fmla="*/ 558701 w 2571750"/>
                <a:gd name="connsiteY1237" fmla="*/ 1527105 h 1703784"/>
                <a:gd name="connsiteX1238" fmla="*/ 565130 w 2571750"/>
                <a:gd name="connsiteY1238" fmla="*/ 1532249 h 1703784"/>
                <a:gd name="connsiteX1239" fmla="*/ 565130 w 2571750"/>
                <a:gd name="connsiteY1239" fmla="*/ 1532249 h 1703784"/>
                <a:gd name="connsiteX1240" fmla="*/ 565130 w 2571750"/>
                <a:gd name="connsiteY1240" fmla="*/ 1532249 h 1703784"/>
                <a:gd name="connsiteX1241" fmla="*/ 579339 w 2571750"/>
                <a:gd name="connsiteY1241" fmla="*/ 1440695 h 1703784"/>
                <a:gd name="connsiteX1242" fmla="*/ 581461 w 2571750"/>
                <a:gd name="connsiteY1242" fmla="*/ 1439923 h 1703784"/>
                <a:gd name="connsiteX1243" fmla="*/ 617465 w 2571750"/>
                <a:gd name="connsiteY1243" fmla="*/ 1373829 h 1703784"/>
                <a:gd name="connsiteX1244" fmla="*/ 617465 w 2571750"/>
                <a:gd name="connsiteY1244" fmla="*/ 1373829 h 1703784"/>
                <a:gd name="connsiteX1245" fmla="*/ 617337 w 2571750"/>
                <a:gd name="connsiteY1245" fmla="*/ 1373572 h 1703784"/>
                <a:gd name="connsiteX1246" fmla="*/ 618173 w 2571750"/>
                <a:gd name="connsiteY1246" fmla="*/ 1375244 h 1703784"/>
                <a:gd name="connsiteX1247" fmla="*/ 618494 w 2571750"/>
                <a:gd name="connsiteY1247" fmla="*/ 1375886 h 1703784"/>
                <a:gd name="connsiteX1248" fmla="*/ 617915 w 2571750"/>
                <a:gd name="connsiteY1248" fmla="*/ 1375244 h 1703784"/>
                <a:gd name="connsiteX1249" fmla="*/ 619009 w 2571750"/>
                <a:gd name="connsiteY1249" fmla="*/ 1376979 h 1703784"/>
                <a:gd name="connsiteX1250" fmla="*/ 619394 w 2571750"/>
                <a:gd name="connsiteY1250" fmla="*/ 1377751 h 1703784"/>
                <a:gd name="connsiteX1251" fmla="*/ 620552 w 2571750"/>
                <a:gd name="connsiteY1251" fmla="*/ 1380580 h 1703784"/>
                <a:gd name="connsiteX1252" fmla="*/ 620873 w 2571750"/>
                <a:gd name="connsiteY1252" fmla="*/ 1381480 h 1703784"/>
                <a:gd name="connsiteX1253" fmla="*/ 620423 w 2571750"/>
                <a:gd name="connsiteY1253" fmla="*/ 1380580 h 1703784"/>
                <a:gd name="connsiteX1254" fmla="*/ 619844 w 2571750"/>
                <a:gd name="connsiteY1254" fmla="*/ 1378780 h 1703784"/>
                <a:gd name="connsiteX1255" fmla="*/ 620166 w 2571750"/>
                <a:gd name="connsiteY1255" fmla="*/ 1379680 h 1703784"/>
                <a:gd name="connsiteX1256" fmla="*/ 619716 w 2571750"/>
                <a:gd name="connsiteY1256" fmla="*/ 1378780 h 1703784"/>
                <a:gd name="connsiteX1257" fmla="*/ 621452 w 2571750"/>
                <a:gd name="connsiteY1257" fmla="*/ 1383216 h 1703784"/>
                <a:gd name="connsiteX1258" fmla="*/ 621452 w 2571750"/>
                <a:gd name="connsiteY1258" fmla="*/ 1382252 h 1703784"/>
                <a:gd name="connsiteX1259" fmla="*/ 589305 w 2571750"/>
                <a:gd name="connsiteY1259" fmla="*/ 1437030 h 1703784"/>
                <a:gd name="connsiteX1260" fmla="*/ 588726 w 2571750"/>
                <a:gd name="connsiteY1260" fmla="*/ 1437030 h 1703784"/>
                <a:gd name="connsiteX1261" fmla="*/ 583968 w 2571750"/>
                <a:gd name="connsiteY1261" fmla="*/ 1439023 h 1703784"/>
                <a:gd name="connsiteX1262" fmla="*/ 583325 w 2571750"/>
                <a:gd name="connsiteY1262" fmla="*/ 1439023 h 1703784"/>
                <a:gd name="connsiteX1263" fmla="*/ 583968 w 2571750"/>
                <a:gd name="connsiteY1263" fmla="*/ 1265430 h 1703784"/>
                <a:gd name="connsiteX1264" fmla="*/ 589690 w 2571750"/>
                <a:gd name="connsiteY1264" fmla="*/ 1263887 h 1703784"/>
                <a:gd name="connsiteX1265" fmla="*/ 592648 w 2571750"/>
                <a:gd name="connsiteY1265" fmla="*/ 1205186 h 1703784"/>
                <a:gd name="connsiteX1266" fmla="*/ 592648 w 2571750"/>
                <a:gd name="connsiteY1266" fmla="*/ 1205186 h 1703784"/>
                <a:gd name="connsiteX1267" fmla="*/ 593998 w 2571750"/>
                <a:gd name="connsiteY1267" fmla="*/ 1204736 h 1703784"/>
                <a:gd name="connsiteX1268" fmla="*/ 594448 w 2571750"/>
                <a:gd name="connsiteY1268" fmla="*/ 1204736 h 1703784"/>
                <a:gd name="connsiteX1269" fmla="*/ 595413 w 2571750"/>
                <a:gd name="connsiteY1269" fmla="*/ 1204351 h 1703784"/>
                <a:gd name="connsiteX1270" fmla="*/ 596120 w 2571750"/>
                <a:gd name="connsiteY1270" fmla="*/ 1204351 h 1703784"/>
                <a:gd name="connsiteX1271" fmla="*/ 596763 w 2571750"/>
                <a:gd name="connsiteY1271" fmla="*/ 1204029 h 1703784"/>
                <a:gd name="connsiteX1272" fmla="*/ 597920 w 2571750"/>
                <a:gd name="connsiteY1272" fmla="*/ 1204029 h 1703784"/>
                <a:gd name="connsiteX1273" fmla="*/ 379578 w 2571750"/>
                <a:gd name="connsiteY1273" fmla="*/ 1079235 h 1703784"/>
                <a:gd name="connsiteX1274" fmla="*/ 380736 w 2571750"/>
                <a:gd name="connsiteY1274" fmla="*/ 1079235 h 1703784"/>
                <a:gd name="connsiteX1275" fmla="*/ 379064 w 2571750"/>
                <a:gd name="connsiteY1275" fmla="*/ 1079428 h 1703784"/>
                <a:gd name="connsiteX1276" fmla="*/ 373599 w 2571750"/>
                <a:gd name="connsiteY1276" fmla="*/ 953605 h 1703784"/>
                <a:gd name="connsiteX1277" fmla="*/ 375078 w 2571750"/>
                <a:gd name="connsiteY1277" fmla="*/ 953927 h 1703784"/>
                <a:gd name="connsiteX1278" fmla="*/ 376493 w 2571750"/>
                <a:gd name="connsiteY1278" fmla="*/ 954248 h 1703784"/>
                <a:gd name="connsiteX1279" fmla="*/ 378164 w 2571750"/>
                <a:gd name="connsiteY1279" fmla="*/ 954698 h 1703784"/>
                <a:gd name="connsiteX1280" fmla="*/ 370642 w 2571750"/>
                <a:gd name="connsiteY1280" fmla="*/ 953155 h 1703784"/>
                <a:gd name="connsiteX1281" fmla="*/ 371992 w 2571750"/>
                <a:gd name="connsiteY1281" fmla="*/ 953155 h 1703784"/>
                <a:gd name="connsiteX1282" fmla="*/ 367941 w 2571750"/>
                <a:gd name="connsiteY1282" fmla="*/ 953155 h 1703784"/>
                <a:gd name="connsiteX1283" fmla="*/ 369034 w 2571750"/>
                <a:gd name="connsiteY1283" fmla="*/ 953155 h 1703784"/>
                <a:gd name="connsiteX1284" fmla="*/ 370577 w 2571750"/>
                <a:gd name="connsiteY1284" fmla="*/ 1224025 h 1703784"/>
                <a:gd name="connsiteX1285" fmla="*/ 370577 w 2571750"/>
                <a:gd name="connsiteY1285" fmla="*/ 1224025 h 1703784"/>
                <a:gd name="connsiteX1286" fmla="*/ 582297 w 2571750"/>
                <a:gd name="connsiteY1286" fmla="*/ 1535785 h 1703784"/>
                <a:gd name="connsiteX1287" fmla="*/ 582297 w 2571750"/>
                <a:gd name="connsiteY1287" fmla="*/ 1535785 h 1703784"/>
                <a:gd name="connsiteX1288" fmla="*/ 590333 w 2571750"/>
                <a:gd name="connsiteY1288" fmla="*/ 1536621 h 1703784"/>
                <a:gd name="connsiteX1289" fmla="*/ 589755 w 2571750"/>
                <a:gd name="connsiteY1289" fmla="*/ 1536621 h 1703784"/>
                <a:gd name="connsiteX1290" fmla="*/ 588469 w 2571750"/>
                <a:gd name="connsiteY1290" fmla="*/ 1536299 h 1703784"/>
                <a:gd name="connsiteX1291" fmla="*/ 588469 w 2571750"/>
                <a:gd name="connsiteY1291" fmla="*/ 1536299 h 1703784"/>
                <a:gd name="connsiteX1292" fmla="*/ 621709 w 2571750"/>
                <a:gd name="connsiteY1292" fmla="*/ 1383987 h 1703784"/>
                <a:gd name="connsiteX1293" fmla="*/ 621709 w 2571750"/>
                <a:gd name="connsiteY1293" fmla="*/ 1385145 h 1703784"/>
                <a:gd name="connsiteX1294" fmla="*/ 621452 w 2571750"/>
                <a:gd name="connsiteY1294" fmla="*/ 1383730 h 1703784"/>
                <a:gd name="connsiteX1295" fmla="*/ 619137 w 2571750"/>
                <a:gd name="connsiteY1295" fmla="*/ 1275845 h 1703784"/>
                <a:gd name="connsiteX1296" fmla="*/ 619973 w 2571750"/>
                <a:gd name="connsiteY1296" fmla="*/ 1283561 h 1703784"/>
                <a:gd name="connsiteX1297" fmla="*/ 599849 w 2571750"/>
                <a:gd name="connsiteY1297" fmla="*/ 1282468 h 1703784"/>
                <a:gd name="connsiteX1298" fmla="*/ 599849 w 2571750"/>
                <a:gd name="connsiteY1298" fmla="*/ 1263179 h 1703784"/>
                <a:gd name="connsiteX1299" fmla="*/ 609300 w 2571750"/>
                <a:gd name="connsiteY1299" fmla="*/ 1249678 h 1703784"/>
                <a:gd name="connsiteX1300" fmla="*/ 625888 w 2571750"/>
                <a:gd name="connsiteY1300" fmla="*/ 1250128 h 1703784"/>
                <a:gd name="connsiteX1301" fmla="*/ 634053 w 2571750"/>
                <a:gd name="connsiteY1301" fmla="*/ 1254693 h 1703784"/>
                <a:gd name="connsiteX1302" fmla="*/ 625245 w 2571750"/>
                <a:gd name="connsiteY1302" fmla="*/ 1262665 h 1703784"/>
                <a:gd name="connsiteX1303" fmla="*/ 625245 w 2571750"/>
                <a:gd name="connsiteY1303" fmla="*/ 1263887 h 1703784"/>
                <a:gd name="connsiteX1304" fmla="*/ 618880 w 2571750"/>
                <a:gd name="connsiteY1304" fmla="*/ 1275588 h 1703784"/>
                <a:gd name="connsiteX1305" fmla="*/ 648326 w 2571750"/>
                <a:gd name="connsiteY1305" fmla="*/ 1193549 h 1703784"/>
                <a:gd name="connsiteX1306" fmla="*/ 650448 w 2571750"/>
                <a:gd name="connsiteY1306" fmla="*/ 1194385 h 1703784"/>
                <a:gd name="connsiteX1307" fmla="*/ 409990 w 2571750"/>
                <a:gd name="connsiteY1307" fmla="*/ 953026 h 1703784"/>
                <a:gd name="connsiteX1308" fmla="*/ 398867 w 2571750"/>
                <a:gd name="connsiteY1308" fmla="*/ 959070 h 1703784"/>
                <a:gd name="connsiteX1309" fmla="*/ 389030 w 2571750"/>
                <a:gd name="connsiteY1309" fmla="*/ 964406 h 1703784"/>
                <a:gd name="connsiteX1310" fmla="*/ 378936 w 2571750"/>
                <a:gd name="connsiteY1310" fmla="*/ 955405 h 1703784"/>
                <a:gd name="connsiteX1311" fmla="*/ 381186 w 2571750"/>
                <a:gd name="connsiteY1311" fmla="*/ 956498 h 1703784"/>
                <a:gd name="connsiteX1312" fmla="*/ 378936 w 2571750"/>
                <a:gd name="connsiteY1312" fmla="*/ 955084 h 1703784"/>
                <a:gd name="connsiteX1313" fmla="*/ 363119 w 2571750"/>
                <a:gd name="connsiteY1313" fmla="*/ 953026 h 1703784"/>
                <a:gd name="connsiteX1314" fmla="*/ 363119 w 2571750"/>
                <a:gd name="connsiteY1314" fmla="*/ 953026 h 1703784"/>
                <a:gd name="connsiteX1315" fmla="*/ 366205 w 2571750"/>
                <a:gd name="connsiteY1315" fmla="*/ 953026 h 1703784"/>
                <a:gd name="connsiteX1316" fmla="*/ 366205 w 2571750"/>
                <a:gd name="connsiteY1316" fmla="*/ 953026 h 1703784"/>
                <a:gd name="connsiteX1317" fmla="*/ 364212 w 2571750"/>
                <a:gd name="connsiteY1317" fmla="*/ 953026 h 1703784"/>
                <a:gd name="connsiteX1318" fmla="*/ 364212 w 2571750"/>
                <a:gd name="connsiteY1318" fmla="*/ 953026 h 1703784"/>
                <a:gd name="connsiteX1319" fmla="*/ 338109 w 2571750"/>
                <a:gd name="connsiteY1319" fmla="*/ 858836 h 1703784"/>
                <a:gd name="connsiteX1320" fmla="*/ 339009 w 2571750"/>
                <a:gd name="connsiteY1320" fmla="*/ 857614 h 1703784"/>
                <a:gd name="connsiteX1321" fmla="*/ 338109 w 2571750"/>
                <a:gd name="connsiteY1321" fmla="*/ 858515 h 1703784"/>
                <a:gd name="connsiteX1322" fmla="*/ 336180 w 2571750"/>
                <a:gd name="connsiteY1322" fmla="*/ 860508 h 1703784"/>
                <a:gd name="connsiteX1323" fmla="*/ 335602 w 2571750"/>
                <a:gd name="connsiteY1323" fmla="*/ 860958 h 1703784"/>
                <a:gd name="connsiteX1324" fmla="*/ 222766 w 2571750"/>
                <a:gd name="connsiteY1324" fmla="*/ 1114404 h 1703784"/>
                <a:gd name="connsiteX1325" fmla="*/ 222766 w 2571750"/>
                <a:gd name="connsiteY1325" fmla="*/ 1114404 h 1703784"/>
                <a:gd name="connsiteX1326" fmla="*/ 224888 w 2571750"/>
                <a:gd name="connsiteY1326" fmla="*/ 1114404 h 1703784"/>
                <a:gd name="connsiteX1327" fmla="*/ 222766 w 2571750"/>
                <a:gd name="connsiteY1327" fmla="*/ 1114082 h 1703784"/>
                <a:gd name="connsiteX1328" fmla="*/ 249705 w 2571750"/>
                <a:gd name="connsiteY1328" fmla="*/ 1096659 h 1703784"/>
                <a:gd name="connsiteX1329" fmla="*/ 248419 w 2571750"/>
                <a:gd name="connsiteY1329" fmla="*/ 1096659 h 1703784"/>
                <a:gd name="connsiteX1330" fmla="*/ 249705 w 2571750"/>
                <a:gd name="connsiteY1330" fmla="*/ 1096337 h 1703784"/>
                <a:gd name="connsiteX1331" fmla="*/ 218330 w 2571750"/>
                <a:gd name="connsiteY1331" fmla="*/ 977972 h 1703784"/>
                <a:gd name="connsiteX1332" fmla="*/ 218716 w 2571750"/>
                <a:gd name="connsiteY1332" fmla="*/ 978294 h 1703784"/>
                <a:gd name="connsiteX1333" fmla="*/ 220451 w 2571750"/>
                <a:gd name="connsiteY1333" fmla="*/ 979451 h 1703784"/>
                <a:gd name="connsiteX1334" fmla="*/ 221866 w 2571750"/>
                <a:gd name="connsiteY1334" fmla="*/ 980416 h 1703784"/>
                <a:gd name="connsiteX1335" fmla="*/ 223023 w 2571750"/>
                <a:gd name="connsiteY1335" fmla="*/ 981251 h 1703784"/>
                <a:gd name="connsiteX1336" fmla="*/ 224373 w 2571750"/>
                <a:gd name="connsiteY1336" fmla="*/ 982151 h 1703784"/>
                <a:gd name="connsiteX1337" fmla="*/ 115267 w 2571750"/>
                <a:gd name="connsiteY1337" fmla="*/ 1124112 h 1703784"/>
                <a:gd name="connsiteX1338" fmla="*/ 115267 w 2571750"/>
                <a:gd name="connsiteY1338" fmla="*/ 1124112 h 1703784"/>
                <a:gd name="connsiteX1339" fmla="*/ 114367 w 2571750"/>
                <a:gd name="connsiteY1339" fmla="*/ 1124498 h 1703784"/>
                <a:gd name="connsiteX1340" fmla="*/ 114367 w 2571750"/>
                <a:gd name="connsiteY1340" fmla="*/ 1124498 h 1703784"/>
                <a:gd name="connsiteX1341" fmla="*/ 107937 w 2571750"/>
                <a:gd name="connsiteY1341" fmla="*/ 1160631 h 1703784"/>
                <a:gd name="connsiteX1342" fmla="*/ 107937 w 2571750"/>
                <a:gd name="connsiteY1342" fmla="*/ 1160631 h 1703784"/>
                <a:gd name="connsiteX1343" fmla="*/ 107937 w 2571750"/>
                <a:gd name="connsiteY1343" fmla="*/ 1159216 h 1703784"/>
                <a:gd name="connsiteX1344" fmla="*/ 107937 w 2571750"/>
                <a:gd name="connsiteY1344" fmla="*/ 1159216 h 1703784"/>
                <a:gd name="connsiteX1345" fmla="*/ 69940 w 2571750"/>
                <a:gd name="connsiteY1345" fmla="*/ 1096402 h 1703784"/>
                <a:gd name="connsiteX1346" fmla="*/ 69940 w 2571750"/>
                <a:gd name="connsiteY1346" fmla="*/ 1092672 h 1703784"/>
                <a:gd name="connsiteX1347" fmla="*/ 70518 w 2571750"/>
                <a:gd name="connsiteY1347" fmla="*/ 1096402 h 1703784"/>
                <a:gd name="connsiteX1348" fmla="*/ 58560 w 2571750"/>
                <a:gd name="connsiteY1348" fmla="*/ 1066955 h 1703784"/>
                <a:gd name="connsiteX1349" fmla="*/ 58560 w 2571750"/>
                <a:gd name="connsiteY1349" fmla="*/ 1066955 h 1703784"/>
                <a:gd name="connsiteX1350" fmla="*/ 70518 w 2571750"/>
                <a:gd name="connsiteY1350" fmla="*/ 1090229 h 1703784"/>
                <a:gd name="connsiteX1351" fmla="*/ 70518 w 2571750"/>
                <a:gd name="connsiteY1351" fmla="*/ 1088943 h 1703784"/>
                <a:gd name="connsiteX1352" fmla="*/ 70518 w 2571750"/>
                <a:gd name="connsiteY1352" fmla="*/ 1090229 h 1703784"/>
                <a:gd name="connsiteX1353" fmla="*/ 70518 w 2571750"/>
                <a:gd name="connsiteY1353" fmla="*/ 1092094 h 1703784"/>
                <a:gd name="connsiteX1354" fmla="*/ 70518 w 2571750"/>
                <a:gd name="connsiteY1354" fmla="*/ 1090808 h 1703784"/>
                <a:gd name="connsiteX1355" fmla="*/ 70583 w 2571750"/>
                <a:gd name="connsiteY1355" fmla="*/ 1092094 h 1703784"/>
                <a:gd name="connsiteX1356" fmla="*/ 70518 w 2571750"/>
                <a:gd name="connsiteY1356" fmla="*/ 1097366 h 1703784"/>
                <a:gd name="connsiteX1357" fmla="*/ 70518 w 2571750"/>
                <a:gd name="connsiteY1357" fmla="*/ 1098909 h 1703784"/>
                <a:gd name="connsiteX1358" fmla="*/ 70454 w 2571750"/>
                <a:gd name="connsiteY1358" fmla="*/ 1097109 h 1703784"/>
                <a:gd name="connsiteX1359" fmla="*/ 57660 w 2571750"/>
                <a:gd name="connsiteY1359" fmla="*/ 1065219 h 1703784"/>
                <a:gd name="connsiteX1360" fmla="*/ 57660 w 2571750"/>
                <a:gd name="connsiteY1360" fmla="*/ 1064897 h 1703784"/>
                <a:gd name="connsiteX1361" fmla="*/ 56567 w 2571750"/>
                <a:gd name="connsiteY1361" fmla="*/ 1063676 h 1703784"/>
                <a:gd name="connsiteX1362" fmla="*/ 56181 w 2571750"/>
                <a:gd name="connsiteY1362" fmla="*/ 1063226 h 1703784"/>
                <a:gd name="connsiteX1363" fmla="*/ 55024 w 2571750"/>
                <a:gd name="connsiteY1363" fmla="*/ 1062197 h 1703784"/>
                <a:gd name="connsiteX1364" fmla="*/ 54574 w 2571750"/>
                <a:gd name="connsiteY1364" fmla="*/ 1061812 h 1703784"/>
                <a:gd name="connsiteX1365" fmla="*/ 82670 w 2571750"/>
                <a:gd name="connsiteY1365" fmla="*/ 1147579 h 1703784"/>
                <a:gd name="connsiteX1366" fmla="*/ 82670 w 2571750"/>
                <a:gd name="connsiteY1366" fmla="*/ 1148094 h 1703784"/>
                <a:gd name="connsiteX1367" fmla="*/ 82220 w 2571750"/>
                <a:gd name="connsiteY1367" fmla="*/ 1146743 h 1703784"/>
                <a:gd name="connsiteX1368" fmla="*/ 82734 w 2571750"/>
                <a:gd name="connsiteY1368" fmla="*/ 1147772 h 1703784"/>
                <a:gd name="connsiteX1369" fmla="*/ 111795 w 2571750"/>
                <a:gd name="connsiteY1369" fmla="*/ 1155294 h 1703784"/>
                <a:gd name="connsiteX1370" fmla="*/ 110959 w 2571750"/>
                <a:gd name="connsiteY1370" fmla="*/ 1156130 h 1703784"/>
                <a:gd name="connsiteX1371" fmla="*/ 107680 w 2571750"/>
                <a:gd name="connsiteY1371" fmla="*/ 904227 h 1703784"/>
                <a:gd name="connsiteX1372" fmla="*/ 107680 w 2571750"/>
                <a:gd name="connsiteY1372" fmla="*/ 904227 h 1703784"/>
                <a:gd name="connsiteX1373" fmla="*/ 108966 w 2571750"/>
                <a:gd name="connsiteY1373" fmla="*/ 905063 h 1703784"/>
                <a:gd name="connsiteX1374" fmla="*/ 109416 w 2571750"/>
                <a:gd name="connsiteY1374" fmla="*/ 905063 h 1703784"/>
                <a:gd name="connsiteX1375" fmla="*/ 111088 w 2571750"/>
                <a:gd name="connsiteY1375" fmla="*/ 906349 h 1703784"/>
                <a:gd name="connsiteX1376" fmla="*/ 111088 w 2571750"/>
                <a:gd name="connsiteY1376" fmla="*/ 906349 h 1703784"/>
                <a:gd name="connsiteX1377" fmla="*/ 116489 w 2571750"/>
                <a:gd name="connsiteY1377" fmla="*/ 909885 h 1703784"/>
                <a:gd name="connsiteX1378" fmla="*/ 116810 w 2571750"/>
                <a:gd name="connsiteY1378" fmla="*/ 909885 h 1703784"/>
                <a:gd name="connsiteX1379" fmla="*/ 119703 w 2571750"/>
                <a:gd name="connsiteY1379" fmla="*/ 911943 h 1703784"/>
                <a:gd name="connsiteX1380" fmla="*/ 120218 w 2571750"/>
                <a:gd name="connsiteY1380" fmla="*/ 912329 h 1703784"/>
                <a:gd name="connsiteX1381" fmla="*/ 123175 w 2571750"/>
                <a:gd name="connsiteY1381" fmla="*/ 914257 h 1703784"/>
                <a:gd name="connsiteX1382" fmla="*/ 123947 w 2571750"/>
                <a:gd name="connsiteY1382" fmla="*/ 914772 h 1703784"/>
                <a:gd name="connsiteX1383" fmla="*/ 127676 w 2571750"/>
                <a:gd name="connsiteY1383" fmla="*/ 917215 h 1703784"/>
                <a:gd name="connsiteX1384" fmla="*/ 128061 w 2571750"/>
                <a:gd name="connsiteY1384" fmla="*/ 917215 h 1703784"/>
                <a:gd name="connsiteX1385" fmla="*/ 143749 w 2571750"/>
                <a:gd name="connsiteY1385" fmla="*/ 1121219 h 1703784"/>
                <a:gd name="connsiteX1386" fmla="*/ 143749 w 2571750"/>
                <a:gd name="connsiteY1386" fmla="*/ 1121219 h 1703784"/>
                <a:gd name="connsiteX1387" fmla="*/ 148957 w 2571750"/>
                <a:gd name="connsiteY1387" fmla="*/ 1124241 h 1703784"/>
                <a:gd name="connsiteX1388" fmla="*/ 148957 w 2571750"/>
                <a:gd name="connsiteY1388" fmla="*/ 1124241 h 1703784"/>
                <a:gd name="connsiteX1389" fmla="*/ 176860 w 2571750"/>
                <a:gd name="connsiteY1389" fmla="*/ 1129577 h 1703784"/>
                <a:gd name="connsiteX1390" fmla="*/ 175510 w 2571750"/>
                <a:gd name="connsiteY1390" fmla="*/ 1128548 h 1703784"/>
                <a:gd name="connsiteX1391" fmla="*/ 176860 w 2571750"/>
                <a:gd name="connsiteY1391" fmla="*/ 1129641 h 1703784"/>
                <a:gd name="connsiteX1392" fmla="*/ 177310 w 2571750"/>
                <a:gd name="connsiteY1392" fmla="*/ 1129577 h 1703784"/>
                <a:gd name="connsiteX1393" fmla="*/ 177889 w 2571750"/>
                <a:gd name="connsiteY1393" fmla="*/ 1129577 h 1703784"/>
                <a:gd name="connsiteX1394" fmla="*/ 177889 w 2571750"/>
                <a:gd name="connsiteY1394" fmla="*/ 1129577 h 1703784"/>
                <a:gd name="connsiteX1395" fmla="*/ 178725 w 2571750"/>
                <a:gd name="connsiteY1395" fmla="*/ 1129127 h 1703784"/>
                <a:gd name="connsiteX1396" fmla="*/ 178725 w 2571750"/>
                <a:gd name="connsiteY1396" fmla="*/ 1129127 h 1703784"/>
                <a:gd name="connsiteX1397" fmla="*/ 213443 w 2571750"/>
                <a:gd name="connsiteY1397" fmla="*/ 1063933 h 1703784"/>
                <a:gd name="connsiteX1398" fmla="*/ 212093 w 2571750"/>
                <a:gd name="connsiteY1398" fmla="*/ 1063933 h 1703784"/>
                <a:gd name="connsiteX1399" fmla="*/ 211129 w 2571750"/>
                <a:gd name="connsiteY1399" fmla="*/ 1063933 h 1703784"/>
                <a:gd name="connsiteX1400" fmla="*/ 209522 w 2571750"/>
                <a:gd name="connsiteY1400" fmla="*/ 1063547 h 1703784"/>
                <a:gd name="connsiteX1401" fmla="*/ 209329 w 2571750"/>
                <a:gd name="connsiteY1401" fmla="*/ 1063483 h 1703784"/>
                <a:gd name="connsiteX1402" fmla="*/ 208171 w 2571750"/>
                <a:gd name="connsiteY1402" fmla="*/ 1062904 h 1703784"/>
                <a:gd name="connsiteX1403" fmla="*/ 209329 w 2571750"/>
                <a:gd name="connsiteY1403" fmla="*/ 1063419 h 1703784"/>
                <a:gd name="connsiteX1404" fmla="*/ 217558 w 2571750"/>
                <a:gd name="connsiteY1404" fmla="*/ 1113247 h 1703784"/>
                <a:gd name="connsiteX1405" fmla="*/ 216272 w 2571750"/>
                <a:gd name="connsiteY1405" fmla="*/ 1113247 h 1703784"/>
                <a:gd name="connsiteX1406" fmla="*/ 221545 w 2571750"/>
                <a:gd name="connsiteY1406" fmla="*/ 1113954 h 1703784"/>
                <a:gd name="connsiteX1407" fmla="*/ 219937 w 2571750"/>
                <a:gd name="connsiteY1407" fmla="*/ 1113954 h 1703784"/>
                <a:gd name="connsiteX1408" fmla="*/ 245205 w 2571750"/>
                <a:gd name="connsiteY1408" fmla="*/ 1099809 h 1703784"/>
                <a:gd name="connsiteX1409" fmla="*/ 245205 w 2571750"/>
                <a:gd name="connsiteY1409" fmla="*/ 1099809 h 1703784"/>
                <a:gd name="connsiteX1410" fmla="*/ 246105 w 2571750"/>
                <a:gd name="connsiteY1410" fmla="*/ 1097430 h 1703784"/>
                <a:gd name="connsiteX1411" fmla="*/ 246105 w 2571750"/>
                <a:gd name="connsiteY1411" fmla="*/ 1097430 h 1703784"/>
                <a:gd name="connsiteX1412" fmla="*/ 245526 w 2571750"/>
                <a:gd name="connsiteY1412" fmla="*/ 1098523 h 1703784"/>
                <a:gd name="connsiteX1413" fmla="*/ 245526 w 2571750"/>
                <a:gd name="connsiteY1413" fmla="*/ 1098523 h 1703784"/>
                <a:gd name="connsiteX1414" fmla="*/ 245526 w 2571750"/>
                <a:gd name="connsiteY1414" fmla="*/ 1098459 h 1703784"/>
                <a:gd name="connsiteX1415" fmla="*/ 246940 w 2571750"/>
                <a:gd name="connsiteY1415" fmla="*/ 1096723 h 1703784"/>
                <a:gd name="connsiteX1416" fmla="*/ 246555 w 2571750"/>
                <a:gd name="connsiteY1416" fmla="*/ 1096723 h 1703784"/>
                <a:gd name="connsiteX1417" fmla="*/ 246940 w 2571750"/>
                <a:gd name="connsiteY1417" fmla="*/ 1096659 h 1703784"/>
                <a:gd name="connsiteX1418" fmla="*/ 247969 w 2571750"/>
                <a:gd name="connsiteY1418" fmla="*/ 1096273 h 1703784"/>
                <a:gd name="connsiteX1419" fmla="*/ 247391 w 2571750"/>
                <a:gd name="connsiteY1419" fmla="*/ 1096273 h 1703784"/>
                <a:gd name="connsiteX1420" fmla="*/ 256070 w 2571750"/>
                <a:gd name="connsiteY1420" fmla="*/ 1102702 h 1703784"/>
                <a:gd name="connsiteX1421" fmla="*/ 256070 w 2571750"/>
                <a:gd name="connsiteY1421" fmla="*/ 1102702 h 1703784"/>
                <a:gd name="connsiteX1422" fmla="*/ 258578 w 2571750"/>
                <a:gd name="connsiteY1422" fmla="*/ 1101352 h 1703784"/>
                <a:gd name="connsiteX1423" fmla="*/ 258899 w 2571750"/>
                <a:gd name="connsiteY1423" fmla="*/ 1099873 h 1703784"/>
                <a:gd name="connsiteX1424" fmla="*/ 258578 w 2571750"/>
                <a:gd name="connsiteY1424" fmla="*/ 1101481 h 1703784"/>
                <a:gd name="connsiteX1425" fmla="*/ 265972 w 2571750"/>
                <a:gd name="connsiteY1425" fmla="*/ 1010569 h 1703784"/>
                <a:gd name="connsiteX1426" fmla="*/ 265071 w 2571750"/>
                <a:gd name="connsiteY1426" fmla="*/ 1010569 h 1703784"/>
                <a:gd name="connsiteX1427" fmla="*/ 267579 w 2571750"/>
                <a:gd name="connsiteY1427" fmla="*/ 1010055 h 1703784"/>
                <a:gd name="connsiteX1428" fmla="*/ 226624 w 2571750"/>
                <a:gd name="connsiteY1428" fmla="*/ 983373 h 1703784"/>
                <a:gd name="connsiteX1429" fmla="*/ 227395 w 2571750"/>
                <a:gd name="connsiteY1429" fmla="*/ 984016 h 1703784"/>
                <a:gd name="connsiteX1430" fmla="*/ 225145 w 2571750"/>
                <a:gd name="connsiteY1430" fmla="*/ 982280 h 1703784"/>
                <a:gd name="connsiteX1431" fmla="*/ 226174 w 2571750"/>
                <a:gd name="connsiteY1431" fmla="*/ 983052 h 1703784"/>
                <a:gd name="connsiteX1432" fmla="*/ 39336 w 2571750"/>
                <a:gd name="connsiteY1432" fmla="*/ 1098009 h 1703784"/>
                <a:gd name="connsiteX1433" fmla="*/ 40493 w 2571750"/>
                <a:gd name="connsiteY1433" fmla="*/ 1097302 h 1703784"/>
                <a:gd name="connsiteX1434" fmla="*/ 39272 w 2571750"/>
                <a:gd name="connsiteY1434" fmla="*/ 1098395 h 1703784"/>
                <a:gd name="connsiteX1435" fmla="*/ 42036 w 2571750"/>
                <a:gd name="connsiteY1435" fmla="*/ 1093444 h 1703784"/>
                <a:gd name="connsiteX1436" fmla="*/ 42036 w 2571750"/>
                <a:gd name="connsiteY1436" fmla="*/ 1094537 h 1703784"/>
                <a:gd name="connsiteX1437" fmla="*/ 42036 w 2571750"/>
                <a:gd name="connsiteY1437" fmla="*/ 1093830 h 1703784"/>
                <a:gd name="connsiteX1438" fmla="*/ 42036 w 2571750"/>
                <a:gd name="connsiteY1438" fmla="*/ 1094666 h 1703784"/>
                <a:gd name="connsiteX1439" fmla="*/ 41651 w 2571750"/>
                <a:gd name="connsiteY1439" fmla="*/ 1095823 h 1703784"/>
                <a:gd name="connsiteX1440" fmla="*/ 41458 w 2571750"/>
                <a:gd name="connsiteY1440" fmla="*/ 1096209 h 1703784"/>
                <a:gd name="connsiteX1441" fmla="*/ 40943 w 2571750"/>
                <a:gd name="connsiteY1441" fmla="*/ 1096980 h 1703784"/>
                <a:gd name="connsiteX1442" fmla="*/ 42229 w 2571750"/>
                <a:gd name="connsiteY1442" fmla="*/ 1093315 h 1703784"/>
                <a:gd name="connsiteX1443" fmla="*/ 42229 w 2571750"/>
                <a:gd name="connsiteY1443" fmla="*/ 1093315 h 1703784"/>
                <a:gd name="connsiteX1444" fmla="*/ 82670 w 2571750"/>
                <a:gd name="connsiteY1444" fmla="*/ 1150280 h 1703784"/>
                <a:gd name="connsiteX1445" fmla="*/ 82220 w 2571750"/>
                <a:gd name="connsiteY1445" fmla="*/ 1151823 h 1703784"/>
                <a:gd name="connsiteX1446" fmla="*/ 82541 w 2571750"/>
                <a:gd name="connsiteY1446" fmla="*/ 1150665 h 1703784"/>
                <a:gd name="connsiteX1447" fmla="*/ 82670 w 2571750"/>
                <a:gd name="connsiteY1447" fmla="*/ 1149701 h 1703784"/>
                <a:gd name="connsiteX1448" fmla="*/ 82670 w 2571750"/>
                <a:gd name="connsiteY1448" fmla="*/ 1148608 h 1703784"/>
                <a:gd name="connsiteX1449" fmla="*/ 82670 w 2571750"/>
                <a:gd name="connsiteY1449" fmla="*/ 1150087 h 1703784"/>
                <a:gd name="connsiteX1450" fmla="*/ 142142 w 2571750"/>
                <a:gd name="connsiteY1450" fmla="*/ 1120897 h 1703784"/>
                <a:gd name="connsiteX1451" fmla="*/ 142142 w 2571750"/>
                <a:gd name="connsiteY1451" fmla="*/ 1120897 h 1703784"/>
                <a:gd name="connsiteX1452" fmla="*/ 208557 w 2571750"/>
                <a:gd name="connsiteY1452" fmla="*/ 1115368 h 1703784"/>
                <a:gd name="connsiteX1453" fmla="*/ 208879 w 2571750"/>
                <a:gd name="connsiteY1453" fmla="*/ 1115754 h 1703784"/>
                <a:gd name="connsiteX1454" fmla="*/ 208557 w 2571750"/>
                <a:gd name="connsiteY1454" fmla="*/ 1115754 h 1703784"/>
                <a:gd name="connsiteX1455" fmla="*/ 209007 w 2571750"/>
                <a:gd name="connsiteY1455" fmla="*/ 1115754 h 1703784"/>
                <a:gd name="connsiteX1456" fmla="*/ 209007 w 2571750"/>
                <a:gd name="connsiteY1456" fmla="*/ 1115754 h 1703784"/>
                <a:gd name="connsiteX1457" fmla="*/ 209007 w 2571750"/>
                <a:gd name="connsiteY1457" fmla="*/ 1115754 h 1703784"/>
                <a:gd name="connsiteX1458" fmla="*/ 213058 w 2571750"/>
                <a:gd name="connsiteY1458" fmla="*/ 1112346 h 1703784"/>
                <a:gd name="connsiteX1459" fmla="*/ 211579 w 2571750"/>
                <a:gd name="connsiteY1459" fmla="*/ 1112346 h 1703784"/>
                <a:gd name="connsiteX1460" fmla="*/ 209264 w 2571750"/>
                <a:gd name="connsiteY1460" fmla="*/ 1115883 h 1703784"/>
                <a:gd name="connsiteX1461" fmla="*/ 358233 w 2571750"/>
                <a:gd name="connsiteY1461" fmla="*/ 1223060 h 1703784"/>
                <a:gd name="connsiteX1462" fmla="*/ 358233 w 2571750"/>
                <a:gd name="connsiteY1462" fmla="*/ 1223060 h 1703784"/>
                <a:gd name="connsiteX1463" fmla="*/ 355918 w 2571750"/>
                <a:gd name="connsiteY1463" fmla="*/ 1223703 h 1703784"/>
                <a:gd name="connsiteX1464" fmla="*/ 352897 w 2571750"/>
                <a:gd name="connsiteY1464" fmla="*/ 1224603 h 1703784"/>
                <a:gd name="connsiteX1465" fmla="*/ 575674 w 2571750"/>
                <a:gd name="connsiteY1465" fmla="*/ 1533277 h 1703784"/>
                <a:gd name="connsiteX1466" fmla="*/ 575674 w 2571750"/>
                <a:gd name="connsiteY1466" fmla="*/ 1533277 h 1703784"/>
                <a:gd name="connsiteX1467" fmla="*/ 579918 w 2571750"/>
                <a:gd name="connsiteY1467" fmla="*/ 1535142 h 1703784"/>
                <a:gd name="connsiteX1468" fmla="*/ 579918 w 2571750"/>
                <a:gd name="connsiteY1468" fmla="*/ 1535142 h 1703784"/>
                <a:gd name="connsiteX1469" fmla="*/ 578118 w 2571750"/>
                <a:gd name="connsiteY1469" fmla="*/ 1534756 h 1703784"/>
                <a:gd name="connsiteX1470" fmla="*/ 577668 w 2571750"/>
                <a:gd name="connsiteY1470" fmla="*/ 1534756 h 1703784"/>
                <a:gd name="connsiteX1471" fmla="*/ 725993 w 2571750"/>
                <a:gd name="connsiteY1471" fmla="*/ 1101159 h 1703784"/>
                <a:gd name="connsiteX1472" fmla="*/ 726572 w 2571750"/>
                <a:gd name="connsiteY1472" fmla="*/ 1101288 h 1703784"/>
                <a:gd name="connsiteX1473" fmla="*/ 727858 w 2571750"/>
                <a:gd name="connsiteY1473" fmla="*/ 1098588 h 1703784"/>
                <a:gd name="connsiteX1474" fmla="*/ 727858 w 2571750"/>
                <a:gd name="connsiteY1474" fmla="*/ 1098202 h 1703784"/>
                <a:gd name="connsiteX1475" fmla="*/ 729401 w 2571750"/>
                <a:gd name="connsiteY1475" fmla="*/ 1096209 h 1703784"/>
                <a:gd name="connsiteX1476" fmla="*/ 729401 w 2571750"/>
                <a:gd name="connsiteY1476" fmla="*/ 1096209 h 1703784"/>
                <a:gd name="connsiteX1477" fmla="*/ 658163 w 2571750"/>
                <a:gd name="connsiteY1477" fmla="*/ 1055639 h 1703784"/>
                <a:gd name="connsiteX1478" fmla="*/ 658163 w 2571750"/>
                <a:gd name="connsiteY1478" fmla="*/ 1055639 h 1703784"/>
                <a:gd name="connsiteX1479" fmla="*/ 657456 w 2571750"/>
                <a:gd name="connsiteY1479" fmla="*/ 1057632 h 1703784"/>
                <a:gd name="connsiteX1480" fmla="*/ 657456 w 2571750"/>
                <a:gd name="connsiteY1480" fmla="*/ 1058082 h 1703784"/>
                <a:gd name="connsiteX1481" fmla="*/ 658035 w 2571750"/>
                <a:gd name="connsiteY1481" fmla="*/ 1057761 h 1703784"/>
                <a:gd name="connsiteX1482" fmla="*/ 657456 w 2571750"/>
                <a:gd name="connsiteY1482" fmla="*/ 1059754 h 1703784"/>
                <a:gd name="connsiteX1483" fmla="*/ 657456 w 2571750"/>
                <a:gd name="connsiteY1483" fmla="*/ 1060976 h 1703784"/>
                <a:gd name="connsiteX1484" fmla="*/ 657778 w 2571750"/>
                <a:gd name="connsiteY1484" fmla="*/ 1059883 h 1703784"/>
                <a:gd name="connsiteX1485" fmla="*/ 658356 w 2571750"/>
                <a:gd name="connsiteY1485" fmla="*/ 1068177 h 1703784"/>
                <a:gd name="connsiteX1486" fmla="*/ 658356 w 2571750"/>
                <a:gd name="connsiteY1486" fmla="*/ 1066376 h 1703784"/>
                <a:gd name="connsiteX1487" fmla="*/ 658678 w 2571750"/>
                <a:gd name="connsiteY1487" fmla="*/ 1068305 h 1703784"/>
                <a:gd name="connsiteX1488" fmla="*/ 658356 w 2571750"/>
                <a:gd name="connsiteY1488" fmla="*/ 1066312 h 1703784"/>
                <a:gd name="connsiteX1489" fmla="*/ 658035 w 2571750"/>
                <a:gd name="connsiteY1489" fmla="*/ 1064190 h 1703784"/>
                <a:gd name="connsiteX1490" fmla="*/ 658356 w 2571750"/>
                <a:gd name="connsiteY1490" fmla="*/ 1066441 h 1703784"/>
                <a:gd name="connsiteX1491" fmla="*/ 657971 w 2571750"/>
                <a:gd name="connsiteY1491" fmla="*/ 1063805 h 1703784"/>
                <a:gd name="connsiteX1492" fmla="*/ 657971 w 2571750"/>
                <a:gd name="connsiteY1492" fmla="*/ 1061940 h 1703784"/>
                <a:gd name="connsiteX1493" fmla="*/ 1183701 w 2571750"/>
                <a:gd name="connsiteY1493" fmla="*/ 627764 h 1703784"/>
                <a:gd name="connsiteX1494" fmla="*/ 1141395 w 2571750"/>
                <a:gd name="connsiteY1494" fmla="*/ 632586 h 1703784"/>
                <a:gd name="connsiteX1495" fmla="*/ 1134966 w 2571750"/>
                <a:gd name="connsiteY1495" fmla="*/ 648338 h 1703784"/>
                <a:gd name="connsiteX1496" fmla="*/ 1133487 w 2571750"/>
                <a:gd name="connsiteY1496" fmla="*/ 628150 h 1703784"/>
                <a:gd name="connsiteX1497" fmla="*/ 1165634 w 2571750"/>
                <a:gd name="connsiteY1497" fmla="*/ 623392 h 1703784"/>
                <a:gd name="connsiteX1498" fmla="*/ 1196881 w 2571750"/>
                <a:gd name="connsiteY1498" fmla="*/ 621914 h 1703784"/>
                <a:gd name="connsiteX1499" fmla="*/ 1183701 w 2571750"/>
                <a:gd name="connsiteY1499" fmla="*/ 627764 h 1703784"/>
                <a:gd name="connsiteX1500" fmla="*/ 896565 w 2571750"/>
                <a:gd name="connsiteY1500" fmla="*/ 700416 h 1703784"/>
                <a:gd name="connsiteX1501" fmla="*/ 898172 w 2571750"/>
                <a:gd name="connsiteY1501" fmla="*/ 702152 h 1703784"/>
                <a:gd name="connsiteX1502" fmla="*/ 896243 w 2571750"/>
                <a:gd name="connsiteY1502" fmla="*/ 700095 h 1703784"/>
                <a:gd name="connsiteX1503" fmla="*/ 901515 w 2571750"/>
                <a:gd name="connsiteY1503" fmla="*/ 703631 h 1703784"/>
                <a:gd name="connsiteX1504" fmla="*/ 901515 w 2571750"/>
                <a:gd name="connsiteY1504" fmla="*/ 703631 h 1703784"/>
                <a:gd name="connsiteX1505" fmla="*/ 939320 w 2571750"/>
                <a:gd name="connsiteY1505" fmla="*/ 636958 h 1703784"/>
                <a:gd name="connsiteX1506" fmla="*/ 950700 w 2571750"/>
                <a:gd name="connsiteY1506" fmla="*/ 637344 h 1703784"/>
                <a:gd name="connsiteX1507" fmla="*/ 955843 w 2571750"/>
                <a:gd name="connsiteY1507" fmla="*/ 631429 h 1703784"/>
                <a:gd name="connsiteX1508" fmla="*/ 958801 w 2571750"/>
                <a:gd name="connsiteY1508" fmla="*/ 638823 h 1703784"/>
                <a:gd name="connsiteX1509" fmla="*/ 965230 w 2571750"/>
                <a:gd name="connsiteY1509" fmla="*/ 655089 h 1703784"/>
                <a:gd name="connsiteX1510" fmla="*/ 961566 w 2571750"/>
                <a:gd name="connsiteY1510" fmla="*/ 660490 h 1703784"/>
                <a:gd name="connsiteX1511" fmla="*/ 946521 w 2571750"/>
                <a:gd name="connsiteY1511" fmla="*/ 657918 h 1703784"/>
                <a:gd name="connsiteX1512" fmla="*/ 945042 w 2571750"/>
                <a:gd name="connsiteY1512" fmla="*/ 640237 h 1703784"/>
                <a:gd name="connsiteX1513" fmla="*/ 939898 w 2571750"/>
                <a:gd name="connsiteY1513" fmla="*/ 658304 h 1703784"/>
                <a:gd name="connsiteX1514" fmla="*/ 938098 w 2571750"/>
                <a:gd name="connsiteY1514" fmla="*/ 639016 h 1703784"/>
                <a:gd name="connsiteX1515" fmla="*/ 938998 w 2571750"/>
                <a:gd name="connsiteY1515" fmla="*/ 636637 h 1703784"/>
                <a:gd name="connsiteX1516" fmla="*/ 975067 w 2571750"/>
                <a:gd name="connsiteY1516" fmla="*/ 629114 h 1703784"/>
                <a:gd name="connsiteX1517" fmla="*/ 957837 w 2571750"/>
                <a:gd name="connsiteY1517" fmla="*/ 624357 h 1703784"/>
                <a:gd name="connsiteX1518" fmla="*/ 974746 w 2571750"/>
                <a:gd name="connsiteY1518" fmla="*/ 628793 h 1703784"/>
                <a:gd name="connsiteX1519" fmla="*/ 971338 w 2571750"/>
                <a:gd name="connsiteY1519" fmla="*/ 793256 h 1703784"/>
                <a:gd name="connsiteX1520" fmla="*/ 971338 w 2571750"/>
                <a:gd name="connsiteY1520" fmla="*/ 793706 h 1703784"/>
                <a:gd name="connsiteX1521" fmla="*/ 971017 w 2571750"/>
                <a:gd name="connsiteY1521" fmla="*/ 792935 h 1703784"/>
                <a:gd name="connsiteX1522" fmla="*/ 972817 w 2571750"/>
                <a:gd name="connsiteY1522" fmla="*/ 790685 h 1703784"/>
                <a:gd name="connsiteX1523" fmla="*/ 972817 w 2571750"/>
                <a:gd name="connsiteY1523" fmla="*/ 790685 h 1703784"/>
                <a:gd name="connsiteX1524" fmla="*/ 971981 w 2571750"/>
                <a:gd name="connsiteY1524" fmla="*/ 791778 h 1703784"/>
                <a:gd name="connsiteX1525" fmla="*/ 971981 w 2571750"/>
                <a:gd name="connsiteY1525" fmla="*/ 792163 h 1703784"/>
                <a:gd name="connsiteX1526" fmla="*/ 975453 w 2571750"/>
                <a:gd name="connsiteY1526" fmla="*/ 789527 h 1703784"/>
                <a:gd name="connsiteX1527" fmla="*/ 975453 w 2571750"/>
                <a:gd name="connsiteY1527" fmla="*/ 789527 h 1703784"/>
                <a:gd name="connsiteX1528" fmla="*/ 1086167 w 2571750"/>
                <a:gd name="connsiteY1528" fmla="*/ 722147 h 1703784"/>
                <a:gd name="connsiteX1529" fmla="*/ 1086167 w 2571750"/>
                <a:gd name="connsiteY1529" fmla="*/ 722147 h 1703784"/>
                <a:gd name="connsiteX1530" fmla="*/ 1091118 w 2571750"/>
                <a:gd name="connsiteY1530" fmla="*/ 722147 h 1703784"/>
                <a:gd name="connsiteX1531" fmla="*/ 1091118 w 2571750"/>
                <a:gd name="connsiteY1531" fmla="*/ 722147 h 1703784"/>
                <a:gd name="connsiteX1532" fmla="*/ 1096840 w 2571750"/>
                <a:gd name="connsiteY1532" fmla="*/ 721440 h 1703784"/>
                <a:gd name="connsiteX1533" fmla="*/ 1096840 w 2571750"/>
                <a:gd name="connsiteY1533" fmla="*/ 721440 h 1703784"/>
                <a:gd name="connsiteX1534" fmla="*/ 1093882 w 2571750"/>
                <a:gd name="connsiteY1534" fmla="*/ 721890 h 1703784"/>
                <a:gd name="connsiteX1535" fmla="*/ 1093882 w 2571750"/>
                <a:gd name="connsiteY1535" fmla="*/ 721890 h 1703784"/>
                <a:gd name="connsiteX1536" fmla="*/ 1101019 w 2571750"/>
                <a:gd name="connsiteY1536" fmla="*/ 720347 h 1703784"/>
                <a:gd name="connsiteX1537" fmla="*/ 1100504 w 2571750"/>
                <a:gd name="connsiteY1537" fmla="*/ 720347 h 1703784"/>
                <a:gd name="connsiteX1538" fmla="*/ 1099283 w 2571750"/>
                <a:gd name="connsiteY1538" fmla="*/ 720926 h 1703784"/>
                <a:gd name="connsiteX1539" fmla="*/ 1098576 w 2571750"/>
                <a:gd name="connsiteY1539" fmla="*/ 720926 h 1703784"/>
                <a:gd name="connsiteX1540" fmla="*/ 1087710 w 2571750"/>
                <a:gd name="connsiteY1540" fmla="*/ 699966 h 1703784"/>
                <a:gd name="connsiteX1541" fmla="*/ 1087710 w 2571750"/>
                <a:gd name="connsiteY1541" fmla="*/ 699966 h 1703784"/>
                <a:gd name="connsiteX1542" fmla="*/ 1086424 w 2571750"/>
                <a:gd name="connsiteY1542" fmla="*/ 699581 h 1703784"/>
                <a:gd name="connsiteX1543" fmla="*/ 1086424 w 2571750"/>
                <a:gd name="connsiteY1543" fmla="*/ 699581 h 1703784"/>
                <a:gd name="connsiteX1544" fmla="*/ 1084817 w 2571750"/>
                <a:gd name="connsiteY1544" fmla="*/ 699581 h 1703784"/>
                <a:gd name="connsiteX1545" fmla="*/ 1083981 w 2571750"/>
                <a:gd name="connsiteY1545" fmla="*/ 699581 h 1703784"/>
                <a:gd name="connsiteX1546" fmla="*/ 1080509 w 2571750"/>
                <a:gd name="connsiteY1546" fmla="*/ 700673 h 1703784"/>
                <a:gd name="connsiteX1547" fmla="*/ 1082888 w 2571750"/>
                <a:gd name="connsiteY1547" fmla="*/ 699902 h 1703784"/>
                <a:gd name="connsiteX1548" fmla="*/ 1059485 w 2571750"/>
                <a:gd name="connsiteY1548" fmla="*/ 769339 h 1703784"/>
                <a:gd name="connsiteX1549" fmla="*/ 1058585 w 2571750"/>
                <a:gd name="connsiteY1549" fmla="*/ 768953 h 1703784"/>
                <a:gd name="connsiteX1550" fmla="*/ 1057878 w 2571750"/>
                <a:gd name="connsiteY1550" fmla="*/ 768568 h 1703784"/>
                <a:gd name="connsiteX1551" fmla="*/ 1056785 w 2571750"/>
                <a:gd name="connsiteY1551" fmla="*/ 767925 h 1703784"/>
                <a:gd name="connsiteX1552" fmla="*/ 905051 w 2571750"/>
                <a:gd name="connsiteY1552" fmla="*/ 702859 h 1703784"/>
                <a:gd name="connsiteX1553" fmla="*/ 904730 w 2571750"/>
                <a:gd name="connsiteY1553" fmla="*/ 702859 h 1703784"/>
                <a:gd name="connsiteX1554" fmla="*/ 904537 w 2571750"/>
                <a:gd name="connsiteY1554" fmla="*/ 703245 h 1703784"/>
                <a:gd name="connsiteX1555" fmla="*/ 903894 w 2571750"/>
                <a:gd name="connsiteY1555" fmla="*/ 703245 h 1703784"/>
                <a:gd name="connsiteX1556" fmla="*/ 903637 w 2571750"/>
                <a:gd name="connsiteY1556" fmla="*/ 703631 h 1703784"/>
                <a:gd name="connsiteX1557" fmla="*/ 902801 w 2571750"/>
                <a:gd name="connsiteY1557" fmla="*/ 703631 h 1703784"/>
                <a:gd name="connsiteX1558" fmla="*/ 901194 w 2571750"/>
                <a:gd name="connsiteY1558" fmla="*/ 703631 h 1703784"/>
                <a:gd name="connsiteX1559" fmla="*/ 900101 w 2571750"/>
                <a:gd name="connsiteY1559" fmla="*/ 703309 h 1703784"/>
                <a:gd name="connsiteX1560" fmla="*/ 899715 w 2571750"/>
                <a:gd name="connsiteY1560" fmla="*/ 703181 h 1703784"/>
                <a:gd name="connsiteX1561" fmla="*/ 898558 w 2571750"/>
                <a:gd name="connsiteY1561" fmla="*/ 702409 h 1703784"/>
                <a:gd name="connsiteX1562" fmla="*/ 699247 w 2571750"/>
                <a:gd name="connsiteY1562" fmla="*/ 835626 h 1703784"/>
                <a:gd name="connsiteX1563" fmla="*/ 699247 w 2571750"/>
                <a:gd name="connsiteY1563" fmla="*/ 835626 h 1703784"/>
                <a:gd name="connsiteX1564" fmla="*/ 698476 w 2571750"/>
                <a:gd name="connsiteY1564" fmla="*/ 835626 h 1703784"/>
                <a:gd name="connsiteX1565" fmla="*/ 698476 w 2571750"/>
                <a:gd name="connsiteY1565" fmla="*/ 835626 h 1703784"/>
                <a:gd name="connsiteX1566" fmla="*/ 697961 w 2571750"/>
                <a:gd name="connsiteY1566" fmla="*/ 835626 h 1703784"/>
                <a:gd name="connsiteX1567" fmla="*/ 693268 w 2571750"/>
                <a:gd name="connsiteY1567" fmla="*/ 835626 h 1703784"/>
                <a:gd name="connsiteX1568" fmla="*/ 697640 w 2571750"/>
                <a:gd name="connsiteY1568" fmla="*/ 835305 h 1703784"/>
                <a:gd name="connsiteX1569" fmla="*/ 728951 w 2571750"/>
                <a:gd name="connsiteY1569" fmla="*/ 762781 h 1703784"/>
                <a:gd name="connsiteX1570" fmla="*/ 733580 w 2571750"/>
                <a:gd name="connsiteY1570" fmla="*/ 764196 h 1703784"/>
                <a:gd name="connsiteX1571" fmla="*/ 733580 w 2571750"/>
                <a:gd name="connsiteY1571" fmla="*/ 764196 h 1703784"/>
                <a:gd name="connsiteX1572" fmla="*/ 768684 w 2571750"/>
                <a:gd name="connsiteY1572" fmla="*/ 733849 h 1703784"/>
                <a:gd name="connsiteX1573" fmla="*/ 766884 w 2571750"/>
                <a:gd name="connsiteY1573" fmla="*/ 732563 h 1703784"/>
                <a:gd name="connsiteX1574" fmla="*/ 768684 w 2571750"/>
                <a:gd name="connsiteY1574" fmla="*/ 733978 h 1703784"/>
                <a:gd name="connsiteX1575" fmla="*/ 766498 w 2571750"/>
                <a:gd name="connsiteY1575" fmla="*/ 732049 h 1703784"/>
                <a:gd name="connsiteX1576" fmla="*/ 765791 w 2571750"/>
                <a:gd name="connsiteY1576" fmla="*/ 731020 h 1703784"/>
                <a:gd name="connsiteX1577" fmla="*/ 765791 w 2571750"/>
                <a:gd name="connsiteY1577" fmla="*/ 730634 h 1703784"/>
                <a:gd name="connsiteX1578" fmla="*/ 765405 w 2571750"/>
                <a:gd name="connsiteY1578" fmla="*/ 729413 h 1703784"/>
                <a:gd name="connsiteX1579" fmla="*/ 780000 w 2571750"/>
                <a:gd name="connsiteY1579" fmla="*/ 739057 h 1703784"/>
                <a:gd name="connsiteX1580" fmla="*/ 782893 w 2571750"/>
                <a:gd name="connsiteY1580" fmla="*/ 738735 h 1703784"/>
                <a:gd name="connsiteX1581" fmla="*/ 779743 w 2571750"/>
                <a:gd name="connsiteY1581" fmla="*/ 738928 h 1703784"/>
                <a:gd name="connsiteX1582" fmla="*/ 772220 w 2571750"/>
                <a:gd name="connsiteY1582" fmla="*/ 710510 h 1703784"/>
                <a:gd name="connsiteX1583" fmla="*/ 772220 w 2571750"/>
                <a:gd name="connsiteY1583" fmla="*/ 711989 h 1703784"/>
                <a:gd name="connsiteX1584" fmla="*/ 772220 w 2571750"/>
                <a:gd name="connsiteY1584" fmla="*/ 710510 h 1703784"/>
                <a:gd name="connsiteX1585" fmla="*/ 771513 w 2571750"/>
                <a:gd name="connsiteY1585" fmla="*/ 708839 h 1703784"/>
                <a:gd name="connsiteX1586" fmla="*/ 771963 w 2571750"/>
                <a:gd name="connsiteY1586" fmla="*/ 709932 h 1703784"/>
                <a:gd name="connsiteX1587" fmla="*/ 771770 w 2571750"/>
                <a:gd name="connsiteY1587" fmla="*/ 708839 h 1703784"/>
                <a:gd name="connsiteX1588" fmla="*/ 768234 w 2571750"/>
                <a:gd name="connsiteY1588" fmla="*/ 703181 h 1703784"/>
                <a:gd name="connsiteX1589" fmla="*/ 768234 w 2571750"/>
                <a:gd name="connsiteY1589" fmla="*/ 703181 h 1703784"/>
                <a:gd name="connsiteX1590" fmla="*/ 768492 w 2571750"/>
                <a:gd name="connsiteY1590" fmla="*/ 703181 h 1703784"/>
                <a:gd name="connsiteX1591" fmla="*/ 764248 w 2571750"/>
                <a:gd name="connsiteY1591" fmla="*/ 727227 h 1703784"/>
                <a:gd name="connsiteX1592" fmla="*/ 763798 w 2571750"/>
                <a:gd name="connsiteY1592" fmla="*/ 726327 h 1703784"/>
                <a:gd name="connsiteX1593" fmla="*/ 764505 w 2571750"/>
                <a:gd name="connsiteY1593" fmla="*/ 727227 h 1703784"/>
                <a:gd name="connsiteX1594" fmla="*/ 763541 w 2571750"/>
                <a:gd name="connsiteY1594" fmla="*/ 726005 h 1703784"/>
                <a:gd name="connsiteX1595" fmla="*/ 762898 w 2571750"/>
                <a:gd name="connsiteY1595" fmla="*/ 725362 h 1703784"/>
                <a:gd name="connsiteX1596" fmla="*/ 763798 w 2571750"/>
                <a:gd name="connsiteY1596" fmla="*/ 726005 h 1703784"/>
                <a:gd name="connsiteX1597" fmla="*/ 761033 w 2571750"/>
                <a:gd name="connsiteY1597" fmla="*/ 724655 h 1703784"/>
                <a:gd name="connsiteX1598" fmla="*/ 762576 w 2571750"/>
                <a:gd name="connsiteY1598" fmla="*/ 725169 h 1703784"/>
                <a:gd name="connsiteX1599" fmla="*/ 761033 w 2571750"/>
                <a:gd name="connsiteY1599" fmla="*/ 724655 h 1703784"/>
                <a:gd name="connsiteX1600" fmla="*/ 759876 w 2571750"/>
                <a:gd name="connsiteY1600" fmla="*/ 724655 h 1703784"/>
                <a:gd name="connsiteX1601" fmla="*/ 759876 w 2571750"/>
                <a:gd name="connsiteY1601" fmla="*/ 724655 h 1703784"/>
                <a:gd name="connsiteX1602" fmla="*/ 761290 w 2571750"/>
                <a:gd name="connsiteY1602" fmla="*/ 724655 h 1703784"/>
                <a:gd name="connsiteX1603" fmla="*/ 757433 w 2571750"/>
                <a:gd name="connsiteY1603" fmla="*/ 730699 h 1703784"/>
                <a:gd name="connsiteX1604" fmla="*/ 757433 w 2571750"/>
                <a:gd name="connsiteY1604" fmla="*/ 730699 h 1703784"/>
                <a:gd name="connsiteX1605" fmla="*/ 747403 w 2571750"/>
                <a:gd name="connsiteY1605" fmla="*/ 713982 h 1703784"/>
                <a:gd name="connsiteX1606" fmla="*/ 747403 w 2571750"/>
                <a:gd name="connsiteY1606" fmla="*/ 713982 h 1703784"/>
                <a:gd name="connsiteX1607" fmla="*/ 773828 w 2571750"/>
                <a:gd name="connsiteY1607" fmla="*/ 876903 h 1703784"/>
                <a:gd name="connsiteX1608" fmla="*/ 773828 w 2571750"/>
                <a:gd name="connsiteY1608" fmla="*/ 876903 h 1703784"/>
                <a:gd name="connsiteX1609" fmla="*/ 772478 w 2571750"/>
                <a:gd name="connsiteY1609" fmla="*/ 876903 h 1703784"/>
                <a:gd name="connsiteX1610" fmla="*/ 772478 w 2571750"/>
                <a:gd name="connsiteY1610" fmla="*/ 876903 h 1703784"/>
                <a:gd name="connsiteX1611" fmla="*/ 777107 w 2571750"/>
                <a:gd name="connsiteY1611" fmla="*/ 877353 h 1703784"/>
                <a:gd name="connsiteX1612" fmla="*/ 777107 w 2571750"/>
                <a:gd name="connsiteY1612" fmla="*/ 877353 h 1703784"/>
                <a:gd name="connsiteX1613" fmla="*/ 775371 w 2571750"/>
                <a:gd name="connsiteY1613" fmla="*/ 877353 h 1703784"/>
                <a:gd name="connsiteX1614" fmla="*/ 775371 w 2571750"/>
                <a:gd name="connsiteY1614" fmla="*/ 877353 h 1703784"/>
                <a:gd name="connsiteX1615" fmla="*/ 783472 w 2571750"/>
                <a:gd name="connsiteY1615" fmla="*/ 738671 h 1703784"/>
                <a:gd name="connsiteX1616" fmla="*/ 786236 w 2571750"/>
                <a:gd name="connsiteY1616" fmla="*/ 737835 h 1703784"/>
                <a:gd name="connsiteX1617" fmla="*/ 783729 w 2571750"/>
                <a:gd name="connsiteY1617" fmla="*/ 738350 h 1703784"/>
                <a:gd name="connsiteX1618" fmla="*/ 787201 w 2571750"/>
                <a:gd name="connsiteY1618" fmla="*/ 737449 h 1703784"/>
                <a:gd name="connsiteX1619" fmla="*/ 795109 w 2571750"/>
                <a:gd name="connsiteY1619" fmla="*/ 732756 h 1703784"/>
                <a:gd name="connsiteX1620" fmla="*/ 787458 w 2571750"/>
                <a:gd name="connsiteY1620" fmla="*/ 737064 h 1703784"/>
                <a:gd name="connsiteX1621" fmla="*/ 786429 w 2571750"/>
                <a:gd name="connsiteY1621" fmla="*/ 696494 h 1703784"/>
                <a:gd name="connsiteX1622" fmla="*/ 786879 w 2571750"/>
                <a:gd name="connsiteY1622" fmla="*/ 696494 h 1703784"/>
                <a:gd name="connsiteX1623" fmla="*/ 797102 w 2571750"/>
                <a:gd name="connsiteY1623" fmla="*/ 731406 h 1703784"/>
                <a:gd name="connsiteX1624" fmla="*/ 798902 w 2571750"/>
                <a:gd name="connsiteY1624" fmla="*/ 730120 h 1703784"/>
                <a:gd name="connsiteX1625" fmla="*/ 779807 w 2571750"/>
                <a:gd name="connsiteY1625" fmla="*/ 692830 h 1703784"/>
                <a:gd name="connsiteX1626" fmla="*/ 778650 w 2571750"/>
                <a:gd name="connsiteY1626" fmla="*/ 692058 h 1703784"/>
                <a:gd name="connsiteX1627" fmla="*/ 778200 w 2571750"/>
                <a:gd name="connsiteY1627" fmla="*/ 691994 h 1703784"/>
                <a:gd name="connsiteX1628" fmla="*/ 777107 w 2571750"/>
                <a:gd name="connsiteY1628" fmla="*/ 691994 h 1703784"/>
                <a:gd name="connsiteX1629" fmla="*/ 778650 w 2571750"/>
                <a:gd name="connsiteY1629" fmla="*/ 691544 h 1703784"/>
                <a:gd name="connsiteX1630" fmla="*/ 599913 w 2571750"/>
                <a:gd name="connsiteY1630" fmla="*/ 524830 h 1703784"/>
                <a:gd name="connsiteX1631" fmla="*/ 600363 w 2571750"/>
                <a:gd name="connsiteY1631" fmla="*/ 526630 h 1703784"/>
                <a:gd name="connsiteX1632" fmla="*/ 600170 w 2571750"/>
                <a:gd name="connsiteY1632" fmla="*/ 524380 h 1703784"/>
                <a:gd name="connsiteX1633" fmla="*/ 470940 w 2571750"/>
                <a:gd name="connsiteY1633" fmla="*/ 709739 h 1703784"/>
                <a:gd name="connsiteX1634" fmla="*/ 470940 w 2571750"/>
                <a:gd name="connsiteY1634" fmla="*/ 709739 h 1703784"/>
                <a:gd name="connsiteX1635" fmla="*/ 464511 w 2571750"/>
                <a:gd name="connsiteY1635" fmla="*/ 689358 h 1703784"/>
                <a:gd name="connsiteX1636" fmla="*/ 461939 w 2571750"/>
                <a:gd name="connsiteY1636" fmla="*/ 687557 h 1703784"/>
                <a:gd name="connsiteX1637" fmla="*/ 465282 w 2571750"/>
                <a:gd name="connsiteY1637" fmla="*/ 689872 h 1703784"/>
                <a:gd name="connsiteX1638" fmla="*/ 486628 w 2571750"/>
                <a:gd name="connsiteY1638" fmla="*/ 687236 h 1703784"/>
                <a:gd name="connsiteX1639" fmla="*/ 486628 w 2571750"/>
                <a:gd name="connsiteY1639" fmla="*/ 688265 h 1703784"/>
                <a:gd name="connsiteX1640" fmla="*/ 486628 w 2571750"/>
                <a:gd name="connsiteY1640" fmla="*/ 687429 h 1703784"/>
                <a:gd name="connsiteX1641" fmla="*/ 486628 w 2571750"/>
                <a:gd name="connsiteY1641" fmla="*/ 687429 h 1703784"/>
                <a:gd name="connsiteX1642" fmla="*/ 540763 w 2571750"/>
                <a:gd name="connsiteY1642" fmla="*/ 469409 h 1703784"/>
                <a:gd name="connsiteX1643" fmla="*/ 542242 w 2571750"/>
                <a:gd name="connsiteY1643" fmla="*/ 467994 h 1703784"/>
                <a:gd name="connsiteX1644" fmla="*/ 540763 w 2571750"/>
                <a:gd name="connsiteY1644" fmla="*/ 469409 h 1703784"/>
                <a:gd name="connsiteX1645" fmla="*/ 501737 w 2571750"/>
                <a:gd name="connsiteY1645" fmla="*/ 543475 h 1703784"/>
                <a:gd name="connsiteX1646" fmla="*/ 501737 w 2571750"/>
                <a:gd name="connsiteY1646" fmla="*/ 542961 h 1703784"/>
                <a:gd name="connsiteX1647" fmla="*/ 501672 w 2571750"/>
                <a:gd name="connsiteY1647" fmla="*/ 543475 h 1703784"/>
                <a:gd name="connsiteX1648" fmla="*/ 501737 w 2571750"/>
                <a:gd name="connsiteY1648" fmla="*/ 542447 h 1703784"/>
                <a:gd name="connsiteX1649" fmla="*/ 501737 w 2571750"/>
                <a:gd name="connsiteY1649" fmla="*/ 541546 h 1703784"/>
                <a:gd name="connsiteX1650" fmla="*/ 501737 w 2571750"/>
                <a:gd name="connsiteY1650" fmla="*/ 541225 h 1703784"/>
                <a:gd name="connsiteX1651" fmla="*/ 501737 w 2571750"/>
                <a:gd name="connsiteY1651" fmla="*/ 540068 h 1703784"/>
                <a:gd name="connsiteX1652" fmla="*/ 501158 w 2571750"/>
                <a:gd name="connsiteY1652" fmla="*/ 541225 h 1703784"/>
                <a:gd name="connsiteX1653" fmla="*/ 501737 w 2571750"/>
                <a:gd name="connsiteY1653" fmla="*/ 533188 h 1703784"/>
                <a:gd name="connsiteX1654" fmla="*/ 501737 w 2571750"/>
                <a:gd name="connsiteY1654" fmla="*/ 534538 h 1703784"/>
                <a:gd name="connsiteX1655" fmla="*/ 501222 w 2571750"/>
                <a:gd name="connsiteY1655" fmla="*/ 533188 h 1703784"/>
                <a:gd name="connsiteX1656" fmla="*/ 501737 w 2571750"/>
                <a:gd name="connsiteY1656" fmla="*/ 534796 h 1703784"/>
                <a:gd name="connsiteX1657" fmla="*/ 501737 w 2571750"/>
                <a:gd name="connsiteY1657" fmla="*/ 536274 h 1703784"/>
                <a:gd name="connsiteX1658" fmla="*/ 500965 w 2571750"/>
                <a:gd name="connsiteY1658" fmla="*/ 534796 h 1703784"/>
                <a:gd name="connsiteX1659" fmla="*/ 501737 w 2571750"/>
                <a:gd name="connsiteY1659" fmla="*/ 536403 h 1703784"/>
                <a:gd name="connsiteX1660" fmla="*/ 501737 w 2571750"/>
                <a:gd name="connsiteY1660" fmla="*/ 536403 h 1703784"/>
                <a:gd name="connsiteX1661" fmla="*/ 501737 w 2571750"/>
                <a:gd name="connsiteY1661" fmla="*/ 539939 h 1703784"/>
                <a:gd name="connsiteX1662" fmla="*/ 501737 w 2571750"/>
                <a:gd name="connsiteY1662" fmla="*/ 538203 h 1703784"/>
                <a:gd name="connsiteX1663" fmla="*/ 500965 w 2571750"/>
                <a:gd name="connsiteY1663" fmla="*/ 539939 h 1703784"/>
                <a:gd name="connsiteX1664" fmla="*/ 492928 w 2571750"/>
                <a:gd name="connsiteY1664" fmla="*/ 599154 h 1703784"/>
                <a:gd name="connsiteX1665" fmla="*/ 492928 w 2571750"/>
                <a:gd name="connsiteY1665" fmla="*/ 598189 h 1703784"/>
                <a:gd name="connsiteX1666" fmla="*/ 492157 w 2571750"/>
                <a:gd name="connsiteY1666" fmla="*/ 599154 h 1703784"/>
                <a:gd name="connsiteX1667" fmla="*/ 488235 w 2571750"/>
                <a:gd name="connsiteY1667" fmla="*/ 660233 h 1703784"/>
                <a:gd name="connsiteX1668" fmla="*/ 488878 w 2571750"/>
                <a:gd name="connsiteY1668" fmla="*/ 659654 h 1703784"/>
                <a:gd name="connsiteX1669" fmla="*/ 488814 w 2571750"/>
                <a:gd name="connsiteY1669" fmla="*/ 655796 h 1703784"/>
                <a:gd name="connsiteX1670" fmla="*/ 488814 w 2571750"/>
                <a:gd name="connsiteY1670" fmla="*/ 655796 h 1703784"/>
                <a:gd name="connsiteX1671" fmla="*/ 488814 w 2571750"/>
                <a:gd name="connsiteY1671" fmla="*/ 655025 h 1703784"/>
                <a:gd name="connsiteX1672" fmla="*/ 488814 w 2571750"/>
                <a:gd name="connsiteY1672" fmla="*/ 653610 h 1703784"/>
                <a:gd name="connsiteX1673" fmla="*/ 487849 w 2571750"/>
                <a:gd name="connsiteY1673" fmla="*/ 655025 h 1703784"/>
                <a:gd name="connsiteX1674" fmla="*/ 485663 w 2571750"/>
                <a:gd name="connsiteY1674" fmla="*/ 590217 h 1703784"/>
                <a:gd name="connsiteX1675" fmla="*/ 486113 w 2571750"/>
                <a:gd name="connsiteY1675" fmla="*/ 591824 h 1703784"/>
                <a:gd name="connsiteX1676" fmla="*/ 484699 w 2571750"/>
                <a:gd name="connsiteY1676" fmla="*/ 590217 h 1703784"/>
                <a:gd name="connsiteX1677" fmla="*/ 486242 w 2571750"/>
                <a:gd name="connsiteY1677" fmla="*/ 592146 h 1703784"/>
                <a:gd name="connsiteX1678" fmla="*/ 487399 w 2571750"/>
                <a:gd name="connsiteY1678" fmla="*/ 593689 h 1703784"/>
                <a:gd name="connsiteX1679" fmla="*/ 485277 w 2571750"/>
                <a:gd name="connsiteY1679" fmla="*/ 592146 h 1703784"/>
                <a:gd name="connsiteX1680" fmla="*/ 487721 w 2571750"/>
                <a:gd name="connsiteY1680" fmla="*/ 594010 h 1703784"/>
                <a:gd name="connsiteX1681" fmla="*/ 488878 w 2571750"/>
                <a:gd name="connsiteY1681" fmla="*/ 594974 h 1703784"/>
                <a:gd name="connsiteX1682" fmla="*/ 488235 w 2571750"/>
                <a:gd name="connsiteY1682" fmla="*/ 594524 h 1703784"/>
                <a:gd name="connsiteX1683" fmla="*/ 486756 w 2571750"/>
                <a:gd name="connsiteY1683" fmla="*/ 594010 h 1703784"/>
                <a:gd name="connsiteX1684" fmla="*/ 491128 w 2571750"/>
                <a:gd name="connsiteY1684" fmla="*/ 596325 h 1703784"/>
                <a:gd name="connsiteX1685" fmla="*/ 489456 w 2571750"/>
                <a:gd name="connsiteY1685" fmla="*/ 595425 h 1703784"/>
                <a:gd name="connsiteX1686" fmla="*/ 491128 w 2571750"/>
                <a:gd name="connsiteY1686" fmla="*/ 596325 h 1703784"/>
                <a:gd name="connsiteX1687" fmla="*/ 492478 w 2571750"/>
                <a:gd name="connsiteY1687" fmla="*/ 597032 h 1703784"/>
                <a:gd name="connsiteX1688" fmla="*/ 490164 w 2571750"/>
                <a:gd name="connsiteY1688" fmla="*/ 596325 h 1703784"/>
                <a:gd name="connsiteX1689" fmla="*/ 491128 w 2571750"/>
                <a:gd name="connsiteY1689" fmla="*/ 580701 h 1703784"/>
                <a:gd name="connsiteX1690" fmla="*/ 491128 w 2571750"/>
                <a:gd name="connsiteY1690" fmla="*/ 579994 h 1703784"/>
                <a:gd name="connsiteX1691" fmla="*/ 490421 w 2571750"/>
                <a:gd name="connsiteY1691" fmla="*/ 580701 h 1703784"/>
                <a:gd name="connsiteX1692" fmla="*/ 491128 w 2571750"/>
                <a:gd name="connsiteY1692" fmla="*/ 579930 h 1703784"/>
                <a:gd name="connsiteX1693" fmla="*/ 490421 w 2571750"/>
                <a:gd name="connsiteY1693" fmla="*/ 573500 h 1703784"/>
                <a:gd name="connsiteX1694" fmla="*/ 490614 w 2571750"/>
                <a:gd name="connsiteY1694" fmla="*/ 579930 h 1703784"/>
                <a:gd name="connsiteX1695" fmla="*/ 490421 w 2571750"/>
                <a:gd name="connsiteY1695" fmla="*/ 572600 h 1703784"/>
                <a:gd name="connsiteX1696" fmla="*/ 490421 w 2571750"/>
                <a:gd name="connsiteY1696" fmla="*/ 572600 h 1703784"/>
                <a:gd name="connsiteX1697" fmla="*/ 469268 w 2571750"/>
                <a:gd name="connsiteY1697" fmla="*/ 626671 h 1703784"/>
                <a:gd name="connsiteX1698" fmla="*/ 468625 w 2571750"/>
                <a:gd name="connsiteY1698" fmla="*/ 627057 h 1703784"/>
                <a:gd name="connsiteX1699" fmla="*/ 468754 w 2571750"/>
                <a:gd name="connsiteY1699" fmla="*/ 626671 h 1703784"/>
                <a:gd name="connsiteX1700" fmla="*/ 466311 w 2571750"/>
                <a:gd name="connsiteY1700" fmla="*/ 628536 h 1703784"/>
                <a:gd name="connsiteX1701" fmla="*/ 465604 w 2571750"/>
                <a:gd name="connsiteY1701" fmla="*/ 628922 h 1703784"/>
                <a:gd name="connsiteX1702" fmla="*/ 464575 w 2571750"/>
                <a:gd name="connsiteY1702" fmla="*/ 629629 h 1703784"/>
                <a:gd name="connsiteX1703" fmla="*/ 464896 w 2571750"/>
                <a:gd name="connsiteY1703" fmla="*/ 629629 h 1703784"/>
                <a:gd name="connsiteX1704" fmla="*/ 464253 w 2571750"/>
                <a:gd name="connsiteY1704" fmla="*/ 630400 h 1703784"/>
                <a:gd name="connsiteX1705" fmla="*/ 464061 w 2571750"/>
                <a:gd name="connsiteY1705" fmla="*/ 629629 h 1703784"/>
                <a:gd name="connsiteX1706" fmla="*/ 487656 w 2571750"/>
                <a:gd name="connsiteY1706" fmla="*/ 683378 h 1703784"/>
                <a:gd name="connsiteX1707" fmla="*/ 487656 w 2571750"/>
                <a:gd name="connsiteY1707" fmla="*/ 681707 h 1703784"/>
                <a:gd name="connsiteX1708" fmla="*/ 487142 w 2571750"/>
                <a:gd name="connsiteY1708" fmla="*/ 683378 h 1703784"/>
                <a:gd name="connsiteX1709" fmla="*/ 488878 w 2571750"/>
                <a:gd name="connsiteY1709" fmla="*/ 659204 h 1703784"/>
                <a:gd name="connsiteX1710" fmla="*/ 488878 w 2571750"/>
                <a:gd name="connsiteY1710" fmla="*/ 659204 h 1703784"/>
                <a:gd name="connsiteX1711" fmla="*/ 488878 w 2571750"/>
                <a:gd name="connsiteY1711" fmla="*/ 659204 h 1703784"/>
                <a:gd name="connsiteX1712" fmla="*/ 491514 w 2571750"/>
                <a:gd name="connsiteY1712" fmla="*/ 600439 h 1703784"/>
                <a:gd name="connsiteX1713" fmla="*/ 492543 w 2571750"/>
                <a:gd name="connsiteY1713" fmla="*/ 599346 h 1703784"/>
                <a:gd name="connsiteX1714" fmla="*/ 491000 w 2571750"/>
                <a:gd name="connsiteY1714" fmla="*/ 600439 h 1703784"/>
                <a:gd name="connsiteX1715" fmla="*/ 492800 w 2571750"/>
                <a:gd name="connsiteY1715" fmla="*/ 597932 h 1703784"/>
                <a:gd name="connsiteX1716" fmla="*/ 492414 w 2571750"/>
                <a:gd name="connsiteY1716" fmla="*/ 597418 h 1703784"/>
                <a:gd name="connsiteX1717" fmla="*/ 492736 w 2571750"/>
                <a:gd name="connsiteY1717" fmla="*/ 597739 h 1703784"/>
                <a:gd name="connsiteX1718" fmla="*/ 492285 w 2571750"/>
                <a:gd name="connsiteY1718" fmla="*/ 597932 h 1703784"/>
                <a:gd name="connsiteX1719" fmla="*/ 537806 w 2571750"/>
                <a:gd name="connsiteY1719" fmla="*/ 594846 h 1703784"/>
                <a:gd name="connsiteX1720" fmla="*/ 537163 w 2571750"/>
                <a:gd name="connsiteY1720" fmla="*/ 595167 h 1703784"/>
                <a:gd name="connsiteX1721" fmla="*/ 542049 w 2571750"/>
                <a:gd name="connsiteY1721" fmla="*/ 593110 h 1703784"/>
                <a:gd name="connsiteX1722" fmla="*/ 540442 w 2571750"/>
                <a:gd name="connsiteY1722" fmla="*/ 593689 h 1703784"/>
                <a:gd name="connsiteX1723" fmla="*/ 539799 w 2571750"/>
                <a:gd name="connsiteY1723" fmla="*/ 593946 h 1703784"/>
                <a:gd name="connsiteX1724" fmla="*/ 538577 w 2571750"/>
                <a:gd name="connsiteY1724" fmla="*/ 594396 h 1703784"/>
                <a:gd name="connsiteX1725" fmla="*/ 544814 w 2571750"/>
                <a:gd name="connsiteY1725" fmla="*/ 592274 h 1703784"/>
                <a:gd name="connsiteX1726" fmla="*/ 542499 w 2571750"/>
                <a:gd name="connsiteY1726" fmla="*/ 592981 h 1703784"/>
                <a:gd name="connsiteX1727" fmla="*/ 549314 w 2571750"/>
                <a:gd name="connsiteY1727" fmla="*/ 591117 h 1703784"/>
                <a:gd name="connsiteX1728" fmla="*/ 547707 w 2571750"/>
                <a:gd name="connsiteY1728" fmla="*/ 591503 h 1703784"/>
                <a:gd name="connsiteX1729" fmla="*/ 547257 w 2571750"/>
                <a:gd name="connsiteY1729" fmla="*/ 591631 h 1703784"/>
                <a:gd name="connsiteX1730" fmla="*/ 545071 w 2571750"/>
                <a:gd name="connsiteY1730" fmla="*/ 592146 h 1703784"/>
                <a:gd name="connsiteX1731" fmla="*/ 551436 w 2571750"/>
                <a:gd name="connsiteY1731" fmla="*/ 590731 h 1703784"/>
                <a:gd name="connsiteX1732" fmla="*/ 549893 w 2571750"/>
                <a:gd name="connsiteY1732" fmla="*/ 590731 h 1703784"/>
                <a:gd name="connsiteX1733" fmla="*/ 557351 w 2571750"/>
                <a:gd name="connsiteY1733" fmla="*/ 453271 h 1703784"/>
                <a:gd name="connsiteX1734" fmla="*/ 558251 w 2571750"/>
                <a:gd name="connsiteY1734" fmla="*/ 454750 h 1703784"/>
                <a:gd name="connsiteX1735" fmla="*/ 556579 w 2571750"/>
                <a:gd name="connsiteY1735" fmla="*/ 453271 h 1703784"/>
                <a:gd name="connsiteX1736" fmla="*/ 558379 w 2571750"/>
                <a:gd name="connsiteY1736" fmla="*/ 455071 h 1703784"/>
                <a:gd name="connsiteX1737" fmla="*/ 558894 w 2571750"/>
                <a:gd name="connsiteY1737" fmla="*/ 456743 h 1703784"/>
                <a:gd name="connsiteX1738" fmla="*/ 557608 w 2571750"/>
                <a:gd name="connsiteY1738" fmla="*/ 455071 h 1703784"/>
                <a:gd name="connsiteX1739" fmla="*/ 551950 w 2571750"/>
                <a:gd name="connsiteY1739" fmla="*/ 439255 h 1703784"/>
                <a:gd name="connsiteX1740" fmla="*/ 550664 w 2571750"/>
                <a:gd name="connsiteY1740" fmla="*/ 437583 h 1703784"/>
                <a:gd name="connsiteX1741" fmla="*/ 551371 w 2571750"/>
                <a:gd name="connsiteY1741" fmla="*/ 439255 h 1703784"/>
                <a:gd name="connsiteX1742" fmla="*/ 549828 w 2571750"/>
                <a:gd name="connsiteY1742" fmla="*/ 436040 h 1703784"/>
                <a:gd name="connsiteX1743" fmla="*/ 549828 w 2571750"/>
                <a:gd name="connsiteY1743" fmla="*/ 436040 h 1703784"/>
                <a:gd name="connsiteX1744" fmla="*/ 550150 w 2571750"/>
                <a:gd name="connsiteY1744" fmla="*/ 436748 h 1703784"/>
                <a:gd name="connsiteX1745" fmla="*/ 549250 w 2571750"/>
                <a:gd name="connsiteY1745" fmla="*/ 436040 h 1703784"/>
                <a:gd name="connsiteX1746" fmla="*/ 502315 w 2571750"/>
                <a:gd name="connsiteY1746" fmla="*/ 500334 h 1703784"/>
                <a:gd name="connsiteX1747" fmla="*/ 502315 w 2571750"/>
                <a:gd name="connsiteY1747" fmla="*/ 499112 h 1703784"/>
                <a:gd name="connsiteX1748" fmla="*/ 502315 w 2571750"/>
                <a:gd name="connsiteY1748" fmla="*/ 499112 h 1703784"/>
                <a:gd name="connsiteX1749" fmla="*/ 501737 w 2571750"/>
                <a:gd name="connsiteY1749" fmla="*/ 500398 h 1703784"/>
                <a:gd name="connsiteX1750" fmla="*/ 501737 w 2571750"/>
                <a:gd name="connsiteY1750" fmla="*/ 497891 h 1703784"/>
                <a:gd name="connsiteX1751" fmla="*/ 502058 w 2571750"/>
                <a:gd name="connsiteY1751" fmla="*/ 498405 h 1703784"/>
                <a:gd name="connsiteX1752" fmla="*/ 501158 w 2571750"/>
                <a:gd name="connsiteY1752" fmla="*/ 497955 h 1703784"/>
                <a:gd name="connsiteX1753" fmla="*/ 501094 w 2571750"/>
                <a:gd name="connsiteY1753" fmla="*/ 497248 h 1703784"/>
                <a:gd name="connsiteX1754" fmla="*/ 500579 w 2571750"/>
                <a:gd name="connsiteY1754" fmla="*/ 496734 h 1703784"/>
                <a:gd name="connsiteX1755" fmla="*/ 499036 w 2571750"/>
                <a:gd name="connsiteY1755" fmla="*/ 495705 h 1703784"/>
                <a:gd name="connsiteX1756" fmla="*/ 499744 w 2571750"/>
                <a:gd name="connsiteY1756" fmla="*/ 496155 h 1703784"/>
                <a:gd name="connsiteX1757" fmla="*/ 498458 w 2571750"/>
                <a:gd name="connsiteY1757" fmla="*/ 495769 h 1703784"/>
                <a:gd name="connsiteX1758" fmla="*/ 497236 w 2571750"/>
                <a:gd name="connsiteY1758" fmla="*/ 494869 h 1703784"/>
                <a:gd name="connsiteX1759" fmla="*/ 498136 w 2571750"/>
                <a:gd name="connsiteY1759" fmla="*/ 495255 h 1703784"/>
                <a:gd name="connsiteX1760" fmla="*/ 493957 w 2571750"/>
                <a:gd name="connsiteY1760" fmla="*/ 493712 h 1703784"/>
                <a:gd name="connsiteX1761" fmla="*/ 494793 w 2571750"/>
                <a:gd name="connsiteY1761" fmla="*/ 493712 h 1703784"/>
                <a:gd name="connsiteX1762" fmla="*/ 495500 w 2571750"/>
                <a:gd name="connsiteY1762" fmla="*/ 494162 h 1703784"/>
                <a:gd name="connsiteX1763" fmla="*/ 496400 w 2571750"/>
                <a:gd name="connsiteY1763" fmla="*/ 494162 h 1703784"/>
                <a:gd name="connsiteX1764" fmla="*/ 492671 w 2571750"/>
                <a:gd name="connsiteY1764" fmla="*/ 493455 h 1703784"/>
                <a:gd name="connsiteX1765" fmla="*/ 492671 w 2571750"/>
                <a:gd name="connsiteY1765" fmla="*/ 493455 h 1703784"/>
                <a:gd name="connsiteX1766" fmla="*/ 492671 w 2571750"/>
                <a:gd name="connsiteY1766" fmla="*/ 493455 h 1703784"/>
                <a:gd name="connsiteX1767" fmla="*/ 493507 w 2571750"/>
                <a:gd name="connsiteY1767" fmla="*/ 493455 h 1703784"/>
                <a:gd name="connsiteX1768" fmla="*/ 492671 w 2571750"/>
                <a:gd name="connsiteY1768" fmla="*/ 486254 h 1703784"/>
                <a:gd name="connsiteX1769" fmla="*/ 492671 w 2571750"/>
                <a:gd name="connsiteY1769" fmla="*/ 484646 h 1703784"/>
                <a:gd name="connsiteX1770" fmla="*/ 492028 w 2571750"/>
                <a:gd name="connsiteY1770" fmla="*/ 486318 h 1703784"/>
                <a:gd name="connsiteX1771" fmla="*/ 450109 w 2571750"/>
                <a:gd name="connsiteY1771" fmla="*/ 647888 h 1703784"/>
                <a:gd name="connsiteX1772" fmla="*/ 450430 w 2571750"/>
                <a:gd name="connsiteY1772" fmla="*/ 648853 h 1703784"/>
                <a:gd name="connsiteX1773" fmla="*/ 449466 w 2571750"/>
                <a:gd name="connsiteY1773" fmla="*/ 647953 h 1703784"/>
                <a:gd name="connsiteX1774" fmla="*/ 450494 w 2571750"/>
                <a:gd name="connsiteY1774" fmla="*/ 649238 h 1703784"/>
                <a:gd name="connsiteX1775" fmla="*/ 450494 w 2571750"/>
                <a:gd name="connsiteY1775" fmla="*/ 650460 h 1703784"/>
                <a:gd name="connsiteX1776" fmla="*/ 448244 w 2571750"/>
                <a:gd name="connsiteY1776" fmla="*/ 667562 h 1703784"/>
                <a:gd name="connsiteX1777" fmla="*/ 447794 w 2571750"/>
                <a:gd name="connsiteY1777" fmla="*/ 667948 h 1703784"/>
                <a:gd name="connsiteX1778" fmla="*/ 446958 w 2571750"/>
                <a:gd name="connsiteY1778" fmla="*/ 668784 h 1703784"/>
                <a:gd name="connsiteX1779" fmla="*/ 446380 w 2571750"/>
                <a:gd name="connsiteY1779" fmla="*/ 669427 h 1703784"/>
                <a:gd name="connsiteX1780" fmla="*/ 445544 w 2571750"/>
                <a:gd name="connsiteY1780" fmla="*/ 670391 h 1703784"/>
                <a:gd name="connsiteX1781" fmla="*/ 444772 w 2571750"/>
                <a:gd name="connsiteY1781" fmla="*/ 671355 h 1703784"/>
                <a:gd name="connsiteX1782" fmla="*/ 449144 w 2571750"/>
                <a:gd name="connsiteY1782" fmla="*/ 667112 h 1703784"/>
                <a:gd name="connsiteX1783" fmla="*/ 449659 w 2571750"/>
                <a:gd name="connsiteY1783" fmla="*/ 666662 h 1703784"/>
                <a:gd name="connsiteX1784" fmla="*/ 448501 w 2571750"/>
                <a:gd name="connsiteY1784" fmla="*/ 667176 h 1703784"/>
                <a:gd name="connsiteX1785" fmla="*/ 450945 w 2571750"/>
                <a:gd name="connsiteY1785" fmla="*/ 658111 h 1703784"/>
                <a:gd name="connsiteX1786" fmla="*/ 450945 w 2571750"/>
                <a:gd name="connsiteY1786" fmla="*/ 652968 h 1703784"/>
                <a:gd name="connsiteX1787" fmla="*/ 450302 w 2571750"/>
                <a:gd name="connsiteY1787" fmla="*/ 658175 h 1703784"/>
                <a:gd name="connsiteX1788" fmla="*/ 449723 w 2571750"/>
                <a:gd name="connsiteY1788" fmla="*/ 666533 h 1703784"/>
                <a:gd name="connsiteX1789" fmla="*/ 450173 w 2571750"/>
                <a:gd name="connsiteY1789" fmla="*/ 665440 h 1703784"/>
                <a:gd name="connsiteX1790" fmla="*/ 449080 w 2571750"/>
                <a:gd name="connsiteY1790" fmla="*/ 666341 h 1703784"/>
                <a:gd name="connsiteX1791" fmla="*/ 450237 w 2571750"/>
                <a:gd name="connsiteY1791" fmla="*/ 665119 h 1703784"/>
                <a:gd name="connsiteX1792" fmla="*/ 450559 w 2571750"/>
                <a:gd name="connsiteY1792" fmla="*/ 663383 h 1703784"/>
                <a:gd name="connsiteX1793" fmla="*/ 449594 w 2571750"/>
                <a:gd name="connsiteY1793" fmla="*/ 665183 h 1703784"/>
                <a:gd name="connsiteX1794" fmla="*/ 450559 w 2571750"/>
                <a:gd name="connsiteY1794" fmla="*/ 663383 h 1703784"/>
                <a:gd name="connsiteX1795" fmla="*/ 450559 w 2571750"/>
                <a:gd name="connsiteY1795" fmla="*/ 661133 h 1703784"/>
                <a:gd name="connsiteX1796" fmla="*/ 450559 w 2571750"/>
                <a:gd name="connsiteY1796" fmla="*/ 660811 h 1703784"/>
                <a:gd name="connsiteX1797" fmla="*/ 450559 w 2571750"/>
                <a:gd name="connsiteY1797" fmla="*/ 658368 h 1703784"/>
                <a:gd name="connsiteX1798" fmla="*/ 450173 w 2571750"/>
                <a:gd name="connsiteY1798" fmla="*/ 660876 h 1703784"/>
                <a:gd name="connsiteX1799" fmla="*/ 450559 w 2571750"/>
                <a:gd name="connsiteY1799" fmla="*/ 650589 h 1703784"/>
                <a:gd name="connsiteX1800" fmla="*/ 450559 w 2571750"/>
                <a:gd name="connsiteY1800" fmla="*/ 652839 h 1703784"/>
                <a:gd name="connsiteX1801" fmla="*/ 450045 w 2571750"/>
                <a:gd name="connsiteY1801" fmla="*/ 650653 h 1703784"/>
                <a:gd name="connsiteX1802" fmla="*/ 461296 w 2571750"/>
                <a:gd name="connsiteY1802" fmla="*/ 686143 h 1703784"/>
                <a:gd name="connsiteX1803" fmla="*/ 460910 w 2571750"/>
                <a:gd name="connsiteY1803" fmla="*/ 686143 h 1703784"/>
                <a:gd name="connsiteX1804" fmla="*/ 459496 w 2571750"/>
                <a:gd name="connsiteY1804" fmla="*/ 684986 h 1703784"/>
                <a:gd name="connsiteX1805" fmla="*/ 458981 w 2571750"/>
                <a:gd name="connsiteY1805" fmla="*/ 684986 h 1703784"/>
                <a:gd name="connsiteX1806" fmla="*/ 457695 w 2571750"/>
                <a:gd name="connsiteY1806" fmla="*/ 683957 h 1703784"/>
                <a:gd name="connsiteX1807" fmla="*/ 457181 w 2571750"/>
                <a:gd name="connsiteY1807" fmla="*/ 683957 h 1703784"/>
                <a:gd name="connsiteX1808" fmla="*/ 456024 w 2571750"/>
                <a:gd name="connsiteY1808" fmla="*/ 683185 h 1703784"/>
                <a:gd name="connsiteX1809" fmla="*/ 455638 w 2571750"/>
                <a:gd name="connsiteY1809" fmla="*/ 683185 h 1703784"/>
                <a:gd name="connsiteX1810" fmla="*/ 487463 w 2571750"/>
                <a:gd name="connsiteY1810" fmla="*/ 685243 h 1703784"/>
                <a:gd name="connsiteX1811" fmla="*/ 487463 w 2571750"/>
                <a:gd name="connsiteY1811" fmla="*/ 685757 h 1703784"/>
                <a:gd name="connsiteX1812" fmla="*/ 487463 w 2571750"/>
                <a:gd name="connsiteY1812" fmla="*/ 685629 h 1703784"/>
                <a:gd name="connsiteX1813" fmla="*/ 537163 w 2571750"/>
                <a:gd name="connsiteY1813" fmla="*/ 693601 h 1703784"/>
                <a:gd name="connsiteX1814" fmla="*/ 537163 w 2571750"/>
                <a:gd name="connsiteY1814" fmla="*/ 693601 h 1703784"/>
                <a:gd name="connsiteX1815" fmla="*/ 537163 w 2571750"/>
                <a:gd name="connsiteY1815" fmla="*/ 694630 h 1703784"/>
                <a:gd name="connsiteX1816" fmla="*/ 537163 w 2571750"/>
                <a:gd name="connsiteY1816" fmla="*/ 694630 h 1703784"/>
                <a:gd name="connsiteX1817" fmla="*/ 537163 w 2571750"/>
                <a:gd name="connsiteY1817" fmla="*/ 692958 h 1703784"/>
                <a:gd name="connsiteX1818" fmla="*/ 537163 w 2571750"/>
                <a:gd name="connsiteY1818" fmla="*/ 692958 h 1703784"/>
                <a:gd name="connsiteX1819" fmla="*/ 536648 w 2571750"/>
                <a:gd name="connsiteY1819" fmla="*/ 693022 h 1703784"/>
                <a:gd name="connsiteX1820" fmla="*/ 567059 w 2571750"/>
                <a:gd name="connsiteY1820" fmla="*/ 628665 h 1703784"/>
                <a:gd name="connsiteX1821" fmla="*/ 567059 w 2571750"/>
                <a:gd name="connsiteY1821" fmla="*/ 629050 h 1703784"/>
                <a:gd name="connsiteX1822" fmla="*/ 566352 w 2571750"/>
                <a:gd name="connsiteY1822" fmla="*/ 630079 h 1703784"/>
                <a:gd name="connsiteX1823" fmla="*/ 566352 w 2571750"/>
                <a:gd name="connsiteY1823" fmla="*/ 630465 h 1703784"/>
                <a:gd name="connsiteX1824" fmla="*/ 565323 w 2571750"/>
                <a:gd name="connsiteY1824" fmla="*/ 631750 h 1703784"/>
                <a:gd name="connsiteX1825" fmla="*/ 565323 w 2571750"/>
                <a:gd name="connsiteY1825" fmla="*/ 632136 h 1703784"/>
                <a:gd name="connsiteX1826" fmla="*/ 564102 w 2571750"/>
                <a:gd name="connsiteY1826" fmla="*/ 633551 h 1703784"/>
                <a:gd name="connsiteX1827" fmla="*/ 564102 w 2571750"/>
                <a:gd name="connsiteY1827" fmla="*/ 633872 h 1703784"/>
                <a:gd name="connsiteX1828" fmla="*/ 562816 w 2571750"/>
                <a:gd name="connsiteY1828" fmla="*/ 635287 h 1703784"/>
                <a:gd name="connsiteX1829" fmla="*/ 562816 w 2571750"/>
                <a:gd name="connsiteY1829" fmla="*/ 635287 h 1703784"/>
                <a:gd name="connsiteX1830" fmla="*/ 549507 w 2571750"/>
                <a:gd name="connsiteY1830" fmla="*/ 434240 h 1703784"/>
                <a:gd name="connsiteX1831" fmla="*/ 549507 w 2571750"/>
                <a:gd name="connsiteY1831" fmla="*/ 434690 h 1703784"/>
                <a:gd name="connsiteX1832" fmla="*/ 548993 w 2571750"/>
                <a:gd name="connsiteY1832" fmla="*/ 434047 h 1703784"/>
                <a:gd name="connsiteX1833" fmla="*/ 443872 w 2571750"/>
                <a:gd name="connsiteY1833" fmla="*/ 574079 h 1703784"/>
                <a:gd name="connsiteX1834" fmla="*/ 443872 w 2571750"/>
                <a:gd name="connsiteY1834" fmla="*/ 574079 h 1703784"/>
                <a:gd name="connsiteX1835" fmla="*/ 445544 w 2571750"/>
                <a:gd name="connsiteY1835" fmla="*/ 575622 h 1703784"/>
                <a:gd name="connsiteX1836" fmla="*/ 443358 w 2571750"/>
                <a:gd name="connsiteY1836" fmla="*/ 573886 h 1703784"/>
                <a:gd name="connsiteX1837" fmla="*/ 443101 w 2571750"/>
                <a:gd name="connsiteY1837" fmla="*/ 572986 h 1703784"/>
                <a:gd name="connsiteX1838" fmla="*/ 442522 w 2571750"/>
                <a:gd name="connsiteY1838" fmla="*/ 571957 h 1703784"/>
                <a:gd name="connsiteX1839" fmla="*/ 441365 w 2571750"/>
                <a:gd name="connsiteY1839" fmla="*/ 570028 h 1703784"/>
                <a:gd name="connsiteX1840" fmla="*/ 441365 w 2571750"/>
                <a:gd name="connsiteY1840" fmla="*/ 569450 h 1703784"/>
                <a:gd name="connsiteX1841" fmla="*/ 440850 w 2571750"/>
                <a:gd name="connsiteY1841" fmla="*/ 569900 h 1703784"/>
                <a:gd name="connsiteX1842" fmla="*/ 439886 w 2571750"/>
                <a:gd name="connsiteY1842" fmla="*/ 679778 h 1703784"/>
                <a:gd name="connsiteX1843" fmla="*/ 439886 w 2571750"/>
                <a:gd name="connsiteY1843" fmla="*/ 681192 h 1703784"/>
                <a:gd name="connsiteX1844" fmla="*/ 439372 w 2571750"/>
                <a:gd name="connsiteY1844" fmla="*/ 679585 h 1703784"/>
                <a:gd name="connsiteX1845" fmla="*/ 444065 w 2571750"/>
                <a:gd name="connsiteY1845" fmla="*/ 672449 h 1703784"/>
                <a:gd name="connsiteX1846" fmla="*/ 442908 w 2571750"/>
                <a:gd name="connsiteY1846" fmla="*/ 674184 h 1703784"/>
                <a:gd name="connsiteX1847" fmla="*/ 442265 w 2571750"/>
                <a:gd name="connsiteY1847" fmla="*/ 675084 h 1703784"/>
                <a:gd name="connsiteX1848" fmla="*/ 441365 w 2571750"/>
                <a:gd name="connsiteY1848" fmla="*/ 676692 h 1703784"/>
                <a:gd name="connsiteX1849" fmla="*/ 440850 w 2571750"/>
                <a:gd name="connsiteY1849" fmla="*/ 677656 h 1703784"/>
                <a:gd name="connsiteX1850" fmla="*/ 440207 w 2571750"/>
                <a:gd name="connsiteY1850" fmla="*/ 679006 h 1703784"/>
                <a:gd name="connsiteX1851" fmla="*/ 440336 w 2571750"/>
                <a:gd name="connsiteY1851" fmla="*/ 677463 h 1703784"/>
                <a:gd name="connsiteX1852" fmla="*/ 449466 w 2571750"/>
                <a:gd name="connsiteY1852" fmla="*/ 688843 h 1703784"/>
                <a:gd name="connsiteX1853" fmla="*/ 449466 w 2571750"/>
                <a:gd name="connsiteY1853" fmla="*/ 688843 h 1703784"/>
                <a:gd name="connsiteX1854" fmla="*/ 450880 w 2571750"/>
                <a:gd name="connsiteY1854" fmla="*/ 686143 h 1703784"/>
                <a:gd name="connsiteX1855" fmla="*/ 450880 w 2571750"/>
                <a:gd name="connsiteY1855" fmla="*/ 686143 h 1703784"/>
                <a:gd name="connsiteX1856" fmla="*/ 474926 w 2571750"/>
                <a:gd name="connsiteY1856" fmla="*/ 709289 h 1703784"/>
                <a:gd name="connsiteX1857" fmla="*/ 474926 w 2571750"/>
                <a:gd name="connsiteY1857" fmla="*/ 709289 h 1703784"/>
                <a:gd name="connsiteX1858" fmla="*/ 538320 w 2571750"/>
                <a:gd name="connsiteY1858" fmla="*/ 698616 h 1703784"/>
                <a:gd name="connsiteX1859" fmla="*/ 538320 w 2571750"/>
                <a:gd name="connsiteY1859" fmla="*/ 700931 h 1703784"/>
                <a:gd name="connsiteX1860" fmla="*/ 537806 w 2571750"/>
                <a:gd name="connsiteY1860" fmla="*/ 698487 h 1703784"/>
                <a:gd name="connsiteX1861" fmla="*/ 537806 w 2571750"/>
                <a:gd name="connsiteY1861" fmla="*/ 696559 h 1703784"/>
                <a:gd name="connsiteX1862" fmla="*/ 538320 w 2571750"/>
                <a:gd name="connsiteY1862" fmla="*/ 698487 h 1703784"/>
                <a:gd name="connsiteX1863" fmla="*/ 537291 w 2571750"/>
                <a:gd name="connsiteY1863" fmla="*/ 696366 h 1703784"/>
                <a:gd name="connsiteX1864" fmla="*/ 603899 w 2571750"/>
                <a:gd name="connsiteY1864" fmla="*/ 530938 h 1703784"/>
                <a:gd name="connsiteX1865" fmla="*/ 603899 w 2571750"/>
                <a:gd name="connsiteY1865" fmla="*/ 530938 h 1703784"/>
                <a:gd name="connsiteX1866" fmla="*/ 604800 w 2571750"/>
                <a:gd name="connsiteY1866" fmla="*/ 530938 h 1703784"/>
                <a:gd name="connsiteX1867" fmla="*/ 604800 w 2571750"/>
                <a:gd name="connsiteY1867" fmla="*/ 530938 h 1703784"/>
                <a:gd name="connsiteX1868" fmla="*/ 716221 w 2571750"/>
                <a:gd name="connsiteY1868" fmla="*/ 803158 h 1703784"/>
                <a:gd name="connsiteX1869" fmla="*/ 715320 w 2571750"/>
                <a:gd name="connsiteY1869" fmla="*/ 803608 h 1703784"/>
                <a:gd name="connsiteX1870" fmla="*/ 677644 w 2571750"/>
                <a:gd name="connsiteY1870" fmla="*/ 823153 h 1703784"/>
                <a:gd name="connsiteX1871" fmla="*/ 677130 w 2571750"/>
                <a:gd name="connsiteY1871" fmla="*/ 823153 h 1703784"/>
                <a:gd name="connsiteX1872" fmla="*/ 676037 w 2571750"/>
                <a:gd name="connsiteY1872" fmla="*/ 823860 h 1703784"/>
                <a:gd name="connsiteX1873" fmla="*/ 675266 w 2571750"/>
                <a:gd name="connsiteY1873" fmla="*/ 824182 h 1703784"/>
                <a:gd name="connsiteX1874" fmla="*/ 674623 w 2571750"/>
                <a:gd name="connsiteY1874" fmla="*/ 824439 h 1703784"/>
                <a:gd name="connsiteX1875" fmla="*/ 673722 w 2571750"/>
                <a:gd name="connsiteY1875" fmla="*/ 824439 h 1703784"/>
                <a:gd name="connsiteX1876" fmla="*/ 649805 w 2571750"/>
                <a:gd name="connsiteY1876" fmla="*/ 874138 h 1703784"/>
                <a:gd name="connsiteX1877" fmla="*/ 648905 w 2571750"/>
                <a:gd name="connsiteY1877" fmla="*/ 873752 h 1703784"/>
                <a:gd name="connsiteX1878" fmla="*/ 648391 w 2571750"/>
                <a:gd name="connsiteY1878" fmla="*/ 829132 h 1703784"/>
                <a:gd name="connsiteX1879" fmla="*/ 648391 w 2571750"/>
                <a:gd name="connsiteY1879" fmla="*/ 829904 h 1703784"/>
                <a:gd name="connsiteX1880" fmla="*/ 647684 w 2571750"/>
                <a:gd name="connsiteY1880" fmla="*/ 829132 h 1703784"/>
                <a:gd name="connsiteX1881" fmla="*/ 646333 w 2571750"/>
                <a:gd name="connsiteY1881" fmla="*/ 847649 h 1703784"/>
                <a:gd name="connsiteX1882" fmla="*/ 646333 w 2571750"/>
                <a:gd name="connsiteY1882" fmla="*/ 848099 h 1703784"/>
                <a:gd name="connsiteX1883" fmla="*/ 645626 w 2571750"/>
                <a:gd name="connsiteY1883" fmla="*/ 847649 h 1703784"/>
                <a:gd name="connsiteX1884" fmla="*/ 645819 w 2571750"/>
                <a:gd name="connsiteY1884" fmla="*/ 850028 h 1703784"/>
                <a:gd name="connsiteX1885" fmla="*/ 645819 w 2571750"/>
                <a:gd name="connsiteY1885" fmla="*/ 850542 h 1703784"/>
                <a:gd name="connsiteX1886" fmla="*/ 645112 w 2571750"/>
                <a:gd name="connsiteY1886" fmla="*/ 850028 h 1703784"/>
                <a:gd name="connsiteX1887" fmla="*/ 646848 w 2571750"/>
                <a:gd name="connsiteY1887" fmla="*/ 872916 h 1703784"/>
                <a:gd name="connsiteX1888" fmla="*/ 645498 w 2571750"/>
                <a:gd name="connsiteY1888" fmla="*/ 872273 h 1703784"/>
                <a:gd name="connsiteX1889" fmla="*/ 646848 w 2571750"/>
                <a:gd name="connsiteY1889" fmla="*/ 845334 h 1703784"/>
                <a:gd name="connsiteX1890" fmla="*/ 646848 w 2571750"/>
                <a:gd name="connsiteY1890" fmla="*/ 844370 h 1703784"/>
                <a:gd name="connsiteX1891" fmla="*/ 646012 w 2571750"/>
                <a:gd name="connsiteY1891" fmla="*/ 845334 h 1703784"/>
                <a:gd name="connsiteX1892" fmla="*/ 647169 w 2571750"/>
                <a:gd name="connsiteY1892" fmla="*/ 842184 h 1703784"/>
                <a:gd name="connsiteX1893" fmla="*/ 647169 w 2571750"/>
                <a:gd name="connsiteY1893" fmla="*/ 840770 h 1703784"/>
                <a:gd name="connsiteX1894" fmla="*/ 646333 w 2571750"/>
                <a:gd name="connsiteY1894" fmla="*/ 842184 h 1703784"/>
                <a:gd name="connsiteX1895" fmla="*/ 647169 w 2571750"/>
                <a:gd name="connsiteY1895" fmla="*/ 838648 h 1703784"/>
                <a:gd name="connsiteX1896" fmla="*/ 647169 w 2571750"/>
                <a:gd name="connsiteY1896" fmla="*/ 836848 h 1703784"/>
                <a:gd name="connsiteX1897" fmla="*/ 647169 w 2571750"/>
                <a:gd name="connsiteY1897" fmla="*/ 835112 h 1703784"/>
                <a:gd name="connsiteX1898" fmla="*/ 647169 w 2571750"/>
                <a:gd name="connsiteY1898" fmla="*/ 833376 h 1703784"/>
                <a:gd name="connsiteX1899" fmla="*/ 646848 w 2571750"/>
                <a:gd name="connsiteY1899" fmla="*/ 835112 h 1703784"/>
                <a:gd name="connsiteX1900" fmla="*/ 647169 w 2571750"/>
                <a:gd name="connsiteY1900" fmla="*/ 832797 h 1703784"/>
                <a:gd name="connsiteX1901" fmla="*/ 647169 w 2571750"/>
                <a:gd name="connsiteY1901" fmla="*/ 831383 h 1703784"/>
                <a:gd name="connsiteX1902" fmla="*/ 647041 w 2571750"/>
                <a:gd name="connsiteY1902" fmla="*/ 832797 h 1703784"/>
                <a:gd name="connsiteX1903" fmla="*/ 647876 w 2571750"/>
                <a:gd name="connsiteY1903" fmla="*/ 828682 h 1703784"/>
                <a:gd name="connsiteX1904" fmla="*/ 648262 w 2571750"/>
                <a:gd name="connsiteY1904" fmla="*/ 825725 h 1703784"/>
                <a:gd name="connsiteX1905" fmla="*/ 647748 w 2571750"/>
                <a:gd name="connsiteY1905" fmla="*/ 828682 h 1703784"/>
                <a:gd name="connsiteX1906" fmla="*/ 641447 w 2571750"/>
                <a:gd name="connsiteY1906" fmla="*/ 870409 h 1703784"/>
                <a:gd name="connsiteX1907" fmla="*/ 643183 w 2571750"/>
                <a:gd name="connsiteY1907" fmla="*/ 871309 h 1703784"/>
                <a:gd name="connsiteX1908" fmla="*/ 844679 w 2571750"/>
                <a:gd name="connsiteY1908" fmla="*/ 1013527 h 1703784"/>
                <a:gd name="connsiteX1909" fmla="*/ 845515 w 2571750"/>
                <a:gd name="connsiteY1909" fmla="*/ 1013527 h 1703784"/>
                <a:gd name="connsiteX1910" fmla="*/ 842043 w 2571750"/>
                <a:gd name="connsiteY1910" fmla="*/ 1014298 h 1703784"/>
                <a:gd name="connsiteX1911" fmla="*/ 842751 w 2571750"/>
                <a:gd name="connsiteY1911" fmla="*/ 1014298 h 1703784"/>
                <a:gd name="connsiteX1912" fmla="*/ 891550 w 2571750"/>
                <a:gd name="connsiteY1912" fmla="*/ 963635 h 1703784"/>
                <a:gd name="connsiteX1913" fmla="*/ 891550 w 2571750"/>
                <a:gd name="connsiteY1913" fmla="*/ 963635 h 1703784"/>
                <a:gd name="connsiteX1914" fmla="*/ 889942 w 2571750"/>
                <a:gd name="connsiteY1914" fmla="*/ 963635 h 1703784"/>
                <a:gd name="connsiteX1915" fmla="*/ 891100 w 2571750"/>
                <a:gd name="connsiteY1915" fmla="*/ 963635 h 1703784"/>
                <a:gd name="connsiteX1916" fmla="*/ 884670 w 2571750"/>
                <a:gd name="connsiteY1916" fmla="*/ 963185 h 1703784"/>
                <a:gd name="connsiteX1917" fmla="*/ 884606 w 2571750"/>
                <a:gd name="connsiteY1917" fmla="*/ 963249 h 1703784"/>
                <a:gd name="connsiteX1918" fmla="*/ 882999 w 2571750"/>
                <a:gd name="connsiteY1918" fmla="*/ 963249 h 1703784"/>
                <a:gd name="connsiteX1919" fmla="*/ 882291 w 2571750"/>
                <a:gd name="connsiteY1919" fmla="*/ 963249 h 1703784"/>
                <a:gd name="connsiteX1920" fmla="*/ 880877 w 2571750"/>
                <a:gd name="connsiteY1920" fmla="*/ 963249 h 1703784"/>
                <a:gd name="connsiteX1921" fmla="*/ 879720 w 2571750"/>
                <a:gd name="connsiteY1921" fmla="*/ 963249 h 1703784"/>
                <a:gd name="connsiteX1922" fmla="*/ 878498 w 2571750"/>
                <a:gd name="connsiteY1922" fmla="*/ 963249 h 1703784"/>
                <a:gd name="connsiteX1923" fmla="*/ 876826 w 2571750"/>
                <a:gd name="connsiteY1923" fmla="*/ 962928 h 1703784"/>
                <a:gd name="connsiteX1924" fmla="*/ 876826 w 2571750"/>
                <a:gd name="connsiteY1924" fmla="*/ 962928 h 1703784"/>
                <a:gd name="connsiteX1925" fmla="*/ 868725 w 2571750"/>
                <a:gd name="connsiteY1925" fmla="*/ 961899 h 1703784"/>
                <a:gd name="connsiteX1926" fmla="*/ 868725 w 2571750"/>
                <a:gd name="connsiteY1926" fmla="*/ 961899 h 1703784"/>
                <a:gd name="connsiteX1927" fmla="*/ 866668 w 2571750"/>
                <a:gd name="connsiteY1927" fmla="*/ 961899 h 1703784"/>
                <a:gd name="connsiteX1928" fmla="*/ 866668 w 2571750"/>
                <a:gd name="connsiteY1928" fmla="*/ 961899 h 1703784"/>
                <a:gd name="connsiteX1929" fmla="*/ 864803 w 2571750"/>
                <a:gd name="connsiteY1929" fmla="*/ 961899 h 1703784"/>
                <a:gd name="connsiteX1930" fmla="*/ 864289 w 2571750"/>
                <a:gd name="connsiteY1930" fmla="*/ 961899 h 1703784"/>
                <a:gd name="connsiteX1931" fmla="*/ 863260 w 2571750"/>
                <a:gd name="connsiteY1931" fmla="*/ 961578 h 1703784"/>
                <a:gd name="connsiteX1932" fmla="*/ 863260 w 2571750"/>
                <a:gd name="connsiteY1932" fmla="*/ 961578 h 1703784"/>
                <a:gd name="connsiteX1933" fmla="*/ 862103 w 2571750"/>
                <a:gd name="connsiteY1933" fmla="*/ 961578 h 1703784"/>
                <a:gd name="connsiteX1934" fmla="*/ 862103 w 2571750"/>
                <a:gd name="connsiteY1934" fmla="*/ 961578 h 1703784"/>
                <a:gd name="connsiteX1935" fmla="*/ 871040 w 2571750"/>
                <a:gd name="connsiteY1935" fmla="*/ 1006583 h 1703784"/>
                <a:gd name="connsiteX1936" fmla="*/ 852266 w 2571750"/>
                <a:gd name="connsiteY1936" fmla="*/ 1012562 h 1703784"/>
                <a:gd name="connsiteX1937" fmla="*/ 851109 w 2571750"/>
                <a:gd name="connsiteY1937" fmla="*/ 1012948 h 1703784"/>
                <a:gd name="connsiteX1938" fmla="*/ 871040 w 2571750"/>
                <a:gd name="connsiteY1938" fmla="*/ 1005490 h 1703784"/>
                <a:gd name="connsiteX1939" fmla="*/ 890328 w 2571750"/>
                <a:gd name="connsiteY1939" fmla="*/ 999768 h 1703784"/>
                <a:gd name="connsiteX1940" fmla="*/ 889621 w 2571750"/>
                <a:gd name="connsiteY1940" fmla="*/ 1000089 h 1703784"/>
                <a:gd name="connsiteX1941" fmla="*/ 889299 w 2571750"/>
                <a:gd name="connsiteY1941" fmla="*/ 1000218 h 1703784"/>
                <a:gd name="connsiteX1942" fmla="*/ 888142 w 2571750"/>
                <a:gd name="connsiteY1942" fmla="*/ 1000668 h 1703784"/>
                <a:gd name="connsiteX1943" fmla="*/ 887756 w 2571750"/>
                <a:gd name="connsiteY1943" fmla="*/ 1000861 h 1703784"/>
                <a:gd name="connsiteX1944" fmla="*/ 885635 w 2571750"/>
                <a:gd name="connsiteY1944" fmla="*/ 1001632 h 1703784"/>
                <a:gd name="connsiteX1945" fmla="*/ 885313 w 2571750"/>
                <a:gd name="connsiteY1945" fmla="*/ 1001761 h 1703784"/>
                <a:gd name="connsiteX1946" fmla="*/ 882934 w 2571750"/>
                <a:gd name="connsiteY1946" fmla="*/ 1002597 h 1703784"/>
                <a:gd name="connsiteX1947" fmla="*/ 882291 w 2571750"/>
                <a:gd name="connsiteY1947" fmla="*/ 1002790 h 1703784"/>
                <a:gd name="connsiteX1948" fmla="*/ 879334 w 2571750"/>
                <a:gd name="connsiteY1948" fmla="*/ 1003818 h 1703784"/>
                <a:gd name="connsiteX1949" fmla="*/ 879141 w 2571750"/>
                <a:gd name="connsiteY1949" fmla="*/ 1003883 h 1703784"/>
                <a:gd name="connsiteX1950" fmla="*/ 875669 w 2571750"/>
                <a:gd name="connsiteY1950" fmla="*/ 1005040 h 1703784"/>
                <a:gd name="connsiteX1951" fmla="*/ 874833 w 2571750"/>
                <a:gd name="connsiteY1951" fmla="*/ 1005362 h 1703784"/>
                <a:gd name="connsiteX1952" fmla="*/ 871747 w 2571750"/>
                <a:gd name="connsiteY1952" fmla="*/ 1006326 h 1703784"/>
                <a:gd name="connsiteX1953" fmla="*/ 847894 w 2571750"/>
                <a:gd name="connsiteY1953" fmla="*/ 1013913 h 1703784"/>
                <a:gd name="connsiteX1954" fmla="*/ 849309 w 2571750"/>
                <a:gd name="connsiteY1954" fmla="*/ 1013462 h 1703784"/>
                <a:gd name="connsiteX1955" fmla="*/ 877984 w 2571750"/>
                <a:gd name="connsiteY1955" fmla="*/ 769275 h 1703784"/>
                <a:gd name="connsiteX1956" fmla="*/ 851109 w 2571750"/>
                <a:gd name="connsiteY1956" fmla="*/ 775126 h 1703784"/>
                <a:gd name="connsiteX1957" fmla="*/ 828349 w 2571750"/>
                <a:gd name="connsiteY1957" fmla="*/ 761560 h 1703784"/>
                <a:gd name="connsiteX1958" fmla="*/ 813304 w 2571750"/>
                <a:gd name="connsiteY1958" fmla="*/ 746901 h 1703784"/>
                <a:gd name="connsiteX1959" fmla="*/ 815490 w 2571750"/>
                <a:gd name="connsiteY1959" fmla="*/ 739507 h 1703784"/>
                <a:gd name="connsiteX1960" fmla="*/ 822820 w 2571750"/>
                <a:gd name="connsiteY1960" fmla="*/ 713082 h 1703784"/>
                <a:gd name="connsiteX1961" fmla="*/ 811761 w 2571750"/>
                <a:gd name="connsiteY1961" fmla="*/ 698745 h 1703784"/>
                <a:gd name="connsiteX1962" fmla="*/ 797488 w 2571750"/>
                <a:gd name="connsiteY1962" fmla="*/ 677078 h 1703784"/>
                <a:gd name="connsiteX1963" fmla="*/ 792730 w 2571750"/>
                <a:gd name="connsiteY1963" fmla="*/ 660168 h 1703784"/>
                <a:gd name="connsiteX1964" fmla="*/ 799160 w 2571750"/>
                <a:gd name="connsiteY1964" fmla="*/ 642166 h 1703784"/>
                <a:gd name="connsiteX1965" fmla="*/ 821148 w 2571750"/>
                <a:gd name="connsiteY1965" fmla="*/ 628729 h 1703784"/>
                <a:gd name="connsiteX1966" fmla="*/ 821148 w 2571750"/>
                <a:gd name="connsiteY1966" fmla="*/ 628729 h 1703784"/>
                <a:gd name="connsiteX1967" fmla="*/ 823334 w 2571750"/>
                <a:gd name="connsiteY1967" fmla="*/ 627057 h 1703784"/>
                <a:gd name="connsiteX1968" fmla="*/ 849437 w 2571750"/>
                <a:gd name="connsiteY1968" fmla="*/ 618635 h 1703784"/>
                <a:gd name="connsiteX1969" fmla="*/ 868725 w 2571750"/>
                <a:gd name="connsiteY1969" fmla="*/ 622299 h 1703784"/>
                <a:gd name="connsiteX1970" fmla="*/ 870204 w 2571750"/>
                <a:gd name="connsiteY1970" fmla="*/ 640687 h 1703784"/>
                <a:gd name="connsiteX1971" fmla="*/ 858053 w 2571750"/>
                <a:gd name="connsiteY1971" fmla="*/ 643966 h 1703784"/>
                <a:gd name="connsiteX1972" fmla="*/ 842622 w 2571750"/>
                <a:gd name="connsiteY1972" fmla="*/ 649496 h 1703784"/>
                <a:gd name="connsiteX1973" fmla="*/ 840822 w 2571750"/>
                <a:gd name="connsiteY1973" fmla="*/ 656504 h 1703784"/>
                <a:gd name="connsiteX1974" fmla="*/ 834393 w 2571750"/>
                <a:gd name="connsiteY1974" fmla="*/ 660490 h 1703784"/>
                <a:gd name="connsiteX1975" fmla="*/ 843908 w 2571750"/>
                <a:gd name="connsiteY1975" fmla="*/ 668591 h 1703784"/>
                <a:gd name="connsiteX1976" fmla="*/ 847959 w 2571750"/>
                <a:gd name="connsiteY1976" fmla="*/ 678171 h 1703784"/>
                <a:gd name="connsiteX1977" fmla="*/ 856767 w 2571750"/>
                <a:gd name="connsiteY1977" fmla="*/ 683314 h 1703784"/>
                <a:gd name="connsiteX1978" fmla="*/ 862682 w 2571750"/>
                <a:gd name="connsiteY1978" fmla="*/ 689744 h 1703784"/>
                <a:gd name="connsiteX1979" fmla="*/ 866668 w 2571750"/>
                <a:gd name="connsiteY1979" fmla="*/ 704788 h 1703784"/>
                <a:gd name="connsiteX1980" fmla="*/ 868275 w 2571750"/>
                <a:gd name="connsiteY1980" fmla="*/ 696366 h 1703784"/>
                <a:gd name="connsiteX1981" fmla="*/ 874062 w 2571750"/>
                <a:gd name="connsiteY1981" fmla="*/ 694180 h 1703784"/>
                <a:gd name="connsiteX1982" fmla="*/ 883577 w 2571750"/>
                <a:gd name="connsiteY1982" fmla="*/ 705560 h 1703784"/>
                <a:gd name="connsiteX1983" fmla="*/ 889492 w 2571750"/>
                <a:gd name="connsiteY1983" fmla="*/ 712889 h 1703784"/>
                <a:gd name="connsiteX1984" fmla="*/ 876633 w 2571750"/>
                <a:gd name="connsiteY1984" fmla="*/ 715461 h 1703784"/>
                <a:gd name="connsiteX1985" fmla="*/ 865254 w 2571750"/>
                <a:gd name="connsiteY1985" fmla="*/ 715461 h 1703784"/>
                <a:gd name="connsiteX1986" fmla="*/ 867825 w 2571750"/>
                <a:gd name="connsiteY1986" fmla="*/ 725748 h 1703784"/>
                <a:gd name="connsiteX1987" fmla="*/ 868597 w 2571750"/>
                <a:gd name="connsiteY1987" fmla="*/ 733463 h 1703784"/>
                <a:gd name="connsiteX1988" fmla="*/ 875541 w 2571750"/>
                <a:gd name="connsiteY1988" fmla="*/ 736421 h 1703784"/>
                <a:gd name="connsiteX1989" fmla="*/ 878112 w 2571750"/>
                <a:gd name="connsiteY1989" fmla="*/ 746322 h 1703784"/>
                <a:gd name="connsiteX1990" fmla="*/ 878112 w 2571750"/>
                <a:gd name="connsiteY1990" fmla="*/ 762974 h 1703784"/>
                <a:gd name="connsiteX1991" fmla="*/ 878048 w 2571750"/>
                <a:gd name="connsiteY1991" fmla="*/ 768182 h 1703784"/>
                <a:gd name="connsiteX1992" fmla="*/ 966645 w 2571750"/>
                <a:gd name="connsiteY1992" fmla="*/ 870666 h 1703784"/>
                <a:gd name="connsiteX1993" fmla="*/ 967095 w 2571750"/>
                <a:gd name="connsiteY1993" fmla="*/ 871245 h 1703784"/>
                <a:gd name="connsiteX1994" fmla="*/ 966002 w 2571750"/>
                <a:gd name="connsiteY1994" fmla="*/ 869573 h 1703784"/>
                <a:gd name="connsiteX1995" fmla="*/ 966002 w 2571750"/>
                <a:gd name="connsiteY1995" fmla="*/ 869959 h 1703784"/>
                <a:gd name="connsiteX1996" fmla="*/ 966066 w 2571750"/>
                <a:gd name="connsiteY1996" fmla="*/ 868480 h 1703784"/>
                <a:gd name="connsiteX1997" fmla="*/ 1032610 w 2571750"/>
                <a:gd name="connsiteY1997" fmla="*/ 761109 h 1703784"/>
                <a:gd name="connsiteX1998" fmla="*/ 1039811 w 2571750"/>
                <a:gd name="connsiteY1998" fmla="*/ 762781 h 1703784"/>
                <a:gd name="connsiteX1999" fmla="*/ 1032675 w 2571750"/>
                <a:gd name="connsiteY1999" fmla="*/ 760017 h 1703784"/>
                <a:gd name="connsiteX2000" fmla="*/ 1052477 w 2571750"/>
                <a:gd name="connsiteY2000" fmla="*/ 766253 h 1703784"/>
                <a:gd name="connsiteX2001" fmla="*/ 1051191 w 2571750"/>
                <a:gd name="connsiteY2001" fmla="*/ 765932 h 1703784"/>
                <a:gd name="connsiteX2002" fmla="*/ 1052541 w 2571750"/>
                <a:gd name="connsiteY2002" fmla="*/ 765160 h 1703784"/>
                <a:gd name="connsiteX2003" fmla="*/ 1053891 w 2571750"/>
                <a:gd name="connsiteY2003" fmla="*/ 766896 h 1703784"/>
                <a:gd name="connsiteX2004" fmla="*/ 1052991 w 2571750"/>
                <a:gd name="connsiteY2004" fmla="*/ 766446 h 1703784"/>
                <a:gd name="connsiteX2005" fmla="*/ 1054470 w 2571750"/>
                <a:gd name="connsiteY2005" fmla="*/ 766896 h 1703784"/>
                <a:gd name="connsiteX2006" fmla="*/ 1055434 w 2571750"/>
                <a:gd name="connsiteY2006" fmla="*/ 767475 h 1703784"/>
                <a:gd name="connsiteX2007" fmla="*/ 1059678 w 2571750"/>
                <a:gd name="connsiteY2007" fmla="*/ 769725 h 1703784"/>
                <a:gd name="connsiteX2008" fmla="*/ 1060578 w 2571750"/>
                <a:gd name="connsiteY2008" fmla="*/ 769725 h 1703784"/>
                <a:gd name="connsiteX2009" fmla="*/ 1059742 w 2571750"/>
                <a:gd name="connsiteY2009" fmla="*/ 769211 h 1703784"/>
                <a:gd name="connsiteX2010" fmla="*/ 1061028 w 2571750"/>
                <a:gd name="connsiteY2010" fmla="*/ 769725 h 1703784"/>
                <a:gd name="connsiteX2011" fmla="*/ 1061992 w 2571750"/>
                <a:gd name="connsiteY2011" fmla="*/ 768696 h 1703784"/>
                <a:gd name="connsiteX2012" fmla="*/ 1061092 w 2571750"/>
                <a:gd name="connsiteY2012" fmla="*/ 768825 h 1703784"/>
                <a:gd name="connsiteX2013" fmla="*/ 1104234 w 2571750"/>
                <a:gd name="connsiteY2013" fmla="*/ 774290 h 1703784"/>
                <a:gd name="connsiteX2014" fmla="*/ 1104683 w 2571750"/>
                <a:gd name="connsiteY2014" fmla="*/ 774290 h 1703784"/>
                <a:gd name="connsiteX2015" fmla="*/ 1105648 w 2571750"/>
                <a:gd name="connsiteY2015" fmla="*/ 774290 h 1703784"/>
                <a:gd name="connsiteX2016" fmla="*/ 1105648 w 2571750"/>
                <a:gd name="connsiteY2016" fmla="*/ 774290 h 1703784"/>
                <a:gd name="connsiteX2017" fmla="*/ 1107898 w 2571750"/>
                <a:gd name="connsiteY2017" fmla="*/ 773968 h 1703784"/>
                <a:gd name="connsiteX2018" fmla="*/ 1107320 w 2571750"/>
                <a:gd name="connsiteY2018" fmla="*/ 773968 h 1703784"/>
                <a:gd name="connsiteX2019" fmla="*/ 1109184 w 2571750"/>
                <a:gd name="connsiteY2019" fmla="*/ 773647 h 1703784"/>
                <a:gd name="connsiteX2020" fmla="*/ 1110213 w 2571750"/>
                <a:gd name="connsiteY2020" fmla="*/ 773261 h 1703784"/>
                <a:gd name="connsiteX2021" fmla="*/ 1109248 w 2571750"/>
                <a:gd name="connsiteY2021" fmla="*/ 773582 h 1703784"/>
                <a:gd name="connsiteX2022" fmla="*/ 1138695 w 2571750"/>
                <a:gd name="connsiteY2022" fmla="*/ 766574 h 1703784"/>
                <a:gd name="connsiteX2023" fmla="*/ 1137730 w 2571750"/>
                <a:gd name="connsiteY2023" fmla="*/ 766574 h 1703784"/>
                <a:gd name="connsiteX2024" fmla="*/ 1136445 w 2571750"/>
                <a:gd name="connsiteY2024" fmla="*/ 766060 h 1703784"/>
                <a:gd name="connsiteX2025" fmla="*/ 1136445 w 2571750"/>
                <a:gd name="connsiteY2025" fmla="*/ 766060 h 1703784"/>
                <a:gd name="connsiteX2026" fmla="*/ 1128279 w 2571750"/>
                <a:gd name="connsiteY2026" fmla="*/ 762331 h 1703784"/>
                <a:gd name="connsiteX2027" fmla="*/ 1119471 w 2571750"/>
                <a:gd name="connsiteY2027" fmla="*/ 768117 h 1703784"/>
                <a:gd name="connsiteX2028" fmla="*/ 1128344 w 2571750"/>
                <a:gd name="connsiteY2028" fmla="*/ 761688 h 1703784"/>
                <a:gd name="connsiteX2029" fmla="*/ 1289978 w 2571750"/>
                <a:gd name="connsiteY2029" fmla="*/ 577872 h 1703784"/>
                <a:gd name="connsiteX2030" fmla="*/ 1289978 w 2571750"/>
                <a:gd name="connsiteY2030" fmla="*/ 577872 h 1703784"/>
                <a:gd name="connsiteX2031" fmla="*/ 1644429 w 2571750"/>
                <a:gd name="connsiteY2031" fmla="*/ 570864 h 1703784"/>
                <a:gd name="connsiteX2032" fmla="*/ 1644429 w 2571750"/>
                <a:gd name="connsiteY2032" fmla="*/ 570864 h 1703784"/>
                <a:gd name="connsiteX2033" fmla="*/ 1512499 w 2571750"/>
                <a:gd name="connsiteY2033" fmla="*/ 529974 h 1703784"/>
                <a:gd name="connsiteX2034" fmla="*/ 1545610 w 2571750"/>
                <a:gd name="connsiteY2034" fmla="*/ 498598 h 1703784"/>
                <a:gd name="connsiteX2035" fmla="*/ 1561555 w 2571750"/>
                <a:gd name="connsiteY2035" fmla="*/ 473202 h 1703784"/>
                <a:gd name="connsiteX2036" fmla="*/ 1547796 w 2571750"/>
                <a:gd name="connsiteY2036" fmla="*/ 517308 h 1703784"/>
                <a:gd name="connsiteX2037" fmla="*/ 1516356 w 2571750"/>
                <a:gd name="connsiteY2037" fmla="*/ 536596 h 1703784"/>
                <a:gd name="connsiteX2038" fmla="*/ 1488839 w 2571750"/>
                <a:gd name="connsiteY2038" fmla="*/ 544890 h 1703784"/>
                <a:gd name="connsiteX2039" fmla="*/ 1512563 w 2571750"/>
                <a:gd name="connsiteY2039" fmla="*/ 529331 h 1703784"/>
                <a:gd name="connsiteX2040" fmla="*/ 1301165 w 2571750"/>
                <a:gd name="connsiteY2040" fmla="*/ 582887 h 1703784"/>
                <a:gd name="connsiteX2041" fmla="*/ 1301165 w 2571750"/>
                <a:gd name="connsiteY2041" fmla="*/ 582887 h 1703784"/>
                <a:gd name="connsiteX2042" fmla="*/ 1641922 w 2571750"/>
                <a:gd name="connsiteY2042" fmla="*/ 570864 h 1703784"/>
                <a:gd name="connsiteX2043" fmla="*/ 1640250 w 2571750"/>
                <a:gd name="connsiteY2043" fmla="*/ 570864 h 1703784"/>
                <a:gd name="connsiteX2044" fmla="*/ 1642115 w 2571750"/>
                <a:gd name="connsiteY2044" fmla="*/ 570221 h 1703784"/>
                <a:gd name="connsiteX2045" fmla="*/ 1644494 w 2571750"/>
                <a:gd name="connsiteY2045" fmla="*/ 570864 h 1703784"/>
                <a:gd name="connsiteX2046" fmla="*/ 1649251 w 2571750"/>
                <a:gd name="connsiteY2046" fmla="*/ 572022 h 1703784"/>
                <a:gd name="connsiteX2047" fmla="*/ 1644687 w 2571750"/>
                <a:gd name="connsiteY2047" fmla="*/ 570221 h 170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Lst>
              <a:rect l="l" t="t" r="r" b="b"/>
              <a:pathLst>
                <a:path w="2571750" h="1703784">
                  <a:moveTo>
                    <a:pt x="2543963" y="287007"/>
                  </a:moveTo>
                  <a:cubicBezTo>
                    <a:pt x="2548226" y="289328"/>
                    <a:pt x="2553080" y="290331"/>
                    <a:pt x="2557915" y="289901"/>
                  </a:cubicBezTo>
                  <a:cubicBezTo>
                    <a:pt x="2561065" y="289901"/>
                    <a:pt x="2557915" y="287007"/>
                    <a:pt x="2555022" y="286429"/>
                  </a:cubicBezTo>
                  <a:cubicBezTo>
                    <a:pt x="2552129" y="285850"/>
                    <a:pt x="2555536" y="283278"/>
                    <a:pt x="2557722" y="285336"/>
                  </a:cubicBezTo>
                  <a:cubicBezTo>
                    <a:pt x="2559908" y="287393"/>
                    <a:pt x="2564152" y="288293"/>
                    <a:pt x="2564538" y="286043"/>
                  </a:cubicBezTo>
                  <a:cubicBezTo>
                    <a:pt x="2564923" y="283793"/>
                    <a:pt x="2567109" y="279099"/>
                    <a:pt x="2570967" y="279292"/>
                  </a:cubicBezTo>
                  <a:cubicBezTo>
                    <a:pt x="2574824" y="279485"/>
                    <a:pt x="2576110" y="277235"/>
                    <a:pt x="2572446" y="275949"/>
                  </a:cubicBezTo>
                  <a:cubicBezTo>
                    <a:pt x="2565566" y="272843"/>
                    <a:pt x="2559330" y="268484"/>
                    <a:pt x="2554058" y="263090"/>
                  </a:cubicBezTo>
                  <a:cubicBezTo>
                    <a:pt x="2551164" y="258911"/>
                    <a:pt x="2536955" y="256661"/>
                    <a:pt x="2536955" y="259040"/>
                  </a:cubicBezTo>
                  <a:cubicBezTo>
                    <a:pt x="2536955" y="261418"/>
                    <a:pt x="2532391" y="258525"/>
                    <a:pt x="2531297" y="256146"/>
                  </a:cubicBezTo>
                  <a:cubicBezTo>
                    <a:pt x="2530205" y="253767"/>
                    <a:pt x="2515288" y="253382"/>
                    <a:pt x="2515096" y="256146"/>
                  </a:cubicBezTo>
                  <a:cubicBezTo>
                    <a:pt x="2514903" y="258911"/>
                    <a:pt x="2518632" y="258911"/>
                    <a:pt x="2520818" y="261869"/>
                  </a:cubicBezTo>
                  <a:cubicBezTo>
                    <a:pt x="2523004" y="264826"/>
                    <a:pt x="2517860" y="266433"/>
                    <a:pt x="2518953" y="269712"/>
                  </a:cubicBezTo>
                  <a:cubicBezTo>
                    <a:pt x="2520046" y="272991"/>
                    <a:pt x="2513488" y="268105"/>
                    <a:pt x="2511109" y="266240"/>
                  </a:cubicBezTo>
                  <a:cubicBezTo>
                    <a:pt x="2508731" y="264376"/>
                    <a:pt x="2509824" y="257239"/>
                    <a:pt x="2510531" y="253382"/>
                  </a:cubicBezTo>
                  <a:cubicBezTo>
                    <a:pt x="2511238" y="249524"/>
                    <a:pt x="2506287" y="250424"/>
                    <a:pt x="2505773" y="246952"/>
                  </a:cubicBezTo>
                  <a:cubicBezTo>
                    <a:pt x="2505259" y="243481"/>
                    <a:pt x="2488671" y="235765"/>
                    <a:pt x="2481663" y="232808"/>
                  </a:cubicBezTo>
                  <a:cubicBezTo>
                    <a:pt x="2474655" y="229850"/>
                    <a:pt x="2465718" y="226571"/>
                    <a:pt x="2463146" y="222714"/>
                  </a:cubicBezTo>
                  <a:cubicBezTo>
                    <a:pt x="2460574" y="218856"/>
                    <a:pt x="2448230" y="218663"/>
                    <a:pt x="2443472" y="213713"/>
                  </a:cubicBezTo>
                  <a:cubicBezTo>
                    <a:pt x="2433127" y="206370"/>
                    <a:pt x="2421259" y="201471"/>
                    <a:pt x="2408754" y="199375"/>
                  </a:cubicBezTo>
                  <a:cubicBezTo>
                    <a:pt x="2399753" y="198861"/>
                    <a:pt x="2401746" y="193910"/>
                    <a:pt x="2397374" y="194617"/>
                  </a:cubicBezTo>
                  <a:cubicBezTo>
                    <a:pt x="2387607" y="195029"/>
                    <a:pt x="2377828" y="194662"/>
                    <a:pt x="2368120" y="193524"/>
                  </a:cubicBezTo>
                  <a:cubicBezTo>
                    <a:pt x="2362269" y="192624"/>
                    <a:pt x="2360983" y="196996"/>
                    <a:pt x="2356740" y="195324"/>
                  </a:cubicBezTo>
                  <a:cubicBezTo>
                    <a:pt x="2352497" y="193653"/>
                    <a:pt x="2330637" y="185809"/>
                    <a:pt x="2328065" y="188895"/>
                  </a:cubicBezTo>
                  <a:cubicBezTo>
                    <a:pt x="2325493" y="191981"/>
                    <a:pt x="2326651" y="196032"/>
                    <a:pt x="2324079" y="196739"/>
                  </a:cubicBezTo>
                  <a:cubicBezTo>
                    <a:pt x="2321507" y="197446"/>
                    <a:pt x="2324079" y="201175"/>
                    <a:pt x="2330122" y="206705"/>
                  </a:cubicBezTo>
                  <a:cubicBezTo>
                    <a:pt x="2336166" y="212234"/>
                    <a:pt x="2332501" y="216413"/>
                    <a:pt x="2326972" y="218792"/>
                  </a:cubicBezTo>
                  <a:cubicBezTo>
                    <a:pt x="2320504" y="220180"/>
                    <a:pt x="2313824" y="217667"/>
                    <a:pt x="2309870" y="212362"/>
                  </a:cubicBezTo>
                  <a:cubicBezTo>
                    <a:pt x="2307170" y="208183"/>
                    <a:pt x="2299647" y="209983"/>
                    <a:pt x="2297783" y="204454"/>
                  </a:cubicBezTo>
                  <a:cubicBezTo>
                    <a:pt x="2295918" y="198925"/>
                    <a:pt x="2299969" y="198025"/>
                    <a:pt x="2303633" y="201175"/>
                  </a:cubicBezTo>
                  <a:cubicBezTo>
                    <a:pt x="2305974" y="203194"/>
                    <a:pt x="2309504" y="202930"/>
                    <a:pt x="2311522" y="200590"/>
                  </a:cubicBezTo>
                  <a:cubicBezTo>
                    <a:pt x="2312229" y="199774"/>
                    <a:pt x="2312679" y="198771"/>
                    <a:pt x="2312827" y="197703"/>
                  </a:cubicBezTo>
                  <a:cubicBezTo>
                    <a:pt x="2313406" y="193653"/>
                    <a:pt x="2302926" y="190888"/>
                    <a:pt x="2297204" y="191274"/>
                  </a:cubicBezTo>
                  <a:cubicBezTo>
                    <a:pt x="2291482" y="191660"/>
                    <a:pt x="2288396" y="199504"/>
                    <a:pt x="2282545" y="202847"/>
                  </a:cubicBezTo>
                  <a:cubicBezTo>
                    <a:pt x="2276694" y="206190"/>
                    <a:pt x="2253870" y="201561"/>
                    <a:pt x="2251491" y="199311"/>
                  </a:cubicBezTo>
                  <a:cubicBezTo>
                    <a:pt x="2249112" y="197061"/>
                    <a:pt x="2217287" y="199311"/>
                    <a:pt x="2214008" y="201561"/>
                  </a:cubicBezTo>
                  <a:cubicBezTo>
                    <a:pt x="2210729" y="203811"/>
                    <a:pt x="2213108" y="212362"/>
                    <a:pt x="2211436" y="213134"/>
                  </a:cubicBezTo>
                  <a:cubicBezTo>
                    <a:pt x="2209765" y="213905"/>
                    <a:pt x="2208157" y="203168"/>
                    <a:pt x="2208157" y="201175"/>
                  </a:cubicBezTo>
                  <a:cubicBezTo>
                    <a:pt x="2208157" y="199182"/>
                    <a:pt x="2204300" y="197703"/>
                    <a:pt x="2198577" y="197703"/>
                  </a:cubicBezTo>
                  <a:cubicBezTo>
                    <a:pt x="2192855" y="197703"/>
                    <a:pt x="2189576" y="197703"/>
                    <a:pt x="2192148" y="195132"/>
                  </a:cubicBezTo>
                  <a:cubicBezTo>
                    <a:pt x="2194720" y="192560"/>
                    <a:pt x="2189962" y="190310"/>
                    <a:pt x="2194334" y="187224"/>
                  </a:cubicBezTo>
                  <a:cubicBezTo>
                    <a:pt x="2198706" y="184137"/>
                    <a:pt x="2186297" y="174365"/>
                    <a:pt x="2174146" y="169543"/>
                  </a:cubicBezTo>
                  <a:cubicBezTo>
                    <a:pt x="2161994" y="164721"/>
                    <a:pt x="2134477" y="167550"/>
                    <a:pt x="2127083" y="169543"/>
                  </a:cubicBezTo>
                  <a:cubicBezTo>
                    <a:pt x="2117503" y="171118"/>
                    <a:pt x="2107782" y="171677"/>
                    <a:pt x="2098086" y="171214"/>
                  </a:cubicBezTo>
                  <a:cubicBezTo>
                    <a:pt x="2091078" y="171214"/>
                    <a:pt x="2096800" y="168450"/>
                    <a:pt x="2094807" y="165171"/>
                  </a:cubicBezTo>
                  <a:cubicBezTo>
                    <a:pt x="2092814" y="161892"/>
                    <a:pt x="2080791" y="157777"/>
                    <a:pt x="2079184" y="160542"/>
                  </a:cubicBezTo>
                  <a:cubicBezTo>
                    <a:pt x="2077577" y="163306"/>
                    <a:pt x="2074362" y="160542"/>
                    <a:pt x="2074362" y="158548"/>
                  </a:cubicBezTo>
                  <a:cubicBezTo>
                    <a:pt x="2074362" y="156555"/>
                    <a:pt x="2063175" y="152505"/>
                    <a:pt x="2058803" y="153405"/>
                  </a:cubicBezTo>
                  <a:cubicBezTo>
                    <a:pt x="2054431" y="154305"/>
                    <a:pt x="2052373" y="149354"/>
                    <a:pt x="2057453" y="149354"/>
                  </a:cubicBezTo>
                  <a:cubicBezTo>
                    <a:pt x="2062532" y="149354"/>
                    <a:pt x="2071469" y="150448"/>
                    <a:pt x="2067611" y="144597"/>
                  </a:cubicBezTo>
                  <a:cubicBezTo>
                    <a:pt x="2063753" y="138746"/>
                    <a:pt x="2030642" y="136881"/>
                    <a:pt x="2027556" y="138167"/>
                  </a:cubicBezTo>
                  <a:cubicBezTo>
                    <a:pt x="2024470" y="139453"/>
                    <a:pt x="2027556" y="143504"/>
                    <a:pt x="2020162" y="150255"/>
                  </a:cubicBezTo>
                  <a:cubicBezTo>
                    <a:pt x="2012769" y="157005"/>
                    <a:pt x="2006018" y="152505"/>
                    <a:pt x="2006982" y="149162"/>
                  </a:cubicBezTo>
                  <a:cubicBezTo>
                    <a:pt x="2007946" y="145818"/>
                    <a:pt x="2016690" y="146397"/>
                    <a:pt x="2016690" y="143118"/>
                  </a:cubicBezTo>
                  <a:cubicBezTo>
                    <a:pt x="2016690" y="139839"/>
                    <a:pt x="2004539" y="141639"/>
                    <a:pt x="2002739" y="138875"/>
                  </a:cubicBezTo>
                  <a:cubicBezTo>
                    <a:pt x="2000938" y="136110"/>
                    <a:pt x="2005310" y="134310"/>
                    <a:pt x="2009682" y="135596"/>
                  </a:cubicBezTo>
                  <a:cubicBezTo>
                    <a:pt x="2014054" y="136881"/>
                    <a:pt x="2021834" y="137589"/>
                    <a:pt x="2022219" y="135596"/>
                  </a:cubicBezTo>
                  <a:cubicBezTo>
                    <a:pt x="2022605" y="133603"/>
                    <a:pt x="2017655" y="133217"/>
                    <a:pt x="2010261" y="131931"/>
                  </a:cubicBezTo>
                  <a:cubicBezTo>
                    <a:pt x="1998945" y="129179"/>
                    <a:pt x="1987372" y="127630"/>
                    <a:pt x="1975735" y="127302"/>
                  </a:cubicBezTo>
                  <a:cubicBezTo>
                    <a:pt x="1966348" y="128266"/>
                    <a:pt x="1962105" y="123830"/>
                    <a:pt x="1957026" y="123444"/>
                  </a:cubicBezTo>
                  <a:cubicBezTo>
                    <a:pt x="1951946" y="123058"/>
                    <a:pt x="1951818" y="126209"/>
                    <a:pt x="1954261" y="129166"/>
                  </a:cubicBezTo>
                  <a:cubicBezTo>
                    <a:pt x="1956704" y="132124"/>
                    <a:pt x="1949311" y="133924"/>
                    <a:pt x="1943203" y="133024"/>
                  </a:cubicBezTo>
                  <a:cubicBezTo>
                    <a:pt x="1937095" y="132124"/>
                    <a:pt x="1928351" y="136303"/>
                    <a:pt x="1931822" y="140739"/>
                  </a:cubicBezTo>
                  <a:cubicBezTo>
                    <a:pt x="1935295" y="145175"/>
                    <a:pt x="1938831" y="139453"/>
                    <a:pt x="1941724" y="140739"/>
                  </a:cubicBezTo>
                  <a:cubicBezTo>
                    <a:pt x="1944617" y="142025"/>
                    <a:pt x="1934009" y="145304"/>
                    <a:pt x="1938445" y="147168"/>
                  </a:cubicBezTo>
                  <a:cubicBezTo>
                    <a:pt x="1942881" y="149033"/>
                    <a:pt x="1942110" y="153598"/>
                    <a:pt x="1942302" y="155591"/>
                  </a:cubicBezTo>
                  <a:cubicBezTo>
                    <a:pt x="1942495" y="157584"/>
                    <a:pt x="1934973" y="158870"/>
                    <a:pt x="1932208" y="155591"/>
                  </a:cubicBezTo>
                  <a:cubicBezTo>
                    <a:pt x="1929444" y="152312"/>
                    <a:pt x="1925779" y="155205"/>
                    <a:pt x="1920443" y="154884"/>
                  </a:cubicBezTo>
                  <a:cubicBezTo>
                    <a:pt x="1915106" y="154562"/>
                    <a:pt x="1911441" y="156877"/>
                    <a:pt x="1916971" y="157584"/>
                  </a:cubicBezTo>
                  <a:cubicBezTo>
                    <a:pt x="1922500" y="158291"/>
                    <a:pt x="1924300" y="161827"/>
                    <a:pt x="1916971" y="162599"/>
                  </a:cubicBezTo>
                  <a:cubicBezTo>
                    <a:pt x="1909641" y="163370"/>
                    <a:pt x="1911441" y="155784"/>
                    <a:pt x="1907005" y="156684"/>
                  </a:cubicBezTo>
                  <a:cubicBezTo>
                    <a:pt x="1902569" y="157584"/>
                    <a:pt x="1893054" y="153212"/>
                    <a:pt x="1887717" y="153405"/>
                  </a:cubicBezTo>
                  <a:cubicBezTo>
                    <a:pt x="1882381" y="153598"/>
                    <a:pt x="1880195" y="157584"/>
                    <a:pt x="1873380" y="158163"/>
                  </a:cubicBezTo>
                  <a:cubicBezTo>
                    <a:pt x="1866436" y="158407"/>
                    <a:pt x="1859685" y="155835"/>
                    <a:pt x="1854670" y="151026"/>
                  </a:cubicBezTo>
                  <a:cubicBezTo>
                    <a:pt x="1851905" y="147297"/>
                    <a:pt x="1851005" y="146204"/>
                    <a:pt x="1847662" y="150448"/>
                  </a:cubicBezTo>
                  <a:cubicBezTo>
                    <a:pt x="1844319" y="154691"/>
                    <a:pt x="1844190" y="162728"/>
                    <a:pt x="1840847" y="163306"/>
                  </a:cubicBezTo>
                  <a:cubicBezTo>
                    <a:pt x="1837504" y="163885"/>
                    <a:pt x="1836282" y="171021"/>
                    <a:pt x="1833003" y="172886"/>
                  </a:cubicBezTo>
                  <a:cubicBezTo>
                    <a:pt x="1829724" y="174751"/>
                    <a:pt x="1829467" y="170121"/>
                    <a:pt x="1825288" y="170443"/>
                  </a:cubicBezTo>
                  <a:cubicBezTo>
                    <a:pt x="1821109" y="170764"/>
                    <a:pt x="1807414" y="157584"/>
                    <a:pt x="1806707" y="153726"/>
                  </a:cubicBezTo>
                  <a:cubicBezTo>
                    <a:pt x="1806000" y="149869"/>
                    <a:pt x="1797513" y="142539"/>
                    <a:pt x="1795327" y="140868"/>
                  </a:cubicBezTo>
                  <a:cubicBezTo>
                    <a:pt x="1793141" y="139196"/>
                    <a:pt x="1797513" y="138682"/>
                    <a:pt x="1800278" y="140868"/>
                  </a:cubicBezTo>
                  <a:cubicBezTo>
                    <a:pt x="1802785" y="143041"/>
                    <a:pt x="1806392" y="143401"/>
                    <a:pt x="1809279" y="141768"/>
                  </a:cubicBezTo>
                  <a:cubicBezTo>
                    <a:pt x="1811323" y="140116"/>
                    <a:pt x="1811645" y="137126"/>
                    <a:pt x="1809999" y="135075"/>
                  </a:cubicBezTo>
                  <a:cubicBezTo>
                    <a:pt x="1809227" y="134123"/>
                    <a:pt x="1808115" y="133500"/>
                    <a:pt x="1806900" y="133345"/>
                  </a:cubicBezTo>
                  <a:cubicBezTo>
                    <a:pt x="1802078" y="133345"/>
                    <a:pt x="1803942" y="129102"/>
                    <a:pt x="1806321" y="128395"/>
                  </a:cubicBezTo>
                  <a:cubicBezTo>
                    <a:pt x="1808700" y="127687"/>
                    <a:pt x="1800856" y="120487"/>
                    <a:pt x="1803749" y="119779"/>
                  </a:cubicBezTo>
                  <a:cubicBezTo>
                    <a:pt x="1806643" y="119072"/>
                    <a:pt x="1805421" y="115857"/>
                    <a:pt x="1801371" y="115343"/>
                  </a:cubicBezTo>
                  <a:cubicBezTo>
                    <a:pt x="1797320" y="114829"/>
                    <a:pt x="1793141" y="111486"/>
                    <a:pt x="1792948" y="109428"/>
                  </a:cubicBezTo>
                  <a:cubicBezTo>
                    <a:pt x="1792755" y="107371"/>
                    <a:pt x="1775653" y="106728"/>
                    <a:pt x="1776360" y="109428"/>
                  </a:cubicBezTo>
                  <a:cubicBezTo>
                    <a:pt x="1777067" y="112128"/>
                    <a:pt x="1770895" y="111486"/>
                    <a:pt x="1771795" y="109107"/>
                  </a:cubicBezTo>
                  <a:cubicBezTo>
                    <a:pt x="1772695" y="106728"/>
                    <a:pt x="1765752" y="107435"/>
                    <a:pt x="1757651" y="105249"/>
                  </a:cubicBezTo>
                  <a:cubicBezTo>
                    <a:pt x="1749550" y="103063"/>
                    <a:pt x="1749357" y="97341"/>
                    <a:pt x="1746592" y="96955"/>
                  </a:cubicBezTo>
                  <a:cubicBezTo>
                    <a:pt x="1743828" y="96569"/>
                    <a:pt x="1744792" y="104863"/>
                    <a:pt x="1740742" y="102999"/>
                  </a:cubicBezTo>
                  <a:cubicBezTo>
                    <a:pt x="1738626" y="101565"/>
                    <a:pt x="1735746" y="102118"/>
                    <a:pt x="1734312" y="104233"/>
                  </a:cubicBezTo>
                  <a:cubicBezTo>
                    <a:pt x="1733251" y="105802"/>
                    <a:pt x="1733251" y="107859"/>
                    <a:pt x="1734312" y="109428"/>
                  </a:cubicBezTo>
                  <a:cubicBezTo>
                    <a:pt x="1736498" y="114250"/>
                    <a:pt x="1734312" y="114957"/>
                    <a:pt x="1734312" y="118815"/>
                  </a:cubicBezTo>
                  <a:cubicBezTo>
                    <a:pt x="1734312" y="122673"/>
                    <a:pt x="1731740" y="121001"/>
                    <a:pt x="1726983" y="119394"/>
                  </a:cubicBezTo>
                  <a:cubicBezTo>
                    <a:pt x="1722225" y="117786"/>
                    <a:pt x="1722161" y="123444"/>
                    <a:pt x="1711874" y="120808"/>
                  </a:cubicBezTo>
                  <a:cubicBezTo>
                    <a:pt x="1701587" y="118172"/>
                    <a:pt x="1697022" y="120808"/>
                    <a:pt x="1695157" y="117722"/>
                  </a:cubicBezTo>
                  <a:cubicBezTo>
                    <a:pt x="1693293" y="114636"/>
                    <a:pt x="1690207" y="114057"/>
                    <a:pt x="1689885" y="116822"/>
                  </a:cubicBezTo>
                  <a:cubicBezTo>
                    <a:pt x="1689564" y="119586"/>
                    <a:pt x="1673683" y="118429"/>
                    <a:pt x="1672397" y="114379"/>
                  </a:cubicBezTo>
                  <a:cubicBezTo>
                    <a:pt x="1671111" y="110328"/>
                    <a:pt x="1675162" y="109621"/>
                    <a:pt x="1677541" y="108528"/>
                  </a:cubicBezTo>
                  <a:cubicBezTo>
                    <a:pt x="1679920" y="107435"/>
                    <a:pt x="1674969" y="105763"/>
                    <a:pt x="1666354" y="106342"/>
                  </a:cubicBezTo>
                  <a:cubicBezTo>
                    <a:pt x="1657738" y="106921"/>
                    <a:pt x="1652209" y="101906"/>
                    <a:pt x="1643401" y="102806"/>
                  </a:cubicBezTo>
                  <a:cubicBezTo>
                    <a:pt x="1632921" y="103597"/>
                    <a:pt x="1622492" y="104947"/>
                    <a:pt x="1612154" y="106856"/>
                  </a:cubicBezTo>
                  <a:cubicBezTo>
                    <a:pt x="1609390" y="108142"/>
                    <a:pt x="1614726" y="113286"/>
                    <a:pt x="1610482" y="113286"/>
                  </a:cubicBezTo>
                  <a:cubicBezTo>
                    <a:pt x="1606239" y="113286"/>
                    <a:pt x="1609197" y="105185"/>
                    <a:pt x="1608489" y="101198"/>
                  </a:cubicBezTo>
                  <a:cubicBezTo>
                    <a:pt x="1607782" y="97212"/>
                    <a:pt x="1601289" y="96569"/>
                    <a:pt x="1602060" y="99720"/>
                  </a:cubicBezTo>
                  <a:cubicBezTo>
                    <a:pt x="1602831" y="102870"/>
                    <a:pt x="1591901" y="103899"/>
                    <a:pt x="1589201" y="101520"/>
                  </a:cubicBezTo>
                  <a:cubicBezTo>
                    <a:pt x="1585061" y="97990"/>
                    <a:pt x="1580149" y="95476"/>
                    <a:pt x="1574864" y="94191"/>
                  </a:cubicBezTo>
                  <a:cubicBezTo>
                    <a:pt x="1567663" y="92326"/>
                    <a:pt x="1558854" y="100041"/>
                    <a:pt x="1560912" y="102291"/>
                  </a:cubicBezTo>
                  <a:cubicBezTo>
                    <a:pt x="1562969" y="104542"/>
                    <a:pt x="1568241" y="102806"/>
                    <a:pt x="1568434" y="104284"/>
                  </a:cubicBezTo>
                  <a:cubicBezTo>
                    <a:pt x="1568820" y="107306"/>
                    <a:pt x="1553197" y="106149"/>
                    <a:pt x="1553197" y="108721"/>
                  </a:cubicBezTo>
                  <a:cubicBezTo>
                    <a:pt x="1553197" y="111293"/>
                    <a:pt x="1538666" y="114764"/>
                    <a:pt x="1534230" y="115150"/>
                  </a:cubicBezTo>
                  <a:cubicBezTo>
                    <a:pt x="1522143" y="116629"/>
                    <a:pt x="1519571" y="116565"/>
                    <a:pt x="1513849" y="121580"/>
                  </a:cubicBezTo>
                  <a:cubicBezTo>
                    <a:pt x="1508127" y="126594"/>
                    <a:pt x="1512563" y="117336"/>
                    <a:pt x="1516999" y="112900"/>
                  </a:cubicBezTo>
                  <a:cubicBezTo>
                    <a:pt x="1521436" y="108464"/>
                    <a:pt x="1526000" y="110328"/>
                    <a:pt x="1528572" y="106856"/>
                  </a:cubicBezTo>
                  <a:cubicBezTo>
                    <a:pt x="1531144" y="103384"/>
                    <a:pt x="1535002" y="103770"/>
                    <a:pt x="1542138" y="102613"/>
                  </a:cubicBezTo>
                  <a:cubicBezTo>
                    <a:pt x="1549275" y="101456"/>
                    <a:pt x="1548568" y="97469"/>
                    <a:pt x="1552039" y="96184"/>
                  </a:cubicBezTo>
                  <a:cubicBezTo>
                    <a:pt x="1555511" y="94898"/>
                    <a:pt x="1563419" y="91554"/>
                    <a:pt x="1564898" y="88275"/>
                  </a:cubicBezTo>
                  <a:cubicBezTo>
                    <a:pt x="1566377" y="84996"/>
                    <a:pt x="1582901" y="79467"/>
                    <a:pt x="1586244" y="79596"/>
                  </a:cubicBezTo>
                  <a:cubicBezTo>
                    <a:pt x="1589587" y="79724"/>
                    <a:pt x="1590294" y="73166"/>
                    <a:pt x="1592095" y="73166"/>
                  </a:cubicBezTo>
                  <a:cubicBezTo>
                    <a:pt x="1597283" y="71610"/>
                    <a:pt x="1602336" y="69630"/>
                    <a:pt x="1607203" y="67251"/>
                  </a:cubicBezTo>
                  <a:cubicBezTo>
                    <a:pt x="1610257" y="65888"/>
                    <a:pt x="1612398" y="63046"/>
                    <a:pt x="1612861" y="59729"/>
                  </a:cubicBezTo>
                  <a:cubicBezTo>
                    <a:pt x="1612861" y="57350"/>
                    <a:pt x="1607911" y="57736"/>
                    <a:pt x="1607332" y="55486"/>
                  </a:cubicBezTo>
                  <a:cubicBezTo>
                    <a:pt x="1606753" y="53235"/>
                    <a:pt x="1609711" y="54778"/>
                    <a:pt x="1613762" y="53300"/>
                  </a:cubicBezTo>
                  <a:cubicBezTo>
                    <a:pt x="1617812" y="51821"/>
                    <a:pt x="1613762" y="46870"/>
                    <a:pt x="1610611" y="47578"/>
                  </a:cubicBezTo>
                  <a:cubicBezTo>
                    <a:pt x="1607460" y="48285"/>
                    <a:pt x="1612282" y="44877"/>
                    <a:pt x="1609518" y="41534"/>
                  </a:cubicBezTo>
                  <a:cubicBezTo>
                    <a:pt x="1606753" y="38191"/>
                    <a:pt x="1601224" y="43591"/>
                    <a:pt x="1601417" y="40055"/>
                  </a:cubicBezTo>
                  <a:cubicBezTo>
                    <a:pt x="1601861" y="36487"/>
                    <a:pt x="1600941" y="32880"/>
                    <a:pt x="1598845" y="29961"/>
                  </a:cubicBezTo>
                  <a:cubicBezTo>
                    <a:pt x="1596659" y="27775"/>
                    <a:pt x="1592416" y="33819"/>
                    <a:pt x="1588044" y="30347"/>
                  </a:cubicBezTo>
                  <a:cubicBezTo>
                    <a:pt x="1583672" y="26875"/>
                    <a:pt x="1570042" y="24625"/>
                    <a:pt x="1570042" y="26103"/>
                  </a:cubicBezTo>
                  <a:cubicBezTo>
                    <a:pt x="1570042" y="27582"/>
                    <a:pt x="1563612" y="23917"/>
                    <a:pt x="1562327" y="25396"/>
                  </a:cubicBezTo>
                  <a:cubicBezTo>
                    <a:pt x="1557331" y="26759"/>
                    <a:pt x="1552071" y="26868"/>
                    <a:pt x="1547025" y="25718"/>
                  </a:cubicBezTo>
                  <a:cubicBezTo>
                    <a:pt x="1543746" y="24817"/>
                    <a:pt x="1539117" y="27003"/>
                    <a:pt x="1538988" y="30347"/>
                  </a:cubicBezTo>
                  <a:cubicBezTo>
                    <a:pt x="1538859" y="33690"/>
                    <a:pt x="1525743" y="32340"/>
                    <a:pt x="1523365" y="31825"/>
                  </a:cubicBezTo>
                  <a:cubicBezTo>
                    <a:pt x="1520986" y="31311"/>
                    <a:pt x="1532365" y="21860"/>
                    <a:pt x="1532365" y="20253"/>
                  </a:cubicBezTo>
                  <a:cubicBezTo>
                    <a:pt x="1532365" y="18645"/>
                    <a:pt x="1513077" y="20253"/>
                    <a:pt x="1511984" y="18774"/>
                  </a:cubicBezTo>
                  <a:cubicBezTo>
                    <a:pt x="1510892" y="17295"/>
                    <a:pt x="1501504" y="16395"/>
                    <a:pt x="1497261" y="16524"/>
                  </a:cubicBezTo>
                  <a:cubicBezTo>
                    <a:pt x="1493018" y="16652"/>
                    <a:pt x="1497261" y="15431"/>
                    <a:pt x="1500926" y="15109"/>
                  </a:cubicBezTo>
                  <a:cubicBezTo>
                    <a:pt x="1504590" y="14788"/>
                    <a:pt x="1508255" y="11380"/>
                    <a:pt x="1512499" y="10673"/>
                  </a:cubicBezTo>
                  <a:cubicBezTo>
                    <a:pt x="1516742" y="9966"/>
                    <a:pt x="1515842" y="8487"/>
                    <a:pt x="1513977" y="5915"/>
                  </a:cubicBezTo>
                  <a:cubicBezTo>
                    <a:pt x="1512113" y="3343"/>
                    <a:pt x="1507548" y="4629"/>
                    <a:pt x="1503498" y="3343"/>
                  </a:cubicBezTo>
                  <a:cubicBezTo>
                    <a:pt x="1499331" y="1800"/>
                    <a:pt x="1495024" y="682"/>
                    <a:pt x="1490639" y="0"/>
                  </a:cubicBezTo>
                  <a:cubicBezTo>
                    <a:pt x="1485116" y="778"/>
                    <a:pt x="1479657" y="1961"/>
                    <a:pt x="1474308" y="3536"/>
                  </a:cubicBezTo>
                  <a:cubicBezTo>
                    <a:pt x="1465693" y="5144"/>
                    <a:pt x="1464921" y="11766"/>
                    <a:pt x="1460549" y="13823"/>
                  </a:cubicBezTo>
                  <a:cubicBezTo>
                    <a:pt x="1456177" y="15881"/>
                    <a:pt x="1448398" y="23917"/>
                    <a:pt x="1452063" y="24625"/>
                  </a:cubicBezTo>
                  <a:cubicBezTo>
                    <a:pt x="1455727" y="25332"/>
                    <a:pt x="1453927" y="27582"/>
                    <a:pt x="1454441" y="29961"/>
                  </a:cubicBezTo>
                  <a:cubicBezTo>
                    <a:pt x="1454956" y="32340"/>
                    <a:pt x="1451677" y="32919"/>
                    <a:pt x="1447498" y="32147"/>
                  </a:cubicBezTo>
                  <a:cubicBezTo>
                    <a:pt x="1443319" y="31375"/>
                    <a:pt x="1428210" y="31633"/>
                    <a:pt x="1428531" y="34719"/>
                  </a:cubicBezTo>
                  <a:cubicBezTo>
                    <a:pt x="1428853" y="37805"/>
                    <a:pt x="1437211" y="39348"/>
                    <a:pt x="1436632" y="41148"/>
                  </a:cubicBezTo>
                  <a:cubicBezTo>
                    <a:pt x="1436053" y="42948"/>
                    <a:pt x="1430203" y="41148"/>
                    <a:pt x="1427245" y="39348"/>
                  </a:cubicBezTo>
                  <a:cubicBezTo>
                    <a:pt x="1424288" y="37548"/>
                    <a:pt x="1417730" y="38576"/>
                    <a:pt x="1416444" y="41727"/>
                  </a:cubicBezTo>
                  <a:cubicBezTo>
                    <a:pt x="1415158" y="44877"/>
                    <a:pt x="1410015" y="44106"/>
                    <a:pt x="1408343" y="43398"/>
                  </a:cubicBezTo>
                  <a:cubicBezTo>
                    <a:pt x="1406671" y="42691"/>
                    <a:pt x="1403006" y="44877"/>
                    <a:pt x="1400242" y="43913"/>
                  </a:cubicBezTo>
                  <a:cubicBezTo>
                    <a:pt x="1397477" y="42948"/>
                    <a:pt x="1405771" y="38962"/>
                    <a:pt x="1403778" y="36969"/>
                  </a:cubicBezTo>
                  <a:cubicBezTo>
                    <a:pt x="1401785" y="34976"/>
                    <a:pt x="1392912" y="36969"/>
                    <a:pt x="1392012" y="40055"/>
                  </a:cubicBezTo>
                  <a:cubicBezTo>
                    <a:pt x="1391112" y="43141"/>
                    <a:pt x="1385583" y="37676"/>
                    <a:pt x="1383718" y="38769"/>
                  </a:cubicBezTo>
                  <a:cubicBezTo>
                    <a:pt x="1381108" y="40287"/>
                    <a:pt x="1378401" y="41643"/>
                    <a:pt x="1375617" y="42820"/>
                  </a:cubicBezTo>
                  <a:cubicBezTo>
                    <a:pt x="1371760" y="44491"/>
                    <a:pt x="1365202" y="41019"/>
                    <a:pt x="1363723" y="43913"/>
                  </a:cubicBezTo>
                  <a:cubicBezTo>
                    <a:pt x="1362244" y="46806"/>
                    <a:pt x="1371053" y="47770"/>
                    <a:pt x="1371245" y="49056"/>
                  </a:cubicBezTo>
                  <a:cubicBezTo>
                    <a:pt x="1371438" y="50342"/>
                    <a:pt x="1351186" y="50149"/>
                    <a:pt x="1350671" y="52207"/>
                  </a:cubicBezTo>
                  <a:cubicBezTo>
                    <a:pt x="1350157" y="54264"/>
                    <a:pt x="1343278" y="54200"/>
                    <a:pt x="1335048" y="54393"/>
                  </a:cubicBezTo>
                  <a:cubicBezTo>
                    <a:pt x="1326818" y="54586"/>
                    <a:pt x="1330098" y="58636"/>
                    <a:pt x="1323475" y="59922"/>
                  </a:cubicBezTo>
                  <a:cubicBezTo>
                    <a:pt x="1316853" y="61208"/>
                    <a:pt x="1313895" y="61401"/>
                    <a:pt x="1311709" y="64680"/>
                  </a:cubicBezTo>
                  <a:cubicBezTo>
                    <a:pt x="1309742" y="67637"/>
                    <a:pt x="1305749" y="68441"/>
                    <a:pt x="1302798" y="66473"/>
                  </a:cubicBezTo>
                  <a:cubicBezTo>
                    <a:pt x="1302560" y="66319"/>
                    <a:pt x="1302342" y="66152"/>
                    <a:pt x="1302129" y="65965"/>
                  </a:cubicBezTo>
                  <a:cubicBezTo>
                    <a:pt x="1299944" y="63394"/>
                    <a:pt x="1293900" y="67251"/>
                    <a:pt x="1297179" y="67637"/>
                  </a:cubicBezTo>
                  <a:cubicBezTo>
                    <a:pt x="1300458" y="68023"/>
                    <a:pt x="1297179" y="71302"/>
                    <a:pt x="1295379" y="70595"/>
                  </a:cubicBezTo>
                  <a:cubicBezTo>
                    <a:pt x="1293579" y="69887"/>
                    <a:pt x="1287471" y="74067"/>
                    <a:pt x="1290750" y="73681"/>
                  </a:cubicBezTo>
                  <a:cubicBezTo>
                    <a:pt x="1294028" y="73295"/>
                    <a:pt x="1295700" y="76060"/>
                    <a:pt x="1294093" y="78117"/>
                  </a:cubicBezTo>
                  <a:cubicBezTo>
                    <a:pt x="1292485" y="80174"/>
                    <a:pt x="1285285" y="75738"/>
                    <a:pt x="1283420" y="77538"/>
                  </a:cubicBezTo>
                  <a:cubicBezTo>
                    <a:pt x="1281555" y="79339"/>
                    <a:pt x="1286892" y="81782"/>
                    <a:pt x="1290235" y="81396"/>
                  </a:cubicBezTo>
                  <a:cubicBezTo>
                    <a:pt x="1292833" y="80991"/>
                    <a:pt x="1295263" y="82772"/>
                    <a:pt x="1295668" y="85369"/>
                  </a:cubicBezTo>
                  <a:cubicBezTo>
                    <a:pt x="1295681" y="85459"/>
                    <a:pt x="1295694" y="85549"/>
                    <a:pt x="1295700" y="85639"/>
                  </a:cubicBezTo>
                  <a:cubicBezTo>
                    <a:pt x="1296086" y="88018"/>
                    <a:pt x="1287985" y="84161"/>
                    <a:pt x="1286377" y="86218"/>
                  </a:cubicBezTo>
                  <a:cubicBezTo>
                    <a:pt x="1284770" y="88275"/>
                    <a:pt x="1287663" y="89111"/>
                    <a:pt x="1291136" y="89497"/>
                  </a:cubicBezTo>
                  <a:cubicBezTo>
                    <a:pt x="1294607" y="89883"/>
                    <a:pt x="1292035" y="91169"/>
                    <a:pt x="1295186" y="93933"/>
                  </a:cubicBezTo>
                  <a:lnTo>
                    <a:pt x="1295764" y="94512"/>
                  </a:lnTo>
                  <a:cubicBezTo>
                    <a:pt x="1297693" y="96762"/>
                    <a:pt x="1294093" y="97598"/>
                    <a:pt x="1294479" y="99784"/>
                  </a:cubicBezTo>
                  <a:cubicBezTo>
                    <a:pt x="1294864" y="101970"/>
                    <a:pt x="1290942" y="103063"/>
                    <a:pt x="1290942" y="100877"/>
                  </a:cubicBezTo>
                  <a:cubicBezTo>
                    <a:pt x="1290942" y="98691"/>
                    <a:pt x="1281234" y="97919"/>
                    <a:pt x="1279177" y="100363"/>
                  </a:cubicBezTo>
                  <a:cubicBezTo>
                    <a:pt x="1277120" y="102806"/>
                    <a:pt x="1275705" y="104542"/>
                    <a:pt x="1273326" y="102356"/>
                  </a:cubicBezTo>
                  <a:cubicBezTo>
                    <a:pt x="1270947" y="100170"/>
                    <a:pt x="1263939" y="102934"/>
                    <a:pt x="1254938" y="103256"/>
                  </a:cubicBezTo>
                  <a:cubicBezTo>
                    <a:pt x="1244169" y="103346"/>
                    <a:pt x="1233419" y="104265"/>
                    <a:pt x="1222791" y="106021"/>
                  </a:cubicBezTo>
                  <a:cubicBezTo>
                    <a:pt x="1218226" y="107692"/>
                    <a:pt x="1214369" y="114121"/>
                    <a:pt x="1218548" y="118365"/>
                  </a:cubicBezTo>
                  <a:cubicBezTo>
                    <a:pt x="1222727" y="122608"/>
                    <a:pt x="1218548" y="124408"/>
                    <a:pt x="1218548" y="127173"/>
                  </a:cubicBezTo>
                  <a:cubicBezTo>
                    <a:pt x="1218548" y="129938"/>
                    <a:pt x="1229606" y="135596"/>
                    <a:pt x="1235457" y="136174"/>
                  </a:cubicBezTo>
                  <a:cubicBezTo>
                    <a:pt x="1241308" y="136753"/>
                    <a:pt x="1246130" y="143889"/>
                    <a:pt x="1242593" y="148262"/>
                  </a:cubicBezTo>
                  <a:cubicBezTo>
                    <a:pt x="1239057" y="152634"/>
                    <a:pt x="1228449" y="146976"/>
                    <a:pt x="1221505" y="141511"/>
                  </a:cubicBezTo>
                  <a:cubicBezTo>
                    <a:pt x="1212845" y="136534"/>
                    <a:pt x="1203008" y="133982"/>
                    <a:pt x="1193023" y="134117"/>
                  </a:cubicBezTo>
                  <a:cubicBezTo>
                    <a:pt x="1187687" y="134503"/>
                    <a:pt x="1190837" y="129359"/>
                    <a:pt x="1184022" y="129552"/>
                  </a:cubicBezTo>
                  <a:cubicBezTo>
                    <a:pt x="1177207" y="129745"/>
                    <a:pt x="1171549" y="135981"/>
                    <a:pt x="1176114" y="135981"/>
                  </a:cubicBezTo>
                  <a:cubicBezTo>
                    <a:pt x="1180679" y="135981"/>
                    <a:pt x="1183636" y="135596"/>
                    <a:pt x="1181257" y="137846"/>
                  </a:cubicBezTo>
                  <a:cubicBezTo>
                    <a:pt x="1178878" y="140096"/>
                    <a:pt x="1182543" y="139453"/>
                    <a:pt x="1188072" y="141832"/>
                  </a:cubicBezTo>
                  <a:cubicBezTo>
                    <a:pt x="1193602" y="144211"/>
                    <a:pt x="1183443" y="147554"/>
                    <a:pt x="1177786" y="143697"/>
                  </a:cubicBezTo>
                  <a:cubicBezTo>
                    <a:pt x="1173356" y="140739"/>
                    <a:pt x="1167370" y="141935"/>
                    <a:pt x="1164412" y="146365"/>
                  </a:cubicBezTo>
                  <a:cubicBezTo>
                    <a:pt x="1164386" y="146397"/>
                    <a:pt x="1164367" y="146429"/>
                    <a:pt x="1164348" y="146461"/>
                  </a:cubicBezTo>
                  <a:cubicBezTo>
                    <a:pt x="1162741" y="149419"/>
                    <a:pt x="1170777" y="157841"/>
                    <a:pt x="1180872" y="159320"/>
                  </a:cubicBezTo>
                  <a:cubicBezTo>
                    <a:pt x="1190966" y="160799"/>
                    <a:pt x="1187301" y="163885"/>
                    <a:pt x="1192123" y="165749"/>
                  </a:cubicBezTo>
                  <a:cubicBezTo>
                    <a:pt x="1196945" y="167614"/>
                    <a:pt x="1193409" y="169221"/>
                    <a:pt x="1190259" y="169414"/>
                  </a:cubicBezTo>
                  <a:cubicBezTo>
                    <a:pt x="1187108" y="169607"/>
                    <a:pt x="1180872" y="164656"/>
                    <a:pt x="1175921" y="162085"/>
                  </a:cubicBezTo>
                  <a:cubicBezTo>
                    <a:pt x="1170970" y="159513"/>
                    <a:pt x="1157597" y="163178"/>
                    <a:pt x="1154833" y="160220"/>
                  </a:cubicBezTo>
                  <a:cubicBezTo>
                    <a:pt x="1152068" y="157263"/>
                    <a:pt x="1156633" y="154369"/>
                    <a:pt x="1154061" y="152183"/>
                  </a:cubicBezTo>
                  <a:cubicBezTo>
                    <a:pt x="1151489" y="149997"/>
                    <a:pt x="1154061" y="144983"/>
                    <a:pt x="1157018" y="139839"/>
                  </a:cubicBezTo>
                  <a:cubicBezTo>
                    <a:pt x="1159680" y="134098"/>
                    <a:pt x="1157321" y="127283"/>
                    <a:pt x="1151682" y="124408"/>
                  </a:cubicBezTo>
                  <a:cubicBezTo>
                    <a:pt x="1146925" y="122930"/>
                    <a:pt x="1147246" y="127945"/>
                    <a:pt x="1148403" y="129359"/>
                  </a:cubicBezTo>
                  <a:cubicBezTo>
                    <a:pt x="1149342" y="133898"/>
                    <a:pt x="1148185" y="138624"/>
                    <a:pt x="1145253" y="142218"/>
                  </a:cubicBezTo>
                  <a:cubicBezTo>
                    <a:pt x="1141588" y="146847"/>
                    <a:pt x="1130401" y="146847"/>
                    <a:pt x="1130401" y="149933"/>
                  </a:cubicBezTo>
                  <a:cubicBezTo>
                    <a:pt x="1130401" y="153019"/>
                    <a:pt x="1122815" y="155462"/>
                    <a:pt x="1125386" y="157648"/>
                  </a:cubicBezTo>
                  <a:cubicBezTo>
                    <a:pt x="1130729" y="162798"/>
                    <a:pt x="1135474" y="168533"/>
                    <a:pt x="1139531" y="174751"/>
                  </a:cubicBezTo>
                  <a:cubicBezTo>
                    <a:pt x="1141009" y="178222"/>
                    <a:pt x="1130529" y="189281"/>
                    <a:pt x="1132201" y="195710"/>
                  </a:cubicBezTo>
                  <a:cubicBezTo>
                    <a:pt x="1133873" y="202140"/>
                    <a:pt x="1130723" y="205033"/>
                    <a:pt x="1132780" y="208183"/>
                  </a:cubicBezTo>
                  <a:cubicBezTo>
                    <a:pt x="1134837" y="211334"/>
                    <a:pt x="1139209" y="208569"/>
                    <a:pt x="1142295" y="209855"/>
                  </a:cubicBezTo>
                  <a:cubicBezTo>
                    <a:pt x="1145381" y="211141"/>
                    <a:pt x="1150011" y="207990"/>
                    <a:pt x="1156826" y="206705"/>
                  </a:cubicBezTo>
                  <a:cubicBezTo>
                    <a:pt x="1163641" y="205419"/>
                    <a:pt x="1176114" y="212619"/>
                    <a:pt x="1180679" y="214805"/>
                  </a:cubicBezTo>
                  <a:cubicBezTo>
                    <a:pt x="1185244" y="216991"/>
                    <a:pt x="1182929" y="220656"/>
                    <a:pt x="1185308" y="224385"/>
                  </a:cubicBezTo>
                  <a:cubicBezTo>
                    <a:pt x="1187687" y="228114"/>
                    <a:pt x="1179779" y="228050"/>
                    <a:pt x="1179586" y="233515"/>
                  </a:cubicBezTo>
                  <a:cubicBezTo>
                    <a:pt x="1179393" y="238980"/>
                    <a:pt x="1193409" y="241423"/>
                    <a:pt x="1193923" y="243095"/>
                  </a:cubicBezTo>
                  <a:cubicBezTo>
                    <a:pt x="1194437" y="244766"/>
                    <a:pt x="1184022" y="243481"/>
                    <a:pt x="1179971" y="242002"/>
                  </a:cubicBezTo>
                  <a:cubicBezTo>
                    <a:pt x="1175921" y="240523"/>
                    <a:pt x="1175535" y="235187"/>
                    <a:pt x="1174313" y="234094"/>
                  </a:cubicBezTo>
                  <a:cubicBezTo>
                    <a:pt x="1173092" y="233001"/>
                    <a:pt x="1177014" y="228564"/>
                    <a:pt x="1177400" y="225092"/>
                  </a:cubicBezTo>
                  <a:cubicBezTo>
                    <a:pt x="1177786" y="221621"/>
                    <a:pt x="1172835" y="219563"/>
                    <a:pt x="1170970" y="217184"/>
                  </a:cubicBezTo>
                  <a:cubicBezTo>
                    <a:pt x="1169106" y="214805"/>
                    <a:pt x="1166405" y="211334"/>
                    <a:pt x="1163062" y="212041"/>
                  </a:cubicBezTo>
                  <a:cubicBezTo>
                    <a:pt x="1159719" y="212748"/>
                    <a:pt x="1147632" y="213905"/>
                    <a:pt x="1143774" y="217184"/>
                  </a:cubicBezTo>
                  <a:cubicBezTo>
                    <a:pt x="1139916" y="220463"/>
                    <a:pt x="1144288" y="230043"/>
                    <a:pt x="1146346" y="234479"/>
                  </a:cubicBezTo>
                  <a:cubicBezTo>
                    <a:pt x="1148403" y="238916"/>
                    <a:pt x="1135673" y="245474"/>
                    <a:pt x="1136059" y="249138"/>
                  </a:cubicBezTo>
                  <a:cubicBezTo>
                    <a:pt x="1136445" y="252803"/>
                    <a:pt x="1132201" y="254475"/>
                    <a:pt x="1126672" y="257432"/>
                  </a:cubicBezTo>
                  <a:cubicBezTo>
                    <a:pt x="1121143" y="260390"/>
                    <a:pt x="1115099" y="262576"/>
                    <a:pt x="1115292" y="267334"/>
                  </a:cubicBezTo>
                  <a:cubicBezTo>
                    <a:pt x="1115485" y="272091"/>
                    <a:pt x="1107962" y="269520"/>
                    <a:pt x="1104105" y="267334"/>
                  </a:cubicBezTo>
                  <a:cubicBezTo>
                    <a:pt x="1100247" y="265148"/>
                    <a:pt x="1095232" y="268619"/>
                    <a:pt x="1089767" y="268426"/>
                  </a:cubicBezTo>
                  <a:cubicBezTo>
                    <a:pt x="1084302" y="268234"/>
                    <a:pt x="1084238" y="263669"/>
                    <a:pt x="1079802" y="265340"/>
                  </a:cubicBezTo>
                  <a:cubicBezTo>
                    <a:pt x="1077699" y="266453"/>
                    <a:pt x="1075096" y="265655"/>
                    <a:pt x="1073977" y="263553"/>
                  </a:cubicBezTo>
                  <a:cubicBezTo>
                    <a:pt x="1073398" y="262454"/>
                    <a:pt x="1073315" y="261161"/>
                    <a:pt x="1073758" y="260004"/>
                  </a:cubicBezTo>
                  <a:cubicBezTo>
                    <a:pt x="1075044" y="256725"/>
                    <a:pt x="1080188" y="259232"/>
                    <a:pt x="1080188" y="261676"/>
                  </a:cubicBezTo>
                  <a:cubicBezTo>
                    <a:pt x="1080188" y="264119"/>
                    <a:pt x="1083659" y="262962"/>
                    <a:pt x="1087324" y="260904"/>
                  </a:cubicBezTo>
                  <a:cubicBezTo>
                    <a:pt x="1090989" y="258847"/>
                    <a:pt x="1089189" y="263476"/>
                    <a:pt x="1094525" y="263862"/>
                  </a:cubicBezTo>
                  <a:cubicBezTo>
                    <a:pt x="1099861" y="264247"/>
                    <a:pt x="1096904" y="261097"/>
                    <a:pt x="1100954" y="261483"/>
                  </a:cubicBezTo>
                  <a:cubicBezTo>
                    <a:pt x="1105005" y="261869"/>
                    <a:pt x="1105198" y="260583"/>
                    <a:pt x="1103912" y="258525"/>
                  </a:cubicBezTo>
                  <a:cubicBezTo>
                    <a:pt x="1102626" y="256468"/>
                    <a:pt x="1106805" y="255053"/>
                    <a:pt x="1109377" y="253960"/>
                  </a:cubicBezTo>
                  <a:cubicBezTo>
                    <a:pt x="1111949" y="252867"/>
                    <a:pt x="1110856" y="248624"/>
                    <a:pt x="1113234" y="247531"/>
                  </a:cubicBezTo>
                  <a:cubicBezTo>
                    <a:pt x="1115613" y="246438"/>
                    <a:pt x="1114006" y="243673"/>
                    <a:pt x="1116578" y="243481"/>
                  </a:cubicBezTo>
                  <a:cubicBezTo>
                    <a:pt x="1119150" y="243288"/>
                    <a:pt x="1120243" y="239430"/>
                    <a:pt x="1122621" y="239430"/>
                  </a:cubicBezTo>
                  <a:cubicBezTo>
                    <a:pt x="1125000" y="239430"/>
                    <a:pt x="1126286" y="235572"/>
                    <a:pt x="1124808" y="233515"/>
                  </a:cubicBezTo>
                  <a:cubicBezTo>
                    <a:pt x="1123329" y="231458"/>
                    <a:pt x="1125772" y="225993"/>
                    <a:pt x="1128151" y="225285"/>
                  </a:cubicBezTo>
                  <a:cubicBezTo>
                    <a:pt x="1130529" y="224578"/>
                    <a:pt x="1130723" y="222328"/>
                    <a:pt x="1128536" y="220721"/>
                  </a:cubicBezTo>
                  <a:cubicBezTo>
                    <a:pt x="1126351" y="219113"/>
                    <a:pt x="1118185" y="213520"/>
                    <a:pt x="1118764" y="210048"/>
                  </a:cubicBezTo>
                  <a:cubicBezTo>
                    <a:pt x="1119342" y="206576"/>
                    <a:pt x="1117285" y="200082"/>
                    <a:pt x="1118378" y="197189"/>
                  </a:cubicBezTo>
                  <a:cubicBezTo>
                    <a:pt x="1119111" y="193299"/>
                    <a:pt x="1119111" y="189313"/>
                    <a:pt x="1118378" y="185423"/>
                  </a:cubicBezTo>
                  <a:cubicBezTo>
                    <a:pt x="1119066" y="181058"/>
                    <a:pt x="1120121" y="176756"/>
                    <a:pt x="1121529" y="172565"/>
                  </a:cubicBezTo>
                  <a:cubicBezTo>
                    <a:pt x="1122621" y="166521"/>
                    <a:pt x="1115099" y="160092"/>
                    <a:pt x="1111434" y="158420"/>
                  </a:cubicBezTo>
                  <a:cubicBezTo>
                    <a:pt x="1107770" y="156748"/>
                    <a:pt x="1110148" y="153469"/>
                    <a:pt x="1115485" y="149033"/>
                  </a:cubicBezTo>
                  <a:cubicBezTo>
                    <a:pt x="1120821" y="144597"/>
                    <a:pt x="1121143" y="130838"/>
                    <a:pt x="1120821" y="127945"/>
                  </a:cubicBezTo>
                  <a:cubicBezTo>
                    <a:pt x="1120500" y="125051"/>
                    <a:pt x="1109570" y="122415"/>
                    <a:pt x="1105391" y="122737"/>
                  </a:cubicBezTo>
                  <a:cubicBezTo>
                    <a:pt x="1097463" y="122962"/>
                    <a:pt x="1089536" y="122595"/>
                    <a:pt x="1081666" y="121644"/>
                  </a:cubicBezTo>
                  <a:cubicBezTo>
                    <a:pt x="1077809" y="120937"/>
                    <a:pt x="1076523" y="124987"/>
                    <a:pt x="1074658" y="128652"/>
                  </a:cubicBezTo>
                  <a:cubicBezTo>
                    <a:pt x="1071270" y="134200"/>
                    <a:pt x="1068505" y="140109"/>
                    <a:pt x="1066429" y="146268"/>
                  </a:cubicBezTo>
                  <a:cubicBezTo>
                    <a:pt x="1064050" y="154562"/>
                    <a:pt x="1054277" y="157134"/>
                    <a:pt x="1049905" y="159127"/>
                  </a:cubicBezTo>
                  <a:cubicBezTo>
                    <a:pt x="1045533" y="161120"/>
                    <a:pt x="1042704" y="167035"/>
                    <a:pt x="1044762" y="169993"/>
                  </a:cubicBezTo>
                  <a:cubicBezTo>
                    <a:pt x="1046819" y="172950"/>
                    <a:pt x="1049712" y="170572"/>
                    <a:pt x="1051705" y="171664"/>
                  </a:cubicBezTo>
                  <a:cubicBezTo>
                    <a:pt x="1053699" y="172757"/>
                    <a:pt x="1051705" y="180473"/>
                    <a:pt x="1050227" y="181566"/>
                  </a:cubicBezTo>
                  <a:cubicBezTo>
                    <a:pt x="1048748" y="182659"/>
                    <a:pt x="1052670" y="185423"/>
                    <a:pt x="1049519" y="187416"/>
                  </a:cubicBezTo>
                  <a:cubicBezTo>
                    <a:pt x="1046369" y="189410"/>
                    <a:pt x="1043476" y="193846"/>
                    <a:pt x="1045276" y="195903"/>
                  </a:cubicBezTo>
                  <a:cubicBezTo>
                    <a:pt x="1047076" y="197961"/>
                    <a:pt x="1056142" y="199182"/>
                    <a:pt x="1059999" y="201432"/>
                  </a:cubicBezTo>
                  <a:cubicBezTo>
                    <a:pt x="1063857" y="203683"/>
                    <a:pt x="1062378" y="207862"/>
                    <a:pt x="1065336" y="211527"/>
                  </a:cubicBezTo>
                  <a:cubicBezTo>
                    <a:pt x="1068293" y="215191"/>
                    <a:pt x="1071379" y="213005"/>
                    <a:pt x="1072858" y="215384"/>
                  </a:cubicBezTo>
                  <a:cubicBezTo>
                    <a:pt x="1074337" y="217763"/>
                    <a:pt x="1067522" y="227343"/>
                    <a:pt x="1065143" y="227664"/>
                  </a:cubicBezTo>
                  <a:cubicBezTo>
                    <a:pt x="1062764" y="227986"/>
                    <a:pt x="1052991" y="217956"/>
                    <a:pt x="1050098" y="215770"/>
                  </a:cubicBezTo>
                  <a:cubicBezTo>
                    <a:pt x="1047205" y="213584"/>
                    <a:pt x="1035761" y="210048"/>
                    <a:pt x="1030038" y="207090"/>
                  </a:cubicBezTo>
                  <a:cubicBezTo>
                    <a:pt x="1024355" y="205271"/>
                    <a:pt x="1018832" y="202988"/>
                    <a:pt x="1013515" y="200275"/>
                  </a:cubicBezTo>
                  <a:cubicBezTo>
                    <a:pt x="1006822" y="195607"/>
                    <a:pt x="998689" y="193466"/>
                    <a:pt x="990562" y="194232"/>
                  </a:cubicBezTo>
                  <a:cubicBezTo>
                    <a:pt x="979118" y="194232"/>
                    <a:pt x="971788" y="191660"/>
                    <a:pt x="967931" y="192238"/>
                  </a:cubicBezTo>
                  <a:cubicBezTo>
                    <a:pt x="964073" y="192817"/>
                    <a:pt x="965552" y="188381"/>
                    <a:pt x="958737" y="185423"/>
                  </a:cubicBezTo>
                  <a:cubicBezTo>
                    <a:pt x="951922" y="182466"/>
                    <a:pt x="947549" y="178415"/>
                    <a:pt x="943692" y="180473"/>
                  </a:cubicBezTo>
                  <a:cubicBezTo>
                    <a:pt x="939834" y="182530"/>
                    <a:pt x="941313" y="189860"/>
                    <a:pt x="947164" y="190760"/>
                  </a:cubicBezTo>
                  <a:cubicBezTo>
                    <a:pt x="953014" y="191660"/>
                    <a:pt x="950121" y="194810"/>
                    <a:pt x="956358" y="194424"/>
                  </a:cubicBezTo>
                  <a:cubicBezTo>
                    <a:pt x="962594" y="194039"/>
                    <a:pt x="964459" y="196289"/>
                    <a:pt x="964266" y="200146"/>
                  </a:cubicBezTo>
                  <a:cubicBezTo>
                    <a:pt x="964690" y="204210"/>
                    <a:pt x="966754" y="207926"/>
                    <a:pt x="969988" y="210434"/>
                  </a:cubicBezTo>
                  <a:cubicBezTo>
                    <a:pt x="972753" y="213005"/>
                    <a:pt x="971081" y="217184"/>
                    <a:pt x="966130" y="217184"/>
                  </a:cubicBezTo>
                  <a:cubicBezTo>
                    <a:pt x="961180" y="217184"/>
                    <a:pt x="955458" y="217956"/>
                    <a:pt x="957644" y="221428"/>
                  </a:cubicBezTo>
                  <a:cubicBezTo>
                    <a:pt x="959830" y="224900"/>
                    <a:pt x="956165" y="225864"/>
                    <a:pt x="951214" y="224000"/>
                  </a:cubicBezTo>
                  <a:cubicBezTo>
                    <a:pt x="946264" y="222135"/>
                    <a:pt x="949221" y="218663"/>
                    <a:pt x="951214" y="216670"/>
                  </a:cubicBezTo>
                  <a:cubicBezTo>
                    <a:pt x="953207" y="214677"/>
                    <a:pt x="946842" y="212041"/>
                    <a:pt x="943692" y="210948"/>
                  </a:cubicBezTo>
                  <a:cubicBezTo>
                    <a:pt x="940541" y="209855"/>
                    <a:pt x="928068" y="219049"/>
                    <a:pt x="924404" y="220528"/>
                  </a:cubicBezTo>
                  <a:cubicBezTo>
                    <a:pt x="920739" y="222007"/>
                    <a:pt x="912252" y="218277"/>
                    <a:pt x="903444" y="220528"/>
                  </a:cubicBezTo>
                  <a:cubicBezTo>
                    <a:pt x="894636" y="222778"/>
                    <a:pt x="895214" y="229722"/>
                    <a:pt x="891871" y="228950"/>
                  </a:cubicBezTo>
                  <a:cubicBezTo>
                    <a:pt x="888528" y="228179"/>
                    <a:pt x="879012" y="229915"/>
                    <a:pt x="875155" y="227664"/>
                  </a:cubicBezTo>
                  <a:cubicBezTo>
                    <a:pt x="871297" y="225414"/>
                    <a:pt x="874448" y="224192"/>
                    <a:pt x="878305" y="224385"/>
                  </a:cubicBezTo>
                  <a:cubicBezTo>
                    <a:pt x="882163" y="224578"/>
                    <a:pt x="883449" y="223292"/>
                    <a:pt x="881198" y="220721"/>
                  </a:cubicBezTo>
                  <a:cubicBezTo>
                    <a:pt x="878948" y="218149"/>
                    <a:pt x="884156" y="214291"/>
                    <a:pt x="883963" y="212234"/>
                  </a:cubicBezTo>
                  <a:cubicBezTo>
                    <a:pt x="883770" y="210176"/>
                    <a:pt x="869497" y="215191"/>
                    <a:pt x="867054" y="217184"/>
                  </a:cubicBezTo>
                  <a:cubicBezTo>
                    <a:pt x="864611" y="219178"/>
                    <a:pt x="867054" y="222907"/>
                    <a:pt x="864675" y="224192"/>
                  </a:cubicBezTo>
                  <a:cubicBezTo>
                    <a:pt x="862296" y="225478"/>
                    <a:pt x="862103" y="222007"/>
                    <a:pt x="859146" y="220913"/>
                  </a:cubicBezTo>
                  <a:cubicBezTo>
                    <a:pt x="856188" y="219820"/>
                    <a:pt x="834778" y="224771"/>
                    <a:pt x="830728" y="229336"/>
                  </a:cubicBezTo>
                  <a:cubicBezTo>
                    <a:pt x="826677" y="233901"/>
                    <a:pt x="818769" y="234094"/>
                    <a:pt x="818769" y="236665"/>
                  </a:cubicBezTo>
                  <a:cubicBezTo>
                    <a:pt x="818769" y="239237"/>
                    <a:pt x="808997" y="239044"/>
                    <a:pt x="805139" y="240909"/>
                  </a:cubicBezTo>
                  <a:cubicBezTo>
                    <a:pt x="801281" y="242773"/>
                    <a:pt x="803917" y="250296"/>
                    <a:pt x="802439" y="253767"/>
                  </a:cubicBezTo>
                  <a:cubicBezTo>
                    <a:pt x="800960" y="257239"/>
                    <a:pt x="785851" y="256339"/>
                    <a:pt x="781286" y="256532"/>
                  </a:cubicBezTo>
                  <a:cubicBezTo>
                    <a:pt x="776721" y="256725"/>
                    <a:pt x="774857" y="247724"/>
                    <a:pt x="771385" y="247145"/>
                  </a:cubicBezTo>
                  <a:cubicBezTo>
                    <a:pt x="767913" y="246567"/>
                    <a:pt x="769906" y="241423"/>
                    <a:pt x="770999" y="239237"/>
                  </a:cubicBezTo>
                  <a:cubicBezTo>
                    <a:pt x="772092" y="237051"/>
                    <a:pt x="775049" y="238851"/>
                    <a:pt x="779614" y="235958"/>
                  </a:cubicBezTo>
                  <a:cubicBezTo>
                    <a:pt x="784179" y="233065"/>
                    <a:pt x="788808" y="237373"/>
                    <a:pt x="790673" y="235380"/>
                  </a:cubicBezTo>
                  <a:cubicBezTo>
                    <a:pt x="792537" y="233386"/>
                    <a:pt x="783665" y="228050"/>
                    <a:pt x="783151" y="223421"/>
                  </a:cubicBezTo>
                  <a:cubicBezTo>
                    <a:pt x="782636" y="218792"/>
                    <a:pt x="772799" y="217570"/>
                    <a:pt x="767334" y="219049"/>
                  </a:cubicBezTo>
                  <a:cubicBezTo>
                    <a:pt x="762152" y="220258"/>
                    <a:pt x="756706" y="219666"/>
                    <a:pt x="751904" y="217377"/>
                  </a:cubicBezTo>
                  <a:cubicBezTo>
                    <a:pt x="748046" y="215577"/>
                    <a:pt x="748368" y="220721"/>
                    <a:pt x="754090" y="222135"/>
                  </a:cubicBezTo>
                  <a:cubicBezTo>
                    <a:pt x="759812" y="223550"/>
                    <a:pt x="756854" y="228050"/>
                    <a:pt x="757754" y="230815"/>
                  </a:cubicBezTo>
                  <a:cubicBezTo>
                    <a:pt x="757838" y="235817"/>
                    <a:pt x="756154" y="240690"/>
                    <a:pt x="752997" y="244573"/>
                  </a:cubicBezTo>
                  <a:cubicBezTo>
                    <a:pt x="749653" y="249331"/>
                    <a:pt x="752097" y="249138"/>
                    <a:pt x="757047" y="248945"/>
                  </a:cubicBezTo>
                  <a:cubicBezTo>
                    <a:pt x="761998" y="248753"/>
                    <a:pt x="761612" y="255375"/>
                    <a:pt x="761612" y="260004"/>
                  </a:cubicBezTo>
                  <a:cubicBezTo>
                    <a:pt x="761612" y="264633"/>
                    <a:pt x="757754" y="266048"/>
                    <a:pt x="757754" y="269584"/>
                  </a:cubicBezTo>
                  <a:cubicBezTo>
                    <a:pt x="757754" y="273120"/>
                    <a:pt x="753704" y="267912"/>
                    <a:pt x="752418" y="269584"/>
                  </a:cubicBezTo>
                  <a:cubicBezTo>
                    <a:pt x="751132" y="271255"/>
                    <a:pt x="749525" y="268812"/>
                    <a:pt x="748753" y="265919"/>
                  </a:cubicBezTo>
                  <a:cubicBezTo>
                    <a:pt x="747982" y="263026"/>
                    <a:pt x="740524" y="264569"/>
                    <a:pt x="736280" y="263476"/>
                  </a:cubicBezTo>
                  <a:cubicBezTo>
                    <a:pt x="732037" y="262383"/>
                    <a:pt x="730365" y="264247"/>
                    <a:pt x="728372" y="267334"/>
                  </a:cubicBezTo>
                  <a:cubicBezTo>
                    <a:pt x="725434" y="270246"/>
                    <a:pt x="721512" y="271963"/>
                    <a:pt x="717378" y="272156"/>
                  </a:cubicBezTo>
                  <a:cubicBezTo>
                    <a:pt x="713906" y="272541"/>
                    <a:pt x="708698" y="278585"/>
                    <a:pt x="705419" y="280771"/>
                  </a:cubicBezTo>
                  <a:cubicBezTo>
                    <a:pt x="702140" y="282957"/>
                    <a:pt x="701562" y="287200"/>
                    <a:pt x="706127" y="291637"/>
                  </a:cubicBezTo>
                  <a:cubicBezTo>
                    <a:pt x="710691" y="296073"/>
                    <a:pt x="711656" y="298966"/>
                    <a:pt x="711270" y="301345"/>
                  </a:cubicBezTo>
                  <a:cubicBezTo>
                    <a:pt x="710884" y="303724"/>
                    <a:pt x="698411" y="303016"/>
                    <a:pt x="696418" y="300445"/>
                  </a:cubicBezTo>
                  <a:cubicBezTo>
                    <a:pt x="692625" y="297944"/>
                    <a:pt x="688060" y="296896"/>
                    <a:pt x="683559" y="297487"/>
                  </a:cubicBezTo>
                  <a:cubicBezTo>
                    <a:pt x="680795" y="298066"/>
                    <a:pt x="673272" y="289258"/>
                    <a:pt x="669415" y="289065"/>
                  </a:cubicBezTo>
                  <a:cubicBezTo>
                    <a:pt x="665557" y="288872"/>
                    <a:pt x="662985" y="293630"/>
                    <a:pt x="661892" y="296008"/>
                  </a:cubicBezTo>
                  <a:cubicBezTo>
                    <a:pt x="660800" y="298387"/>
                    <a:pt x="663693" y="299159"/>
                    <a:pt x="665557" y="303209"/>
                  </a:cubicBezTo>
                  <a:cubicBezTo>
                    <a:pt x="667422" y="307260"/>
                    <a:pt x="674173" y="307389"/>
                    <a:pt x="677644" y="307389"/>
                  </a:cubicBezTo>
                  <a:cubicBezTo>
                    <a:pt x="681116" y="307389"/>
                    <a:pt x="679895" y="312725"/>
                    <a:pt x="678737" y="314975"/>
                  </a:cubicBezTo>
                  <a:cubicBezTo>
                    <a:pt x="677580" y="317226"/>
                    <a:pt x="671215" y="318833"/>
                    <a:pt x="669415" y="316390"/>
                  </a:cubicBezTo>
                  <a:cubicBezTo>
                    <a:pt x="667615" y="313947"/>
                    <a:pt x="659835" y="316390"/>
                    <a:pt x="659642" y="313496"/>
                  </a:cubicBezTo>
                  <a:cubicBezTo>
                    <a:pt x="657893" y="308893"/>
                    <a:pt x="653110" y="306186"/>
                    <a:pt x="648262" y="307067"/>
                  </a:cubicBezTo>
                  <a:cubicBezTo>
                    <a:pt x="642604" y="307967"/>
                    <a:pt x="641447" y="304302"/>
                    <a:pt x="641833" y="299866"/>
                  </a:cubicBezTo>
                  <a:cubicBezTo>
                    <a:pt x="642219" y="295430"/>
                    <a:pt x="638747" y="292923"/>
                    <a:pt x="638875" y="290865"/>
                  </a:cubicBezTo>
                  <a:cubicBezTo>
                    <a:pt x="639004" y="288808"/>
                    <a:pt x="636303" y="284821"/>
                    <a:pt x="639261" y="282764"/>
                  </a:cubicBezTo>
                  <a:cubicBezTo>
                    <a:pt x="642219" y="280707"/>
                    <a:pt x="639968" y="277685"/>
                    <a:pt x="640161" y="274920"/>
                  </a:cubicBezTo>
                  <a:cubicBezTo>
                    <a:pt x="640354" y="272156"/>
                    <a:pt x="635211" y="267912"/>
                    <a:pt x="630646" y="267912"/>
                  </a:cubicBezTo>
                  <a:cubicBezTo>
                    <a:pt x="626081" y="267912"/>
                    <a:pt x="626981" y="263347"/>
                    <a:pt x="623123" y="262383"/>
                  </a:cubicBezTo>
                  <a:cubicBezTo>
                    <a:pt x="618057" y="260480"/>
                    <a:pt x="613775" y="256924"/>
                    <a:pt x="610972" y="252289"/>
                  </a:cubicBezTo>
                  <a:cubicBezTo>
                    <a:pt x="610393" y="249524"/>
                    <a:pt x="604542" y="249138"/>
                    <a:pt x="606536" y="248238"/>
                  </a:cubicBezTo>
                  <a:cubicBezTo>
                    <a:pt x="610265" y="247692"/>
                    <a:pt x="614013" y="249074"/>
                    <a:pt x="616501" y="251903"/>
                  </a:cubicBezTo>
                  <a:cubicBezTo>
                    <a:pt x="621233" y="256262"/>
                    <a:pt x="627315" y="258872"/>
                    <a:pt x="633732" y="259297"/>
                  </a:cubicBezTo>
                  <a:cubicBezTo>
                    <a:pt x="642411" y="260390"/>
                    <a:pt x="645883" y="264440"/>
                    <a:pt x="655399" y="265726"/>
                  </a:cubicBezTo>
                  <a:cubicBezTo>
                    <a:pt x="664914" y="267012"/>
                    <a:pt x="670701" y="268491"/>
                    <a:pt x="684460" y="270548"/>
                  </a:cubicBezTo>
                  <a:cubicBezTo>
                    <a:pt x="698218" y="272606"/>
                    <a:pt x="716606" y="258589"/>
                    <a:pt x="720464" y="254732"/>
                  </a:cubicBezTo>
                  <a:cubicBezTo>
                    <a:pt x="724322" y="250874"/>
                    <a:pt x="719371" y="242966"/>
                    <a:pt x="719371" y="240009"/>
                  </a:cubicBezTo>
                  <a:cubicBezTo>
                    <a:pt x="719371" y="237051"/>
                    <a:pt x="712942" y="236730"/>
                    <a:pt x="712235" y="234544"/>
                  </a:cubicBezTo>
                  <a:cubicBezTo>
                    <a:pt x="710196" y="230718"/>
                    <a:pt x="706274" y="228269"/>
                    <a:pt x="701947" y="228114"/>
                  </a:cubicBezTo>
                  <a:cubicBezTo>
                    <a:pt x="696611" y="228114"/>
                    <a:pt x="695839" y="222007"/>
                    <a:pt x="691660" y="222392"/>
                  </a:cubicBezTo>
                  <a:cubicBezTo>
                    <a:pt x="687481" y="222778"/>
                    <a:pt x="684460" y="220528"/>
                    <a:pt x="673465" y="213198"/>
                  </a:cubicBezTo>
                  <a:cubicBezTo>
                    <a:pt x="662471" y="205869"/>
                    <a:pt x="647169" y="200339"/>
                    <a:pt x="644404" y="201818"/>
                  </a:cubicBezTo>
                  <a:cubicBezTo>
                    <a:pt x="641640" y="203297"/>
                    <a:pt x="639840" y="203811"/>
                    <a:pt x="637975" y="201047"/>
                  </a:cubicBezTo>
                  <a:cubicBezTo>
                    <a:pt x="635474" y="198597"/>
                    <a:pt x="631475" y="198597"/>
                    <a:pt x="628974" y="201047"/>
                  </a:cubicBezTo>
                  <a:cubicBezTo>
                    <a:pt x="626017" y="203233"/>
                    <a:pt x="623123" y="198989"/>
                    <a:pt x="617594" y="200275"/>
                  </a:cubicBezTo>
                  <a:cubicBezTo>
                    <a:pt x="612065" y="201561"/>
                    <a:pt x="609172" y="197896"/>
                    <a:pt x="610586" y="196225"/>
                  </a:cubicBezTo>
                  <a:cubicBezTo>
                    <a:pt x="612000" y="194553"/>
                    <a:pt x="620166" y="196225"/>
                    <a:pt x="619780" y="193331"/>
                  </a:cubicBezTo>
                  <a:cubicBezTo>
                    <a:pt x="619394" y="190438"/>
                    <a:pt x="616501" y="193331"/>
                    <a:pt x="611550" y="189988"/>
                  </a:cubicBezTo>
                  <a:cubicBezTo>
                    <a:pt x="606600" y="186645"/>
                    <a:pt x="603835" y="188895"/>
                    <a:pt x="602742" y="191660"/>
                  </a:cubicBezTo>
                  <a:cubicBezTo>
                    <a:pt x="601649" y="194424"/>
                    <a:pt x="597727" y="193653"/>
                    <a:pt x="595155" y="191274"/>
                  </a:cubicBezTo>
                  <a:lnTo>
                    <a:pt x="594320" y="190695"/>
                  </a:lnTo>
                  <a:cubicBezTo>
                    <a:pt x="593484" y="195260"/>
                    <a:pt x="590784" y="195775"/>
                    <a:pt x="587890" y="195132"/>
                  </a:cubicBezTo>
                  <a:cubicBezTo>
                    <a:pt x="584997" y="194489"/>
                    <a:pt x="581461" y="199889"/>
                    <a:pt x="577603" y="199889"/>
                  </a:cubicBezTo>
                  <a:cubicBezTo>
                    <a:pt x="573566" y="200468"/>
                    <a:pt x="570242" y="203361"/>
                    <a:pt x="569117" y="207283"/>
                  </a:cubicBezTo>
                  <a:cubicBezTo>
                    <a:pt x="568409" y="210562"/>
                    <a:pt x="564359" y="208762"/>
                    <a:pt x="564359" y="210948"/>
                  </a:cubicBezTo>
                  <a:cubicBezTo>
                    <a:pt x="564571" y="213237"/>
                    <a:pt x="563934" y="215532"/>
                    <a:pt x="562559" y="217377"/>
                  </a:cubicBezTo>
                  <a:cubicBezTo>
                    <a:pt x="560694" y="219563"/>
                    <a:pt x="562559" y="220656"/>
                    <a:pt x="564359" y="224321"/>
                  </a:cubicBezTo>
                  <a:cubicBezTo>
                    <a:pt x="566159" y="227986"/>
                    <a:pt x="570274" y="227664"/>
                    <a:pt x="572074" y="228757"/>
                  </a:cubicBezTo>
                  <a:cubicBezTo>
                    <a:pt x="573874" y="229850"/>
                    <a:pt x="580882" y="235765"/>
                    <a:pt x="580882" y="237951"/>
                  </a:cubicBezTo>
                  <a:cubicBezTo>
                    <a:pt x="580882" y="240137"/>
                    <a:pt x="575417" y="245667"/>
                    <a:pt x="573167" y="247145"/>
                  </a:cubicBezTo>
                  <a:cubicBezTo>
                    <a:pt x="570917" y="248624"/>
                    <a:pt x="568023" y="252289"/>
                    <a:pt x="569502" y="254475"/>
                  </a:cubicBezTo>
                  <a:cubicBezTo>
                    <a:pt x="570981" y="256661"/>
                    <a:pt x="577218" y="265855"/>
                    <a:pt x="581268" y="273184"/>
                  </a:cubicBezTo>
                  <a:cubicBezTo>
                    <a:pt x="585319" y="280514"/>
                    <a:pt x="579789" y="277235"/>
                    <a:pt x="577218" y="280578"/>
                  </a:cubicBezTo>
                  <a:cubicBezTo>
                    <a:pt x="574646" y="283921"/>
                    <a:pt x="578311" y="287908"/>
                    <a:pt x="579082" y="290094"/>
                  </a:cubicBezTo>
                  <a:cubicBezTo>
                    <a:pt x="579853" y="292280"/>
                    <a:pt x="575739" y="291958"/>
                    <a:pt x="576125" y="293758"/>
                  </a:cubicBezTo>
                  <a:cubicBezTo>
                    <a:pt x="576510" y="295558"/>
                    <a:pt x="581975" y="296394"/>
                    <a:pt x="582554" y="297809"/>
                  </a:cubicBezTo>
                  <a:cubicBezTo>
                    <a:pt x="583133" y="299223"/>
                    <a:pt x="578889" y="301152"/>
                    <a:pt x="580754" y="304238"/>
                  </a:cubicBezTo>
                  <a:cubicBezTo>
                    <a:pt x="582618" y="307324"/>
                    <a:pt x="587183" y="307131"/>
                    <a:pt x="587183" y="310667"/>
                  </a:cubicBezTo>
                  <a:cubicBezTo>
                    <a:pt x="587183" y="314204"/>
                    <a:pt x="579146" y="314718"/>
                    <a:pt x="579468" y="317675"/>
                  </a:cubicBezTo>
                  <a:cubicBezTo>
                    <a:pt x="579789" y="320633"/>
                    <a:pt x="590526" y="324105"/>
                    <a:pt x="595284" y="329827"/>
                  </a:cubicBezTo>
                  <a:cubicBezTo>
                    <a:pt x="600042" y="335549"/>
                    <a:pt x="599720" y="336771"/>
                    <a:pt x="598627" y="339728"/>
                  </a:cubicBezTo>
                  <a:cubicBezTo>
                    <a:pt x="596377" y="345643"/>
                    <a:pt x="583197" y="350723"/>
                    <a:pt x="580239" y="357345"/>
                  </a:cubicBezTo>
                  <a:cubicBezTo>
                    <a:pt x="577282" y="363967"/>
                    <a:pt x="566288" y="367632"/>
                    <a:pt x="560951" y="372775"/>
                  </a:cubicBezTo>
                  <a:cubicBezTo>
                    <a:pt x="558739" y="375109"/>
                    <a:pt x="556759" y="377649"/>
                    <a:pt x="555036" y="380362"/>
                  </a:cubicBezTo>
                  <a:cubicBezTo>
                    <a:pt x="556811" y="379925"/>
                    <a:pt x="558540" y="379301"/>
                    <a:pt x="560180" y="378497"/>
                  </a:cubicBezTo>
                  <a:cubicBezTo>
                    <a:pt x="563137" y="377019"/>
                    <a:pt x="565130" y="384155"/>
                    <a:pt x="568088" y="386598"/>
                  </a:cubicBezTo>
                  <a:cubicBezTo>
                    <a:pt x="571045" y="389042"/>
                    <a:pt x="576896" y="386598"/>
                    <a:pt x="578953" y="388977"/>
                  </a:cubicBezTo>
                  <a:cubicBezTo>
                    <a:pt x="581011" y="391356"/>
                    <a:pt x="577282" y="391356"/>
                    <a:pt x="573038" y="390585"/>
                  </a:cubicBezTo>
                  <a:cubicBezTo>
                    <a:pt x="568795" y="389813"/>
                    <a:pt x="567702" y="392449"/>
                    <a:pt x="561144" y="394635"/>
                  </a:cubicBezTo>
                  <a:cubicBezTo>
                    <a:pt x="556193" y="396307"/>
                    <a:pt x="556644" y="398043"/>
                    <a:pt x="555036" y="399457"/>
                  </a:cubicBezTo>
                  <a:cubicBezTo>
                    <a:pt x="554213" y="400062"/>
                    <a:pt x="553268" y="400479"/>
                    <a:pt x="552272" y="400679"/>
                  </a:cubicBezTo>
                  <a:cubicBezTo>
                    <a:pt x="546999" y="402158"/>
                    <a:pt x="535427" y="397014"/>
                    <a:pt x="528804" y="398300"/>
                  </a:cubicBezTo>
                  <a:cubicBezTo>
                    <a:pt x="522182" y="399586"/>
                    <a:pt x="508745" y="399586"/>
                    <a:pt x="505659" y="402929"/>
                  </a:cubicBezTo>
                  <a:cubicBezTo>
                    <a:pt x="502572" y="406272"/>
                    <a:pt x="494600" y="407108"/>
                    <a:pt x="498072" y="410066"/>
                  </a:cubicBezTo>
                  <a:cubicBezTo>
                    <a:pt x="501544" y="413023"/>
                    <a:pt x="498072" y="414502"/>
                    <a:pt x="500644" y="417974"/>
                  </a:cubicBezTo>
                  <a:cubicBezTo>
                    <a:pt x="503215" y="421446"/>
                    <a:pt x="504566" y="422924"/>
                    <a:pt x="508037" y="422217"/>
                  </a:cubicBezTo>
                  <a:cubicBezTo>
                    <a:pt x="511509" y="421510"/>
                    <a:pt x="514467" y="423310"/>
                    <a:pt x="510609" y="427168"/>
                  </a:cubicBezTo>
                  <a:lnTo>
                    <a:pt x="510609" y="427168"/>
                  </a:lnTo>
                  <a:cubicBezTo>
                    <a:pt x="507266" y="430961"/>
                    <a:pt x="509709" y="433597"/>
                    <a:pt x="509516" y="439448"/>
                  </a:cubicBezTo>
                  <a:cubicBezTo>
                    <a:pt x="509323" y="445299"/>
                    <a:pt x="503087" y="444270"/>
                    <a:pt x="499422" y="444270"/>
                  </a:cubicBezTo>
                  <a:cubicBezTo>
                    <a:pt x="495757" y="444270"/>
                    <a:pt x="490228" y="433790"/>
                    <a:pt x="488364" y="431411"/>
                  </a:cubicBezTo>
                  <a:cubicBezTo>
                    <a:pt x="486499" y="429032"/>
                    <a:pt x="480648" y="434369"/>
                    <a:pt x="476405" y="436940"/>
                  </a:cubicBezTo>
                  <a:cubicBezTo>
                    <a:pt x="472161" y="439512"/>
                    <a:pt x="474412" y="444463"/>
                    <a:pt x="471454" y="446906"/>
                  </a:cubicBezTo>
                  <a:cubicBezTo>
                    <a:pt x="467835" y="449735"/>
                    <a:pt x="467050" y="454891"/>
                    <a:pt x="469654" y="458672"/>
                  </a:cubicBezTo>
                  <a:cubicBezTo>
                    <a:pt x="469667" y="458884"/>
                    <a:pt x="469667" y="459102"/>
                    <a:pt x="469654" y="459315"/>
                  </a:cubicBezTo>
                  <a:cubicBezTo>
                    <a:pt x="472072" y="463616"/>
                    <a:pt x="471589" y="468959"/>
                    <a:pt x="468433" y="472752"/>
                  </a:cubicBezTo>
                  <a:cubicBezTo>
                    <a:pt x="466439" y="475067"/>
                    <a:pt x="467597" y="475324"/>
                    <a:pt x="469075" y="476224"/>
                  </a:cubicBezTo>
                  <a:cubicBezTo>
                    <a:pt x="469866" y="476674"/>
                    <a:pt x="470528" y="477310"/>
                    <a:pt x="471004" y="478088"/>
                  </a:cubicBezTo>
                  <a:cubicBezTo>
                    <a:pt x="472676" y="481046"/>
                    <a:pt x="464575" y="481432"/>
                    <a:pt x="467018" y="484904"/>
                  </a:cubicBezTo>
                  <a:cubicBezTo>
                    <a:pt x="469461" y="488375"/>
                    <a:pt x="461103" y="488568"/>
                    <a:pt x="461103" y="484904"/>
                  </a:cubicBezTo>
                  <a:cubicBezTo>
                    <a:pt x="461103" y="481239"/>
                    <a:pt x="452295" y="483103"/>
                    <a:pt x="452680" y="485482"/>
                  </a:cubicBezTo>
                  <a:cubicBezTo>
                    <a:pt x="452771" y="486504"/>
                    <a:pt x="452501" y="487533"/>
                    <a:pt x="451909" y="488375"/>
                  </a:cubicBezTo>
                  <a:cubicBezTo>
                    <a:pt x="450443" y="490703"/>
                    <a:pt x="447839" y="492053"/>
                    <a:pt x="445094" y="491912"/>
                  </a:cubicBezTo>
                  <a:cubicBezTo>
                    <a:pt x="439822" y="491912"/>
                    <a:pt x="439436" y="486575"/>
                    <a:pt x="439243" y="484196"/>
                  </a:cubicBezTo>
                  <a:cubicBezTo>
                    <a:pt x="439050" y="481817"/>
                    <a:pt x="417769" y="486190"/>
                    <a:pt x="412047" y="491912"/>
                  </a:cubicBezTo>
                  <a:cubicBezTo>
                    <a:pt x="406325" y="497634"/>
                    <a:pt x="393145" y="495383"/>
                    <a:pt x="392759" y="498341"/>
                  </a:cubicBezTo>
                  <a:cubicBezTo>
                    <a:pt x="392373" y="501298"/>
                    <a:pt x="390509" y="501748"/>
                    <a:pt x="389223" y="501106"/>
                  </a:cubicBezTo>
                  <a:cubicBezTo>
                    <a:pt x="389094" y="501614"/>
                    <a:pt x="389094" y="502141"/>
                    <a:pt x="389223" y="502649"/>
                  </a:cubicBezTo>
                  <a:cubicBezTo>
                    <a:pt x="390586" y="506828"/>
                    <a:pt x="390586" y="511328"/>
                    <a:pt x="389223" y="515507"/>
                  </a:cubicBezTo>
                  <a:cubicBezTo>
                    <a:pt x="387294" y="518529"/>
                    <a:pt x="388130" y="519365"/>
                    <a:pt x="389994" y="520458"/>
                  </a:cubicBezTo>
                  <a:cubicBezTo>
                    <a:pt x="391872" y="521905"/>
                    <a:pt x="392913" y="524200"/>
                    <a:pt x="392759" y="526566"/>
                  </a:cubicBezTo>
                  <a:cubicBezTo>
                    <a:pt x="392759" y="528752"/>
                    <a:pt x="394173" y="528495"/>
                    <a:pt x="394430" y="532995"/>
                  </a:cubicBezTo>
                  <a:cubicBezTo>
                    <a:pt x="394353" y="536551"/>
                    <a:pt x="395414" y="540042"/>
                    <a:pt x="397452" y="542961"/>
                  </a:cubicBezTo>
                  <a:cubicBezTo>
                    <a:pt x="398577" y="544600"/>
                    <a:pt x="398725" y="546716"/>
                    <a:pt x="397838" y="548490"/>
                  </a:cubicBezTo>
                  <a:cubicBezTo>
                    <a:pt x="397677" y="548966"/>
                    <a:pt x="397459" y="549416"/>
                    <a:pt x="397195" y="549840"/>
                  </a:cubicBezTo>
                  <a:cubicBezTo>
                    <a:pt x="396102" y="551512"/>
                    <a:pt x="392244" y="548426"/>
                    <a:pt x="390766" y="549840"/>
                  </a:cubicBezTo>
                  <a:cubicBezTo>
                    <a:pt x="389287" y="551255"/>
                    <a:pt x="383629" y="551769"/>
                    <a:pt x="380543" y="554534"/>
                  </a:cubicBezTo>
                  <a:cubicBezTo>
                    <a:pt x="376666" y="557093"/>
                    <a:pt x="372275" y="558784"/>
                    <a:pt x="367684" y="559484"/>
                  </a:cubicBezTo>
                  <a:cubicBezTo>
                    <a:pt x="364084" y="560320"/>
                    <a:pt x="367105" y="563663"/>
                    <a:pt x="368520" y="565914"/>
                  </a:cubicBezTo>
                  <a:cubicBezTo>
                    <a:pt x="369934" y="568164"/>
                    <a:pt x="369870" y="574465"/>
                    <a:pt x="372635" y="576394"/>
                  </a:cubicBezTo>
                  <a:cubicBezTo>
                    <a:pt x="377200" y="579223"/>
                    <a:pt x="381501" y="582450"/>
                    <a:pt x="385494" y="586038"/>
                  </a:cubicBezTo>
                  <a:cubicBezTo>
                    <a:pt x="385712" y="586301"/>
                    <a:pt x="385712" y="586674"/>
                    <a:pt x="385494" y="586938"/>
                  </a:cubicBezTo>
                  <a:cubicBezTo>
                    <a:pt x="389351" y="587966"/>
                    <a:pt x="395266" y="588031"/>
                    <a:pt x="396295" y="586295"/>
                  </a:cubicBezTo>
                  <a:cubicBezTo>
                    <a:pt x="397240" y="584495"/>
                    <a:pt x="397934" y="582566"/>
                    <a:pt x="398352" y="580573"/>
                  </a:cubicBezTo>
                  <a:cubicBezTo>
                    <a:pt x="402486" y="580483"/>
                    <a:pt x="406537" y="581775"/>
                    <a:pt x="409861" y="584238"/>
                  </a:cubicBezTo>
                  <a:cubicBezTo>
                    <a:pt x="413140" y="587966"/>
                    <a:pt x="419312" y="585459"/>
                    <a:pt x="419312" y="585459"/>
                  </a:cubicBezTo>
                  <a:cubicBezTo>
                    <a:pt x="419312" y="585459"/>
                    <a:pt x="419634" y="586552"/>
                    <a:pt x="420212" y="587966"/>
                  </a:cubicBezTo>
                  <a:cubicBezTo>
                    <a:pt x="421202" y="590738"/>
                    <a:pt x="422540" y="593374"/>
                    <a:pt x="424198" y="595810"/>
                  </a:cubicBezTo>
                  <a:cubicBezTo>
                    <a:pt x="423215" y="596653"/>
                    <a:pt x="422610" y="597861"/>
                    <a:pt x="422527" y="599154"/>
                  </a:cubicBezTo>
                  <a:cubicBezTo>
                    <a:pt x="422527" y="602883"/>
                    <a:pt x="419634" y="602561"/>
                    <a:pt x="417062" y="602304"/>
                  </a:cubicBezTo>
                  <a:cubicBezTo>
                    <a:pt x="414490" y="602047"/>
                    <a:pt x="417062" y="605454"/>
                    <a:pt x="415647" y="607190"/>
                  </a:cubicBezTo>
                  <a:cubicBezTo>
                    <a:pt x="414233" y="608926"/>
                    <a:pt x="415647" y="612334"/>
                    <a:pt x="413590" y="612655"/>
                  </a:cubicBezTo>
                  <a:cubicBezTo>
                    <a:pt x="412561" y="612655"/>
                    <a:pt x="411983" y="614005"/>
                    <a:pt x="411597" y="615549"/>
                  </a:cubicBezTo>
                  <a:cubicBezTo>
                    <a:pt x="412812" y="616944"/>
                    <a:pt x="413834" y="618500"/>
                    <a:pt x="414619" y="620178"/>
                  </a:cubicBezTo>
                  <a:lnTo>
                    <a:pt x="414297" y="620178"/>
                  </a:lnTo>
                  <a:cubicBezTo>
                    <a:pt x="412143" y="622267"/>
                    <a:pt x="409642" y="623965"/>
                    <a:pt x="406903" y="625193"/>
                  </a:cubicBezTo>
                  <a:cubicBezTo>
                    <a:pt x="404653" y="625193"/>
                    <a:pt x="406067" y="631236"/>
                    <a:pt x="403817" y="631236"/>
                  </a:cubicBezTo>
                  <a:cubicBezTo>
                    <a:pt x="401567" y="631236"/>
                    <a:pt x="399960" y="635094"/>
                    <a:pt x="399445" y="636765"/>
                  </a:cubicBezTo>
                  <a:cubicBezTo>
                    <a:pt x="398931" y="638437"/>
                    <a:pt x="393916" y="635673"/>
                    <a:pt x="391730" y="636765"/>
                  </a:cubicBezTo>
                  <a:cubicBezTo>
                    <a:pt x="388850" y="637498"/>
                    <a:pt x="385931" y="638058"/>
                    <a:pt x="382986" y="638437"/>
                  </a:cubicBezTo>
                  <a:cubicBezTo>
                    <a:pt x="383372" y="640944"/>
                    <a:pt x="382986" y="643709"/>
                    <a:pt x="385172" y="643709"/>
                  </a:cubicBezTo>
                  <a:cubicBezTo>
                    <a:pt x="388515" y="643709"/>
                    <a:pt x="394559" y="643388"/>
                    <a:pt x="394752" y="647760"/>
                  </a:cubicBezTo>
                  <a:cubicBezTo>
                    <a:pt x="394945" y="652132"/>
                    <a:pt x="402853" y="661904"/>
                    <a:pt x="405746" y="665247"/>
                  </a:cubicBezTo>
                  <a:cubicBezTo>
                    <a:pt x="408639" y="668591"/>
                    <a:pt x="415326" y="667819"/>
                    <a:pt x="415712" y="670520"/>
                  </a:cubicBezTo>
                  <a:cubicBezTo>
                    <a:pt x="416097" y="673220"/>
                    <a:pt x="420855" y="675856"/>
                    <a:pt x="426384" y="676242"/>
                  </a:cubicBezTo>
                  <a:cubicBezTo>
                    <a:pt x="428262" y="676576"/>
                    <a:pt x="430043" y="677322"/>
                    <a:pt x="431592" y="678428"/>
                  </a:cubicBezTo>
                  <a:cubicBezTo>
                    <a:pt x="433830" y="679855"/>
                    <a:pt x="435977" y="681424"/>
                    <a:pt x="438021" y="683121"/>
                  </a:cubicBezTo>
                  <a:cubicBezTo>
                    <a:pt x="440780" y="685500"/>
                    <a:pt x="443724" y="687654"/>
                    <a:pt x="446830" y="689551"/>
                  </a:cubicBezTo>
                  <a:lnTo>
                    <a:pt x="447473" y="689872"/>
                  </a:lnTo>
                  <a:cubicBezTo>
                    <a:pt x="452295" y="692444"/>
                    <a:pt x="453902" y="694244"/>
                    <a:pt x="450816" y="697587"/>
                  </a:cubicBezTo>
                  <a:cubicBezTo>
                    <a:pt x="447730" y="700931"/>
                    <a:pt x="446637" y="712889"/>
                    <a:pt x="450494" y="715975"/>
                  </a:cubicBezTo>
                  <a:cubicBezTo>
                    <a:pt x="454352" y="719062"/>
                    <a:pt x="455188" y="724848"/>
                    <a:pt x="458788" y="726519"/>
                  </a:cubicBezTo>
                  <a:lnTo>
                    <a:pt x="459303" y="726841"/>
                  </a:lnTo>
                  <a:cubicBezTo>
                    <a:pt x="463559" y="728558"/>
                    <a:pt x="466182" y="732878"/>
                    <a:pt x="465732" y="737449"/>
                  </a:cubicBezTo>
                  <a:cubicBezTo>
                    <a:pt x="465153" y="742079"/>
                    <a:pt x="471583" y="743879"/>
                    <a:pt x="474540" y="740407"/>
                  </a:cubicBezTo>
                  <a:cubicBezTo>
                    <a:pt x="477498" y="736935"/>
                    <a:pt x="485728" y="742271"/>
                    <a:pt x="485728" y="744457"/>
                  </a:cubicBezTo>
                  <a:cubicBezTo>
                    <a:pt x="485728" y="746643"/>
                    <a:pt x="477305" y="742079"/>
                    <a:pt x="472483" y="745550"/>
                  </a:cubicBezTo>
                  <a:cubicBezTo>
                    <a:pt x="467661" y="749022"/>
                    <a:pt x="476212" y="752366"/>
                    <a:pt x="475119" y="756030"/>
                  </a:cubicBezTo>
                  <a:cubicBezTo>
                    <a:pt x="474258" y="759843"/>
                    <a:pt x="476649" y="763630"/>
                    <a:pt x="480462" y="764485"/>
                  </a:cubicBezTo>
                  <a:cubicBezTo>
                    <a:pt x="480815" y="764569"/>
                    <a:pt x="481182" y="764620"/>
                    <a:pt x="481548" y="764646"/>
                  </a:cubicBezTo>
                  <a:cubicBezTo>
                    <a:pt x="485728" y="764646"/>
                    <a:pt x="490550" y="771461"/>
                    <a:pt x="493121" y="770175"/>
                  </a:cubicBezTo>
                  <a:cubicBezTo>
                    <a:pt x="495693" y="768889"/>
                    <a:pt x="489971" y="759181"/>
                    <a:pt x="490871" y="757702"/>
                  </a:cubicBezTo>
                  <a:cubicBezTo>
                    <a:pt x="491771" y="756223"/>
                    <a:pt x="496979" y="760274"/>
                    <a:pt x="499551" y="757316"/>
                  </a:cubicBezTo>
                  <a:cubicBezTo>
                    <a:pt x="502122" y="754359"/>
                    <a:pt x="497686" y="752173"/>
                    <a:pt x="493829" y="752366"/>
                  </a:cubicBezTo>
                  <a:cubicBezTo>
                    <a:pt x="489971" y="752558"/>
                    <a:pt x="493829" y="747222"/>
                    <a:pt x="498265" y="749987"/>
                  </a:cubicBezTo>
                  <a:cubicBezTo>
                    <a:pt x="502701" y="752751"/>
                    <a:pt x="505016" y="749215"/>
                    <a:pt x="507202" y="748894"/>
                  </a:cubicBezTo>
                  <a:cubicBezTo>
                    <a:pt x="509388" y="748572"/>
                    <a:pt x="509966" y="740600"/>
                    <a:pt x="503215" y="738735"/>
                  </a:cubicBezTo>
                  <a:cubicBezTo>
                    <a:pt x="496464" y="736871"/>
                    <a:pt x="497300" y="743750"/>
                    <a:pt x="492928" y="739121"/>
                  </a:cubicBezTo>
                  <a:cubicBezTo>
                    <a:pt x="488556" y="734492"/>
                    <a:pt x="496979" y="736357"/>
                    <a:pt x="496979" y="732692"/>
                  </a:cubicBezTo>
                  <a:cubicBezTo>
                    <a:pt x="496979" y="729027"/>
                    <a:pt x="490164" y="723369"/>
                    <a:pt x="486820" y="718740"/>
                  </a:cubicBezTo>
                  <a:cubicBezTo>
                    <a:pt x="483477" y="714111"/>
                    <a:pt x="491450" y="711925"/>
                    <a:pt x="493250" y="715268"/>
                  </a:cubicBezTo>
                  <a:cubicBezTo>
                    <a:pt x="495050" y="718611"/>
                    <a:pt x="500065" y="718033"/>
                    <a:pt x="503215" y="716747"/>
                  </a:cubicBezTo>
                  <a:cubicBezTo>
                    <a:pt x="506366" y="715461"/>
                    <a:pt x="499872" y="709546"/>
                    <a:pt x="505594" y="707360"/>
                  </a:cubicBezTo>
                  <a:cubicBezTo>
                    <a:pt x="511317" y="705174"/>
                    <a:pt x="511252" y="709032"/>
                    <a:pt x="513117" y="709739"/>
                  </a:cubicBezTo>
                  <a:cubicBezTo>
                    <a:pt x="514981" y="710446"/>
                    <a:pt x="516588" y="705174"/>
                    <a:pt x="522504" y="705174"/>
                  </a:cubicBezTo>
                  <a:cubicBezTo>
                    <a:pt x="525641" y="705585"/>
                    <a:pt x="528566" y="706981"/>
                    <a:pt x="530862" y="709160"/>
                  </a:cubicBezTo>
                  <a:cubicBezTo>
                    <a:pt x="532861" y="711057"/>
                    <a:pt x="535401" y="712291"/>
                    <a:pt x="538127" y="712696"/>
                  </a:cubicBezTo>
                  <a:cubicBezTo>
                    <a:pt x="543271" y="712696"/>
                    <a:pt x="545264" y="707167"/>
                    <a:pt x="549700" y="705495"/>
                  </a:cubicBezTo>
                  <a:cubicBezTo>
                    <a:pt x="554136" y="703824"/>
                    <a:pt x="563973" y="706074"/>
                    <a:pt x="566416" y="703888"/>
                  </a:cubicBezTo>
                  <a:cubicBezTo>
                    <a:pt x="568859" y="701702"/>
                    <a:pt x="559987" y="698873"/>
                    <a:pt x="557029" y="696366"/>
                  </a:cubicBezTo>
                  <a:cubicBezTo>
                    <a:pt x="555435" y="694546"/>
                    <a:pt x="554368" y="692322"/>
                    <a:pt x="553943" y="689936"/>
                  </a:cubicBezTo>
                  <a:cubicBezTo>
                    <a:pt x="553493" y="688393"/>
                    <a:pt x="553107" y="687172"/>
                    <a:pt x="552272" y="687043"/>
                  </a:cubicBezTo>
                  <a:cubicBezTo>
                    <a:pt x="550214" y="686657"/>
                    <a:pt x="547128" y="678235"/>
                    <a:pt x="549700" y="677656"/>
                  </a:cubicBezTo>
                  <a:cubicBezTo>
                    <a:pt x="552272" y="677078"/>
                    <a:pt x="555550" y="668269"/>
                    <a:pt x="559601" y="666984"/>
                  </a:cubicBezTo>
                  <a:cubicBezTo>
                    <a:pt x="560900" y="666681"/>
                    <a:pt x="561903" y="665653"/>
                    <a:pt x="562173" y="664347"/>
                  </a:cubicBezTo>
                  <a:cubicBezTo>
                    <a:pt x="562327" y="662206"/>
                    <a:pt x="562327" y="660059"/>
                    <a:pt x="562173" y="657918"/>
                  </a:cubicBezTo>
                  <a:cubicBezTo>
                    <a:pt x="562173" y="654060"/>
                    <a:pt x="564552" y="648210"/>
                    <a:pt x="568602" y="647824"/>
                  </a:cubicBezTo>
                  <a:cubicBezTo>
                    <a:pt x="572653" y="647438"/>
                    <a:pt x="575610" y="647503"/>
                    <a:pt x="575031" y="641073"/>
                  </a:cubicBezTo>
                  <a:lnTo>
                    <a:pt x="575031" y="640430"/>
                  </a:lnTo>
                  <a:cubicBezTo>
                    <a:pt x="574582" y="634708"/>
                    <a:pt x="575803" y="635030"/>
                    <a:pt x="580947" y="631108"/>
                  </a:cubicBezTo>
                  <a:cubicBezTo>
                    <a:pt x="586090" y="627186"/>
                    <a:pt x="586797" y="619535"/>
                    <a:pt x="591555" y="618635"/>
                  </a:cubicBezTo>
                  <a:cubicBezTo>
                    <a:pt x="595921" y="616815"/>
                    <a:pt x="600672" y="616108"/>
                    <a:pt x="605378" y="616577"/>
                  </a:cubicBezTo>
                  <a:cubicBezTo>
                    <a:pt x="612322" y="617734"/>
                    <a:pt x="601842" y="622106"/>
                    <a:pt x="606600" y="624678"/>
                  </a:cubicBezTo>
                  <a:cubicBezTo>
                    <a:pt x="611358" y="627250"/>
                    <a:pt x="625888" y="623971"/>
                    <a:pt x="626852" y="627636"/>
                  </a:cubicBezTo>
                  <a:cubicBezTo>
                    <a:pt x="627817" y="631300"/>
                    <a:pt x="609943" y="634965"/>
                    <a:pt x="610329" y="636830"/>
                  </a:cubicBezTo>
                  <a:cubicBezTo>
                    <a:pt x="610715" y="638694"/>
                    <a:pt x="619716" y="640495"/>
                    <a:pt x="622802" y="642488"/>
                  </a:cubicBezTo>
                  <a:cubicBezTo>
                    <a:pt x="625888" y="644481"/>
                    <a:pt x="621902" y="650203"/>
                    <a:pt x="623380" y="652067"/>
                  </a:cubicBezTo>
                  <a:cubicBezTo>
                    <a:pt x="624859" y="653932"/>
                    <a:pt x="629810" y="652453"/>
                    <a:pt x="633475" y="649688"/>
                  </a:cubicBezTo>
                  <a:cubicBezTo>
                    <a:pt x="637139" y="646924"/>
                    <a:pt x="640418" y="647824"/>
                    <a:pt x="645433" y="644545"/>
                  </a:cubicBezTo>
                  <a:cubicBezTo>
                    <a:pt x="650448" y="641266"/>
                    <a:pt x="660671" y="644159"/>
                    <a:pt x="661957" y="642166"/>
                  </a:cubicBezTo>
                  <a:cubicBezTo>
                    <a:pt x="663242" y="640173"/>
                    <a:pt x="658999" y="638116"/>
                    <a:pt x="649419" y="638823"/>
                  </a:cubicBezTo>
                  <a:cubicBezTo>
                    <a:pt x="644366" y="639350"/>
                    <a:pt x="639852" y="635679"/>
                    <a:pt x="639325" y="630625"/>
                  </a:cubicBezTo>
                  <a:cubicBezTo>
                    <a:pt x="639261" y="629995"/>
                    <a:pt x="639261" y="629359"/>
                    <a:pt x="639325" y="628729"/>
                  </a:cubicBezTo>
                  <a:cubicBezTo>
                    <a:pt x="643247" y="623739"/>
                    <a:pt x="648764" y="620248"/>
                    <a:pt x="654949" y="618827"/>
                  </a:cubicBezTo>
                  <a:cubicBezTo>
                    <a:pt x="660452" y="618165"/>
                    <a:pt x="665808" y="616552"/>
                    <a:pt x="670765" y="614070"/>
                  </a:cubicBezTo>
                  <a:cubicBezTo>
                    <a:pt x="674005" y="612713"/>
                    <a:pt x="677394" y="611742"/>
                    <a:pt x="680859" y="611177"/>
                  </a:cubicBezTo>
                  <a:cubicBezTo>
                    <a:pt x="686774" y="610084"/>
                    <a:pt x="692882" y="609569"/>
                    <a:pt x="693718" y="611177"/>
                  </a:cubicBezTo>
                  <a:cubicBezTo>
                    <a:pt x="694554" y="612784"/>
                    <a:pt x="680859" y="619277"/>
                    <a:pt x="678287" y="620178"/>
                  </a:cubicBezTo>
                  <a:cubicBezTo>
                    <a:pt x="675716" y="621078"/>
                    <a:pt x="683238" y="624935"/>
                    <a:pt x="683045" y="627186"/>
                  </a:cubicBezTo>
                  <a:cubicBezTo>
                    <a:pt x="682852" y="629436"/>
                    <a:pt x="675008" y="629886"/>
                    <a:pt x="675716" y="634322"/>
                  </a:cubicBezTo>
                  <a:cubicBezTo>
                    <a:pt x="676423" y="638758"/>
                    <a:pt x="673144" y="639659"/>
                    <a:pt x="668900" y="639659"/>
                  </a:cubicBezTo>
                  <a:cubicBezTo>
                    <a:pt x="664657" y="639659"/>
                    <a:pt x="663628" y="642230"/>
                    <a:pt x="665622" y="642552"/>
                  </a:cubicBezTo>
                  <a:cubicBezTo>
                    <a:pt x="667615" y="642873"/>
                    <a:pt x="667486" y="648467"/>
                    <a:pt x="675330" y="650460"/>
                  </a:cubicBezTo>
                  <a:cubicBezTo>
                    <a:pt x="684376" y="653938"/>
                    <a:pt x="692374" y="659693"/>
                    <a:pt x="698540" y="667176"/>
                  </a:cubicBezTo>
                  <a:cubicBezTo>
                    <a:pt x="699479" y="668192"/>
                    <a:pt x="700559" y="669054"/>
                    <a:pt x="701755" y="669748"/>
                  </a:cubicBezTo>
                  <a:cubicBezTo>
                    <a:pt x="708955" y="673927"/>
                    <a:pt x="719500" y="672834"/>
                    <a:pt x="721043" y="680421"/>
                  </a:cubicBezTo>
                  <a:cubicBezTo>
                    <a:pt x="722714" y="689229"/>
                    <a:pt x="727472" y="685757"/>
                    <a:pt x="725800" y="693280"/>
                  </a:cubicBezTo>
                  <a:cubicBezTo>
                    <a:pt x="725305" y="694945"/>
                    <a:pt x="724315" y="696424"/>
                    <a:pt x="722971" y="697523"/>
                  </a:cubicBezTo>
                  <a:cubicBezTo>
                    <a:pt x="716529" y="702872"/>
                    <a:pt x="708319" y="705624"/>
                    <a:pt x="699954" y="705238"/>
                  </a:cubicBezTo>
                  <a:cubicBezTo>
                    <a:pt x="694939" y="703374"/>
                    <a:pt x="685424" y="705817"/>
                    <a:pt x="678223" y="705817"/>
                  </a:cubicBezTo>
                  <a:cubicBezTo>
                    <a:pt x="671022" y="705817"/>
                    <a:pt x="669029" y="700609"/>
                    <a:pt x="663564" y="700995"/>
                  </a:cubicBezTo>
                  <a:cubicBezTo>
                    <a:pt x="658099" y="701381"/>
                    <a:pt x="658035" y="696044"/>
                    <a:pt x="652506" y="696044"/>
                  </a:cubicBezTo>
                  <a:cubicBezTo>
                    <a:pt x="646976" y="696044"/>
                    <a:pt x="651220" y="693280"/>
                    <a:pt x="633989" y="691094"/>
                  </a:cubicBezTo>
                  <a:cubicBezTo>
                    <a:pt x="620391" y="689795"/>
                    <a:pt x="606838" y="693961"/>
                    <a:pt x="596313" y="702666"/>
                  </a:cubicBezTo>
                  <a:cubicBezTo>
                    <a:pt x="590784" y="707424"/>
                    <a:pt x="570981" y="702666"/>
                    <a:pt x="569117" y="704145"/>
                  </a:cubicBezTo>
                  <a:cubicBezTo>
                    <a:pt x="567252" y="705624"/>
                    <a:pt x="569502" y="711089"/>
                    <a:pt x="562687" y="713661"/>
                  </a:cubicBezTo>
                  <a:cubicBezTo>
                    <a:pt x="555872" y="716233"/>
                    <a:pt x="541534" y="713661"/>
                    <a:pt x="536584" y="715911"/>
                  </a:cubicBezTo>
                  <a:cubicBezTo>
                    <a:pt x="531633" y="718161"/>
                    <a:pt x="529769" y="725427"/>
                    <a:pt x="534012" y="725105"/>
                  </a:cubicBezTo>
                  <a:cubicBezTo>
                    <a:pt x="538255" y="724784"/>
                    <a:pt x="540442" y="726712"/>
                    <a:pt x="539156" y="728577"/>
                  </a:cubicBezTo>
                  <a:cubicBezTo>
                    <a:pt x="537870" y="730441"/>
                    <a:pt x="542628" y="735521"/>
                    <a:pt x="540249" y="737771"/>
                  </a:cubicBezTo>
                  <a:cubicBezTo>
                    <a:pt x="537960" y="739899"/>
                    <a:pt x="537831" y="743480"/>
                    <a:pt x="539959" y="745769"/>
                  </a:cubicBezTo>
                  <a:cubicBezTo>
                    <a:pt x="540165" y="745994"/>
                    <a:pt x="540390" y="746200"/>
                    <a:pt x="540634" y="746386"/>
                  </a:cubicBezTo>
                  <a:cubicBezTo>
                    <a:pt x="543592" y="748572"/>
                    <a:pt x="544106" y="752816"/>
                    <a:pt x="540634" y="753201"/>
                  </a:cubicBezTo>
                  <a:cubicBezTo>
                    <a:pt x="537163" y="753587"/>
                    <a:pt x="546678" y="757766"/>
                    <a:pt x="547064" y="759631"/>
                  </a:cubicBezTo>
                  <a:cubicBezTo>
                    <a:pt x="547450" y="761495"/>
                    <a:pt x="555165" y="762395"/>
                    <a:pt x="555165" y="764581"/>
                  </a:cubicBezTo>
                  <a:cubicBezTo>
                    <a:pt x="555165" y="766767"/>
                    <a:pt x="557544" y="767539"/>
                    <a:pt x="561594" y="766446"/>
                  </a:cubicBezTo>
                  <a:cubicBezTo>
                    <a:pt x="565645" y="765353"/>
                    <a:pt x="566931" y="770625"/>
                    <a:pt x="569309" y="774290"/>
                  </a:cubicBezTo>
                  <a:cubicBezTo>
                    <a:pt x="571688" y="777954"/>
                    <a:pt x="585319" y="775383"/>
                    <a:pt x="585319" y="771397"/>
                  </a:cubicBezTo>
                  <a:cubicBezTo>
                    <a:pt x="585319" y="767410"/>
                    <a:pt x="589305" y="766253"/>
                    <a:pt x="595413" y="766767"/>
                  </a:cubicBezTo>
                  <a:cubicBezTo>
                    <a:pt x="601521" y="767282"/>
                    <a:pt x="609365" y="775576"/>
                    <a:pt x="612322" y="776669"/>
                  </a:cubicBezTo>
                  <a:cubicBezTo>
                    <a:pt x="615279" y="777762"/>
                    <a:pt x="621323" y="774483"/>
                    <a:pt x="625181" y="774483"/>
                  </a:cubicBezTo>
                  <a:cubicBezTo>
                    <a:pt x="629038" y="774483"/>
                    <a:pt x="634503" y="768439"/>
                    <a:pt x="636754" y="767153"/>
                  </a:cubicBezTo>
                  <a:cubicBezTo>
                    <a:pt x="639004" y="765867"/>
                    <a:pt x="642797" y="771397"/>
                    <a:pt x="646269" y="769532"/>
                  </a:cubicBezTo>
                  <a:cubicBezTo>
                    <a:pt x="649741" y="767668"/>
                    <a:pt x="653663" y="765674"/>
                    <a:pt x="655849" y="766960"/>
                  </a:cubicBezTo>
                  <a:cubicBezTo>
                    <a:pt x="658035" y="768246"/>
                    <a:pt x="650512" y="773968"/>
                    <a:pt x="652506" y="776862"/>
                  </a:cubicBezTo>
                  <a:cubicBezTo>
                    <a:pt x="653193" y="778173"/>
                    <a:pt x="653316" y="779710"/>
                    <a:pt x="652827" y="781105"/>
                  </a:cubicBezTo>
                  <a:cubicBezTo>
                    <a:pt x="652313" y="783355"/>
                    <a:pt x="651412" y="785734"/>
                    <a:pt x="652827" y="787534"/>
                  </a:cubicBezTo>
                  <a:cubicBezTo>
                    <a:pt x="654241" y="789335"/>
                    <a:pt x="652441" y="792806"/>
                    <a:pt x="651863" y="796728"/>
                  </a:cubicBezTo>
                  <a:cubicBezTo>
                    <a:pt x="651830" y="797288"/>
                    <a:pt x="651830" y="797841"/>
                    <a:pt x="651863" y="798400"/>
                  </a:cubicBezTo>
                  <a:cubicBezTo>
                    <a:pt x="651863" y="802129"/>
                    <a:pt x="645947" y="809908"/>
                    <a:pt x="642669" y="816981"/>
                  </a:cubicBezTo>
                  <a:lnTo>
                    <a:pt x="648519" y="819488"/>
                  </a:lnTo>
                  <a:lnTo>
                    <a:pt x="649162" y="819488"/>
                  </a:lnTo>
                  <a:lnTo>
                    <a:pt x="649162" y="819488"/>
                  </a:lnTo>
                  <a:lnTo>
                    <a:pt x="648776" y="823153"/>
                  </a:lnTo>
                  <a:lnTo>
                    <a:pt x="649162" y="819488"/>
                  </a:lnTo>
                  <a:lnTo>
                    <a:pt x="642733" y="816788"/>
                  </a:lnTo>
                  <a:cubicBezTo>
                    <a:pt x="641794" y="818633"/>
                    <a:pt x="641119" y="820601"/>
                    <a:pt x="640740" y="822639"/>
                  </a:cubicBezTo>
                  <a:cubicBezTo>
                    <a:pt x="638644" y="830482"/>
                    <a:pt x="635326" y="837947"/>
                    <a:pt x="630903" y="844756"/>
                  </a:cubicBezTo>
                  <a:cubicBezTo>
                    <a:pt x="630491" y="845424"/>
                    <a:pt x="630041" y="846067"/>
                    <a:pt x="629553" y="846684"/>
                  </a:cubicBezTo>
                  <a:cubicBezTo>
                    <a:pt x="628074" y="848163"/>
                    <a:pt x="621966" y="844498"/>
                    <a:pt x="616308" y="845977"/>
                  </a:cubicBezTo>
                  <a:cubicBezTo>
                    <a:pt x="610863" y="846955"/>
                    <a:pt x="605250" y="845752"/>
                    <a:pt x="600685" y="842634"/>
                  </a:cubicBezTo>
                  <a:cubicBezTo>
                    <a:pt x="595155" y="839869"/>
                    <a:pt x="577153" y="843406"/>
                    <a:pt x="574967" y="846877"/>
                  </a:cubicBezTo>
                  <a:cubicBezTo>
                    <a:pt x="572781" y="850349"/>
                    <a:pt x="566545" y="850349"/>
                    <a:pt x="561015" y="848163"/>
                  </a:cubicBezTo>
                  <a:cubicBezTo>
                    <a:pt x="553821" y="844820"/>
                    <a:pt x="546138" y="842653"/>
                    <a:pt x="538255" y="841734"/>
                  </a:cubicBezTo>
                  <a:cubicBezTo>
                    <a:pt x="528804" y="840898"/>
                    <a:pt x="521153" y="839548"/>
                    <a:pt x="519482" y="837233"/>
                  </a:cubicBezTo>
                  <a:lnTo>
                    <a:pt x="519096" y="836783"/>
                  </a:lnTo>
                  <a:cubicBezTo>
                    <a:pt x="518196" y="834211"/>
                    <a:pt x="513245" y="834019"/>
                    <a:pt x="502380" y="832347"/>
                  </a:cubicBezTo>
                  <a:cubicBezTo>
                    <a:pt x="491514" y="830675"/>
                    <a:pt x="495950" y="823346"/>
                    <a:pt x="483477" y="822639"/>
                  </a:cubicBezTo>
                  <a:cubicBezTo>
                    <a:pt x="471004" y="821932"/>
                    <a:pt x="455895" y="831640"/>
                    <a:pt x="455767" y="836783"/>
                  </a:cubicBezTo>
                  <a:cubicBezTo>
                    <a:pt x="455638" y="841927"/>
                    <a:pt x="461425" y="847585"/>
                    <a:pt x="457374" y="852921"/>
                  </a:cubicBezTo>
                  <a:cubicBezTo>
                    <a:pt x="452674" y="858244"/>
                    <a:pt x="444554" y="858759"/>
                    <a:pt x="439224" y="854059"/>
                  </a:cubicBezTo>
                  <a:cubicBezTo>
                    <a:pt x="438819" y="853705"/>
                    <a:pt x="438439" y="853326"/>
                    <a:pt x="438086" y="852921"/>
                  </a:cubicBezTo>
                  <a:cubicBezTo>
                    <a:pt x="431650" y="847552"/>
                    <a:pt x="423517" y="844640"/>
                    <a:pt x="415133" y="844691"/>
                  </a:cubicBezTo>
                  <a:cubicBezTo>
                    <a:pt x="407611" y="844691"/>
                    <a:pt x="402274" y="839869"/>
                    <a:pt x="402789" y="835819"/>
                  </a:cubicBezTo>
                  <a:cubicBezTo>
                    <a:pt x="403303" y="831768"/>
                    <a:pt x="400988" y="829968"/>
                    <a:pt x="394752" y="828682"/>
                  </a:cubicBezTo>
                  <a:cubicBezTo>
                    <a:pt x="388515" y="827396"/>
                    <a:pt x="383179" y="822253"/>
                    <a:pt x="372120" y="824117"/>
                  </a:cubicBezTo>
                  <a:cubicBezTo>
                    <a:pt x="367131" y="824902"/>
                    <a:pt x="362026" y="823828"/>
                    <a:pt x="357783" y="821096"/>
                  </a:cubicBezTo>
                  <a:cubicBezTo>
                    <a:pt x="354825" y="819167"/>
                    <a:pt x="353025" y="816917"/>
                    <a:pt x="353025" y="815824"/>
                  </a:cubicBezTo>
                  <a:cubicBezTo>
                    <a:pt x="353025" y="813445"/>
                    <a:pt x="349746" y="809394"/>
                    <a:pt x="347882" y="811580"/>
                  </a:cubicBezTo>
                  <a:cubicBezTo>
                    <a:pt x="346017" y="813766"/>
                    <a:pt x="339074" y="811966"/>
                    <a:pt x="338173" y="807401"/>
                  </a:cubicBezTo>
                  <a:cubicBezTo>
                    <a:pt x="337273" y="802836"/>
                    <a:pt x="342738" y="802965"/>
                    <a:pt x="347882" y="798721"/>
                  </a:cubicBezTo>
                  <a:cubicBezTo>
                    <a:pt x="352582" y="795108"/>
                    <a:pt x="353469" y="788370"/>
                    <a:pt x="349856" y="783664"/>
                  </a:cubicBezTo>
                  <a:cubicBezTo>
                    <a:pt x="349386" y="783059"/>
                    <a:pt x="348853" y="782500"/>
                    <a:pt x="348267" y="782005"/>
                  </a:cubicBezTo>
                  <a:cubicBezTo>
                    <a:pt x="342738" y="777633"/>
                    <a:pt x="346596" y="775190"/>
                    <a:pt x="350453" y="771204"/>
                  </a:cubicBezTo>
                  <a:cubicBezTo>
                    <a:pt x="354311" y="767217"/>
                    <a:pt x="350839" y="764774"/>
                    <a:pt x="348782" y="766767"/>
                  </a:cubicBezTo>
                  <a:cubicBezTo>
                    <a:pt x="346724" y="768760"/>
                    <a:pt x="343510" y="769146"/>
                    <a:pt x="342931" y="764774"/>
                  </a:cubicBezTo>
                  <a:cubicBezTo>
                    <a:pt x="342353" y="760402"/>
                    <a:pt x="330458" y="759631"/>
                    <a:pt x="325829" y="763810"/>
                  </a:cubicBezTo>
                  <a:cubicBezTo>
                    <a:pt x="323984" y="765192"/>
                    <a:pt x="321701" y="765874"/>
                    <a:pt x="319400" y="765739"/>
                  </a:cubicBezTo>
                  <a:cubicBezTo>
                    <a:pt x="315413" y="765539"/>
                    <a:pt x="311472" y="764787"/>
                    <a:pt x="307698" y="763488"/>
                  </a:cubicBezTo>
                  <a:cubicBezTo>
                    <a:pt x="303384" y="763514"/>
                    <a:pt x="299076" y="763945"/>
                    <a:pt x="294839" y="764774"/>
                  </a:cubicBezTo>
                  <a:cubicBezTo>
                    <a:pt x="290789" y="764774"/>
                    <a:pt x="280888" y="771204"/>
                    <a:pt x="277609" y="768246"/>
                  </a:cubicBezTo>
                  <a:cubicBezTo>
                    <a:pt x="274330" y="765289"/>
                    <a:pt x="240447" y="770625"/>
                    <a:pt x="230931" y="771011"/>
                  </a:cubicBezTo>
                  <a:cubicBezTo>
                    <a:pt x="221416" y="771397"/>
                    <a:pt x="217301" y="781298"/>
                    <a:pt x="211643" y="781298"/>
                  </a:cubicBezTo>
                  <a:cubicBezTo>
                    <a:pt x="204237" y="782320"/>
                    <a:pt x="197415" y="785888"/>
                    <a:pt x="192355" y="791392"/>
                  </a:cubicBezTo>
                  <a:cubicBezTo>
                    <a:pt x="191146" y="792697"/>
                    <a:pt x="189443" y="793443"/>
                    <a:pt x="187662" y="793449"/>
                  </a:cubicBezTo>
                  <a:cubicBezTo>
                    <a:pt x="183226" y="793449"/>
                    <a:pt x="177889" y="790235"/>
                    <a:pt x="173260" y="790106"/>
                  </a:cubicBezTo>
                  <a:cubicBezTo>
                    <a:pt x="166830" y="790106"/>
                    <a:pt x="156865" y="793256"/>
                    <a:pt x="152107" y="787920"/>
                  </a:cubicBezTo>
                  <a:cubicBezTo>
                    <a:pt x="147349" y="782584"/>
                    <a:pt x="144006" y="780912"/>
                    <a:pt x="140534" y="782584"/>
                  </a:cubicBezTo>
                  <a:cubicBezTo>
                    <a:pt x="137062" y="784255"/>
                    <a:pt x="130633" y="802579"/>
                    <a:pt x="126968" y="807915"/>
                  </a:cubicBezTo>
                  <a:cubicBezTo>
                    <a:pt x="122043" y="813245"/>
                    <a:pt x="115248" y="816473"/>
                    <a:pt x="108002" y="816917"/>
                  </a:cubicBezTo>
                  <a:cubicBezTo>
                    <a:pt x="103051" y="816917"/>
                    <a:pt x="102537" y="824439"/>
                    <a:pt x="98679" y="827589"/>
                  </a:cubicBezTo>
                  <a:cubicBezTo>
                    <a:pt x="94822" y="830740"/>
                    <a:pt x="96300" y="835690"/>
                    <a:pt x="91671" y="839355"/>
                  </a:cubicBezTo>
                  <a:cubicBezTo>
                    <a:pt x="87042" y="843020"/>
                    <a:pt x="89292" y="854207"/>
                    <a:pt x="91671" y="858257"/>
                  </a:cubicBezTo>
                  <a:cubicBezTo>
                    <a:pt x="94050" y="862308"/>
                    <a:pt x="83249" y="874974"/>
                    <a:pt x="77012" y="878638"/>
                  </a:cubicBezTo>
                  <a:cubicBezTo>
                    <a:pt x="70776" y="882303"/>
                    <a:pt x="68718" y="889311"/>
                    <a:pt x="58817" y="890983"/>
                  </a:cubicBezTo>
                  <a:cubicBezTo>
                    <a:pt x="55442" y="891484"/>
                    <a:pt x="52298" y="893015"/>
                    <a:pt x="49816" y="895355"/>
                  </a:cubicBezTo>
                  <a:cubicBezTo>
                    <a:pt x="46723" y="898589"/>
                    <a:pt x="44396" y="902479"/>
                    <a:pt x="43001" y="906735"/>
                  </a:cubicBezTo>
                  <a:cubicBezTo>
                    <a:pt x="40815" y="912650"/>
                    <a:pt x="26992" y="921265"/>
                    <a:pt x="26477" y="929559"/>
                  </a:cubicBezTo>
                  <a:cubicBezTo>
                    <a:pt x="25963" y="937853"/>
                    <a:pt x="13040" y="950648"/>
                    <a:pt x="4617" y="968135"/>
                  </a:cubicBezTo>
                  <a:cubicBezTo>
                    <a:pt x="2386" y="972224"/>
                    <a:pt x="1049" y="976738"/>
                    <a:pt x="695" y="981380"/>
                  </a:cubicBezTo>
                  <a:cubicBezTo>
                    <a:pt x="-12" y="989352"/>
                    <a:pt x="4875" y="992181"/>
                    <a:pt x="7639" y="995396"/>
                  </a:cubicBezTo>
                  <a:cubicBezTo>
                    <a:pt x="11497" y="999768"/>
                    <a:pt x="4682" y="1007483"/>
                    <a:pt x="10404" y="1015391"/>
                  </a:cubicBezTo>
                  <a:cubicBezTo>
                    <a:pt x="16126" y="1023299"/>
                    <a:pt x="9118" y="1035451"/>
                    <a:pt x="6353" y="1039823"/>
                  </a:cubicBezTo>
                  <a:cubicBezTo>
                    <a:pt x="4977" y="1043263"/>
                    <a:pt x="4257" y="1046921"/>
                    <a:pt x="4232" y="1050624"/>
                  </a:cubicBezTo>
                  <a:cubicBezTo>
                    <a:pt x="4097" y="1054122"/>
                    <a:pt x="3126" y="1057542"/>
                    <a:pt x="1403" y="1060590"/>
                  </a:cubicBezTo>
                  <a:cubicBezTo>
                    <a:pt x="-2648" y="1066634"/>
                    <a:pt x="3074" y="1075506"/>
                    <a:pt x="5968" y="1078206"/>
                  </a:cubicBezTo>
                  <a:cubicBezTo>
                    <a:pt x="6591" y="1078830"/>
                    <a:pt x="6874" y="1079717"/>
                    <a:pt x="6739" y="1080585"/>
                  </a:cubicBezTo>
                  <a:cubicBezTo>
                    <a:pt x="6739" y="1082643"/>
                    <a:pt x="5453" y="1085343"/>
                    <a:pt x="5132" y="1088043"/>
                  </a:cubicBezTo>
                  <a:cubicBezTo>
                    <a:pt x="4682" y="1090088"/>
                    <a:pt x="5202" y="1092222"/>
                    <a:pt x="6546" y="1093830"/>
                  </a:cubicBezTo>
                  <a:lnTo>
                    <a:pt x="7768" y="1095373"/>
                  </a:lnTo>
                  <a:cubicBezTo>
                    <a:pt x="10918" y="1099295"/>
                    <a:pt x="11368" y="1101224"/>
                    <a:pt x="17733" y="1103024"/>
                  </a:cubicBezTo>
                  <a:cubicBezTo>
                    <a:pt x="24098" y="1104824"/>
                    <a:pt x="17219" y="1108746"/>
                    <a:pt x="23070" y="1112411"/>
                  </a:cubicBezTo>
                  <a:cubicBezTo>
                    <a:pt x="23565" y="1112719"/>
                    <a:pt x="24034" y="1113066"/>
                    <a:pt x="24484" y="1113439"/>
                  </a:cubicBezTo>
                  <a:cubicBezTo>
                    <a:pt x="28727" y="1116847"/>
                    <a:pt x="28342" y="1120705"/>
                    <a:pt x="33357" y="1124369"/>
                  </a:cubicBezTo>
                  <a:cubicBezTo>
                    <a:pt x="39246" y="1128175"/>
                    <a:pt x="44075" y="1133415"/>
                    <a:pt x="47373" y="1139607"/>
                  </a:cubicBezTo>
                  <a:cubicBezTo>
                    <a:pt x="48061" y="1141092"/>
                    <a:pt x="48665" y="1142616"/>
                    <a:pt x="49173" y="1144172"/>
                  </a:cubicBezTo>
                  <a:cubicBezTo>
                    <a:pt x="50311" y="1150472"/>
                    <a:pt x="53866" y="1156079"/>
                    <a:pt x="59074" y="1159795"/>
                  </a:cubicBezTo>
                  <a:cubicBezTo>
                    <a:pt x="61003" y="1161402"/>
                    <a:pt x="64732" y="1163717"/>
                    <a:pt x="69040" y="1166224"/>
                  </a:cubicBezTo>
                  <a:cubicBezTo>
                    <a:pt x="73347" y="1168732"/>
                    <a:pt x="80227" y="1173297"/>
                    <a:pt x="85178" y="1177026"/>
                  </a:cubicBezTo>
                  <a:cubicBezTo>
                    <a:pt x="94191" y="1184053"/>
                    <a:pt x="103906" y="1190135"/>
                    <a:pt x="114174" y="1195157"/>
                  </a:cubicBezTo>
                  <a:cubicBezTo>
                    <a:pt x="115145" y="1195497"/>
                    <a:pt x="116167" y="1195671"/>
                    <a:pt x="117196" y="1195671"/>
                  </a:cubicBezTo>
                  <a:cubicBezTo>
                    <a:pt x="124718" y="1195671"/>
                    <a:pt x="138091" y="1190335"/>
                    <a:pt x="153907" y="1187634"/>
                  </a:cubicBezTo>
                  <a:cubicBezTo>
                    <a:pt x="161951" y="1186297"/>
                    <a:pt x="170187" y="1186779"/>
                    <a:pt x="178018" y="1189049"/>
                  </a:cubicBezTo>
                  <a:cubicBezTo>
                    <a:pt x="183032" y="1190528"/>
                    <a:pt x="186311" y="1192199"/>
                    <a:pt x="187340" y="1192456"/>
                  </a:cubicBezTo>
                  <a:cubicBezTo>
                    <a:pt x="195692" y="1190097"/>
                    <a:pt x="203754" y="1186818"/>
                    <a:pt x="211386" y="1182684"/>
                  </a:cubicBezTo>
                  <a:cubicBezTo>
                    <a:pt x="216401" y="1180176"/>
                    <a:pt x="221930" y="1178633"/>
                    <a:pt x="225788" y="1176576"/>
                  </a:cubicBezTo>
                  <a:cubicBezTo>
                    <a:pt x="226681" y="1176132"/>
                    <a:pt x="227517" y="1175592"/>
                    <a:pt x="228295" y="1174968"/>
                  </a:cubicBezTo>
                  <a:cubicBezTo>
                    <a:pt x="230365" y="1173528"/>
                    <a:pt x="232745" y="1172602"/>
                    <a:pt x="235239" y="1172268"/>
                  </a:cubicBezTo>
                  <a:cubicBezTo>
                    <a:pt x="237972" y="1171734"/>
                    <a:pt x="240749" y="1171471"/>
                    <a:pt x="243533" y="1171497"/>
                  </a:cubicBezTo>
                  <a:cubicBezTo>
                    <a:pt x="247455" y="1171497"/>
                    <a:pt x="249962" y="1166289"/>
                    <a:pt x="252020" y="1168796"/>
                  </a:cubicBezTo>
                  <a:cubicBezTo>
                    <a:pt x="252020" y="1168796"/>
                    <a:pt x="252020" y="1168796"/>
                    <a:pt x="252020" y="1168796"/>
                  </a:cubicBezTo>
                  <a:cubicBezTo>
                    <a:pt x="254270" y="1171754"/>
                    <a:pt x="264878" y="1172268"/>
                    <a:pt x="270601" y="1173554"/>
                  </a:cubicBezTo>
                  <a:cubicBezTo>
                    <a:pt x="276426" y="1175599"/>
                    <a:pt x="280843" y="1180427"/>
                    <a:pt x="282366" y="1186413"/>
                  </a:cubicBezTo>
                  <a:cubicBezTo>
                    <a:pt x="282996" y="1190688"/>
                    <a:pt x="285311" y="1194533"/>
                    <a:pt x="288796" y="1197085"/>
                  </a:cubicBezTo>
                  <a:cubicBezTo>
                    <a:pt x="291560" y="1198564"/>
                    <a:pt x="298311" y="1194321"/>
                    <a:pt x="301654" y="1194321"/>
                  </a:cubicBezTo>
                  <a:cubicBezTo>
                    <a:pt x="307229" y="1194764"/>
                    <a:pt x="312835" y="1194154"/>
                    <a:pt x="318178" y="1192521"/>
                  </a:cubicBezTo>
                  <a:cubicBezTo>
                    <a:pt x="318744" y="1192006"/>
                    <a:pt x="319605" y="1192006"/>
                    <a:pt x="320171" y="1192521"/>
                  </a:cubicBezTo>
                  <a:cubicBezTo>
                    <a:pt x="322196" y="1194585"/>
                    <a:pt x="323945" y="1196893"/>
                    <a:pt x="325379" y="1199400"/>
                  </a:cubicBezTo>
                  <a:cubicBezTo>
                    <a:pt x="327951" y="1203129"/>
                    <a:pt x="332901" y="1200364"/>
                    <a:pt x="334894" y="1201458"/>
                  </a:cubicBezTo>
                  <a:cubicBezTo>
                    <a:pt x="337485" y="1204929"/>
                    <a:pt x="338726" y="1209224"/>
                    <a:pt x="338366" y="1213545"/>
                  </a:cubicBezTo>
                  <a:cubicBezTo>
                    <a:pt x="337659" y="1215859"/>
                    <a:pt x="334637" y="1221710"/>
                    <a:pt x="336052" y="1224603"/>
                  </a:cubicBezTo>
                  <a:cubicBezTo>
                    <a:pt x="336052" y="1224603"/>
                    <a:pt x="336052" y="1224603"/>
                    <a:pt x="336052" y="1224989"/>
                  </a:cubicBezTo>
                  <a:cubicBezTo>
                    <a:pt x="337685" y="1227400"/>
                    <a:pt x="337055" y="1230679"/>
                    <a:pt x="334644" y="1232312"/>
                  </a:cubicBezTo>
                  <a:cubicBezTo>
                    <a:pt x="334168" y="1232634"/>
                    <a:pt x="333647" y="1232871"/>
                    <a:pt x="333094" y="1233026"/>
                  </a:cubicBezTo>
                  <a:cubicBezTo>
                    <a:pt x="329237" y="1234312"/>
                    <a:pt x="329429" y="1237848"/>
                    <a:pt x="332580" y="1237976"/>
                  </a:cubicBezTo>
                  <a:cubicBezTo>
                    <a:pt x="334509" y="1237976"/>
                    <a:pt x="334059" y="1239712"/>
                    <a:pt x="333030" y="1241255"/>
                  </a:cubicBezTo>
                  <a:cubicBezTo>
                    <a:pt x="332419" y="1242207"/>
                    <a:pt x="331705" y="1243094"/>
                    <a:pt x="330908" y="1243891"/>
                  </a:cubicBezTo>
                  <a:cubicBezTo>
                    <a:pt x="329237" y="1245563"/>
                    <a:pt x="334766" y="1247749"/>
                    <a:pt x="335666" y="1250321"/>
                  </a:cubicBezTo>
                  <a:cubicBezTo>
                    <a:pt x="336566" y="1252893"/>
                    <a:pt x="328722" y="1251992"/>
                    <a:pt x="328915" y="1255464"/>
                  </a:cubicBezTo>
                  <a:cubicBezTo>
                    <a:pt x="328619" y="1258756"/>
                    <a:pt x="326755" y="1261701"/>
                    <a:pt x="323900" y="1263372"/>
                  </a:cubicBezTo>
                  <a:cubicBezTo>
                    <a:pt x="321714" y="1265044"/>
                    <a:pt x="329815" y="1271988"/>
                    <a:pt x="330329" y="1274367"/>
                  </a:cubicBezTo>
                  <a:cubicBezTo>
                    <a:pt x="330844" y="1276745"/>
                    <a:pt x="332323" y="1278996"/>
                    <a:pt x="339331" y="1285811"/>
                  </a:cubicBezTo>
                  <a:cubicBezTo>
                    <a:pt x="346339" y="1292626"/>
                    <a:pt x="342802" y="1293912"/>
                    <a:pt x="351611" y="1301113"/>
                  </a:cubicBezTo>
                  <a:lnTo>
                    <a:pt x="352897" y="1302142"/>
                  </a:lnTo>
                  <a:cubicBezTo>
                    <a:pt x="357391" y="1305555"/>
                    <a:pt x="361043" y="1309953"/>
                    <a:pt x="363569" y="1315000"/>
                  </a:cubicBezTo>
                  <a:cubicBezTo>
                    <a:pt x="365569" y="1319379"/>
                    <a:pt x="367061" y="1323976"/>
                    <a:pt x="368006" y="1328695"/>
                  </a:cubicBezTo>
                  <a:cubicBezTo>
                    <a:pt x="368083" y="1329113"/>
                    <a:pt x="368192" y="1329518"/>
                    <a:pt x="368327" y="1329916"/>
                  </a:cubicBezTo>
                  <a:cubicBezTo>
                    <a:pt x="371304" y="1338750"/>
                    <a:pt x="374930" y="1347346"/>
                    <a:pt x="379193" y="1355634"/>
                  </a:cubicBezTo>
                  <a:cubicBezTo>
                    <a:pt x="380864" y="1359106"/>
                    <a:pt x="377135" y="1362063"/>
                    <a:pt x="377135" y="1368493"/>
                  </a:cubicBezTo>
                  <a:cubicBezTo>
                    <a:pt x="377135" y="1374922"/>
                    <a:pt x="384143" y="1386688"/>
                    <a:pt x="384851" y="1394596"/>
                  </a:cubicBezTo>
                  <a:cubicBezTo>
                    <a:pt x="385558" y="1402504"/>
                    <a:pt x="380479" y="1407455"/>
                    <a:pt x="376042" y="1412598"/>
                  </a:cubicBezTo>
                  <a:cubicBezTo>
                    <a:pt x="370860" y="1419542"/>
                    <a:pt x="367742" y="1427810"/>
                    <a:pt x="367041" y="1436451"/>
                  </a:cubicBezTo>
                  <a:cubicBezTo>
                    <a:pt x="367041" y="1443588"/>
                    <a:pt x="360612" y="1450596"/>
                    <a:pt x="360612" y="1453939"/>
                  </a:cubicBezTo>
                  <a:cubicBezTo>
                    <a:pt x="360503" y="1459520"/>
                    <a:pt x="359969" y="1465088"/>
                    <a:pt x="359005" y="1470591"/>
                  </a:cubicBezTo>
                  <a:cubicBezTo>
                    <a:pt x="358979" y="1470758"/>
                    <a:pt x="358979" y="1470932"/>
                    <a:pt x="359005" y="1471106"/>
                  </a:cubicBezTo>
                  <a:cubicBezTo>
                    <a:pt x="359705" y="1477098"/>
                    <a:pt x="362142" y="1482749"/>
                    <a:pt x="366013" y="1487372"/>
                  </a:cubicBezTo>
                  <a:cubicBezTo>
                    <a:pt x="371297" y="1495164"/>
                    <a:pt x="375393" y="1503702"/>
                    <a:pt x="378164" y="1512704"/>
                  </a:cubicBezTo>
                  <a:cubicBezTo>
                    <a:pt x="380929" y="1521705"/>
                    <a:pt x="388837" y="1531992"/>
                    <a:pt x="391023" y="1538421"/>
                  </a:cubicBezTo>
                  <a:cubicBezTo>
                    <a:pt x="393209" y="1544850"/>
                    <a:pt x="389544" y="1554944"/>
                    <a:pt x="391537" y="1559381"/>
                  </a:cubicBezTo>
                  <a:cubicBezTo>
                    <a:pt x="393813" y="1565598"/>
                    <a:pt x="395298" y="1572079"/>
                    <a:pt x="395974" y="1578669"/>
                  </a:cubicBezTo>
                  <a:cubicBezTo>
                    <a:pt x="397066" y="1586191"/>
                    <a:pt x="397645" y="1602136"/>
                    <a:pt x="404396" y="1608758"/>
                  </a:cubicBezTo>
                  <a:cubicBezTo>
                    <a:pt x="407347" y="1611742"/>
                    <a:pt x="409938" y="1615065"/>
                    <a:pt x="412111" y="1618660"/>
                  </a:cubicBezTo>
                  <a:cubicBezTo>
                    <a:pt x="416085" y="1624844"/>
                    <a:pt x="419241" y="1631525"/>
                    <a:pt x="421498" y="1638527"/>
                  </a:cubicBezTo>
                  <a:cubicBezTo>
                    <a:pt x="424456" y="1648299"/>
                    <a:pt x="431592" y="1657429"/>
                    <a:pt x="433457" y="1663151"/>
                  </a:cubicBezTo>
                  <a:cubicBezTo>
                    <a:pt x="435321" y="1668873"/>
                    <a:pt x="437314" y="1674145"/>
                    <a:pt x="433457" y="1674724"/>
                  </a:cubicBezTo>
                  <a:cubicBezTo>
                    <a:pt x="429599" y="1675302"/>
                    <a:pt x="429599" y="1678581"/>
                    <a:pt x="433457" y="1684818"/>
                  </a:cubicBezTo>
                  <a:cubicBezTo>
                    <a:pt x="437314" y="1691054"/>
                    <a:pt x="433971" y="1694784"/>
                    <a:pt x="437507" y="1695491"/>
                  </a:cubicBezTo>
                  <a:cubicBezTo>
                    <a:pt x="441043" y="1696198"/>
                    <a:pt x="439886" y="1698384"/>
                    <a:pt x="442651" y="1698577"/>
                  </a:cubicBezTo>
                  <a:cubicBezTo>
                    <a:pt x="445415" y="1698770"/>
                    <a:pt x="447409" y="1701534"/>
                    <a:pt x="449080" y="1703913"/>
                  </a:cubicBezTo>
                  <a:cubicBezTo>
                    <a:pt x="450964" y="1706041"/>
                    <a:pt x="454217" y="1706234"/>
                    <a:pt x="456339" y="1704350"/>
                  </a:cubicBezTo>
                  <a:cubicBezTo>
                    <a:pt x="456660" y="1704074"/>
                    <a:pt x="456943" y="1703752"/>
                    <a:pt x="457181" y="1703399"/>
                  </a:cubicBezTo>
                  <a:cubicBezTo>
                    <a:pt x="459239" y="1700441"/>
                    <a:pt x="465475" y="1699541"/>
                    <a:pt x="471904" y="1699541"/>
                  </a:cubicBezTo>
                  <a:cubicBezTo>
                    <a:pt x="478334" y="1699541"/>
                    <a:pt x="477048" y="1696777"/>
                    <a:pt x="483284" y="1694912"/>
                  </a:cubicBezTo>
                  <a:cubicBezTo>
                    <a:pt x="489579" y="1693041"/>
                    <a:pt x="496278" y="1693041"/>
                    <a:pt x="502572" y="1694912"/>
                  </a:cubicBezTo>
                  <a:cubicBezTo>
                    <a:pt x="506572" y="1696333"/>
                    <a:pt x="511001" y="1695787"/>
                    <a:pt x="514531" y="1693433"/>
                  </a:cubicBezTo>
                  <a:cubicBezTo>
                    <a:pt x="517103" y="1691762"/>
                    <a:pt x="522053" y="1696005"/>
                    <a:pt x="522439" y="1691762"/>
                  </a:cubicBezTo>
                  <a:cubicBezTo>
                    <a:pt x="522825" y="1687518"/>
                    <a:pt x="527969" y="1688290"/>
                    <a:pt x="532726" y="1688290"/>
                  </a:cubicBezTo>
                  <a:cubicBezTo>
                    <a:pt x="537484" y="1688290"/>
                    <a:pt x="549057" y="1680703"/>
                    <a:pt x="558444" y="1672088"/>
                  </a:cubicBezTo>
                  <a:cubicBezTo>
                    <a:pt x="569496" y="1661049"/>
                    <a:pt x="579404" y="1648916"/>
                    <a:pt x="588019" y="1635890"/>
                  </a:cubicBezTo>
                  <a:cubicBezTo>
                    <a:pt x="592995" y="1628484"/>
                    <a:pt x="598994" y="1621823"/>
                    <a:pt x="605828" y="1616088"/>
                  </a:cubicBezTo>
                  <a:cubicBezTo>
                    <a:pt x="608979" y="1613195"/>
                    <a:pt x="610843" y="1603229"/>
                    <a:pt x="611679" y="1595578"/>
                  </a:cubicBezTo>
                  <a:cubicBezTo>
                    <a:pt x="612000" y="1593071"/>
                    <a:pt x="612193" y="1590885"/>
                    <a:pt x="612258" y="1589149"/>
                  </a:cubicBezTo>
                  <a:cubicBezTo>
                    <a:pt x="612643" y="1583298"/>
                    <a:pt x="608593" y="1588056"/>
                    <a:pt x="607307" y="1584391"/>
                  </a:cubicBezTo>
                  <a:cubicBezTo>
                    <a:pt x="606021" y="1580726"/>
                    <a:pt x="616308" y="1573911"/>
                    <a:pt x="626595" y="1570054"/>
                  </a:cubicBezTo>
                  <a:cubicBezTo>
                    <a:pt x="636882" y="1566196"/>
                    <a:pt x="641125" y="1564010"/>
                    <a:pt x="642219" y="1560345"/>
                  </a:cubicBezTo>
                  <a:cubicBezTo>
                    <a:pt x="643312" y="1556681"/>
                    <a:pt x="642219" y="1546329"/>
                    <a:pt x="643504" y="1542279"/>
                  </a:cubicBezTo>
                  <a:cubicBezTo>
                    <a:pt x="644790" y="1538228"/>
                    <a:pt x="642604" y="1535849"/>
                    <a:pt x="641319" y="1526720"/>
                  </a:cubicBezTo>
                  <a:cubicBezTo>
                    <a:pt x="640033" y="1517590"/>
                    <a:pt x="636689" y="1516047"/>
                    <a:pt x="635211" y="1510903"/>
                  </a:cubicBezTo>
                  <a:cubicBezTo>
                    <a:pt x="633732" y="1505760"/>
                    <a:pt x="634117" y="1501709"/>
                    <a:pt x="637268" y="1501516"/>
                  </a:cubicBezTo>
                  <a:cubicBezTo>
                    <a:pt x="640418" y="1501323"/>
                    <a:pt x="640354" y="1499845"/>
                    <a:pt x="642926" y="1495087"/>
                  </a:cubicBezTo>
                  <a:cubicBezTo>
                    <a:pt x="645498" y="1490329"/>
                    <a:pt x="648455" y="1492194"/>
                    <a:pt x="653406" y="1488658"/>
                  </a:cubicBezTo>
                  <a:cubicBezTo>
                    <a:pt x="658356" y="1485122"/>
                    <a:pt x="658549" y="1480428"/>
                    <a:pt x="666264" y="1474384"/>
                  </a:cubicBezTo>
                  <a:cubicBezTo>
                    <a:pt x="673980" y="1468341"/>
                    <a:pt x="682788" y="1468469"/>
                    <a:pt x="690503" y="1463904"/>
                  </a:cubicBezTo>
                  <a:cubicBezTo>
                    <a:pt x="698218" y="1459340"/>
                    <a:pt x="711463" y="1441273"/>
                    <a:pt x="710177" y="1438187"/>
                  </a:cubicBezTo>
                  <a:cubicBezTo>
                    <a:pt x="707972" y="1430298"/>
                    <a:pt x="706911" y="1422139"/>
                    <a:pt x="707027" y="1413948"/>
                  </a:cubicBezTo>
                  <a:cubicBezTo>
                    <a:pt x="707798" y="1407840"/>
                    <a:pt x="705934" y="1391896"/>
                    <a:pt x="705934" y="1384180"/>
                  </a:cubicBezTo>
                  <a:lnTo>
                    <a:pt x="705934" y="1383666"/>
                  </a:lnTo>
                  <a:cubicBezTo>
                    <a:pt x="705548" y="1376594"/>
                    <a:pt x="697511" y="1379744"/>
                    <a:pt x="697125" y="1372415"/>
                  </a:cubicBezTo>
                  <a:cubicBezTo>
                    <a:pt x="696740" y="1365085"/>
                    <a:pt x="692368" y="1364892"/>
                    <a:pt x="692560" y="1359556"/>
                  </a:cubicBezTo>
                  <a:cubicBezTo>
                    <a:pt x="692754" y="1354219"/>
                    <a:pt x="693075" y="1349783"/>
                    <a:pt x="691275" y="1349269"/>
                  </a:cubicBezTo>
                  <a:cubicBezTo>
                    <a:pt x="689474" y="1348755"/>
                    <a:pt x="690503" y="1344254"/>
                    <a:pt x="693461" y="1339882"/>
                  </a:cubicBezTo>
                  <a:cubicBezTo>
                    <a:pt x="696418" y="1335510"/>
                    <a:pt x="688124" y="1334931"/>
                    <a:pt x="687031" y="1329402"/>
                  </a:cubicBezTo>
                  <a:cubicBezTo>
                    <a:pt x="687796" y="1322844"/>
                    <a:pt x="689642" y="1316453"/>
                    <a:pt x="692496" y="1310500"/>
                  </a:cubicBezTo>
                  <a:cubicBezTo>
                    <a:pt x="696039" y="1301280"/>
                    <a:pt x="700096" y="1292260"/>
                    <a:pt x="704648" y="1283496"/>
                  </a:cubicBezTo>
                  <a:cubicBezTo>
                    <a:pt x="707412" y="1279253"/>
                    <a:pt x="710177" y="1279960"/>
                    <a:pt x="712556" y="1277067"/>
                  </a:cubicBezTo>
                  <a:cubicBezTo>
                    <a:pt x="714935" y="1274174"/>
                    <a:pt x="715706" y="1278546"/>
                    <a:pt x="719371" y="1272631"/>
                  </a:cubicBezTo>
                  <a:cubicBezTo>
                    <a:pt x="719686" y="1272103"/>
                    <a:pt x="720052" y="1271608"/>
                    <a:pt x="720464" y="1271152"/>
                  </a:cubicBezTo>
                  <a:cubicBezTo>
                    <a:pt x="725286" y="1264723"/>
                    <a:pt x="738338" y="1251864"/>
                    <a:pt x="748046" y="1241963"/>
                  </a:cubicBezTo>
                  <a:cubicBezTo>
                    <a:pt x="754038" y="1235006"/>
                    <a:pt x="761419" y="1229380"/>
                    <a:pt x="769713" y="1225439"/>
                  </a:cubicBezTo>
                  <a:cubicBezTo>
                    <a:pt x="781421" y="1216882"/>
                    <a:pt x="791817" y="1206652"/>
                    <a:pt x="800574" y="1195092"/>
                  </a:cubicBezTo>
                  <a:cubicBezTo>
                    <a:pt x="807003" y="1186991"/>
                    <a:pt x="814011" y="1177990"/>
                    <a:pt x="814912" y="1172140"/>
                  </a:cubicBezTo>
                  <a:cubicBezTo>
                    <a:pt x="817271" y="1165009"/>
                    <a:pt x="821077" y="1158439"/>
                    <a:pt x="826099" y="1152851"/>
                  </a:cubicBezTo>
                  <a:cubicBezTo>
                    <a:pt x="831576" y="1145509"/>
                    <a:pt x="835511" y="1137132"/>
                    <a:pt x="837671" y="1128227"/>
                  </a:cubicBezTo>
                  <a:cubicBezTo>
                    <a:pt x="837671" y="1123855"/>
                    <a:pt x="841336" y="1114468"/>
                    <a:pt x="841915" y="1106560"/>
                  </a:cubicBezTo>
                  <a:cubicBezTo>
                    <a:pt x="842494" y="1098652"/>
                    <a:pt x="835871" y="1097945"/>
                    <a:pt x="833814" y="1102316"/>
                  </a:cubicBezTo>
                  <a:cubicBezTo>
                    <a:pt x="831757" y="1106688"/>
                    <a:pt x="816005" y="1109646"/>
                    <a:pt x="805910" y="1109839"/>
                  </a:cubicBezTo>
                  <a:cubicBezTo>
                    <a:pt x="795816" y="1110032"/>
                    <a:pt x="789708" y="1110996"/>
                    <a:pt x="786044" y="1114468"/>
                  </a:cubicBezTo>
                  <a:cubicBezTo>
                    <a:pt x="782379" y="1117940"/>
                    <a:pt x="773185" y="1113568"/>
                    <a:pt x="769906" y="1117426"/>
                  </a:cubicBezTo>
                  <a:cubicBezTo>
                    <a:pt x="766627" y="1121283"/>
                    <a:pt x="753511" y="1124562"/>
                    <a:pt x="749332" y="1115754"/>
                  </a:cubicBezTo>
                  <a:cubicBezTo>
                    <a:pt x="747969" y="1112790"/>
                    <a:pt x="745725" y="1110321"/>
                    <a:pt x="742903" y="1108682"/>
                  </a:cubicBezTo>
                  <a:lnTo>
                    <a:pt x="742452" y="1109067"/>
                  </a:lnTo>
                  <a:lnTo>
                    <a:pt x="742838" y="1108617"/>
                  </a:lnTo>
                  <a:cubicBezTo>
                    <a:pt x="739816" y="1106881"/>
                    <a:pt x="736987" y="1106560"/>
                    <a:pt x="736409" y="1105788"/>
                  </a:cubicBezTo>
                  <a:cubicBezTo>
                    <a:pt x="735830" y="1105017"/>
                    <a:pt x="740074" y="1100838"/>
                    <a:pt x="743546" y="1100131"/>
                  </a:cubicBezTo>
                  <a:cubicBezTo>
                    <a:pt x="747017" y="1099423"/>
                    <a:pt x="745410" y="1095373"/>
                    <a:pt x="742452" y="1092801"/>
                  </a:cubicBezTo>
                  <a:lnTo>
                    <a:pt x="740845" y="1091258"/>
                  </a:lnTo>
                  <a:cubicBezTo>
                    <a:pt x="735952" y="1086912"/>
                    <a:pt x="731400" y="1082205"/>
                    <a:pt x="727215" y="1077178"/>
                  </a:cubicBezTo>
                  <a:cubicBezTo>
                    <a:pt x="722644" y="1070298"/>
                    <a:pt x="715597" y="1065438"/>
                    <a:pt x="707541" y="1063612"/>
                  </a:cubicBezTo>
                  <a:cubicBezTo>
                    <a:pt x="703105" y="1063612"/>
                    <a:pt x="702398" y="1056089"/>
                    <a:pt x="699633" y="1055704"/>
                  </a:cubicBezTo>
                  <a:cubicBezTo>
                    <a:pt x="696868" y="1055318"/>
                    <a:pt x="690632" y="1044516"/>
                    <a:pt x="690439" y="1037508"/>
                  </a:cubicBezTo>
                  <a:cubicBezTo>
                    <a:pt x="689494" y="1032333"/>
                    <a:pt x="687083" y="1027536"/>
                    <a:pt x="683495" y="1023685"/>
                  </a:cubicBezTo>
                  <a:cubicBezTo>
                    <a:pt x="681373" y="1020863"/>
                    <a:pt x="678763" y="1018445"/>
                    <a:pt x="675780" y="1016549"/>
                  </a:cubicBezTo>
                  <a:cubicBezTo>
                    <a:pt x="671344" y="1014556"/>
                    <a:pt x="668386" y="1006840"/>
                    <a:pt x="668386" y="997260"/>
                  </a:cubicBezTo>
                  <a:cubicBezTo>
                    <a:pt x="668129" y="990310"/>
                    <a:pt x="667203" y="983399"/>
                    <a:pt x="665622" y="976622"/>
                  </a:cubicBezTo>
                  <a:cubicBezTo>
                    <a:pt x="663731" y="971151"/>
                    <a:pt x="659887" y="966573"/>
                    <a:pt x="654820" y="963764"/>
                  </a:cubicBezTo>
                  <a:cubicBezTo>
                    <a:pt x="651155" y="961938"/>
                    <a:pt x="648577" y="958478"/>
                    <a:pt x="647876" y="954441"/>
                  </a:cubicBezTo>
                  <a:cubicBezTo>
                    <a:pt x="647619" y="952801"/>
                    <a:pt x="647619" y="951130"/>
                    <a:pt x="647876" y="949490"/>
                  </a:cubicBezTo>
                  <a:cubicBezTo>
                    <a:pt x="648841" y="943575"/>
                    <a:pt x="644790" y="943961"/>
                    <a:pt x="642219" y="935667"/>
                  </a:cubicBezTo>
                  <a:cubicBezTo>
                    <a:pt x="639647" y="927373"/>
                    <a:pt x="629360" y="915093"/>
                    <a:pt x="628974" y="910335"/>
                  </a:cubicBezTo>
                  <a:cubicBezTo>
                    <a:pt x="628588" y="905578"/>
                    <a:pt x="622930" y="902813"/>
                    <a:pt x="623123" y="897477"/>
                  </a:cubicBezTo>
                  <a:cubicBezTo>
                    <a:pt x="623316" y="892140"/>
                    <a:pt x="620359" y="891754"/>
                    <a:pt x="614636" y="883653"/>
                  </a:cubicBezTo>
                  <a:cubicBezTo>
                    <a:pt x="608914" y="875552"/>
                    <a:pt x="607307" y="861472"/>
                    <a:pt x="608914" y="860894"/>
                  </a:cubicBezTo>
                  <a:cubicBezTo>
                    <a:pt x="610522" y="860315"/>
                    <a:pt x="615344" y="872852"/>
                    <a:pt x="617208" y="876903"/>
                  </a:cubicBezTo>
                  <a:cubicBezTo>
                    <a:pt x="619073" y="880953"/>
                    <a:pt x="625309" y="893233"/>
                    <a:pt x="629681" y="893233"/>
                  </a:cubicBezTo>
                  <a:cubicBezTo>
                    <a:pt x="634053" y="893233"/>
                    <a:pt x="635789" y="874652"/>
                    <a:pt x="637268" y="875617"/>
                  </a:cubicBezTo>
                  <a:cubicBezTo>
                    <a:pt x="637268" y="875617"/>
                    <a:pt x="637268" y="875617"/>
                    <a:pt x="637268" y="876131"/>
                  </a:cubicBezTo>
                  <a:cubicBezTo>
                    <a:pt x="638168" y="878767"/>
                    <a:pt x="636882" y="889440"/>
                    <a:pt x="639390" y="890276"/>
                  </a:cubicBezTo>
                  <a:cubicBezTo>
                    <a:pt x="641897" y="891111"/>
                    <a:pt x="643569" y="896191"/>
                    <a:pt x="649484" y="902620"/>
                  </a:cubicBezTo>
                  <a:cubicBezTo>
                    <a:pt x="655399" y="909049"/>
                    <a:pt x="667293" y="926280"/>
                    <a:pt x="667486" y="930524"/>
                  </a:cubicBezTo>
                  <a:cubicBezTo>
                    <a:pt x="668103" y="936432"/>
                    <a:pt x="671691" y="941621"/>
                    <a:pt x="677001" y="944283"/>
                  </a:cubicBezTo>
                  <a:cubicBezTo>
                    <a:pt x="684395" y="949297"/>
                    <a:pt x="684395" y="955341"/>
                    <a:pt x="688253" y="958298"/>
                  </a:cubicBezTo>
                  <a:cubicBezTo>
                    <a:pt x="692111" y="961256"/>
                    <a:pt x="691210" y="964728"/>
                    <a:pt x="691339" y="972057"/>
                  </a:cubicBezTo>
                  <a:cubicBezTo>
                    <a:pt x="691300" y="980242"/>
                    <a:pt x="695049" y="987983"/>
                    <a:pt x="701497" y="993017"/>
                  </a:cubicBezTo>
                  <a:cubicBezTo>
                    <a:pt x="708042" y="996592"/>
                    <a:pt x="713102" y="1002378"/>
                    <a:pt x="715771" y="1009348"/>
                  </a:cubicBezTo>
                  <a:cubicBezTo>
                    <a:pt x="718304" y="1016356"/>
                    <a:pt x="722193" y="1022804"/>
                    <a:pt x="727215" y="1028314"/>
                  </a:cubicBezTo>
                  <a:cubicBezTo>
                    <a:pt x="731394" y="1032558"/>
                    <a:pt x="729015" y="1034744"/>
                    <a:pt x="731394" y="1037894"/>
                  </a:cubicBezTo>
                  <a:cubicBezTo>
                    <a:pt x="733066" y="1040112"/>
                    <a:pt x="734448" y="1042530"/>
                    <a:pt x="735509" y="1045095"/>
                  </a:cubicBezTo>
                  <a:cubicBezTo>
                    <a:pt x="736685" y="1047461"/>
                    <a:pt x="737052" y="1050155"/>
                    <a:pt x="736538" y="1052746"/>
                  </a:cubicBezTo>
                  <a:cubicBezTo>
                    <a:pt x="735277" y="1059593"/>
                    <a:pt x="736582" y="1066666"/>
                    <a:pt x="740202" y="1072613"/>
                  </a:cubicBezTo>
                  <a:cubicBezTo>
                    <a:pt x="744060" y="1078271"/>
                    <a:pt x="742645" y="1088751"/>
                    <a:pt x="744446" y="1090808"/>
                  </a:cubicBezTo>
                  <a:cubicBezTo>
                    <a:pt x="746246" y="1092865"/>
                    <a:pt x="760648" y="1092480"/>
                    <a:pt x="767077" y="1088236"/>
                  </a:cubicBezTo>
                  <a:cubicBezTo>
                    <a:pt x="771693" y="1084861"/>
                    <a:pt x="777306" y="1083118"/>
                    <a:pt x="783022" y="1083286"/>
                  </a:cubicBezTo>
                  <a:cubicBezTo>
                    <a:pt x="788172" y="1082784"/>
                    <a:pt x="792987" y="1080508"/>
                    <a:pt x="796652" y="1076856"/>
                  </a:cubicBezTo>
                  <a:cubicBezTo>
                    <a:pt x="798259" y="1074606"/>
                    <a:pt x="805846" y="1074477"/>
                    <a:pt x="808932" y="1074799"/>
                  </a:cubicBezTo>
                  <a:cubicBezTo>
                    <a:pt x="812018" y="1075120"/>
                    <a:pt x="815362" y="1071713"/>
                    <a:pt x="818705" y="1068369"/>
                  </a:cubicBezTo>
                  <a:cubicBezTo>
                    <a:pt x="822048" y="1065026"/>
                    <a:pt x="833171" y="1063419"/>
                    <a:pt x="844937" y="1059754"/>
                  </a:cubicBezTo>
                  <a:cubicBezTo>
                    <a:pt x="856703" y="1056089"/>
                    <a:pt x="854131" y="1050560"/>
                    <a:pt x="856895" y="1047281"/>
                  </a:cubicBezTo>
                  <a:cubicBezTo>
                    <a:pt x="859660" y="1044002"/>
                    <a:pt x="862425" y="1045288"/>
                    <a:pt x="867504" y="1043295"/>
                  </a:cubicBezTo>
                  <a:cubicBezTo>
                    <a:pt x="868584" y="1042845"/>
                    <a:pt x="869638" y="1042330"/>
                    <a:pt x="870654" y="1041752"/>
                  </a:cubicBezTo>
                  <a:cubicBezTo>
                    <a:pt x="877662" y="1037701"/>
                    <a:pt x="885570" y="1039759"/>
                    <a:pt x="890907" y="1038280"/>
                  </a:cubicBezTo>
                  <a:cubicBezTo>
                    <a:pt x="896243" y="1036801"/>
                    <a:pt x="890907" y="1032365"/>
                    <a:pt x="895665" y="1028507"/>
                  </a:cubicBezTo>
                  <a:cubicBezTo>
                    <a:pt x="900422" y="1024650"/>
                    <a:pt x="906852" y="1027607"/>
                    <a:pt x="909230" y="1026321"/>
                  </a:cubicBezTo>
                  <a:cubicBezTo>
                    <a:pt x="911609" y="1025035"/>
                    <a:pt x="913281" y="1016613"/>
                    <a:pt x="917332" y="1014941"/>
                  </a:cubicBezTo>
                  <a:cubicBezTo>
                    <a:pt x="921382" y="1013270"/>
                    <a:pt x="925754" y="1014363"/>
                    <a:pt x="925240" y="1010891"/>
                  </a:cubicBezTo>
                  <a:cubicBezTo>
                    <a:pt x="924725" y="1007419"/>
                    <a:pt x="925625" y="994882"/>
                    <a:pt x="929483" y="994174"/>
                  </a:cubicBezTo>
                  <a:cubicBezTo>
                    <a:pt x="933341" y="993467"/>
                    <a:pt x="939384" y="989417"/>
                    <a:pt x="939577" y="987166"/>
                  </a:cubicBezTo>
                  <a:cubicBezTo>
                    <a:pt x="942715" y="982145"/>
                    <a:pt x="946148" y="977310"/>
                    <a:pt x="949864" y="972700"/>
                  </a:cubicBezTo>
                  <a:cubicBezTo>
                    <a:pt x="952243" y="968650"/>
                    <a:pt x="952436" y="966271"/>
                    <a:pt x="948964" y="965885"/>
                  </a:cubicBezTo>
                  <a:cubicBezTo>
                    <a:pt x="945492" y="965499"/>
                    <a:pt x="939898" y="955598"/>
                    <a:pt x="938484" y="953026"/>
                  </a:cubicBezTo>
                  <a:cubicBezTo>
                    <a:pt x="937070" y="950455"/>
                    <a:pt x="926333" y="952126"/>
                    <a:pt x="917717" y="945311"/>
                  </a:cubicBezTo>
                  <a:cubicBezTo>
                    <a:pt x="914220" y="941717"/>
                    <a:pt x="911969" y="937101"/>
                    <a:pt x="911288" y="932131"/>
                  </a:cubicBezTo>
                  <a:cubicBezTo>
                    <a:pt x="909423" y="924480"/>
                    <a:pt x="909166" y="916765"/>
                    <a:pt x="907880" y="916636"/>
                  </a:cubicBezTo>
                  <a:cubicBezTo>
                    <a:pt x="905630" y="916636"/>
                    <a:pt x="896629" y="926216"/>
                    <a:pt x="892964" y="933352"/>
                  </a:cubicBezTo>
                  <a:cubicBezTo>
                    <a:pt x="888020" y="941389"/>
                    <a:pt x="878781" y="945735"/>
                    <a:pt x="869433" y="944411"/>
                  </a:cubicBezTo>
                  <a:cubicBezTo>
                    <a:pt x="864206" y="943003"/>
                    <a:pt x="858631" y="944469"/>
                    <a:pt x="854774" y="948269"/>
                  </a:cubicBezTo>
                  <a:cubicBezTo>
                    <a:pt x="854131" y="948654"/>
                    <a:pt x="853166" y="948269"/>
                    <a:pt x="852138" y="947561"/>
                  </a:cubicBezTo>
                  <a:cubicBezTo>
                    <a:pt x="849675" y="945472"/>
                    <a:pt x="847888" y="942694"/>
                    <a:pt x="846994" y="939589"/>
                  </a:cubicBezTo>
                  <a:cubicBezTo>
                    <a:pt x="846531" y="938477"/>
                    <a:pt x="846531" y="937229"/>
                    <a:pt x="846994" y="936117"/>
                  </a:cubicBezTo>
                  <a:cubicBezTo>
                    <a:pt x="849373" y="932067"/>
                    <a:pt x="850852" y="921587"/>
                    <a:pt x="845515" y="920172"/>
                  </a:cubicBezTo>
                  <a:cubicBezTo>
                    <a:pt x="840179" y="918758"/>
                    <a:pt x="837221" y="929366"/>
                    <a:pt x="837221" y="932259"/>
                  </a:cubicBezTo>
                  <a:cubicBezTo>
                    <a:pt x="837221" y="932838"/>
                    <a:pt x="836900" y="932774"/>
                    <a:pt x="836321" y="932259"/>
                  </a:cubicBezTo>
                  <a:cubicBezTo>
                    <a:pt x="833878" y="930588"/>
                    <a:pt x="827449" y="921394"/>
                    <a:pt x="829892" y="918822"/>
                  </a:cubicBezTo>
                  <a:cubicBezTo>
                    <a:pt x="832335" y="916250"/>
                    <a:pt x="828413" y="909114"/>
                    <a:pt x="824363" y="905449"/>
                  </a:cubicBezTo>
                  <a:cubicBezTo>
                    <a:pt x="820312" y="901784"/>
                    <a:pt x="812083" y="894969"/>
                    <a:pt x="811504" y="890726"/>
                  </a:cubicBezTo>
                  <a:cubicBezTo>
                    <a:pt x="811215" y="888913"/>
                    <a:pt x="810694" y="887138"/>
                    <a:pt x="809961" y="885454"/>
                  </a:cubicBezTo>
                  <a:cubicBezTo>
                    <a:pt x="807595" y="880374"/>
                    <a:pt x="805595" y="875135"/>
                    <a:pt x="803982" y="869766"/>
                  </a:cubicBezTo>
                  <a:cubicBezTo>
                    <a:pt x="804084" y="868969"/>
                    <a:pt x="804470" y="868236"/>
                    <a:pt x="805074" y="867709"/>
                  </a:cubicBezTo>
                  <a:cubicBezTo>
                    <a:pt x="806656" y="866346"/>
                    <a:pt x="808521" y="865355"/>
                    <a:pt x="810540" y="864815"/>
                  </a:cubicBezTo>
                  <a:cubicBezTo>
                    <a:pt x="811517" y="864500"/>
                    <a:pt x="812533" y="864333"/>
                    <a:pt x="813561" y="864301"/>
                  </a:cubicBezTo>
                  <a:cubicBezTo>
                    <a:pt x="816840" y="864301"/>
                    <a:pt x="816647" y="860636"/>
                    <a:pt x="819219" y="862822"/>
                  </a:cubicBezTo>
                  <a:cubicBezTo>
                    <a:pt x="821791" y="865008"/>
                    <a:pt x="825263" y="862822"/>
                    <a:pt x="827899" y="862436"/>
                  </a:cubicBezTo>
                  <a:cubicBezTo>
                    <a:pt x="830535" y="862051"/>
                    <a:pt x="837414" y="875295"/>
                    <a:pt x="840758" y="881725"/>
                  </a:cubicBezTo>
                  <a:cubicBezTo>
                    <a:pt x="844101" y="888154"/>
                    <a:pt x="843651" y="890340"/>
                    <a:pt x="847894" y="893105"/>
                  </a:cubicBezTo>
                  <a:cubicBezTo>
                    <a:pt x="852138" y="895869"/>
                    <a:pt x="856895" y="894390"/>
                    <a:pt x="862939" y="900627"/>
                  </a:cubicBezTo>
                  <a:cubicBezTo>
                    <a:pt x="871156" y="906844"/>
                    <a:pt x="880960" y="910612"/>
                    <a:pt x="891228" y="911493"/>
                  </a:cubicBezTo>
                  <a:cubicBezTo>
                    <a:pt x="897658" y="911878"/>
                    <a:pt x="902801" y="904356"/>
                    <a:pt x="911288" y="905963"/>
                  </a:cubicBezTo>
                  <a:cubicBezTo>
                    <a:pt x="919775" y="907571"/>
                    <a:pt x="917717" y="918501"/>
                    <a:pt x="920803" y="922358"/>
                  </a:cubicBezTo>
                  <a:cubicBezTo>
                    <a:pt x="923889" y="926216"/>
                    <a:pt x="958287" y="928788"/>
                    <a:pt x="964202" y="930395"/>
                  </a:cubicBezTo>
                  <a:cubicBezTo>
                    <a:pt x="968439" y="931205"/>
                    <a:pt x="972746" y="931591"/>
                    <a:pt x="977060" y="931552"/>
                  </a:cubicBezTo>
                  <a:cubicBezTo>
                    <a:pt x="977060" y="930331"/>
                    <a:pt x="977060" y="929238"/>
                    <a:pt x="976739" y="928466"/>
                  </a:cubicBezTo>
                  <a:cubicBezTo>
                    <a:pt x="976630" y="923021"/>
                    <a:pt x="979690" y="918006"/>
                    <a:pt x="984583" y="915607"/>
                  </a:cubicBezTo>
                  <a:cubicBezTo>
                    <a:pt x="988119" y="913801"/>
                    <a:pt x="991951" y="912650"/>
                    <a:pt x="995898" y="912200"/>
                  </a:cubicBezTo>
                  <a:cubicBezTo>
                    <a:pt x="999820" y="911686"/>
                    <a:pt x="995898" y="903842"/>
                    <a:pt x="992941" y="902877"/>
                  </a:cubicBezTo>
                  <a:cubicBezTo>
                    <a:pt x="989983" y="901913"/>
                    <a:pt x="992941" y="891562"/>
                    <a:pt x="987090" y="889118"/>
                  </a:cubicBezTo>
                  <a:cubicBezTo>
                    <a:pt x="981587" y="887286"/>
                    <a:pt x="976990" y="883422"/>
                    <a:pt x="974232" y="878317"/>
                  </a:cubicBezTo>
                  <a:cubicBezTo>
                    <a:pt x="973267" y="875745"/>
                    <a:pt x="969795" y="873174"/>
                    <a:pt x="967802" y="870859"/>
                  </a:cubicBezTo>
                  <a:lnTo>
                    <a:pt x="968638" y="871695"/>
                  </a:lnTo>
                  <a:cubicBezTo>
                    <a:pt x="975106" y="871939"/>
                    <a:pt x="981554" y="872627"/>
                    <a:pt x="987926" y="873752"/>
                  </a:cubicBezTo>
                  <a:cubicBezTo>
                    <a:pt x="1004771" y="873540"/>
                    <a:pt x="1021532" y="871386"/>
                    <a:pt x="1037882" y="867323"/>
                  </a:cubicBezTo>
                  <a:cubicBezTo>
                    <a:pt x="1038589" y="865844"/>
                    <a:pt x="1036403" y="856650"/>
                    <a:pt x="1036789" y="854850"/>
                  </a:cubicBezTo>
                  <a:cubicBezTo>
                    <a:pt x="1038821" y="851275"/>
                    <a:pt x="1042582" y="849031"/>
                    <a:pt x="1046691" y="848935"/>
                  </a:cubicBezTo>
                  <a:cubicBezTo>
                    <a:pt x="1051127" y="849321"/>
                    <a:pt x="1055113" y="850028"/>
                    <a:pt x="1055113" y="846749"/>
                  </a:cubicBezTo>
                  <a:cubicBezTo>
                    <a:pt x="1055113" y="843470"/>
                    <a:pt x="1067265" y="839419"/>
                    <a:pt x="1068358" y="842313"/>
                  </a:cubicBezTo>
                  <a:cubicBezTo>
                    <a:pt x="1069451" y="845206"/>
                    <a:pt x="1073887" y="844177"/>
                    <a:pt x="1074273" y="836848"/>
                  </a:cubicBezTo>
                  <a:cubicBezTo>
                    <a:pt x="1074658" y="829518"/>
                    <a:pt x="1073887" y="823989"/>
                    <a:pt x="1078259" y="823603"/>
                  </a:cubicBezTo>
                  <a:cubicBezTo>
                    <a:pt x="1082631" y="823217"/>
                    <a:pt x="1087131" y="820646"/>
                    <a:pt x="1086746" y="818460"/>
                  </a:cubicBezTo>
                  <a:cubicBezTo>
                    <a:pt x="1086360" y="816274"/>
                    <a:pt x="1081216" y="812030"/>
                    <a:pt x="1082695" y="810359"/>
                  </a:cubicBezTo>
                  <a:cubicBezTo>
                    <a:pt x="1084174" y="808687"/>
                    <a:pt x="1095168" y="814023"/>
                    <a:pt x="1096647" y="810744"/>
                  </a:cubicBezTo>
                  <a:cubicBezTo>
                    <a:pt x="1098126" y="807465"/>
                    <a:pt x="1095940" y="803736"/>
                    <a:pt x="1097740" y="800843"/>
                  </a:cubicBezTo>
                  <a:cubicBezTo>
                    <a:pt x="1099540" y="797950"/>
                    <a:pt x="1104169" y="794928"/>
                    <a:pt x="1103655" y="792035"/>
                  </a:cubicBezTo>
                  <a:cubicBezTo>
                    <a:pt x="1103140" y="789142"/>
                    <a:pt x="1104040" y="787213"/>
                    <a:pt x="1101469" y="784641"/>
                  </a:cubicBezTo>
                  <a:cubicBezTo>
                    <a:pt x="1098897" y="782069"/>
                    <a:pt x="1099990" y="778790"/>
                    <a:pt x="1103269" y="778212"/>
                  </a:cubicBezTo>
                  <a:cubicBezTo>
                    <a:pt x="1103938" y="778083"/>
                    <a:pt x="1104568" y="777819"/>
                    <a:pt x="1105134" y="777440"/>
                  </a:cubicBezTo>
                  <a:cubicBezTo>
                    <a:pt x="1107409" y="777157"/>
                    <a:pt x="1109602" y="776386"/>
                    <a:pt x="1111563" y="775190"/>
                  </a:cubicBezTo>
                  <a:cubicBezTo>
                    <a:pt x="1116398" y="771609"/>
                    <a:pt x="1122339" y="769834"/>
                    <a:pt x="1128344" y="770175"/>
                  </a:cubicBezTo>
                  <a:cubicBezTo>
                    <a:pt x="1132999" y="771294"/>
                    <a:pt x="1137897" y="769847"/>
                    <a:pt x="1141202" y="766382"/>
                  </a:cubicBezTo>
                  <a:cubicBezTo>
                    <a:pt x="1142025" y="766722"/>
                    <a:pt x="1142791" y="767198"/>
                    <a:pt x="1143453" y="767796"/>
                  </a:cubicBezTo>
                  <a:cubicBezTo>
                    <a:pt x="1144809" y="767487"/>
                    <a:pt x="1146185" y="767250"/>
                    <a:pt x="1147567" y="767089"/>
                  </a:cubicBezTo>
                  <a:cubicBezTo>
                    <a:pt x="1147567" y="767089"/>
                    <a:pt x="1145639" y="754230"/>
                    <a:pt x="1145124" y="750373"/>
                  </a:cubicBezTo>
                  <a:cubicBezTo>
                    <a:pt x="1144610" y="746515"/>
                    <a:pt x="1132844" y="742529"/>
                    <a:pt x="1132844" y="742529"/>
                  </a:cubicBezTo>
                  <a:lnTo>
                    <a:pt x="1130915" y="731727"/>
                  </a:lnTo>
                  <a:lnTo>
                    <a:pt x="1128665" y="732049"/>
                  </a:lnTo>
                  <a:lnTo>
                    <a:pt x="1130915" y="731727"/>
                  </a:lnTo>
                  <a:cubicBezTo>
                    <a:pt x="1132336" y="729895"/>
                    <a:pt x="1133043" y="727612"/>
                    <a:pt x="1132908" y="725298"/>
                  </a:cubicBezTo>
                  <a:cubicBezTo>
                    <a:pt x="1132908" y="722019"/>
                    <a:pt x="1135673" y="722855"/>
                    <a:pt x="1138438" y="722019"/>
                  </a:cubicBezTo>
                  <a:cubicBezTo>
                    <a:pt x="1141202" y="721183"/>
                    <a:pt x="1143131" y="717583"/>
                    <a:pt x="1145317" y="717583"/>
                  </a:cubicBezTo>
                  <a:cubicBezTo>
                    <a:pt x="1147503" y="717583"/>
                    <a:pt x="1150589" y="714304"/>
                    <a:pt x="1152775" y="715139"/>
                  </a:cubicBezTo>
                  <a:cubicBezTo>
                    <a:pt x="1154961" y="715975"/>
                    <a:pt x="1157726" y="719833"/>
                    <a:pt x="1160491" y="717583"/>
                  </a:cubicBezTo>
                  <a:cubicBezTo>
                    <a:pt x="1163255" y="715332"/>
                    <a:pt x="1164091" y="717583"/>
                    <a:pt x="1167948" y="712632"/>
                  </a:cubicBezTo>
                  <a:cubicBezTo>
                    <a:pt x="1171806" y="707681"/>
                    <a:pt x="1174378" y="708774"/>
                    <a:pt x="1179200" y="709353"/>
                  </a:cubicBezTo>
                  <a:cubicBezTo>
                    <a:pt x="1183418" y="710144"/>
                    <a:pt x="1187603" y="707823"/>
                    <a:pt x="1189165" y="703824"/>
                  </a:cubicBezTo>
                  <a:cubicBezTo>
                    <a:pt x="1190773" y="700545"/>
                    <a:pt x="1195595" y="700545"/>
                    <a:pt x="1198809" y="698295"/>
                  </a:cubicBezTo>
                  <a:cubicBezTo>
                    <a:pt x="1202307" y="696147"/>
                    <a:pt x="1205985" y="694321"/>
                    <a:pt x="1209804" y="692830"/>
                  </a:cubicBezTo>
                  <a:cubicBezTo>
                    <a:pt x="1210768" y="692379"/>
                    <a:pt x="1210961" y="691415"/>
                    <a:pt x="1210961" y="690129"/>
                  </a:cubicBezTo>
                  <a:cubicBezTo>
                    <a:pt x="1210961" y="688843"/>
                    <a:pt x="1210961" y="686979"/>
                    <a:pt x="1210961" y="685050"/>
                  </a:cubicBezTo>
                  <a:cubicBezTo>
                    <a:pt x="1210961" y="681514"/>
                    <a:pt x="1216490" y="678621"/>
                    <a:pt x="1217390" y="675727"/>
                  </a:cubicBezTo>
                  <a:cubicBezTo>
                    <a:pt x="1218291" y="672834"/>
                    <a:pt x="1212440" y="664669"/>
                    <a:pt x="1212440" y="661904"/>
                  </a:cubicBezTo>
                  <a:cubicBezTo>
                    <a:pt x="1212440" y="659140"/>
                    <a:pt x="1212440" y="652582"/>
                    <a:pt x="1209675" y="651167"/>
                  </a:cubicBezTo>
                  <a:cubicBezTo>
                    <a:pt x="1206910" y="649753"/>
                    <a:pt x="1214883" y="646217"/>
                    <a:pt x="1216812" y="646345"/>
                  </a:cubicBezTo>
                  <a:cubicBezTo>
                    <a:pt x="1220862" y="646345"/>
                    <a:pt x="1226713" y="642230"/>
                    <a:pt x="1228513" y="644031"/>
                  </a:cubicBezTo>
                  <a:cubicBezTo>
                    <a:pt x="1231085" y="645863"/>
                    <a:pt x="1234242" y="646692"/>
                    <a:pt x="1237386" y="646345"/>
                  </a:cubicBezTo>
                  <a:cubicBezTo>
                    <a:pt x="1240986" y="646345"/>
                    <a:pt x="1239443" y="642230"/>
                    <a:pt x="1237386" y="640495"/>
                  </a:cubicBezTo>
                  <a:cubicBezTo>
                    <a:pt x="1235329" y="638758"/>
                    <a:pt x="1243815" y="622171"/>
                    <a:pt x="1245037" y="616577"/>
                  </a:cubicBezTo>
                  <a:cubicBezTo>
                    <a:pt x="1246258" y="610984"/>
                    <a:pt x="1249345" y="616063"/>
                    <a:pt x="1253395" y="616577"/>
                  </a:cubicBezTo>
                  <a:cubicBezTo>
                    <a:pt x="1257240" y="616461"/>
                    <a:pt x="1261078" y="616809"/>
                    <a:pt x="1264839" y="617606"/>
                  </a:cubicBezTo>
                  <a:cubicBezTo>
                    <a:pt x="1269205" y="618146"/>
                    <a:pt x="1273564" y="616539"/>
                    <a:pt x="1276541" y="613298"/>
                  </a:cubicBezTo>
                  <a:cubicBezTo>
                    <a:pt x="1278341" y="610469"/>
                    <a:pt x="1274548" y="609698"/>
                    <a:pt x="1274805" y="603333"/>
                  </a:cubicBezTo>
                  <a:cubicBezTo>
                    <a:pt x="1275062" y="596968"/>
                    <a:pt x="1278855" y="593946"/>
                    <a:pt x="1282906" y="593946"/>
                  </a:cubicBezTo>
                  <a:cubicBezTo>
                    <a:pt x="1286956" y="593946"/>
                    <a:pt x="1288242" y="590088"/>
                    <a:pt x="1288242" y="587066"/>
                  </a:cubicBezTo>
                  <a:cubicBezTo>
                    <a:pt x="1288242" y="584045"/>
                    <a:pt x="1291586" y="582566"/>
                    <a:pt x="1292550" y="579094"/>
                  </a:cubicBezTo>
                  <a:lnTo>
                    <a:pt x="1292550" y="579094"/>
                  </a:lnTo>
                  <a:cubicBezTo>
                    <a:pt x="1293341" y="580161"/>
                    <a:pt x="1294517" y="580875"/>
                    <a:pt x="1295829" y="581087"/>
                  </a:cubicBezTo>
                  <a:cubicBezTo>
                    <a:pt x="1297115" y="581087"/>
                    <a:pt x="1299044" y="581666"/>
                    <a:pt x="1300587" y="581858"/>
                  </a:cubicBezTo>
                  <a:cubicBezTo>
                    <a:pt x="1300760" y="582341"/>
                    <a:pt x="1300889" y="582836"/>
                    <a:pt x="1300972" y="583337"/>
                  </a:cubicBezTo>
                  <a:cubicBezTo>
                    <a:pt x="1302515" y="591696"/>
                    <a:pt x="1306052" y="591438"/>
                    <a:pt x="1309909" y="594782"/>
                  </a:cubicBezTo>
                  <a:cubicBezTo>
                    <a:pt x="1312860" y="597996"/>
                    <a:pt x="1316795" y="600144"/>
                    <a:pt x="1321096" y="600890"/>
                  </a:cubicBezTo>
                  <a:cubicBezTo>
                    <a:pt x="1325912" y="601706"/>
                    <a:pt x="1329956" y="604972"/>
                    <a:pt x="1331769" y="609505"/>
                  </a:cubicBezTo>
                  <a:cubicBezTo>
                    <a:pt x="1332855" y="613253"/>
                    <a:pt x="1335106" y="616564"/>
                    <a:pt x="1338199" y="618956"/>
                  </a:cubicBezTo>
                  <a:cubicBezTo>
                    <a:pt x="1340449" y="620692"/>
                    <a:pt x="1337427" y="626800"/>
                    <a:pt x="1337427" y="631365"/>
                  </a:cubicBezTo>
                  <a:cubicBezTo>
                    <a:pt x="1337427" y="635930"/>
                    <a:pt x="1331833" y="636958"/>
                    <a:pt x="1334598" y="641587"/>
                  </a:cubicBezTo>
                  <a:cubicBezTo>
                    <a:pt x="1337363" y="646217"/>
                    <a:pt x="1356972" y="648403"/>
                    <a:pt x="1362566" y="648403"/>
                  </a:cubicBezTo>
                  <a:cubicBezTo>
                    <a:pt x="1368159" y="648403"/>
                    <a:pt x="1370217" y="653739"/>
                    <a:pt x="1371888" y="654060"/>
                  </a:cubicBezTo>
                  <a:cubicBezTo>
                    <a:pt x="1375425" y="654639"/>
                    <a:pt x="1375939" y="658818"/>
                    <a:pt x="1379925" y="659654"/>
                  </a:cubicBezTo>
                  <a:cubicBezTo>
                    <a:pt x="1385069" y="660625"/>
                    <a:pt x="1388971" y="664862"/>
                    <a:pt x="1389505" y="670070"/>
                  </a:cubicBezTo>
                  <a:cubicBezTo>
                    <a:pt x="1391112" y="677271"/>
                    <a:pt x="1395934" y="679649"/>
                    <a:pt x="1396706" y="682928"/>
                  </a:cubicBezTo>
                  <a:cubicBezTo>
                    <a:pt x="1397477" y="686207"/>
                    <a:pt x="1406350" y="683700"/>
                    <a:pt x="1412715" y="684536"/>
                  </a:cubicBezTo>
                  <a:cubicBezTo>
                    <a:pt x="1419080" y="685371"/>
                    <a:pt x="1437532" y="684536"/>
                    <a:pt x="1442354" y="685307"/>
                  </a:cubicBezTo>
                  <a:cubicBezTo>
                    <a:pt x="1447176" y="686079"/>
                    <a:pt x="1458363" y="685307"/>
                    <a:pt x="1464793" y="690129"/>
                  </a:cubicBezTo>
                  <a:cubicBezTo>
                    <a:pt x="1471222" y="694951"/>
                    <a:pt x="1474373" y="690901"/>
                    <a:pt x="1478359" y="693344"/>
                  </a:cubicBezTo>
                  <a:cubicBezTo>
                    <a:pt x="1482062" y="696057"/>
                    <a:pt x="1486679" y="697208"/>
                    <a:pt x="1491218" y="696559"/>
                  </a:cubicBezTo>
                  <a:cubicBezTo>
                    <a:pt x="1496876" y="695723"/>
                    <a:pt x="1496876" y="700545"/>
                    <a:pt x="1500862" y="701316"/>
                  </a:cubicBezTo>
                  <a:cubicBezTo>
                    <a:pt x="1504848" y="702088"/>
                    <a:pt x="1512049" y="694887"/>
                    <a:pt x="1522464" y="690129"/>
                  </a:cubicBezTo>
                  <a:cubicBezTo>
                    <a:pt x="1532880" y="685371"/>
                    <a:pt x="1544903" y="688522"/>
                    <a:pt x="1550496" y="689358"/>
                  </a:cubicBezTo>
                  <a:cubicBezTo>
                    <a:pt x="1559002" y="689570"/>
                    <a:pt x="1567181" y="686040"/>
                    <a:pt x="1572871" y="679714"/>
                  </a:cubicBezTo>
                  <a:cubicBezTo>
                    <a:pt x="1579300" y="672513"/>
                    <a:pt x="1587273" y="674120"/>
                    <a:pt x="1588108" y="667691"/>
                  </a:cubicBezTo>
                  <a:cubicBezTo>
                    <a:pt x="1588944" y="661261"/>
                    <a:pt x="1581679" y="658882"/>
                    <a:pt x="1584894" y="653289"/>
                  </a:cubicBezTo>
                  <a:cubicBezTo>
                    <a:pt x="1587285" y="649090"/>
                    <a:pt x="1592622" y="647631"/>
                    <a:pt x="1596820" y="650016"/>
                  </a:cubicBezTo>
                  <a:cubicBezTo>
                    <a:pt x="1596852" y="650036"/>
                    <a:pt x="1596884" y="650055"/>
                    <a:pt x="1596917" y="650074"/>
                  </a:cubicBezTo>
                  <a:cubicBezTo>
                    <a:pt x="1603384" y="653128"/>
                    <a:pt x="1610984" y="652543"/>
                    <a:pt x="1616912" y="648531"/>
                  </a:cubicBezTo>
                  <a:cubicBezTo>
                    <a:pt x="1622235" y="644596"/>
                    <a:pt x="1628748" y="642603"/>
                    <a:pt x="1635364" y="642873"/>
                  </a:cubicBezTo>
                  <a:cubicBezTo>
                    <a:pt x="1642565" y="642102"/>
                    <a:pt x="1641793" y="637280"/>
                    <a:pt x="1646551" y="632522"/>
                  </a:cubicBezTo>
                  <a:cubicBezTo>
                    <a:pt x="1650550" y="628407"/>
                    <a:pt x="1656047" y="626086"/>
                    <a:pt x="1661789" y="626093"/>
                  </a:cubicBezTo>
                  <a:cubicBezTo>
                    <a:pt x="1666546" y="626093"/>
                    <a:pt x="1672976" y="621271"/>
                    <a:pt x="1677798" y="622878"/>
                  </a:cubicBezTo>
                  <a:cubicBezTo>
                    <a:pt x="1682620" y="624485"/>
                    <a:pt x="1689757" y="625257"/>
                    <a:pt x="1690657" y="621271"/>
                  </a:cubicBezTo>
                  <a:cubicBezTo>
                    <a:pt x="1691557" y="617284"/>
                    <a:pt x="1678634" y="609248"/>
                    <a:pt x="1674647" y="604490"/>
                  </a:cubicBezTo>
                  <a:cubicBezTo>
                    <a:pt x="1672211" y="601436"/>
                    <a:pt x="1667762" y="600934"/>
                    <a:pt x="1664708" y="603371"/>
                  </a:cubicBezTo>
                  <a:cubicBezTo>
                    <a:pt x="1663801" y="604091"/>
                    <a:pt x="1663088" y="605030"/>
                    <a:pt x="1662625" y="606097"/>
                  </a:cubicBezTo>
                  <a:cubicBezTo>
                    <a:pt x="1661017" y="610084"/>
                    <a:pt x="1657803" y="604490"/>
                    <a:pt x="1650602" y="604490"/>
                  </a:cubicBezTo>
                  <a:cubicBezTo>
                    <a:pt x="1643401" y="604490"/>
                    <a:pt x="1642629" y="608476"/>
                    <a:pt x="1637743" y="603654"/>
                  </a:cubicBezTo>
                  <a:cubicBezTo>
                    <a:pt x="1632857" y="598832"/>
                    <a:pt x="1639350" y="597225"/>
                    <a:pt x="1639350" y="597225"/>
                  </a:cubicBezTo>
                  <a:lnTo>
                    <a:pt x="1640122" y="590795"/>
                  </a:lnTo>
                  <a:lnTo>
                    <a:pt x="1650087" y="570929"/>
                  </a:lnTo>
                  <a:cubicBezTo>
                    <a:pt x="1651232" y="571250"/>
                    <a:pt x="1652215" y="571983"/>
                    <a:pt x="1652852" y="572986"/>
                  </a:cubicBezTo>
                  <a:cubicBezTo>
                    <a:pt x="1653945" y="575558"/>
                    <a:pt x="1662753" y="577036"/>
                    <a:pt x="1665003" y="576329"/>
                  </a:cubicBezTo>
                  <a:cubicBezTo>
                    <a:pt x="1668771" y="573957"/>
                    <a:pt x="1672680" y="571809"/>
                    <a:pt x="1676705" y="569900"/>
                  </a:cubicBezTo>
                  <a:cubicBezTo>
                    <a:pt x="1679277" y="569900"/>
                    <a:pt x="1683134" y="567007"/>
                    <a:pt x="1682234" y="564435"/>
                  </a:cubicBezTo>
                  <a:cubicBezTo>
                    <a:pt x="1681334" y="561863"/>
                    <a:pt x="1687378" y="554469"/>
                    <a:pt x="1688149" y="551576"/>
                  </a:cubicBezTo>
                  <a:cubicBezTo>
                    <a:pt x="1689763" y="547101"/>
                    <a:pt x="1692406" y="543070"/>
                    <a:pt x="1695864" y="539810"/>
                  </a:cubicBezTo>
                  <a:cubicBezTo>
                    <a:pt x="1697665" y="539039"/>
                    <a:pt x="1701715" y="535760"/>
                    <a:pt x="1701330" y="533381"/>
                  </a:cubicBezTo>
                  <a:cubicBezTo>
                    <a:pt x="1700944" y="531002"/>
                    <a:pt x="1699851" y="524509"/>
                    <a:pt x="1697665" y="524509"/>
                  </a:cubicBezTo>
                  <a:cubicBezTo>
                    <a:pt x="1695479" y="524509"/>
                    <a:pt x="1691235" y="524894"/>
                    <a:pt x="1696572" y="518079"/>
                  </a:cubicBezTo>
                  <a:cubicBezTo>
                    <a:pt x="1700564" y="513688"/>
                    <a:pt x="1706576" y="511733"/>
                    <a:pt x="1712388" y="512936"/>
                  </a:cubicBezTo>
                  <a:cubicBezTo>
                    <a:pt x="1718252" y="511798"/>
                    <a:pt x="1724250" y="511495"/>
                    <a:pt x="1730197" y="512036"/>
                  </a:cubicBezTo>
                  <a:cubicBezTo>
                    <a:pt x="1735341" y="513514"/>
                    <a:pt x="1738620" y="511264"/>
                    <a:pt x="1744149" y="514221"/>
                  </a:cubicBezTo>
                  <a:cubicBezTo>
                    <a:pt x="1749679" y="517179"/>
                    <a:pt x="1757329" y="516086"/>
                    <a:pt x="1759194" y="518658"/>
                  </a:cubicBezTo>
                  <a:cubicBezTo>
                    <a:pt x="1761058" y="521229"/>
                    <a:pt x="1768388" y="523415"/>
                    <a:pt x="1767295" y="527852"/>
                  </a:cubicBezTo>
                  <a:cubicBezTo>
                    <a:pt x="1766202" y="532288"/>
                    <a:pt x="1771346" y="529652"/>
                    <a:pt x="1773146" y="539232"/>
                  </a:cubicBezTo>
                  <a:cubicBezTo>
                    <a:pt x="1774946" y="548812"/>
                    <a:pt x="1779575" y="549519"/>
                    <a:pt x="1780475" y="553891"/>
                  </a:cubicBezTo>
                  <a:cubicBezTo>
                    <a:pt x="1781375" y="558263"/>
                    <a:pt x="1787483" y="566750"/>
                    <a:pt x="1786905" y="568936"/>
                  </a:cubicBezTo>
                  <a:cubicBezTo>
                    <a:pt x="1786326" y="571122"/>
                    <a:pt x="1785426" y="575365"/>
                    <a:pt x="1791662" y="575944"/>
                  </a:cubicBezTo>
                  <a:cubicBezTo>
                    <a:pt x="1797899" y="576522"/>
                    <a:pt x="1802335" y="581087"/>
                    <a:pt x="1803749" y="580380"/>
                  </a:cubicBezTo>
                  <a:cubicBezTo>
                    <a:pt x="1808565" y="580528"/>
                    <a:pt x="1813156" y="582482"/>
                    <a:pt x="1816608" y="585845"/>
                  </a:cubicBezTo>
                  <a:cubicBezTo>
                    <a:pt x="1820273" y="589574"/>
                    <a:pt x="1825802" y="587709"/>
                    <a:pt x="1825416" y="591760"/>
                  </a:cubicBezTo>
                  <a:cubicBezTo>
                    <a:pt x="1825031" y="595810"/>
                    <a:pt x="1828374" y="599089"/>
                    <a:pt x="1827988" y="602433"/>
                  </a:cubicBezTo>
                  <a:cubicBezTo>
                    <a:pt x="1827603" y="605776"/>
                    <a:pt x="1834996" y="607898"/>
                    <a:pt x="1840140" y="607190"/>
                  </a:cubicBezTo>
                  <a:cubicBezTo>
                    <a:pt x="1845283" y="606483"/>
                    <a:pt x="1848948" y="608990"/>
                    <a:pt x="1851134" y="604619"/>
                  </a:cubicBezTo>
                  <a:cubicBezTo>
                    <a:pt x="1853320" y="600247"/>
                    <a:pt x="1860714" y="602047"/>
                    <a:pt x="1863286" y="600182"/>
                  </a:cubicBezTo>
                  <a:cubicBezTo>
                    <a:pt x="1865857" y="598318"/>
                    <a:pt x="1873572" y="596132"/>
                    <a:pt x="1873187" y="602754"/>
                  </a:cubicBezTo>
                  <a:cubicBezTo>
                    <a:pt x="1872801" y="609376"/>
                    <a:pt x="1877237" y="610855"/>
                    <a:pt x="1873572" y="613041"/>
                  </a:cubicBezTo>
                  <a:cubicBezTo>
                    <a:pt x="1869908" y="615227"/>
                    <a:pt x="1868043" y="624807"/>
                    <a:pt x="1867143" y="628857"/>
                  </a:cubicBezTo>
                  <a:cubicBezTo>
                    <a:pt x="1866243" y="632908"/>
                    <a:pt x="1860714" y="634001"/>
                    <a:pt x="1859749" y="638437"/>
                  </a:cubicBezTo>
                  <a:cubicBezTo>
                    <a:pt x="1858785" y="642873"/>
                    <a:pt x="1853899" y="643195"/>
                    <a:pt x="1853899" y="646474"/>
                  </a:cubicBezTo>
                  <a:cubicBezTo>
                    <a:pt x="1853899" y="649753"/>
                    <a:pt x="1846569" y="649046"/>
                    <a:pt x="1842840" y="646474"/>
                  </a:cubicBezTo>
                  <a:cubicBezTo>
                    <a:pt x="1839111" y="643902"/>
                    <a:pt x="1835511" y="651296"/>
                    <a:pt x="1832617" y="651296"/>
                  </a:cubicBezTo>
                  <a:cubicBezTo>
                    <a:pt x="1829724" y="651296"/>
                    <a:pt x="1830046" y="657725"/>
                    <a:pt x="1830753" y="660104"/>
                  </a:cubicBezTo>
                  <a:cubicBezTo>
                    <a:pt x="1831460" y="662483"/>
                    <a:pt x="1829660" y="665955"/>
                    <a:pt x="1831524" y="670391"/>
                  </a:cubicBezTo>
                  <a:cubicBezTo>
                    <a:pt x="1832129" y="674326"/>
                    <a:pt x="1832405" y="678306"/>
                    <a:pt x="1832360" y="682285"/>
                  </a:cubicBezTo>
                  <a:cubicBezTo>
                    <a:pt x="1835369" y="679682"/>
                    <a:pt x="1838899" y="677753"/>
                    <a:pt x="1842711" y="676628"/>
                  </a:cubicBezTo>
                  <a:cubicBezTo>
                    <a:pt x="1847276" y="676628"/>
                    <a:pt x="1851905" y="684536"/>
                    <a:pt x="1857049" y="684728"/>
                  </a:cubicBezTo>
                  <a:cubicBezTo>
                    <a:pt x="1862193" y="684922"/>
                    <a:pt x="1885531" y="669298"/>
                    <a:pt x="1885660" y="666726"/>
                  </a:cubicBezTo>
                  <a:cubicBezTo>
                    <a:pt x="1885788" y="664155"/>
                    <a:pt x="1899483" y="651103"/>
                    <a:pt x="1905912" y="644288"/>
                  </a:cubicBezTo>
                  <a:cubicBezTo>
                    <a:pt x="1913158" y="637093"/>
                    <a:pt x="1919292" y="628857"/>
                    <a:pt x="1924107" y="619856"/>
                  </a:cubicBezTo>
                  <a:cubicBezTo>
                    <a:pt x="1927939" y="613697"/>
                    <a:pt x="1932099" y="607750"/>
                    <a:pt x="1936580" y="602047"/>
                  </a:cubicBezTo>
                  <a:cubicBezTo>
                    <a:pt x="1939634" y="598067"/>
                    <a:pt x="1942219" y="593753"/>
                    <a:pt x="1944295" y="589188"/>
                  </a:cubicBezTo>
                  <a:cubicBezTo>
                    <a:pt x="1948346" y="580508"/>
                    <a:pt x="1948346" y="557941"/>
                    <a:pt x="1949632" y="556463"/>
                  </a:cubicBezTo>
                  <a:cubicBezTo>
                    <a:pt x="1950918" y="554984"/>
                    <a:pt x="1950210" y="551126"/>
                    <a:pt x="1952011" y="548747"/>
                  </a:cubicBezTo>
                  <a:cubicBezTo>
                    <a:pt x="1953811" y="546368"/>
                    <a:pt x="1952975" y="543025"/>
                    <a:pt x="1956640" y="539939"/>
                  </a:cubicBezTo>
                  <a:cubicBezTo>
                    <a:pt x="1959308" y="538074"/>
                    <a:pt x="1960163" y="534513"/>
                    <a:pt x="1958633" y="531645"/>
                  </a:cubicBezTo>
                  <a:cubicBezTo>
                    <a:pt x="1957733" y="529266"/>
                    <a:pt x="1958633" y="523930"/>
                    <a:pt x="1957926" y="522258"/>
                  </a:cubicBezTo>
                  <a:cubicBezTo>
                    <a:pt x="1957219" y="520587"/>
                    <a:pt x="1957154" y="519879"/>
                    <a:pt x="1959405" y="518593"/>
                  </a:cubicBezTo>
                  <a:cubicBezTo>
                    <a:pt x="1961655" y="517308"/>
                    <a:pt x="1957926" y="514029"/>
                    <a:pt x="1954775" y="512550"/>
                  </a:cubicBezTo>
                  <a:cubicBezTo>
                    <a:pt x="1951625" y="511071"/>
                    <a:pt x="1947639" y="509785"/>
                    <a:pt x="1947253" y="506120"/>
                  </a:cubicBezTo>
                  <a:cubicBezTo>
                    <a:pt x="1945973" y="501787"/>
                    <a:pt x="1942000" y="498804"/>
                    <a:pt x="1937480" y="498791"/>
                  </a:cubicBezTo>
                  <a:cubicBezTo>
                    <a:pt x="1933494" y="498791"/>
                    <a:pt x="1925972" y="496541"/>
                    <a:pt x="1926872" y="498791"/>
                  </a:cubicBezTo>
                  <a:cubicBezTo>
                    <a:pt x="1927772" y="501041"/>
                    <a:pt x="1926486" y="503549"/>
                    <a:pt x="1924493" y="503034"/>
                  </a:cubicBezTo>
                  <a:cubicBezTo>
                    <a:pt x="1922500" y="502520"/>
                    <a:pt x="1921536" y="504127"/>
                    <a:pt x="1919157" y="507792"/>
                  </a:cubicBezTo>
                  <a:cubicBezTo>
                    <a:pt x="1916778" y="511457"/>
                    <a:pt x="1908291" y="511843"/>
                    <a:pt x="1912149" y="508371"/>
                  </a:cubicBezTo>
                  <a:cubicBezTo>
                    <a:pt x="1916006" y="504899"/>
                    <a:pt x="1910863" y="504706"/>
                    <a:pt x="1911634" y="501041"/>
                  </a:cubicBezTo>
                  <a:cubicBezTo>
                    <a:pt x="1912406" y="497377"/>
                    <a:pt x="1915492" y="493648"/>
                    <a:pt x="1911248" y="496026"/>
                  </a:cubicBezTo>
                  <a:cubicBezTo>
                    <a:pt x="1907005" y="498405"/>
                    <a:pt x="1907005" y="504127"/>
                    <a:pt x="1903533" y="504899"/>
                  </a:cubicBezTo>
                  <a:cubicBezTo>
                    <a:pt x="1900061" y="505671"/>
                    <a:pt x="1901155" y="494933"/>
                    <a:pt x="1902054" y="492040"/>
                  </a:cubicBezTo>
                  <a:cubicBezTo>
                    <a:pt x="1902955" y="489147"/>
                    <a:pt x="1895625" y="492040"/>
                    <a:pt x="1887910" y="491719"/>
                  </a:cubicBezTo>
                  <a:cubicBezTo>
                    <a:pt x="1880195" y="491397"/>
                    <a:pt x="1882188" y="485804"/>
                    <a:pt x="1888489" y="482525"/>
                  </a:cubicBezTo>
                  <a:cubicBezTo>
                    <a:pt x="1894789" y="479246"/>
                    <a:pt x="1893632" y="476095"/>
                    <a:pt x="1896718" y="474809"/>
                  </a:cubicBezTo>
                  <a:cubicBezTo>
                    <a:pt x="1899804" y="473524"/>
                    <a:pt x="1907970" y="468380"/>
                    <a:pt x="1912727" y="465423"/>
                  </a:cubicBezTo>
                  <a:cubicBezTo>
                    <a:pt x="1916154" y="463507"/>
                    <a:pt x="1918623" y="460240"/>
                    <a:pt x="1919543" y="456421"/>
                  </a:cubicBezTo>
                  <a:cubicBezTo>
                    <a:pt x="1920635" y="453271"/>
                    <a:pt x="1929444" y="449413"/>
                    <a:pt x="1937352" y="443048"/>
                  </a:cubicBezTo>
                  <a:cubicBezTo>
                    <a:pt x="1942798" y="439371"/>
                    <a:pt x="1947414" y="434594"/>
                    <a:pt x="1950918" y="429032"/>
                  </a:cubicBezTo>
                  <a:cubicBezTo>
                    <a:pt x="1952782" y="425175"/>
                    <a:pt x="1964548" y="420417"/>
                    <a:pt x="1964741" y="417459"/>
                  </a:cubicBezTo>
                  <a:cubicBezTo>
                    <a:pt x="1964934" y="414502"/>
                    <a:pt x="1978693" y="407172"/>
                    <a:pt x="1988015" y="405372"/>
                  </a:cubicBezTo>
                  <a:cubicBezTo>
                    <a:pt x="1997338" y="403572"/>
                    <a:pt x="2012318" y="405886"/>
                    <a:pt x="2015019" y="408651"/>
                  </a:cubicBezTo>
                  <a:cubicBezTo>
                    <a:pt x="2016195" y="410426"/>
                    <a:pt x="2018594" y="410914"/>
                    <a:pt x="2020368" y="409731"/>
                  </a:cubicBezTo>
                  <a:cubicBezTo>
                    <a:pt x="2020792" y="409448"/>
                    <a:pt x="2021165" y="409082"/>
                    <a:pt x="2021448" y="408651"/>
                  </a:cubicBezTo>
                  <a:cubicBezTo>
                    <a:pt x="2023055" y="406851"/>
                    <a:pt x="2026720" y="407751"/>
                    <a:pt x="2033021" y="408651"/>
                  </a:cubicBezTo>
                  <a:cubicBezTo>
                    <a:pt x="2039322" y="409551"/>
                    <a:pt x="2040736" y="405758"/>
                    <a:pt x="2044915" y="407044"/>
                  </a:cubicBezTo>
                  <a:cubicBezTo>
                    <a:pt x="2049094" y="408330"/>
                    <a:pt x="2052631" y="409037"/>
                    <a:pt x="2055202" y="404086"/>
                  </a:cubicBezTo>
                  <a:cubicBezTo>
                    <a:pt x="2057774" y="399136"/>
                    <a:pt x="2069926" y="400036"/>
                    <a:pt x="2072690" y="402093"/>
                  </a:cubicBezTo>
                  <a:cubicBezTo>
                    <a:pt x="2075455" y="404151"/>
                    <a:pt x="2077641" y="406851"/>
                    <a:pt x="2082013" y="403893"/>
                  </a:cubicBezTo>
                  <a:cubicBezTo>
                    <a:pt x="2086385" y="400936"/>
                    <a:pt x="2086449" y="407751"/>
                    <a:pt x="2090692" y="408330"/>
                  </a:cubicBezTo>
                  <a:cubicBezTo>
                    <a:pt x="2094936" y="408908"/>
                    <a:pt x="2092171" y="412509"/>
                    <a:pt x="2088442" y="412187"/>
                  </a:cubicBezTo>
                  <a:cubicBezTo>
                    <a:pt x="2084713" y="411866"/>
                    <a:pt x="2080213" y="413988"/>
                    <a:pt x="2084456" y="416431"/>
                  </a:cubicBezTo>
                  <a:cubicBezTo>
                    <a:pt x="2088699" y="418874"/>
                    <a:pt x="2093650" y="414180"/>
                    <a:pt x="2096929" y="414566"/>
                  </a:cubicBezTo>
                  <a:cubicBezTo>
                    <a:pt x="2101340" y="415318"/>
                    <a:pt x="2105872" y="414547"/>
                    <a:pt x="2109788" y="412380"/>
                  </a:cubicBezTo>
                  <a:cubicBezTo>
                    <a:pt x="2114353" y="409423"/>
                    <a:pt x="2115639" y="414759"/>
                    <a:pt x="2118596" y="412380"/>
                  </a:cubicBezTo>
                  <a:cubicBezTo>
                    <a:pt x="2122447" y="410014"/>
                    <a:pt x="2126941" y="408915"/>
                    <a:pt x="2131455" y="409230"/>
                  </a:cubicBezTo>
                  <a:cubicBezTo>
                    <a:pt x="2134734" y="409230"/>
                    <a:pt x="2132033" y="405372"/>
                    <a:pt x="2126504" y="405372"/>
                  </a:cubicBezTo>
                  <a:cubicBezTo>
                    <a:pt x="2120975" y="405372"/>
                    <a:pt x="2121168" y="402415"/>
                    <a:pt x="2125604" y="394892"/>
                  </a:cubicBezTo>
                  <a:cubicBezTo>
                    <a:pt x="2130040" y="387370"/>
                    <a:pt x="2138463" y="383320"/>
                    <a:pt x="2143735" y="378755"/>
                  </a:cubicBezTo>
                  <a:cubicBezTo>
                    <a:pt x="2149007" y="374190"/>
                    <a:pt x="2152929" y="376376"/>
                    <a:pt x="2152929" y="373418"/>
                  </a:cubicBezTo>
                  <a:cubicBezTo>
                    <a:pt x="2152929" y="370461"/>
                    <a:pt x="2155501" y="362231"/>
                    <a:pt x="2159358" y="362038"/>
                  </a:cubicBezTo>
                  <a:cubicBezTo>
                    <a:pt x="2163216" y="361845"/>
                    <a:pt x="2173503" y="363710"/>
                    <a:pt x="2179739" y="360174"/>
                  </a:cubicBezTo>
                  <a:cubicBezTo>
                    <a:pt x="2185976" y="356637"/>
                    <a:pt x="2185461" y="362745"/>
                    <a:pt x="2188033" y="363710"/>
                  </a:cubicBezTo>
                  <a:cubicBezTo>
                    <a:pt x="2190605" y="364674"/>
                    <a:pt x="2194077" y="358374"/>
                    <a:pt x="2197034" y="360174"/>
                  </a:cubicBezTo>
                  <a:cubicBezTo>
                    <a:pt x="2199992" y="361974"/>
                    <a:pt x="2192598" y="366603"/>
                    <a:pt x="2190991" y="371747"/>
                  </a:cubicBezTo>
                  <a:cubicBezTo>
                    <a:pt x="2189383" y="376890"/>
                    <a:pt x="2194849" y="375090"/>
                    <a:pt x="2197934" y="376569"/>
                  </a:cubicBezTo>
                  <a:cubicBezTo>
                    <a:pt x="2201020" y="378047"/>
                    <a:pt x="2193884" y="380233"/>
                    <a:pt x="2194655" y="381648"/>
                  </a:cubicBezTo>
                  <a:cubicBezTo>
                    <a:pt x="2195427" y="383062"/>
                    <a:pt x="2201599" y="383127"/>
                    <a:pt x="2209700" y="375218"/>
                  </a:cubicBezTo>
                  <a:cubicBezTo>
                    <a:pt x="2214754" y="369053"/>
                    <a:pt x="2222302" y="365465"/>
                    <a:pt x="2230274" y="365446"/>
                  </a:cubicBezTo>
                  <a:cubicBezTo>
                    <a:pt x="2235418" y="366024"/>
                    <a:pt x="2232460" y="360881"/>
                    <a:pt x="2232846" y="353359"/>
                  </a:cubicBezTo>
                  <a:cubicBezTo>
                    <a:pt x="2233232" y="345836"/>
                    <a:pt x="2249048" y="343586"/>
                    <a:pt x="2254192" y="345772"/>
                  </a:cubicBezTo>
                  <a:cubicBezTo>
                    <a:pt x="2259335" y="347958"/>
                    <a:pt x="2258949" y="350015"/>
                    <a:pt x="2254192" y="348729"/>
                  </a:cubicBezTo>
                  <a:cubicBezTo>
                    <a:pt x="2249434" y="347443"/>
                    <a:pt x="2244612" y="351880"/>
                    <a:pt x="2244804" y="358116"/>
                  </a:cubicBezTo>
                  <a:cubicBezTo>
                    <a:pt x="2244998" y="364353"/>
                    <a:pt x="2240368" y="366346"/>
                    <a:pt x="2242811" y="368789"/>
                  </a:cubicBezTo>
                  <a:cubicBezTo>
                    <a:pt x="2245255" y="371232"/>
                    <a:pt x="2239275" y="371682"/>
                    <a:pt x="2239083" y="374254"/>
                  </a:cubicBezTo>
                  <a:cubicBezTo>
                    <a:pt x="2238890" y="376826"/>
                    <a:pt x="2239083" y="378883"/>
                    <a:pt x="2235418" y="379976"/>
                  </a:cubicBezTo>
                  <a:cubicBezTo>
                    <a:pt x="2231753" y="381069"/>
                    <a:pt x="2219473" y="382355"/>
                    <a:pt x="2219087" y="387113"/>
                  </a:cubicBezTo>
                  <a:cubicBezTo>
                    <a:pt x="2218701" y="391871"/>
                    <a:pt x="2212079" y="392449"/>
                    <a:pt x="2208993" y="398364"/>
                  </a:cubicBezTo>
                  <a:cubicBezTo>
                    <a:pt x="2205907" y="404279"/>
                    <a:pt x="2193884" y="407687"/>
                    <a:pt x="2186040" y="419453"/>
                  </a:cubicBezTo>
                  <a:cubicBezTo>
                    <a:pt x="2178196" y="431218"/>
                    <a:pt x="2165659" y="431218"/>
                    <a:pt x="2165659" y="433404"/>
                  </a:cubicBezTo>
                  <a:cubicBezTo>
                    <a:pt x="2165659" y="435590"/>
                    <a:pt x="2156979" y="435462"/>
                    <a:pt x="2154022" y="435847"/>
                  </a:cubicBezTo>
                  <a:cubicBezTo>
                    <a:pt x="2151064" y="436233"/>
                    <a:pt x="2156786" y="443370"/>
                    <a:pt x="2149843" y="450892"/>
                  </a:cubicBezTo>
                  <a:cubicBezTo>
                    <a:pt x="2142584" y="458607"/>
                    <a:pt x="2138495" y="468779"/>
                    <a:pt x="2138398" y="479374"/>
                  </a:cubicBezTo>
                  <a:cubicBezTo>
                    <a:pt x="2138398" y="489854"/>
                    <a:pt x="2142128" y="519944"/>
                    <a:pt x="2145214" y="525280"/>
                  </a:cubicBezTo>
                  <a:cubicBezTo>
                    <a:pt x="2148300" y="530617"/>
                    <a:pt x="2146499" y="543668"/>
                    <a:pt x="2149071" y="546433"/>
                  </a:cubicBezTo>
                  <a:cubicBezTo>
                    <a:pt x="2151643" y="549197"/>
                    <a:pt x="2150743" y="553762"/>
                    <a:pt x="2152414" y="555434"/>
                  </a:cubicBezTo>
                  <a:cubicBezTo>
                    <a:pt x="2154086" y="557106"/>
                    <a:pt x="2160837" y="548040"/>
                    <a:pt x="2165273" y="544182"/>
                  </a:cubicBezTo>
                  <a:cubicBezTo>
                    <a:pt x="2169709" y="540325"/>
                    <a:pt x="2168360" y="539103"/>
                    <a:pt x="2171703" y="537046"/>
                  </a:cubicBezTo>
                  <a:cubicBezTo>
                    <a:pt x="2175046" y="534988"/>
                    <a:pt x="2173503" y="526566"/>
                    <a:pt x="2174467" y="524187"/>
                  </a:cubicBezTo>
                  <a:cubicBezTo>
                    <a:pt x="2175432" y="521808"/>
                    <a:pt x="2180896" y="520844"/>
                    <a:pt x="2182890" y="518465"/>
                  </a:cubicBezTo>
                  <a:cubicBezTo>
                    <a:pt x="2184883" y="516086"/>
                    <a:pt x="2189319" y="517565"/>
                    <a:pt x="2192084" y="516665"/>
                  </a:cubicBezTo>
                  <a:cubicBezTo>
                    <a:pt x="2194849" y="515764"/>
                    <a:pt x="2192084" y="509657"/>
                    <a:pt x="2190991" y="506185"/>
                  </a:cubicBezTo>
                  <a:cubicBezTo>
                    <a:pt x="2189898" y="502713"/>
                    <a:pt x="2198513" y="497891"/>
                    <a:pt x="2202885" y="494805"/>
                  </a:cubicBezTo>
                  <a:cubicBezTo>
                    <a:pt x="2207257" y="491719"/>
                    <a:pt x="2212851" y="496798"/>
                    <a:pt x="2217801" y="492233"/>
                  </a:cubicBezTo>
                  <a:cubicBezTo>
                    <a:pt x="2222752" y="487668"/>
                    <a:pt x="2217416" y="482267"/>
                    <a:pt x="2215615" y="479889"/>
                  </a:cubicBezTo>
                  <a:cubicBezTo>
                    <a:pt x="2213815" y="477510"/>
                    <a:pt x="2220566" y="465937"/>
                    <a:pt x="2224423" y="464844"/>
                  </a:cubicBezTo>
                  <a:cubicBezTo>
                    <a:pt x="2228281" y="463751"/>
                    <a:pt x="2230274" y="467609"/>
                    <a:pt x="2233939" y="464265"/>
                  </a:cubicBezTo>
                  <a:cubicBezTo>
                    <a:pt x="2237604" y="460922"/>
                    <a:pt x="2230660" y="455650"/>
                    <a:pt x="2228088" y="456036"/>
                  </a:cubicBezTo>
                  <a:cubicBezTo>
                    <a:pt x="2225516" y="456421"/>
                    <a:pt x="2224617" y="446649"/>
                    <a:pt x="2230660" y="442084"/>
                  </a:cubicBezTo>
                  <a:cubicBezTo>
                    <a:pt x="2236704" y="437519"/>
                    <a:pt x="2234325" y="436555"/>
                    <a:pt x="2230274" y="435655"/>
                  </a:cubicBezTo>
                  <a:cubicBezTo>
                    <a:pt x="2226224" y="434755"/>
                    <a:pt x="2225516" y="435976"/>
                    <a:pt x="2222366" y="436169"/>
                  </a:cubicBezTo>
                  <a:cubicBezTo>
                    <a:pt x="2219216" y="436362"/>
                    <a:pt x="2215937" y="429740"/>
                    <a:pt x="2220952" y="423310"/>
                  </a:cubicBezTo>
                  <a:cubicBezTo>
                    <a:pt x="2225966" y="416881"/>
                    <a:pt x="2230274" y="417652"/>
                    <a:pt x="2231367" y="412316"/>
                  </a:cubicBezTo>
                  <a:cubicBezTo>
                    <a:pt x="2233720" y="406677"/>
                    <a:pt x="2236884" y="401418"/>
                    <a:pt x="2240754" y="396693"/>
                  </a:cubicBezTo>
                  <a:cubicBezTo>
                    <a:pt x="2242426" y="393928"/>
                    <a:pt x="2249048" y="396693"/>
                    <a:pt x="2251620" y="396114"/>
                  </a:cubicBezTo>
                  <a:cubicBezTo>
                    <a:pt x="2254192" y="395535"/>
                    <a:pt x="2253291" y="401064"/>
                    <a:pt x="2256378" y="398364"/>
                  </a:cubicBezTo>
                  <a:cubicBezTo>
                    <a:pt x="2259464" y="395664"/>
                    <a:pt x="2264671" y="386405"/>
                    <a:pt x="2268851" y="386405"/>
                  </a:cubicBezTo>
                  <a:cubicBezTo>
                    <a:pt x="2273030" y="386405"/>
                    <a:pt x="2270329" y="393221"/>
                    <a:pt x="2271422" y="397271"/>
                  </a:cubicBezTo>
                  <a:cubicBezTo>
                    <a:pt x="2272515" y="401322"/>
                    <a:pt x="2274958" y="396114"/>
                    <a:pt x="2282995" y="390842"/>
                  </a:cubicBezTo>
                  <a:cubicBezTo>
                    <a:pt x="2292658" y="386097"/>
                    <a:pt x="2303775" y="385248"/>
                    <a:pt x="2314049" y="388463"/>
                  </a:cubicBezTo>
                  <a:cubicBezTo>
                    <a:pt x="2319385" y="391035"/>
                    <a:pt x="2320478" y="397078"/>
                    <a:pt x="2323243" y="396307"/>
                  </a:cubicBezTo>
                  <a:cubicBezTo>
                    <a:pt x="2327744" y="395214"/>
                    <a:pt x="2324014" y="390263"/>
                    <a:pt x="2328386" y="388977"/>
                  </a:cubicBezTo>
                  <a:cubicBezTo>
                    <a:pt x="2334822" y="386457"/>
                    <a:pt x="2340885" y="383062"/>
                    <a:pt x="2346389" y="378883"/>
                  </a:cubicBezTo>
                  <a:cubicBezTo>
                    <a:pt x="2352304" y="374640"/>
                    <a:pt x="2350632" y="377790"/>
                    <a:pt x="2353718" y="373932"/>
                  </a:cubicBezTo>
                  <a:cubicBezTo>
                    <a:pt x="2356804" y="370075"/>
                    <a:pt x="2360147" y="371747"/>
                    <a:pt x="2360919" y="369175"/>
                  </a:cubicBezTo>
                  <a:cubicBezTo>
                    <a:pt x="2361690" y="366603"/>
                    <a:pt x="2370306" y="362360"/>
                    <a:pt x="2381879" y="359788"/>
                  </a:cubicBezTo>
                  <a:cubicBezTo>
                    <a:pt x="2393452" y="357216"/>
                    <a:pt x="2408497" y="349501"/>
                    <a:pt x="2407596" y="346929"/>
                  </a:cubicBezTo>
                  <a:cubicBezTo>
                    <a:pt x="2406696" y="344358"/>
                    <a:pt x="2411968" y="343393"/>
                    <a:pt x="2412547" y="345772"/>
                  </a:cubicBezTo>
                  <a:cubicBezTo>
                    <a:pt x="2413125" y="348151"/>
                    <a:pt x="2417498" y="347251"/>
                    <a:pt x="2423541" y="348537"/>
                  </a:cubicBezTo>
                  <a:cubicBezTo>
                    <a:pt x="2429585" y="349822"/>
                    <a:pt x="2432350" y="352266"/>
                    <a:pt x="2437172" y="347443"/>
                  </a:cubicBezTo>
                  <a:cubicBezTo>
                    <a:pt x="2441994" y="342621"/>
                    <a:pt x="2436593" y="341014"/>
                    <a:pt x="2436786" y="337349"/>
                  </a:cubicBezTo>
                  <a:cubicBezTo>
                    <a:pt x="2436979" y="333685"/>
                    <a:pt x="2428492" y="329827"/>
                    <a:pt x="2429585" y="325969"/>
                  </a:cubicBezTo>
                  <a:cubicBezTo>
                    <a:pt x="2430678" y="322112"/>
                    <a:pt x="2423156" y="311825"/>
                    <a:pt x="2421162" y="313818"/>
                  </a:cubicBezTo>
                  <a:cubicBezTo>
                    <a:pt x="2419169" y="315811"/>
                    <a:pt x="2413833" y="312211"/>
                    <a:pt x="2413833" y="309253"/>
                  </a:cubicBezTo>
                  <a:cubicBezTo>
                    <a:pt x="2413833" y="306296"/>
                    <a:pt x="2413447" y="302824"/>
                    <a:pt x="2409975" y="305010"/>
                  </a:cubicBezTo>
                  <a:cubicBezTo>
                    <a:pt x="2406503" y="307196"/>
                    <a:pt x="2400589" y="306103"/>
                    <a:pt x="2399495" y="302824"/>
                  </a:cubicBezTo>
                  <a:cubicBezTo>
                    <a:pt x="2398402" y="299545"/>
                    <a:pt x="2406310" y="297102"/>
                    <a:pt x="2411776" y="299352"/>
                  </a:cubicBezTo>
                  <a:cubicBezTo>
                    <a:pt x="2417240" y="301602"/>
                    <a:pt x="2415633" y="303724"/>
                    <a:pt x="2418205" y="305395"/>
                  </a:cubicBezTo>
                  <a:cubicBezTo>
                    <a:pt x="2422873" y="306810"/>
                    <a:pt x="2427894" y="306488"/>
                    <a:pt x="2432350" y="304495"/>
                  </a:cubicBezTo>
                  <a:cubicBezTo>
                    <a:pt x="2436207" y="302631"/>
                    <a:pt x="2447073" y="299159"/>
                    <a:pt x="2448873" y="296008"/>
                  </a:cubicBezTo>
                  <a:cubicBezTo>
                    <a:pt x="2450673" y="292858"/>
                    <a:pt x="2448873" y="291444"/>
                    <a:pt x="2452409" y="289579"/>
                  </a:cubicBezTo>
                  <a:cubicBezTo>
                    <a:pt x="2455945" y="287715"/>
                    <a:pt x="2453309" y="283921"/>
                    <a:pt x="2450159" y="282250"/>
                  </a:cubicBezTo>
                  <a:cubicBezTo>
                    <a:pt x="2448558" y="281575"/>
                    <a:pt x="2447799" y="279729"/>
                    <a:pt x="2448474" y="278122"/>
                  </a:cubicBezTo>
                  <a:cubicBezTo>
                    <a:pt x="2448931" y="277042"/>
                    <a:pt x="2449953" y="276302"/>
                    <a:pt x="2451123" y="276206"/>
                  </a:cubicBezTo>
                  <a:cubicBezTo>
                    <a:pt x="2454402" y="276206"/>
                    <a:pt x="2453502" y="272284"/>
                    <a:pt x="2455688" y="272156"/>
                  </a:cubicBezTo>
                  <a:cubicBezTo>
                    <a:pt x="2457874" y="272027"/>
                    <a:pt x="2458260" y="273763"/>
                    <a:pt x="2462118" y="271770"/>
                  </a:cubicBezTo>
                  <a:cubicBezTo>
                    <a:pt x="2465975" y="269777"/>
                    <a:pt x="2462118" y="274856"/>
                    <a:pt x="2460446" y="278199"/>
                  </a:cubicBezTo>
                  <a:cubicBezTo>
                    <a:pt x="2458774" y="281542"/>
                    <a:pt x="2464303" y="284629"/>
                    <a:pt x="2464882" y="286622"/>
                  </a:cubicBezTo>
                  <a:cubicBezTo>
                    <a:pt x="2465461" y="288615"/>
                    <a:pt x="2473305" y="289386"/>
                    <a:pt x="2477741" y="287007"/>
                  </a:cubicBezTo>
                  <a:cubicBezTo>
                    <a:pt x="2482177" y="284629"/>
                    <a:pt x="2496258" y="289965"/>
                    <a:pt x="2497029" y="293437"/>
                  </a:cubicBezTo>
                  <a:cubicBezTo>
                    <a:pt x="2498180" y="298156"/>
                    <a:pt x="2501427" y="302084"/>
                    <a:pt x="2505837" y="304110"/>
                  </a:cubicBezTo>
                  <a:cubicBezTo>
                    <a:pt x="2511688" y="307003"/>
                    <a:pt x="2517024" y="305717"/>
                    <a:pt x="2518117" y="308481"/>
                  </a:cubicBezTo>
                  <a:cubicBezTo>
                    <a:pt x="2518979" y="311182"/>
                    <a:pt x="2521801" y="312731"/>
                    <a:pt x="2524547" y="312018"/>
                  </a:cubicBezTo>
                  <a:cubicBezTo>
                    <a:pt x="2527890" y="311246"/>
                    <a:pt x="2529690" y="314911"/>
                    <a:pt x="2532069" y="312725"/>
                  </a:cubicBezTo>
                  <a:cubicBezTo>
                    <a:pt x="2534448" y="310539"/>
                    <a:pt x="2535734" y="314011"/>
                    <a:pt x="2538884" y="311246"/>
                  </a:cubicBezTo>
                  <a:cubicBezTo>
                    <a:pt x="2542035" y="308481"/>
                    <a:pt x="2532069" y="306681"/>
                    <a:pt x="2533355" y="304431"/>
                  </a:cubicBezTo>
                  <a:cubicBezTo>
                    <a:pt x="2534641" y="302181"/>
                    <a:pt x="2536698" y="306103"/>
                    <a:pt x="2539463" y="305910"/>
                  </a:cubicBezTo>
                  <a:cubicBezTo>
                    <a:pt x="2542227" y="305717"/>
                    <a:pt x="2538691" y="300445"/>
                    <a:pt x="2540749" y="299866"/>
                  </a:cubicBezTo>
                  <a:cubicBezTo>
                    <a:pt x="2542806" y="299288"/>
                    <a:pt x="2540749" y="288293"/>
                    <a:pt x="2538884" y="287586"/>
                  </a:cubicBezTo>
                  <a:cubicBezTo>
                    <a:pt x="2537020" y="286879"/>
                    <a:pt x="2539720" y="283535"/>
                    <a:pt x="2543963" y="287007"/>
                  </a:cubicBezTo>
                  <a:close/>
                  <a:moveTo>
                    <a:pt x="640097" y="1429957"/>
                  </a:moveTo>
                  <a:cubicBezTo>
                    <a:pt x="636882" y="1434587"/>
                    <a:pt x="627688" y="1419992"/>
                    <a:pt x="626595" y="1410669"/>
                  </a:cubicBezTo>
                  <a:cubicBezTo>
                    <a:pt x="625502" y="1401347"/>
                    <a:pt x="631867" y="1397168"/>
                    <a:pt x="628010" y="1388617"/>
                  </a:cubicBezTo>
                  <a:cubicBezTo>
                    <a:pt x="624731" y="1381480"/>
                    <a:pt x="622738" y="1374601"/>
                    <a:pt x="625052" y="1372479"/>
                  </a:cubicBezTo>
                  <a:cubicBezTo>
                    <a:pt x="625547" y="1372029"/>
                    <a:pt x="626184" y="1371778"/>
                    <a:pt x="626852" y="1371772"/>
                  </a:cubicBezTo>
                  <a:cubicBezTo>
                    <a:pt x="631096" y="1371772"/>
                    <a:pt x="636046" y="1387717"/>
                    <a:pt x="635789" y="1396975"/>
                  </a:cubicBezTo>
                  <a:cubicBezTo>
                    <a:pt x="635847" y="1398441"/>
                    <a:pt x="635628" y="1399900"/>
                    <a:pt x="635146" y="1401282"/>
                  </a:cubicBezTo>
                  <a:cubicBezTo>
                    <a:pt x="632767" y="1407712"/>
                    <a:pt x="640097" y="1421599"/>
                    <a:pt x="640483" y="1427579"/>
                  </a:cubicBezTo>
                  <a:cubicBezTo>
                    <a:pt x="640643" y="1428395"/>
                    <a:pt x="640508" y="1429237"/>
                    <a:pt x="640097" y="1429957"/>
                  </a:cubicBezTo>
                  <a:close/>
                  <a:moveTo>
                    <a:pt x="336952" y="859608"/>
                  </a:moveTo>
                  <a:lnTo>
                    <a:pt x="337659" y="858965"/>
                  </a:lnTo>
                  <a:close/>
                  <a:moveTo>
                    <a:pt x="332130" y="863079"/>
                  </a:moveTo>
                  <a:lnTo>
                    <a:pt x="331744" y="863465"/>
                  </a:lnTo>
                  <a:close/>
                  <a:moveTo>
                    <a:pt x="331423" y="863787"/>
                  </a:moveTo>
                  <a:cubicBezTo>
                    <a:pt x="331300" y="863992"/>
                    <a:pt x="331197" y="864211"/>
                    <a:pt x="331101" y="864430"/>
                  </a:cubicBezTo>
                  <a:cubicBezTo>
                    <a:pt x="331197" y="864211"/>
                    <a:pt x="331300" y="863992"/>
                    <a:pt x="331423" y="863787"/>
                  </a:cubicBezTo>
                  <a:close/>
                  <a:moveTo>
                    <a:pt x="332644" y="862694"/>
                  </a:moveTo>
                  <a:lnTo>
                    <a:pt x="333094" y="862372"/>
                  </a:lnTo>
                  <a:close/>
                  <a:moveTo>
                    <a:pt x="647362" y="1192778"/>
                  </a:moveTo>
                  <a:lnTo>
                    <a:pt x="646462" y="1192328"/>
                  </a:lnTo>
                  <a:close/>
                  <a:moveTo>
                    <a:pt x="600428" y="1582848"/>
                  </a:moveTo>
                  <a:cubicBezTo>
                    <a:pt x="600363" y="1583163"/>
                    <a:pt x="600363" y="1583497"/>
                    <a:pt x="600428" y="1583812"/>
                  </a:cubicBezTo>
                  <a:cubicBezTo>
                    <a:pt x="600363" y="1583497"/>
                    <a:pt x="600363" y="1583163"/>
                    <a:pt x="600428" y="1582848"/>
                  </a:cubicBezTo>
                  <a:close/>
                  <a:moveTo>
                    <a:pt x="591619" y="1537135"/>
                  </a:moveTo>
                  <a:cubicBezTo>
                    <a:pt x="591433" y="1536923"/>
                    <a:pt x="591188" y="1536762"/>
                    <a:pt x="590912" y="1536685"/>
                  </a:cubicBezTo>
                  <a:lnTo>
                    <a:pt x="590912" y="1536685"/>
                  </a:lnTo>
                  <a:cubicBezTo>
                    <a:pt x="591201" y="1536730"/>
                    <a:pt x="591459" y="1536891"/>
                    <a:pt x="591619" y="1537135"/>
                  </a:cubicBezTo>
                  <a:close/>
                  <a:moveTo>
                    <a:pt x="580818" y="1352483"/>
                  </a:moveTo>
                  <a:cubicBezTo>
                    <a:pt x="577989" y="1347854"/>
                    <a:pt x="575160" y="1341682"/>
                    <a:pt x="571753" y="1339625"/>
                  </a:cubicBezTo>
                  <a:cubicBezTo>
                    <a:pt x="565709" y="1336346"/>
                    <a:pt x="563201" y="1294619"/>
                    <a:pt x="566223" y="1293590"/>
                  </a:cubicBezTo>
                  <a:cubicBezTo>
                    <a:pt x="566673" y="1293590"/>
                    <a:pt x="566995" y="1293912"/>
                    <a:pt x="567381" y="1294748"/>
                  </a:cubicBezTo>
                  <a:cubicBezTo>
                    <a:pt x="568750" y="1298946"/>
                    <a:pt x="569779" y="1303247"/>
                    <a:pt x="570467" y="1307606"/>
                  </a:cubicBezTo>
                  <a:cubicBezTo>
                    <a:pt x="572396" y="1316993"/>
                    <a:pt x="574646" y="1328180"/>
                    <a:pt x="578118" y="1331267"/>
                  </a:cubicBezTo>
                  <a:cubicBezTo>
                    <a:pt x="584547" y="1337053"/>
                    <a:pt x="583325" y="1343675"/>
                    <a:pt x="584547" y="1347533"/>
                  </a:cubicBezTo>
                  <a:cubicBezTo>
                    <a:pt x="585769" y="1351390"/>
                    <a:pt x="591426" y="1355827"/>
                    <a:pt x="587569" y="1357498"/>
                  </a:cubicBezTo>
                  <a:cubicBezTo>
                    <a:pt x="585254" y="1358784"/>
                    <a:pt x="583068" y="1356148"/>
                    <a:pt x="580818" y="1352483"/>
                  </a:cubicBezTo>
                  <a:close/>
                  <a:moveTo>
                    <a:pt x="389158" y="1223896"/>
                  </a:moveTo>
                  <a:lnTo>
                    <a:pt x="389158" y="1223896"/>
                  </a:lnTo>
                  <a:close/>
                  <a:moveTo>
                    <a:pt x="402017" y="1151951"/>
                  </a:moveTo>
                  <a:cubicBezTo>
                    <a:pt x="402017" y="1152594"/>
                    <a:pt x="402467" y="1153173"/>
                    <a:pt x="402724" y="1153687"/>
                  </a:cubicBezTo>
                  <a:cubicBezTo>
                    <a:pt x="402596" y="1153430"/>
                    <a:pt x="402403" y="1152851"/>
                    <a:pt x="402146" y="1152208"/>
                  </a:cubicBezTo>
                  <a:close/>
                  <a:moveTo>
                    <a:pt x="400603" y="1147837"/>
                  </a:moveTo>
                  <a:cubicBezTo>
                    <a:pt x="400603" y="1148929"/>
                    <a:pt x="401245" y="1149894"/>
                    <a:pt x="401631" y="1150923"/>
                  </a:cubicBezTo>
                  <a:cubicBezTo>
                    <a:pt x="401374" y="1150151"/>
                    <a:pt x="401053" y="1149187"/>
                    <a:pt x="400731" y="1148094"/>
                  </a:cubicBezTo>
                  <a:close/>
                  <a:moveTo>
                    <a:pt x="403946" y="1156195"/>
                  </a:moveTo>
                  <a:cubicBezTo>
                    <a:pt x="403663" y="1155719"/>
                    <a:pt x="403406" y="1155224"/>
                    <a:pt x="403174" y="1154716"/>
                  </a:cubicBezTo>
                  <a:cubicBezTo>
                    <a:pt x="403438" y="1155314"/>
                    <a:pt x="403740" y="1155893"/>
                    <a:pt x="404074" y="1156452"/>
                  </a:cubicBezTo>
                  <a:close/>
                  <a:moveTo>
                    <a:pt x="388323" y="1223896"/>
                  </a:moveTo>
                  <a:lnTo>
                    <a:pt x="388323" y="1223896"/>
                  </a:lnTo>
                  <a:close/>
                  <a:moveTo>
                    <a:pt x="385043" y="1223896"/>
                  </a:moveTo>
                  <a:lnTo>
                    <a:pt x="385043" y="1223896"/>
                  </a:lnTo>
                  <a:close/>
                  <a:moveTo>
                    <a:pt x="390380" y="1223896"/>
                  </a:moveTo>
                  <a:lnTo>
                    <a:pt x="391344" y="1223896"/>
                  </a:lnTo>
                  <a:close/>
                  <a:moveTo>
                    <a:pt x="498522" y="1123405"/>
                  </a:moveTo>
                  <a:lnTo>
                    <a:pt x="498522" y="1123791"/>
                  </a:lnTo>
                  <a:close/>
                  <a:moveTo>
                    <a:pt x="497365" y="1121733"/>
                  </a:moveTo>
                  <a:lnTo>
                    <a:pt x="497686" y="1122119"/>
                  </a:lnTo>
                  <a:close/>
                  <a:moveTo>
                    <a:pt x="496015" y="1119933"/>
                  </a:moveTo>
                  <a:lnTo>
                    <a:pt x="496015" y="1119933"/>
                  </a:lnTo>
                  <a:close/>
                  <a:moveTo>
                    <a:pt x="583776" y="1281182"/>
                  </a:moveTo>
                  <a:lnTo>
                    <a:pt x="583776" y="1281182"/>
                  </a:lnTo>
                  <a:close/>
                  <a:moveTo>
                    <a:pt x="585319" y="1280732"/>
                  </a:moveTo>
                  <a:cubicBezTo>
                    <a:pt x="585511" y="1280764"/>
                    <a:pt x="585704" y="1280764"/>
                    <a:pt x="585897" y="1280732"/>
                  </a:cubicBezTo>
                  <a:cubicBezTo>
                    <a:pt x="585859" y="1280796"/>
                    <a:pt x="585814" y="1280860"/>
                    <a:pt x="585769" y="1280925"/>
                  </a:cubicBezTo>
                  <a:close/>
                  <a:moveTo>
                    <a:pt x="582168" y="1281503"/>
                  </a:moveTo>
                  <a:lnTo>
                    <a:pt x="582168" y="1281503"/>
                  </a:lnTo>
                  <a:close/>
                  <a:moveTo>
                    <a:pt x="577539" y="1267166"/>
                  </a:moveTo>
                  <a:lnTo>
                    <a:pt x="578375" y="1266844"/>
                  </a:lnTo>
                  <a:close/>
                  <a:moveTo>
                    <a:pt x="586540" y="1280025"/>
                  </a:moveTo>
                  <a:cubicBezTo>
                    <a:pt x="586817" y="1279761"/>
                    <a:pt x="587016" y="1279426"/>
                    <a:pt x="587119" y="1279060"/>
                  </a:cubicBezTo>
                  <a:cubicBezTo>
                    <a:pt x="587093" y="1279504"/>
                    <a:pt x="586939" y="1279928"/>
                    <a:pt x="586669" y="1280282"/>
                  </a:cubicBezTo>
                  <a:close/>
                  <a:moveTo>
                    <a:pt x="579275" y="1266523"/>
                  </a:moveTo>
                  <a:lnTo>
                    <a:pt x="580432" y="1266137"/>
                  </a:lnTo>
                  <a:close/>
                  <a:moveTo>
                    <a:pt x="581268" y="1265880"/>
                  </a:moveTo>
                  <a:lnTo>
                    <a:pt x="582618" y="1265494"/>
                  </a:lnTo>
                  <a:close/>
                  <a:moveTo>
                    <a:pt x="544556" y="1186156"/>
                  </a:moveTo>
                  <a:lnTo>
                    <a:pt x="541534" y="1178505"/>
                  </a:lnTo>
                  <a:lnTo>
                    <a:pt x="544363" y="1185641"/>
                  </a:lnTo>
                  <a:close/>
                  <a:moveTo>
                    <a:pt x="412754" y="1217595"/>
                  </a:moveTo>
                  <a:cubicBezTo>
                    <a:pt x="412754" y="1217917"/>
                    <a:pt x="412240" y="1218367"/>
                    <a:pt x="411983" y="1218753"/>
                  </a:cubicBezTo>
                  <a:lnTo>
                    <a:pt x="411983" y="1218753"/>
                  </a:lnTo>
                  <a:cubicBezTo>
                    <a:pt x="412253" y="1218425"/>
                    <a:pt x="412555" y="1218122"/>
                    <a:pt x="412883" y="1217852"/>
                  </a:cubicBezTo>
                  <a:close/>
                  <a:moveTo>
                    <a:pt x="404267" y="1156838"/>
                  </a:moveTo>
                  <a:lnTo>
                    <a:pt x="404267" y="1156838"/>
                  </a:lnTo>
                  <a:cubicBezTo>
                    <a:pt x="404550" y="1157345"/>
                    <a:pt x="404923" y="1157802"/>
                    <a:pt x="405360" y="1158188"/>
                  </a:cubicBezTo>
                  <a:cubicBezTo>
                    <a:pt x="404994" y="1157866"/>
                    <a:pt x="404672" y="1157500"/>
                    <a:pt x="404396" y="1157095"/>
                  </a:cubicBezTo>
                  <a:close/>
                  <a:moveTo>
                    <a:pt x="388130" y="1086758"/>
                  </a:moveTo>
                  <a:cubicBezTo>
                    <a:pt x="387937" y="1086796"/>
                    <a:pt x="387744" y="1086796"/>
                    <a:pt x="387551" y="1086758"/>
                  </a:cubicBezTo>
                  <a:cubicBezTo>
                    <a:pt x="387956" y="1086950"/>
                    <a:pt x="388393" y="1087060"/>
                    <a:pt x="388837" y="1087079"/>
                  </a:cubicBezTo>
                  <a:close/>
                  <a:moveTo>
                    <a:pt x="386072" y="1085664"/>
                  </a:moveTo>
                  <a:lnTo>
                    <a:pt x="386458" y="1086050"/>
                  </a:lnTo>
                  <a:close/>
                  <a:moveTo>
                    <a:pt x="381893" y="1223896"/>
                  </a:moveTo>
                  <a:lnTo>
                    <a:pt x="376814" y="1223896"/>
                  </a:lnTo>
                  <a:lnTo>
                    <a:pt x="372699" y="1223896"/>
                  </a:lnTo>
                  <a:close/>
                  <a:moveTo>
                    <a:pt x="384208" y="1223896"/>
                  </a:moveTo>
                  <a:lnTo>
                    <a:pt x="384208" y="1223896"/>
                  </a:lnTo>
                  <a:close/>
                  <a:moveTo>
                    <a:pt x="490871" y="1476442"/>
                  </a:moveTo>
                  <a:lnTo>
                    <a:pt x="490871" y="1476442"/>
                  </a:lnTo>
                  <a:close/>
                  <a:moveTo>
                    <a:pt x="495886" y="1475477"/>
                  </a:moveTo>
                  <a:lnTo>
                    <a:pt x="495886" y="1475477"/>
                  </a:lnTo>
                  <a:close/>
                  <a:moveTo>
                    <a:pt x="494150" y="1475477"/>
                  </a:moveTo>
                  <a:lnTo>
                    <a:pt x="494150" y="1475477"/>
                  </a:lnTo>
                  <a:close/>
                  <a:moveTo>
                    <a:pt x="503280" y="1474127"/>
                  </a:moveTo>
                  <a:lnTo>
                    <a:pt x="503280" y="1474127"/>
                  </a:lnTo>
                  <a:close/>
                  <a:moveTo>
                    <a:pt x="505401" y="1474127"/>
                  </a:moveTo>
                  <a:lnTo>
                    <a:pt x="504373" y="1474127"/>
                  </a:lnTo>
                  <a:close/>
                  <a:moveTo>
                    <a:pt x="507459" y="1474127"/>
                  </a:moveTo>
                  <a:lnTo>
                    <a:pt x="506366" y="1474127"/>
                  </a:lnTo>
                  <a:close/>
                  <a:moveTo>
                    <a:pt x="509645" y="1474127"/>
                  </a:moveTo>
                  <a:lnTo>
                    <a:pt x="509645" y="1474127"/>
                  </a:lnTo>
                  <a:close/>
                  <a:moveTo>
                    <a:pt x="515367" y="1475349"/>
                  </a:moveTo>
                  <a:cubicBezTo>
                    <a:pt x="515438" y="1475207"/>
                    <a:pt x="515438" y="1475040"/>
                    <a:pt x="515367" y="1474899"/>
                  </a:cubicBezTo>
                  <a:cubicBezTo>
                    <a:pt x="515380" y="1474963"/>
                    <a:pt x="515380" y="1475027"/>
                    <a:pt x="515367" y="1475092"/>
                  </a:cubicBezTo>
                  <a:close/>
                  <a:moveTo>
                    <a:pt x="514981" y="1474770"/>
                  </a:moveTo>
                  <a:lnTo>
                    <a:pt x="514531" y="1474770"/>
                  </a:lnTo>
                  <a:close/>
                  <a:moveTo>
                    <a:pt x="514145" y="1474449"/>
                  </a:moveTo>
                  <a:lnTo>
                    <a:pt x="513502" y="1474449"/>
                  </a:lnTo>
                  <a:close/>
                  <a:moveTo>
                    <a:pt x="513052" y="1474449"/>
                  </a:moveTo>
                  <a:lnTo>
                    <a:pt x="513052" y="1474449"/>
                  </a:lnTo>
                  <a:close/>
                  <a:moveTo>
                    <a:pt x="511702" y="1474449"/>
                  </a:moveTo>
                  <a:lnTo>
                    <a:pt x="511702" y="1474449"/>
                  </a:lnTo>
                  <a:close/>
                  <a:moveTo>
                    <a:pt x="565130" y="1532313"/>
                  </a:moveTo>
                  <a:cubicBezTo>
                    <a:pt x="565130" y="1530320"/>
                    <a:pt x="564487" y="1527555"/>
                    <a:pt x="558701" y="1527105"/>
                  </a:cubicBezTo>
                  <a:cubicBezTo>
                    <a:pt x="564166" y="1527555"/>
                    <a:pt x="565130" y="1530320"/>
                    <a:pt x="565130" y="1532249"/>
                  </a:cubicBezTo>
                  <a:lnTo>
                    <a:pt x="565130" y="1532249"/>
                  </a:lnTo>
                  <a:lnTo>
                    <a:pt x="565130" y="1532249"/>
                  </a:lnTo>
                  <a:close/>
                  <a:moveTo>
                    <a:pt x="579339" y="1440695"/>
                  </a:moveTo>
                  <a:lnTo>
                    <a:pt x="581461" y="1439923"/>
                  </a:lnTo>
                  <a:close/>
                  <a:moveTo>
                    <a:pt x="617465" y="1373829"/>
                  </a:moveTo>
                  <a:cubicBezTo>
                    <a:pt x="617465" y="1373829"/>
                    <a:pt x="617465" y="1373829"/>
                    <a:pt x="617465" y="1373829"/>
                  </a:cubicBezTo>
                  <a:cubicBezTo>
                    <a:pt x="617465" y="1373829"/>
                    <a:pt x="617337" y="1373958"/>
                    <a:pt x="617337" y="1373572"/>
                  </a:cubicBezTo>
                  <a:close/>
                  <a:moveTo>
                    <a:pt x="618173" y="1375244"/>
                  </a:moveTo>
                  <a:cubicBezTo>
                    <a:pt x="618295" y="1375449"/>
                    <a:pt x="618398" y="1375668"/>
                    <a:pt x="618494" y="1375886"/>
                  </a:cubicBezTo>
                  <a:cubicBezTo>
                    <a:pt x="618314" y="1375661"/>
                    <a:pt x="618121" y="1375443"/>
                    <a:pt x="617915" y="1375244"/>
                  </a:cubicBezTo>
                  <a:close/>
                  <a:moveTo>
                    <a:pt x="619009" y="1376979"/>
                  </a:moveTo>
                  <a:lnTo>
                    <a:pt x="619394" y="1377751"/>
                  </a:lnTo>
                  <a:close/>
                  <a:moveTo>
                    <a:pt x="620552" y="1380580"/>
                  </a:moveTo>
                  <a:cubicBezTo>
                    <a:pt x="620680" y="1380876"/>
                    <a:pt x="620783" y="1381171"/>
                    <a:pt x="620873" y="1381480"/>
                  </a:cubicBezTo>
                  <a:cubicBezTo>
                    <a:pt x="620744" y="1381171"/>
                    <a:pt x="620590" y="1380869"/>
                    <a:pt x="620423" y="1380580"/>
                  </a:cubicBezTo>
                  <a:close/>
                  <a:moveTo>
                    <a:pt x="619844" y="1378780"/>
                  </a:moveTo>
                  <a:cubicBezTo>
                    <a:pt x="619992" y="1379063"/>
                    <a:pt x="620095" y="1379365"/>
                    <a:pt x="620166" y="1379680"/>
                  </a:cubicBezTo>
                  <a:cubicBezTo>
                    <a:pt x="620057" y="1379358"/>
                    <a:pt x="619909" y="1379056"/>
                    <a:pt x="619716" y="1378780"/>
                  </a:cubicBezTo>
                  <a:close/>
                  <a:moveTo>
                    <a:pt x="621452" y="1383216"/>
                  </a:moveTo>
                  <a:lnTo>
                    <a:pt x="621452" y="1382252"/>
                  </a:lnTo>
                  <a:close/>
                  <a:moveTo>
                    <a:pt x="589305" y="1437030"/>
                  </a:moveTo>
                  <a:lnTo>
                    <a:pt x="588726" y="1437030"/>
                  </a:lnTo>
                  <a:close/>
                  <a:moveTo>
                    <a:pt x="583968" y="1439023"/>
                  </a:moveTo>
                  <a:lnTo>
                    <a:pt x="583325" y="1439023"/>
                  </a:lnTo>
                  <a:close/>
                  <a:moveTo>
                    <a:pt x="583968" y="1265430"/>
                  </a:moveTo>
                  <a:lnTo>
                    <a:pt x="589690" y="1263887"/>
                  </a:lnTo>
                  <a:close/>
                  <a:moveTo>
                    <a:pt x="592648" y="1205186"/>
                  </a:moveTo>
                  <a:lnTo>
                    <a:pt x="592648" y="1205186"/>
                  </a:lnTo>
                  <a:close/>
                  <a:moveTo>
                    <a:pt x="593998" y="1204736"/>
                  </a:moveTo>
                  <a:lnTo>
                    <a:pt x="594448" y="1204736"/>
                  </a:lnTo>
                  <a:close/>
                  <a:moveTo>
                    <a:pt x="595413" y="1204351"/>
                  </a:moveTo>
                  <a:lnTo>
                    <a:pt x="596120" y="1204351"/>
                  </a:lnTo>
                  <a:close/>
                  <a:moveTo>
                    <a:pt x="596763" y="1204029"/>
                  </a:moveTo>
                  <a:lnTo>
                    <a:pt x="597920" y="1204029"/>
                  </a:lnTo>
                  <a:close/>
                  <a:moveTo>
                    <a:pt x="379578" y="1079235"/>
                  </a:moveTo>
                  <a:cubicBezTo>
                    <a:pt x="379958" y="1079119"/>
                    <a:pt x="380356" y="1079119"/>
                    <a:pt x="380736" y="1079235"/>
                  </a:cubicBezTo>
                  <a:cubicBezTo>
                    <a:pt x="380177" y="1079042"/>
                    <a:pt x="379559" y="1079113"/>
                    <a:pt x="379064" y="1079428"/>
                  </a:cubicBezTo>
                  <a:close/>
                  <a:moveTo>
                    <a:pt x="373599" y="953605"/>
                  </a:moveTo>
                  <a:lnTo>
                    <a:pt x="375078" y="953927"/>
                  </a:lnTo>
                  <a:close/>
                  <a:moveTo>
                    <a:pt x="376493" y="954248"/>
                  </a:moveTo>
                  <a:lnTo>
                    <a:pt x="378164" y="954698"/>
                  </a:lnTo>
                  <a:close/>
                  <a:moveTo>
                    <a:pt x="370642" y="953155"/>
                  </a:moveTo>
                  <a:lnTo>
                    <a:pt x="371992" y="953155"/>
                  </a:lnTo>
                  <a:close/>
                  <a:moveTo>
                    <a:pt x="367941" y="953155"/>
                  </a:moveTo>
                  <a:lnTo>
                    <a:pt x="369034" y="953155"/>
                  </a:lnTo>
                  <a:close/>
                  <a:moveTo>
                    <a:pt x="370577" y="1224025"/>
                  </a:moveTo>
                  <a:lnTo>
                    <a:pt x="370577" y="1224025"/>
                  </a:lnTo>
                  <a:close/>
                  <a:moveTo>
                    <a:pt x="582297" y="1535785"/>
                  </a:moveTo>
                  <a:lnTo>
                    <a:pt x="582297" y="1535785"/>
                  </a:lnTo>
                  <a:close/>
                  <a:moveTo>
                    <a:pt x="590333" y="1536621"/>
                  </a:moveTo>
                  <a:lnTo>
                    <a:pt x="589755" y="1536621"/>
                  </a:lnTo>
                  <a:close/>
                  <a:moveTo>
                    <a:pt x="588469" y="1536299"/>
                  </a:moveTo>
                  <a:lnTo>
                    <a:pt x="588469" y="1536299"/>
                  </a:lnTo>
                  <a:close/>
                  <a:moveTo>
                    <a:pt x="621709" y="1383987"/>
                  </a:moveTo>
                  <a:cubicBezTo>
                    <a:pt x="621734" y="1384373"/>
                    <a:pt x="621734" y="1384759"/>
                    <a:pt x="621709" y="1385145"/>
                  </a:cubicBezTo>
                  <a:cubicBezTo>
                    <a:pt x="621664" y="1384669"/>
                    <a:pt x="621574" y="1384193"/>
                    <a:pt x="621452" y="1383730"/>
                  </a:cubicBezTo>
                  <a:close/>
                  <a:moveTo>
                    <a:pt x="619137" y="1275845"/>
                  </a:moveTo>
                  <a:cubicBezTo>
                    <a:pt x="615537" y="1277517"/>
                    <a:pt x="624088" y="1282725"/>
                    <a:pt x="619973" y="1283561"/>
                  </a:cubicBezTo>
                  <a:cubicBezTo>
                    <a:pt x="615858" y="1284396"/>
                    <a:pt x="606471" y="1279703"/>
                    <a:pt x="599849" y="1282468"/>
                  </a:cubicBezTo>
                  <a:cubicBezTo>
                    <a:pt x="595413" y="1284332"/>
                    <a:pt x="596313" y="1273209"/>
                    <a:pt x="599849" y="1263179"/>
                  </a:cubicBezTo>
                  <a:cubicBezTo>
                    <a:pt x="602163" y="1256750"/>
                    <a:pt x="605571" y="1250835"/>
                    <a:pt x="609300" y="1249678"/>
                  </a:cubicBezTo>
                  <a:cubicBezTo>
                    <a:pt x="614784" y="1248482"/>
                    <a:pt x="620474" y="1248636"/>
                    <a:pt x="625888" y="1250128"/>
                  </a:cubicBezTo>
                  <a:cubicBezTo>
                    <a:pt x="630710" y="1251349"/>
                    <a:pt x="634375" y="1253214"/>
                    <a:pt x="634053" y="1254693"/>
                  </a:cubicBezTo>
                  <a:cubicBezTo>
                    <a:pt x="633539" y="1257715"/>
                    <a:pt x="625245" y="1256300"/>
                    <a:pt x="625245" y="1262665"/>
                  </a:cubicBezTo>
                  <a:cubicBezTo>
                    <a:pt x="625277" y="1263070"/>
                    <a:pt x="625277" y="1263482"/>
                    <a:pt x="625245" y="1263887"/>
                  </a:cubicBezTo>
                  <a:cubicBezTo>
                    <a:pt x="625464" y="1268670"/>
                    <a:pt x="623014" y="1273177"/>
                    <a:pt x="618880" y="1275588"/>
                  </a:cubicBezTo>
                  <a:close/>
                  <a:moveTo>
                    <a:pt x="648326" y="1193549"/>
                  </a:moveTo>
                  <a:lnTo>
                    <a:pt x="650448" y="1194385"/>
                  </a:lnTo>
                  <a:close/>
                  <a:moveTo>
                    <a:pt x="409990" y="953026"/>
                  </a:moveTo>
                  <a:lnTo>
                    <a:pt x="398867" y="959070"/>
                  </a:lnTo>
                  <a:lnTo>
                    <a:pt x="389030" y="964406"/>
                  </a:lnTo>
                  <a:close/>
                  <a:moveTo>
                    <a:pt x="378936" y="955405"/>
                  </a:moveTo>
                  <a:cubicBezTo>
                    <a:pt x="379713" y="955707"/>
                    <a:pt x="380466" y="956067"/>
                    <a:pt x="381186" y="956498"/>
                  </a:cubicBezTo>
                  <a:cubicBezTo>
                    <a:pt x="380479" y="955958"/>
                    <a:pt x="379726" y="955489"/>
                    <a:pt x="378936" y="955084"/>
                  </a:cubicBezTo>
                  <a:close/>
                  <a:moveTo>
                    <a:pt x="363119" y="953026"/>
                  </a:moveTo>
                  <a:lnTo>
                    <a:pt x="363119" y="953026"/>
                  </a:lnTo>
                  <a:close/>
                  <a:moveTo>
                    <a:pt x="366205" y="953026"/>
                  </a:moveTo>
                  <a:lnTo>
                    <a:pt x="366205" y="953026"/>
                  </a:lnTo>
                  <a:close/>
                  <a:moveTo>
                    <a:pt x="364212" y="953026"/>
                  </a:moveTo>
                  <a:lnTo>
                    <a:pt x="364212" y="953026"/>
                  </a:lnTo>
                  <a:close/>
                  <a:moveTo>
                    <a:pt x="338109" y="858836"/>
                  </a:moveTo>
                  <a:cubicBezTo>
                    <a:pt x="338450" y="858463"/>
                    <a:pt x="338752" y="858052"/>
                    <a:pt x="339009" y="857614"/>
                  </a:cubicBezTo>
                  <a:cubicBezTo>
                    <a:pt x="338733" y="857942"/>
                    <a:pt x="338437" y="858238"/>
                    <a:pt x="338109" y="858515"/>
                  </a:cubicBezTo>
                  <a:close/>
                  <a:moveTo>
                    <a:pt x="336180" y="860508"/>
                  </a:moveTo>
                  <a:lnTo>
                    <a:pt x="335602" y="860958"/>
                  </a:lnTo>
                  <a:close/>
                  <a:moveTo>
                    <a:pt x="222766" y="1114404"/>
                  </a:moveTo>
                  <a:lnTo>
                    <a:pt x="222766" y="1114404"/>
                  </a:lnTo>
                  <a:cubicBezTo>
                    <a:pt x="223467" y="1114507"/>
                    <a:pt x="224187" y="1114507"/>
                    <a:pt x="224888" y="1114404"/>
                  </a:cubicBezTo>
                  <a:cubicBezTo>
                    <a:pt x="224168" y="1114416"/>
                    <a:pt x="223448" y="1114307"/>
                    <a:pt x="222766" y="1114082"/>
                  </a:cubicBezTo>
                  <a:close/>
                  <a:moveTo>
                    <a:pt x="249705" y="1096659"/>
                  </a:moveTo>
                  <a:cubicBezTo>
                    <a:pt x="249281" y="1096569"/>
                    <a:pt x="248844" y="1096569"/>
                    <a:pt x="248419" y="1096659"/>
                  </a:cubicBezTo>
                  <a:cubicBezTo>
                    <a:pt x="248818" y="1096459"/>
                    <a:pt x="249262" y="1096350"/>
                    <a:pt x="249705" y="1096337"/>
                  </a:cubicBezTo>
                  <a:close/>
                  <a:moveTo>
                    <a:pt x="218330" y="977972"/>
                  </a:moveTo>
                  <a:lnTo>
                    <a:pt x="218716" y="978294"/>
                  </a:lnTo>
                  <a:close/>
                  <a:moveTo>
                    <a:pt x="220451" y="979451"/>
                  </a:moveTo>
                  <a:lnTo>
                    <a:pt x="221866" y="980416"/>
                  </a:lnTo>
                  <a:close/>
                  <a:moveTo>
                    <a:pt x="223023" y="981251"/>
                  </a:moveTo>
                  <a:lnTo>
                    <a:pt x="224373" y="982151"/>
                  </a:lnTo>
                  <a:close/>
                  <a:moveTo>
                    <a:pt x="115267" y="1124112"/>
                  </a:moveTo>
                  <a:lnTo>
                    <a:pt x="115267" y="1124112"/>
                  </a:lnTo>
                  <a:close/>
                  <a:moveTo>
                    <a:pt x="114367" y="1124498"/>
                  </a:moveTo>
                  <a:lnTo>
                    <a:pt x="114367" y="1124498"/>
                  </a:lnTo>
                  <a:close/>
                  <a:moveTo>
                    <a:pt x="107937" y="1160631"/>
                  </a:moveTo>
                  <a:lnTo>
                    <a:pt x="107937" y="1160631"/>
                  </a:lnTo>
                  <a:close/>
                  <a:moveTo>
                    <a:pt x="107937" y="1159216"/>
                  </a:moveTo>
                  <a:lnTo>
                    <a:pt x="107937" y="1159216"/>
                  </a:lnTo>
                  <a:close/>
                  <a:moveTo>
                    <a:pt x="69940" y="1096402"/>
                  </a:moveTo>
                  <a:cubicBezTo>
                    <a:pt x="69940" y="1095308"/>
                    <a:pt x="69940" y="1093958"/>
                    <a:pt x="69940" y="1092672"/>
                  </a:cubicBezTo>
                  <a:cubicBezTo>
                    <a:pt x="70583" y="1093958"/>
                    <a:pt x="70518" y="1095308"/>
                    <a:pt x="70518" y="1096402"/>
                  </a:cubicBezTo>
                  <a:close/>
                  <a:moveTo>
                    <a:pt x="58560" y="1066955"/>
                  </a:moveTo>
                  <a:lnTo>
                    <a:pt x="58560" y="1066955"/>
                  </a:lnTo>
                  <a:close/>
                  <a:moveTo>
                    <a:pt x="70518" y="1090229"/>
                  </a:moveTo>
                  <a:cubicBezTo>
                    <a:pt x="70564" y="1089799"/>
                    <a:pt x="70564" y="1089368"/>
                    <a:pt x="70518" y="1088943"/>
                  </a:cubicBezTo>
                  <a:cubicBezTo>
                    <a:pt x="70564" y="1089368"/>
                    <a:pt x="70564" y="1089799"/>
                    <a:pt x="70518" y="1090229"/>
                  </a:cubicBezTo>
                  <a:close/>
                  <a:moveTo>
                    <a:pt x="70518" y="1092094"/>
                  </a:moveTo>
                  <a:cubicBezTo>
                    <a:pt x="70557" y="1091663"/>
                    <a:pt x="70557" y="1091239"/>
                    <a:pt x="70518" y="1090808"/>
                  </a:cubicBezTo>
                  <a:cubicBezTo>
                    <a:pt x="70576" y="1091232"/>
                    <a:pt x="70596" y="1091663"/>
                    <a:pt x="70583" y="1092094"/>
                  </a:cubicBezTo>
                  <a:close/>
                  <a:moveTo>
                    <a:pt x="70518" y="1097366"/>
                  </a:moveTo>
                  <a:cubicBezTo>
                    <a:pt x="70518" y="1098266"/>
                    <a:pt x="70518" y="1098909"/>
                    <a:pt x="70518" y="1098909"/>
                  </a:cubicBezTo>
                  <a:cubicBezTo>
                    <a:pt x="70518" y="1098909"/>
                    <a:pt x="70454" y="1098202"/>
                    <a:pt x="70454" y="1097109"/>
                  </a:cubicBezTo>
                  <a:close/>
                  <a:moveTo>
                    <a:pt x="57660" y="1065219"/>
                  </a:moveTo>
                  <a:lnTo>
                    <a:pt x="57660" y="1064897"/>
                  </a:lnTo>
                  <a:close/>
                  <a:moveTo>
                    <a:pt x="56567" y="1063676"/>
                  </a:moveTo>
                  <a:lnTo>
                    <a:pt x="56181" y="1063226"/>
                  </a:lnTo>
                  <a:close/>
                  <a:moveTo>
                    <a:pt x="55024" y="1062197"/>
                  </a:moveTo>
                  <a:lnTo>
                    <a:pt x="54574" y="1061812"/>
                  </a:lnTo>
                  <a:close/>
                  <a:moveTo>
                    <a:pt x="82670" y="1147579"/>
                  </a:moveTo>
                  <a:cubicBezTo>
                    <a:pt x="82670" y="1147579"/>
                    <a:pt x="82670" y="1147901"/>
                    <a:pt x="82670" y="1148094"/>
                  </a:cubicBezTo>
                  <a:cubicBezTo>
                    <a:pt x="82606" y="1147618"/>
                    <a:pt x="82458" y="1147161"/>
                    <a:pt x="82220" y="1146743"/>
                  </a:cubicBezTo>
                  <a:cubicBezTo>
                    <a:pt x="82471" y="1147039"/>
                    <a:pt x="82644" y="1147393"/>
                    <a:pt x="82734" y="1147772"/>
                  </a:cubicBezTo>
                  <a:close/>
                  <a:moveTo>
                    <a:pt x="111795" y="1155294"/>
                  </a:moveTo>
                  <a:lnTo>
                    <a:pt x="110959" y="1156130"/>
                  </a:lnTo>
                  <a:close/>
                  <a:moveTo>
                    <a:pt x="107680" y="904227"/>
                  </a:moveTo>
                  <a:lnTo>
                    <a:pt x="107680" y="904227"/>
                  </a:lnTo>
                  <a:close/>
                  <a:moveTo>
                    <a:pt x="108966" y="905063"/>
                  </a:moveTo>
                  <a:lnTo>
                    <a:pt x="109416" y="905063"/>
                  </a:lnTo>
                  <a:close/>
                  <a:moveTo>
                    <a:pt x="111088" y="906349"/>
                  </a:moveTo>
                  <a:lnTo>
                    <a:pt x="111088" y="906349"/>
                  </a:lnTo>
                  <a:close/>
                  <a:moveTo>
                    <a:pt x="116489" y="909885"/>
                  </a:moveTo>
                  <a:lnTo>
                    <a:pt x="116810" y="909885"/>
                  </a:lnTo>
                  <a:close/>
                  <a:moveTo>
                    <a:pt x="119703" y="911943"/>
                  </a:moveTo>
                  <a:lnTo>
                    <a:pt x="120218" y="912329"/>
                  </a:lnTo>
                  <a:close/>
                  <a:moveTo>
                    <a:pt x="123175" y="914257"/>
                  </a:moveTo>
                  <a:lnTo>
                    <a:pt x="123947" y="914772"/>
                  </a:lnTo>
                  <a:close/>
                  <a:moveTo>
                    <a:pt x="127676" y="917215"/>
                  </a:moveTo>
                  <a:lnTo>
                    <a:pt x="128061" y="917215"/>
                  </a:lnTo>
                  <a:close/>
                  <a:moveTo>
                    <a:pt x="143749" y="1121219"/>
                  </a:moveTo>
                  <a:lnTo>
                    <a:pt x="143749" y="1121219"/>
                  </a:lnTo>
                  <a:close/>
                  <a:moveTo>
                    <a:pt x="148957" y="1124241"/>
                  </a:moveTo>
                  <a:lnTo>
                    <a:pt x="148957" y="1124241"/>
                  </a:lnTo>
                  <a:close/>
                  <a:moveTo>
                    <a:pt x="176860" y="1129577"/>
                  </a:moveTo>
                  <a:cubicBezTo>
                    <a:pt x="176340" y="1129339"/>
                    <a:pt x="175877" y="1128986"/>
                    <a:pt x="175510" y="1128548"/>
                  </a:cubicBezTo>
                  <a:cubicBezTo>
                    <a:pt x="175870" y="1129011"/>
                    <a:pt x="176333" y="1129384"/>
                    <a:pt x="176860" y="1129641"/>
                  </a:cubicBezTo>
                  <a:close/>
                  <a:moveTo>
                    <a:pt x="177310" y="1129577"/>
                  </a:moveTo>
                  <a:lnTo>
                    <a:pt x="177889" y="1129577"/>
                  </a:lnTo>
                  <a:lnTo>
                    <a:pt x="177889" y="1129577"/>
                  </a:lnTo>
                  <a:close/>
                  <a:moveTo>
                    <a:pt x="178725" y="1129127"/>
                  </a:moveTo>
                  <a:lnTo>
                    <a:pt x="178725" y="1129127"/>
                  </a:lnTo>
                  <a:close/>
                  <a:moveTo>
                    <a:pt x="213443" y="1063933"/>
                  </a:moveTo>
                  <a:lnTo>
                    <a:pt x="212093" y="1063933"/>
                  </a:lnTo>
                  <a:close/>
                  <a:moveTo>
                    <a:pt x="211129" y="1063933"/>
                  </a:moveTo>
                  <a:lnTo>
                    <a:pt x="209522" y="1063547"/>
                  </a:lnTo>
                  <a:close/>
                  <a:moveTo>
                    <a:pt x="209329" y="1063483"/>
                  </a:moveTo>
                  <a:cubicBezTo>
                    <a:pt x="208898" y="1063399"/>
                    <a:pt x="208499" y="1063200"/>
                    <a:pt x="208171" y="1062904"/>
                  </a:cubicBezTo>
                  <a:cubicBezTo>
                    <a:pt x="208506" y="1063174"/>
                    <a:pt x="208904" y="1063354"/>
                    <a:pt x="209329" y="1063419"/>
                  </a:cubicBezTo>
                  <a:close/>
                  <a:moveTo>
                    <a:pt x="217558" y="1113247"/>
                  </a:moveTo>
                  <a:lnTo>
                    <a:pt x="216272" y="1113247"/>
                  </a:lnTo>
                  <a:close/>
                  <a:moveTo>
                    <a:pt x="221545" y="1113954"/>
                  </a:moveTo>
                  <a:lnTo>
                    <a:pt x="219937" y="1113954"/>
                  </a:lnTo>
                  <a:close/>
                  <a:moveTo>
                    <a:pt x="245205" y="1099809"/>
                  </a:moveTo>
                  <a:lnTo>
                    <a:pt x="245205" y="1099809"/>
                  </a:lnTo>
                  <a:close/>
                  <a:moveTo>
                    <a:pt x="246105" y="1097430"/>
                  </a:moveTo>
                  <a:lnTo>
                    <a:pt x="246105" y="1097430"/>
                  </a:lnTo>
                  <a:close/>
                  <a:moveTo>
                    <a:pt x="245526" y="1098523"/>
                  </a:moveTo>
                  <a:cubicBezTo>
                    <a:pt x="245526" y="1098523"/>
                    <a:pt x="245526" y="1098523"/>
                    <a:pt x="245526" y="1098523"/>
                  </a:cubicBezTo>
                  <a:cubicBezTo>
                    <a:pt x="245526" y="1098523"/>
                    <a:pt x="245526" y="1098523"/>
                    <a:pt x="245526" y="1098459"/>
                  </a:cubicBezTo>
                  <a:close/>
                  <a:moveTo>
                    <a:pt x="246940" y="1096723"/>
                  </a:moveTo>
                  <a:cubicBezTo>
                    <a:pt x="246940" y="1096723"/>
                    <a:pt x="246619" y="1096723"/>
                    <a:pt x="246555" y="1096723"/>
                  </a:cubicBezTo>
                  <a:cubicBezTo>
                    <a:pt x="246491" y="1096723"/>
                    <a:pt x="246812" y="1096723"/>
                    <a:pt x="246940" y="1096659"/>
                  </a:cubicBezTo>
                  <a:close/>
                  <a:moveTo>
                    <a:pt x="247969" y="1096273"/>
                  </a:moveTo>
                  <a:lnTo>
                    <a:pt x="247391" y="1096273"/>
                  </a:lnTo>
                  <a:close/>
                  <a:moveTo>
                    <a:pt x="256070" y="1102702"/>
                  </a:moveTo>
                  <a:lnTo>
                    <a:pt x="256070" y="1102702"/>
                  </a:lnTo>
                  <a:close/>
                  <a:moveTo>
                    <a:pt x="258578" y="1101352"/>
                  </a:moveTo>
                  <a:cubicBezTo>
                    <a:pt x="258796" y="1100889"/>
                    <a:pt x="258906" y="1100381"/>
                    <a:pt x="258899" y="1099873"/>
                  </a:cubicBezTo>
                  <a:cubicBezTo>
                    <a:pt x="258925" y="1100426"/>
                    <a:pt x="258816" y="1100979"/>
                    <a:pt x="258578" y="1101481"/>
                  </a:cubicBezTo>
                  <a:close/>
                  <a:moveTo>
                    <a:pt x="265972" y="1010569"/>
                  </a:moveTo>
                  <a:lnTo>
                    <a:pt x="265071" y="1010569"/>
                  </a:lnTo>
                  <a:lnTo>
                    <a:pt x="267579" y="1010055"/>
                  </a:lnTo>
                  <a:close/>
                  <a:moveTo>
                    <a:pt x="226624" y="983373"/>
                  </a:moveTo>
                  <a:lnTo>
                    <a:pt x="227395" y="984016"/>
                  </a:lnTo>
                  <a:close/>
                  <a:moveTo>
                    <a:pt x="225145" y="982280"/>
                  </a:moveTo>
                  <a:lnTo>
                    <a:pt x="226174" y="983052"/>
                  </a:lnTo>
                  <a:close/>
                  <a:moveTo>
                    <a:pt x="39336" y="1098009"/>
                  </a:moveTo>
                  <a:cubicBezTo>
                    <a:pt x="39767" y="1097854"/>
                    <a:pt x="40159" y="1097610"/>
                    <a:pt x="40493" y="1097302"/>
                  </a:cubicBezTo>
                  <a:cubicBezTo>
                    <a:pt x="40178" y="1097758"/>
                    <a:pt x="39760" y="1098131"/>
                    <a:pt x="39272" y="1098395"/>
                  </a:cubicBezTo>
                  <a:close/>
                  <a:moveTo>
                    <a:pt x="42036" y="1093444"/>
                  </a:moveTo>
                  <a:cubicBezTo>
                    <a:pt x="42062" y="1093810"/>
                    <a:pt x="42062" y="1094170"/>
                    <a:pt x="42036" y="1094537"/>
                  </a:cubicBezTo>
                  <a:cubicBezTo>
                    <a:pt x="42049" y="1094299"/>
                    <a:pt x="42049" y="1094068"/>
                    <a:pt x="42036" y="1093830"/>
                  </a:cubicBezTo>
                  <a:close/>
                  <a:moveTo>
                    <a:pt x="42036" y="1094666"/>
                  </a:moveTo>
                  <a:lnTo>
                    <a:pt x="41651" y="1095823"/>
                  </a:lnTo>
                  <a:close/>
                  <a:moveTo>
                    <a:pt x="41458" y="1096209"/>
                  </a:moveTo>
                  <a:lnTo>
                    <a:pt x="40943" y="1096980"/>
                  </a:lnTo>
                  <a:close/>
                  <a:moveTo>
                    <a:pt x="42229" y="1093315"/>
                  </a:moveTo>
                  <a:lnTo>
                    <a:pt x="42229" y="1093315"/>
                  </a:lnTo>
                  <a:close/>
                  <a:moveTo>
                    <a:pt x="82670" y="1150280"/>
                  </a:moveTo>
                  <a:cubicBezTo>
                    <a:pt x="82670" y="1150794"/>
                    <a:pt x="82349" y="1151308"/>
                    <a:pt x="82220" y="1151823"/>
                  </a:cubicBezTo>
                  <a:cubicBezTo>
                    <a:pt x="82220" y="1151694"/>
                    <a:pt x="82413" y="1151180"/>
                    <a:pt x="82541" y="1150665"/>
                  </a:cubicBezTo>
                  <a:close/>
                  <a:moveTo>
                    <a:pt x="82670" y="1149701"/>
                  </a:moveTo>
                  <a:cubicBezTo>
                    <a:pt x="82728" y="1149341"/>
                    <a:pt x="82728" y="1148968"/>
                    <a:pt x="82670" y="1148608"/>
                  </a:cubicBezTo>
                  <a:cubicBezTo>
                    <a:pt x="82779" y="1149097"/>
                    <a:pt x="82779" y="1149598"/>
                    <a:pt x="82670" y="1150087"/>
                  </a:cubicBezTo>
                  <a:close/>
                  <a:moveTo>
                    <a:pt x="142142" y="1120897"/>
                  </a:moveTo>
                  <a:lnTo>
                    <a:pt x="142142" y="1120897"/>
                  </a:lnTo>
                  <a:close/>
                  <a:moveTo>
                    <a:pt x="208557" y="1115368"/>
                  </a:moveTo>
                  <a:cubicBezTo>
                    <a:pt x="208628" y="1115523"/>
                    <a:pt x="208744" y="1115651"/>
                    <a:pt x="208879" y="1115754"/>
                  </a:cubicBezTo>
                  <a:cubicBezTo>
                    <a:pt x="208769" y="1115773"/>
                    <a:pt x="208666" y="1115773"/>
                    <a:pt x="208557" y="1115754"/>
                  </a:cubicBezTo>
                  <a:close/>
                  <a:moveTo>
                    <a:pt x="209007" y="1115754"/>
                  </a:moveTo>
                  <a:lnTo>
                    <a:pt x="209007" y="1115754"/>
                  </a:lnTo>
                  <a:close/>
                  <a:moveTo>
                    <a:pt x="209007" y="1115754"/>
                  </a:moveTo>
                  <a:cubicBezTo>
                    <a:pt x="209650" y="1114982"/>
                    <a:pt x="210357" y="1112089"/>
                    <a:pt x="213058" y="1112346"/>
                  </a:cubicBezTo>
                  <a:cubicBezTo>
                    <a:pt x="212575" y="1112211"/>
                    <a:pt x="212061" y="1112211"/>
                    <a:pt x="211579" y="1112346"/>
                  </a:cubicBezTo>
                  <a:cubicBezTo>
                    <a:pt x="210357" y="1113439"/>
                    <a:pt x="209779" y="1115304"/>
                    <a:pt x="209264" y="1115883"/>
                  </a:cubicBezTo>
                  <a:close/>
                  <a:moveTo>
                    <a:pt x="358233" y="1223060"/>
                  </a:moveTo>
                  <a:lnTo>
                    <a:pt x="358233" y="1223060"/>
                  </a:lnTo>
                  <a:lnTo>
                    <a:pt x="355918" y="1223703"/>
                  </a:lnTo>
                  <a:lnTo>
                    <a:pt x="352897" y="1224603"/>
                  </a:lnTo>
                  <a:close/>
                  <a:moveTo>
                    <a:pt x="575674" y="1533277"/>
                  </a:moveTo>
                  <a:lnTo>
                    <a:pt x="575674" y="1533277"/>
                  </a:lnTo>
                  <a:close/>
                  <a:moveTo>
                    <a:pt x="579918" y="1535142"/>
                  </a:moveTo>
                  <a:lnTo>
                    <a:pt x="579918" y="1535142"/>
                  </a:lnTo>
                  <a:close/>
                  <a:moveTo>
                    <a:pt x="578118" y="1534756"/>
                  </a:moveTo>
                  <a:lnTo>
                    <a:pt x="577668" y="1534756"/>
                  </a:lnTo>
                  <a:close/>
                  <a:moveTo>
                    <a:pt x="725993" y="1101159"/>
                  </a:moveTo>
                  <a:cubicBezTo>
                    <a:pt x="726193" y="1101108"/>
                    <a:pt x="726411" y="1101153"/>
                    <a:pt x="726572" y="1101288"/>
                  </a:cubicBezTo>
                  <a:close/>
                  <a:moveTo>
                    <a:pt x="727858" y="1098588"/>
                  </a:moveTo>
                  <a:lnTo>
                    <a:pt x="727858" y="1098202"/>
                  </a:lnTo>
                  <a:close/>
                  <a:moveTo>
                    <a:pt x="729401" y="1096209"/>
                  </a:moveTo>
                  <a:lnTo>
                    <a:pt x="729401" y="1096209"/>
                  </a:lnTo>
                  <a:close/>
                  <a:moveTo>
                    <a:pt x="658163" y="1055639"/>
                  </a:moveTo>
                  <a:lnTo>
                    <a:pt x="658163" y="1055639"/>
                  </a:lnTo>
                  <a:close/>
                  <a:moveTo>
                    <a:pt x="657456" y="1057632"/>
                  </a:moveTo>
                  <a:cubicBezTo>
                    <a:pt x="657495" y="1057780"/>
                    <a:pt x="657495" y="1057935"/>
                    <a:pt x="657456" y="1058082"/>
                  </a:cubicBezTo>
                  <a:cubicBezTo>
                    <a:pt x="657681" y="1058044"/>
                    <a:pt x="657887" y="1057935"/>
                    <a:pt x="658035" y="1057761"/>
                  </a:cubicBezTo>
                  <a:close/>
                  <a:moveTo>
                    <a:pt x="657456" y="1059754"/>
                  </a:moveTo>
                  <a:cubicBezTo>
                    <a:pt x="657424" y="1060159"/>
                    <a:pt x="657424" y="1060570"/>
                    <a:pt x="657456" y="1060976"/>
                  </a:cubicBezTo>
                  <a:cubicBezTo>
                    <a:pt x="657533" y="1060603"/>
                    <a:pt x="657642" y="1060236"/>
                    <a:pt x="657778" y="1059883"/>
                  </a:cubicBezTo>
                  <a:close/>
                  <a:moveTo>
                    <a:pt x="658356" y="1068177"/>
                  </a:moveTo>
                  <a:cubicBezTo>
                    <a:pt x="658356" y="1067598"/>
                    <a:pt x="658356" y="1067019"/>
                    <a:pt x="658356" y="1066376"/>
                  </a:cubicBezTo>
                  <a:cubicBezTo>
                    <a:pt x="658485" y="1067148"/>
                    <a:pt x="658613" y="1067726"/>
                    <a:pt x="658678" y="1068305"/>
                  </a:cubicBezTo>
                  <a:close/>
                  <a:moveTo>
                    <a:pt x="658356" y="1066312"/>
                  </a:moveTo>
                  <a:cubicBezTo>
                    <a:pt x="658356" y="1065605"/>
                    <a:pt x="658356" y="1064897"/>
                    <a:pt x="658035" y="1064190"/>
                  </a:cubicBezTo>
                  <a:cubicBezTo>
                    <a:pt x="658099" y="1064962"/>
                    <a:pt x="658228" y="1065733"/>
                    <a:pt x="658356" y="1066441"/>
                  </a:cubicBezTo>
                  <a:close/>
                  <a:moveTo>
                    <a:pt x="657971" y="1063805"/>
                  </a:moveTo>
                  <a:lnTo>
                    <a:pt x="657971" y="1061940"/>
                  </a:lnTo>
                  <a:close/>
                  <a:moveTo>
                    <a:pt x="1183701" y="627764"/>
                  </a:moveTo>
                  <a:cubicBezTo>
                    <a:pt x="1173414" y="627764"/>
                    <a:pt x="1150589" y="622621"/>
                    <a:pt x="1141395" y="632586"/>
                  </a:cubicBezTo>
                  <a:cubicBezTo>
                    <a:pt x="1132201" y="642552"/>
                    <a:pt x="1138824" y="647631"/>
                    <a:pt x="1134966" y="648338"/>
                  </a:cubicBezTo>
                  <a:cubicBezTo>
                    <a:pt x="1131108" y="649046"/>
                    <a:pt x="1128536" y="633293"/>
                    <a:pt x="1133487" y="628150"/>
                  </a:cubicBezTo>
                  <a:cubicBezTo>
                    <a:pt x="1138438" y="623007"/>
                    <a:pt x="1155154" y="620821"/>
                    <a:pt x="1165634" y="623392"/>
                  </a:cubicBezTo>
                  <a:cubicBezTo>
                    <a:pt x="1176114" y="625964"/>
                    <a:pt x="1194309" y="621142"/>
                    <a:pt x="1196881" y="621914"/>
                  </a:cubicBezTo>
                  <a:cubicBezTo>
                    <a:pt x="1199453" y="622685"/>
                    <a:pt x="1193666" y="627764"/>
                    <a:pt x="1183701" y="627764"/>
                  </a:cubicBezTo>
                  <a:close/>
                  <a:moveTo>
                    <a:pt x="896565" y="700416"/>
                  </a:moveTo>
                  <a:cubicBezTo>
                    <a:pt x="897015" y="701066"/>
                    <a:pt x="897555" y="701651"/>
                    <a:pt x="898172" y="702152"/>
                  </a:cubicBezTo>
                  <a:cubicBezTo>
                    <a:pt x="897420" y="701580"/>
                    <a:pt x="896764" y="700885"/>
                    <a:pt x="896243" y="700095"/>
                  </a:cubicBezTo>
                  <a:close/>
                  <a:moveTo>
                    <a:pt x="901515" y="703631"/>
                  </a:moveTo>
                  <a:lnTo>
                    <a:pt x="901515" y="703631"/>
                  </a:lnTo>
                  <a:close/>
                  <a:moveTo>
                    <a:pt x="939320" y="636958"/>
                  </a:moveTo>
                  <a:cubicBezTo>
                    <a:pt x="943370" y="631108"/>
                    <a:pt x="948835" y="635930"/>
                    <a:pt x="950700" y="637344"/>
                  </a:cubicBezTo>
                  <a:cubicBezTo>
                    <a:pt x="952564" y="638758"/>
                    <a:pt x="951471" y="630915"/>
                    <a:pt x="955843" y="631429"/>
                  </a:cubicBezTo>
                  <a:cubicBezTo>
                    <a:pt x="960215" y="631943"/>
                    <a:pt x="955522" y="638823"/>
                    <a:pt x="958801" y="638823"/>
                  </a:cubicBezTo>
                  <a:cubicBezTo>
                    <a:pt x="962080" y="638823"/>
                    <a:pt x="967288" y="647953"/>
                    <a:pt x="965230" y="655089"/>
                  </a:cubicBezTo>
                  <a:cubicBezTo>
                    <a:pt x="964690" y="657269"/>
                    <a:pt x="963392" y="659185"/>
                    <a:pt x="961566" y="660490"/>
                  </a:cubicBezTo>
                  <a:cubicBezTo>
                    <a:pt x="952372" y="666919"/>
                    <a:pt x="943563" y="666019"/>
                    <a:pt x="946521" y="657918"/>
                  </a:cubicBezTo>
                  <a:cubicBezTo>
                    <a:pt x="949478" y="649817"/>
                    <a:pt x="949800" y="640237"/>
                    <a:pt x="945042" y="640237"/>
                  </a:cubicBezTo>
                  <a:cubicBezTo>
                    <a:pt x="940284" y="640237"/>
                    <a:pt x="943563" y="657147"/>
                    <a:pt x="939898" y="658304"/>
                  </a:cubicBezTo>
                  <a:cubicBezTo>
                    <a:pt x="936234" y="659461"/>
                    <a:pt x="935398" y="646024"/>
                    <a:pt x="938098" y="639016"/>
                  </a:cubicBezTo>
                  <a:cubicBezTo>
                    <a:pt x="938304" y="638193"/>
                    <a:pt x="938606" y="637389"/>
                    <a:pt x="938998" y="636637"/>
                  </a:cubicBezTo>
                  <a:close/>
                  <a:moveTo>
                    <a:pt x="975067" y="629114"/>
                  </a:moveTo>
                  <a:cubicBezTo>
                    <a:pt x="973589" y="631108"/>
                    <a:pt x="959058" y="627314"/>
                    <a:pt x="957837" y="624357"/>
                  </a:cubicBezTo>
                  <a:cubicBezTo>
                    <a:pt x="956615" y="621399"/>
                    <a:pt x="977960" y="624421"/>
                    <a:pt x="974746" y="628793"/>
                  </a:cubicBezTo>
                  <a:close/>
                  <a:moveTo>
                    <a:pt x="971338" y="793256"/>
                  </a:moveTo>
                  <a:cubicBezTo>
                    <a:pt x="971313" y="793404"/>
                    <a:pt x="971313" y="793559"/>
                    <a:pt x="971338" y="793706"/>
                  </a:cubicBezTo>
                  <a:cubicBezTo>
                    <a:pt x="971145" y="793494"/>
                    <a:pt x="971030" y="793224"/>
                    <a:pt x="971017" y="792935"/>
                  </a:cubicBezTo>
                  <a:close/>
                  <a:moveTo>
                    <a:pt x="972817" y="790685"/>
                  </a:moveTo>
                  <a:lnTo>
                    <a:pt x="972817" y="790685"/>
                  </a:lnTo>
                  <a:close/>
                  <a:moveTo>
                    <a:pt x="971981" y="791778"/>
                  </a:moveTo>
                  <a:lnTo>
                    <a:pt x="971981" y="792163"/>
                  </a:lnTo>
                  <a:close/>
                  <a:moveTo>
                    <a:pt x="975453" y="789527"/>
                  </a:moveTo>
                  <a:lnTo>
                    <a:pt x="975453" y="789527"/>
                  </a:lnTo>
                  <a:close/>
                  <a:moveTo>
                    <a:pt x="1086167" y="722147"/>
                  </a:moveTo>
                  <a:lnTo>
                    <a:pt x="1086167" y="722147"/>
                  </a:lnTo>
                  <a:close/>
                  <a:moveTo>
                    <a:pt x="1091118" y="722147"/>
                  </a:moveTo>
                  <a:lnTo>
                    <a:pt x="1091118" y="722147"/>
                  </a:lnTo>
                  <a:close/>
                  <a:moveTo>
                    <a:pt x="1096840" y="721440"/>
                  </a:moveTo>
                  <a:lnTo>
                    <a:pt x="1096840" y="721440"/>
                  </a:lnTo>
                  <a:close/>
                  <a:moveTo>
                    <a:pt x="1093882" y="721890"/>
                  </a:moveTo>
                  <a:lnTo>
                    <a:pt x="1093882" y="721890"/>
                  </a:lnTo>
                  <a:close/>
                  <a:moveTo>
                    <a:pt x="1101019" y="720347"/>
                  </a:moveTo>
                  <a:lnTo>
                    <a:pt x="1100504" y="720347"/>
                  </a:lnTo>
                  <a:close/>
                  <a:moveTo>
                    <a:pt x="1099283" y="720926"/>
                  </a:moveTo>
                  <a:lnTo>
                    <a:pt x="1098576" y="720926"/>
                  </a:lnTo>
                  <a:close/>
                  <a:moveTo>
                    <a:pt x="1087710" y="699966"/>
                  </a:moveTo>
                  <a:lnTo>
                    <a:pt x="1087710" y="699966"/>
                  </a:lnTo>
                  <a:close/>
                  <a:moveTo>
                    <a:pt x="1086424" y="699581"/>
                  </a:moveTo>
                  <a:lnTo>
                    <a:pt x="1086424" y="699581"/>
                  </a:lnTo>
                  <a:close/>
                  <a:moveTo>
                    <a:pt x="1084817" y="699581"/>
                  </a:moveTo>
                  <a:lnTo>
                    <a:pt x="1083981" y="699581"/>
                  </a:lnTo>
                  <a:close/>
                  <a:moveTo>
                    <a:pt x="1080509" y="700673"/>
                  </a:moveTo>
                  <a:lnTo>
                    <a:pt x="1082888" y="699902"/>
                  </a:lnTo>
                  <a:close/>
                  <a:moveTo>
                    <a:pt x="1059485" y="769339"/>
                  </a:moveTo>
                  <a:lnTo>
                    <a:pt x="1058585" y="768953"/>
                  </a:lnTo>
                  <a:close/>
                  <a:moveTo>
                    <a:pt x="1057878" y="768568"/>
                  </a:moveTo>
                  <a:lnTo>
                    <a:pt x="1056785" y="767925"/>
                  </a:lnTo>
                  <a:close/>
                  <a:moveTo>
                    <a:pt x="905051" y="702859"/>
                  </a:moveTo>
                  <a:lnTo>
                    <a:pt x="904730" y="702859"/>
                  </a:lnTo>
                  <a:close/>
                  <a:moveTo>
                    <a:pt x="904537" y="703245"/>
                  </a:moveTo>
                  <a:lnTo>
                    <a:pt x="903894" y="703245"/>
                  </a:lnTo>
                  <a:close/>
                  <a:moveTo>
                    <a:pt x="903637" y="703631"/>
                  </a:moveTo>
                  <a:lnTo>
                    <a:pt x="902801" y="703631"/>
                  </a:lnTo>
                  <a:close/>
                  <a:moveTo>
                    <a:pt x="901194" y="703631"/>
                  </a:moveTo>
                  <a:lnTo>
                    <a:pt x="900101" y="703309"/>
                  </a:lnTo>
                  <a:close/>
                  <a:moveTo>
                    <a:pt x="899715" y="703181"/>
                  </a:moveTo>
                  <a:lnTo>
                    <a:pt x="898558" y="702409"/>
                  </a:lnTo>
                  <a:close/>
                  <a:moveTo>
                    <a:pt x="699247" y="835626"/>
                  </a:moveTo>
                  <a:lnTo>
                    <a:pt x="699247" y="835626"/>
                  </a:lnTo>
                  <a:close/>
                  <a:moveTo>
                    <a:pt x="698476" y="835626"/>
                  </a:moveTo>
                  <a:lnTo>
                    <a:pt x="698476" y="835626"/>
                  </a:lnTo>
                  <a:close/>
                  <a:moveTo>
                    <a:pt x="697961" y="835626"/>
                  </a:moveTo>
                  <a:cubicBezTo>
                    <a:pt x="696804" y="835626"/>
                    <a:pt x="695454" y="835626"/>
                    <a:pt x="693268" y="835626"/>
                  </a:cubicBezTo>
                  <a:cubicBezTo>
                    <a:pt x="695068" y="835497"/>
                    <a:pt x="696418" y="835369"/>
                    <a:pt x="697640" y="835305"/>
                  </a:cubicBezTo>
                  <a:close/>
                  <a:moveTo>
                    <a:pt x="728951" y="762781"/>
                  </a:moveTo>
                  <a:lnTo>
                    <a:pt x="733580" y="764196"/>
                  </a:lnTo>
                  <a:lnTo>
                    <a:pt x="733580" y="764196"/>
                  </a:lnTo>
                  <a:close/>
                  <a:moveTo>
                    <a:pt x="768684" y="733849"/>
                  </a:moveTo>
                  <a:cubicBezTo>
                    <a:pt x="768016" y="733521"/>
                    <a:pt x="767411" y="733084"/>
                    <a:pt x="766884" y="732563"/>
                  </a:cubicBezTo>
                  <a:cubicBezTo>
                    <a:pt x="767398" y="733135"/>
                    <a:pt x="768009" y="733611"/>
                    <a:pt x="768684" y="733978"/>
                  </a:cubicBezTo>
                  <a:close/>
                  <a:moveTo>
                    <a:pt x="766498" y="732049"/>
                  </a:moveTo>
                  <a:lnTo>
                    <a:pt x="765791" y="731020"/>
                  </a:lnTo>
                  <a:close/>
                  <a:moveTo>
                    <a:pt x="765791" y="730634"/>
                  </a:moveTo>
                  <a:lnTo>
                    <a:pt x="765405" y="729413"/>
                  </a:lnTo>
                  <a:close/>
                  <a:moveTo>
                    <a:pt x="780000" y="739057"/>
                  </a:moveTo>
                  <a:cubicBezTo>
                    <a:pt x="780971" y="739012"/>
                    <a:pt x="781935" y="738909"/>
                    <a:pt x="782893" y="738735"/>
                  </a:cubicBezTo>
                  <a:cubicBezTo>
                    <a:pt x="781852" y="738877"/>
                    <a:pt x="780797" y="738941"/>
                    <a:pt x="779743" y="738928"/>
                  </a:cubicBezTo>
                  <a:close/>
                  <a:moveTo>
                    <a:pt x="772220" y="710510"/>
                  </a:moveTo>
                  <a:cubicBezTo>
                    <a:pt x="772349" y="710993"/>
                    <a:pt x="772349" y="711507"/>
                    <a:pt x="772220" y="711989"/>
                  </a:cubicBezTo>
                  <a:cubicBezTo>
                    <a:pt x="772349" y="711507"/>
                    <a:pt x="772349" y="710993"/>
                    <a:pt x="772220" y="710510"/>
                  </a:cubicBezTo>
                  <a:close/>
                  <a:moveTo>
                    <a:pt x="771513" y="708839"/>
                  </a:moveTo>
                  <a:cubicBezTo>
                    <a:pt x="771693" y="709192"/>
                    <a:pt x="771841" y="709559"/>
                    <a:pt x="771963" y="709932"/>
                  </a:cubicBezTo>
                  <a:cubicBezTo>
                    <a:pt x="771925" y="709565"/>
                    <a:pt x="771860" y="709199"/>
                    <a:pt x="771770" y="708839"/>
                  </a:cubicBezTo>
                  <a:close/>
                  <a:moveTo>
                    <a:pt x="768234" y="703181"/>
                  </a:moveTo>
                  <a:cubicBezTo>
                    <a:pt x="768234" y="703181"/>
                    <a:pt x="768234" y="703181"/>
                    <a:pt x="768234" y="703181"/>
                  </a:cubicBezTo>
                  <a:cubicBezTo>
                    <a:pt x="768234" y="703181"/>
                    <a:pt x="768492" y="703309"/>
                    <a:pt x="768492" y="703181"/>
                  </a:cubicBezTo>
                  <a:close/>
                  <a:moveTo>
                    <a:pt x="764248" y="727227"/>
                  </a:moveTo>
                  <a:cubicBezTo>
                    <a:pt x="764139" y="726912"/>
                    <a:pt x="763984" y="726603"/>
                    <a:pt x="763798" y="726327"/>
                  </a:cubicBezTo>
                  <a:cubicBezTo>
                    <a:pt x="764074" y="726590"/>
                    <a:pt x="764312" y="726892"/>
                    <a:pt x="764505" y="727227"/>
                  </a:cubicBezTo>
                  <a:close/>
                  <a:moveTo>
                    <a:pt x="763541" y="726005"/>
                  </a:moveTo>
                  <a:cubicBezTo>
                    <a:pt x="763361" y="725761"/>
                    <a:pt x="763142" y="725542"/>
                    <a:pt x="762898" y="725362"/>
                  </a:cubicBezTo>
                  <a:cubicBezTo>
                    <a:pt x="763232" y="725517"/>
                    <a:pt x="763541" y="725735"/>
                    <a:pt x="763798" y="726005"/>
                  </a:cubicBezTo>
                  <a:close/>
                  <a:moveTo>
                    <a:pt x="761033" y="724655"/>
                  </a:moveTo>
                  <a:cubicBezTo>
                    <a:pt x="761580" y="724706"/>
                    <a:pt x="762107" y="724886"/>
                    <a:pt x="762576" y="725169"/>
                  </a:cubicBezTo>
                  <a:cubicBezTo>
                    <a:pt x="762107" y="724886"/>
                    <a:pt x="761580" y="724706"/>
                    <a:pt x="761033" y="724655"/>
                  </a:cubicBezTo>
                  <a:cubicBezTo>
                    <a:pt x="760654" y="724558"/>
                    <a:pt x="760255" y="724558"/>
                    <a:pt x="759876" y="724655"/>
                  </a:cubicBezTo>
                  <a:lnTo>
                    <a:pt x="759876" y="724655"/>
                  </a:lnTo>
                  <a:cubicBezTo>
                    <a:pt x="760346" y="724558"/>
                    <a:pt x="760821" y="724558"/>
                    <a:pt x="761290" y="724655"/>
                  </a:cubicBezTo>
                  <a:close/>
                  <a:moveTo>
                    <a:pt x="757433" y="730699"/>
                  </a:moveTo>
                  <a:lnTo>
                    <a:pt x="757433" y="730699"/>
                  </a:lnTo>
                  <a:close/>
                  <a:moveTo>
                    <a:pt x="747403" y="713982"/>
                  </a:moveTo>
                  <a:lnTo>
                    <a:pt x="747403" y="713982"/>
                  </a:lnTo>
                  <a:close/>
                  <a:moveTo>
                    <a:pt x="773828" y="876903"/>
                  </a:moveTo>
                  <a:lnTo>
                    <a:pt x="773828" y="876903"/>
                  </a:lnTo>
                  <a:close/>
                  <a:moveTo>
                    <a:pt x="772478" y="876903"/>
                  </a:moveTo>
                  <a:lnTo>
                    <a:pt x="772478" y="876903"/>
                  </a:lnTo>
                  <a:close/>
                  <a:moveTo>
                    <a:pt x="777107" y="877353"/>
                  </a:moveTo>
                  <a:lnTo>
                    <a:pt x="777107" y="877353"/>
                  </a:lnTo>
                  <a:close/>
                  <a:moveTo>
                    <a:pt x="775371" y="877353"/>
                  </a:moveTo>
                  <a:lnTo>
                    <a:pt x="775371" y="877353"/>
                  </a:lnTo>
                  <a:close/>
                  <a:moveTo>
                    <a:pt x="783472" y="738671"/>
                  </a:moveTo>
                  <a:cubicBezTo>
                    <a:pt x="784411" y="738459"/>
                    <a:pt x="785336" y="738182"/>
                    <a:pt x="786236" y="737835"/>
                  </a:cubicBezTo>
                  <a:cubicBezTo>
                    <a:pt x="785414" y="738060"/>
                    <a:pt x="784578" y="738234"/>
                    <a:pt x="783729" y="738350"/>
                  </a:cubicBezTo>
                  <a:close/>
                  <a:moveTo>
                    <a:pt x="787201" y="737449"/>
                  </a:moveTo>
                  <a:cubicBezTo>
                    <a:pt x="789985" y="736144"/>
                    <a:pt x="792634" y="734576"/>
                    <a:pt x="795109" y="732756"/>
                  </a:cubicBezTo>
                  <a:cubicBezTo>
                    <a:pt x="792698" y="734428"/>
                    <a:pt x="790133" y="735868"/>
                    <a:pt x="787458" y="737064"/>
                  </a:cubicBezTo>
                  <a:close/>
                  <a:moveTo>
                    <a:pt x="786429" y="696494"/>
                  </a:moveTo>
                  <a:lnTo>
                    <a:pt x="786879" y="696494"/>
                  </a:lnTo>
                  <a:close/>
                  <a:moveTo>
                    <a:pt x="797102" y="731406"/>
                  </a:moveTo>
                  <a:lnTo>
                    <a:pt x="798902" y="730120"/>
                  </a:lnTo>
                  <a:close/>
                  <a:moveTo>
                    <a:pt x="779807" y="692830"/>
                  </a:moveTo>
                  <a:lnTo>
                    <a:pt x="778650" y="692058"/>
                  </a:lnTo>
                  <a:close/>
                  <a:moveTo>
                    <a:pt x="778200" y="691994"/>
                  </a:moveTo>
                  <a:cubicBezTo>
                    <a:pt x="777750" y="691994"/>
                    <a:pt x="777364" y="691994"/>
                    <a:pt x="777107" y="691994"/>
                  </a:cubicBezTo>
                  <a:cubicBezTo>
                    <a:pt x="776850" y="691994"/>
                    <a:pt x="778007" y="691415"/>
                    <a:pt x="778650" y="691544"/>
                  </a:cubicBezTo>
                  <a:close/>
                  <a:moveTo>
                    <a:pt x="599913" y="524830"/>
                  </a:moveTo>
                  <a:cubicBezTo>
                    <a:pt x="600010" y="525441"/>
                    <a:pt x="600158" y="526045"/>
                    <a:pt x="600363" y="526630"/>
                  </a:cubicBezTo>
                  <a:cubicBezTo>
                    <a:pt x="600215" y="525891"/>
                    <a:pt x="600151" y="525132"/>
                    <a:pt x="600170" y="524380"/>
                  </a:cubicBezTo>
                  <a:close/>
                  <a:moveTo>
                    <a:pt x="470940" y="709739"/>
                  </a:moveTo>
                  <a:lnTo>
                    <a:pt x="470940" y="709739"/>
                  </a:lnTo>
                  <a:close/>
                  <a:moveTo>
                    <a:pt x="464511" y="689358"/>
                  </a:moveTo>
                  <a:lnTo>
                    <a:pt x="461939" y="687557"/>
                  </a:lnTo>
                  <a:lnTo>
                    <a:pt x="465282" y="689872"/>
                  </a:lnTo>
                  <a:close/>
                  <a:moveTo>
                    <a:pt x="486628" y="687236"/>
                  </a:moveTo>
                  <a:cubicBezTo>
                    <a:pt x="486512" y="687570"/>
                    <a:pt x="486512" y="687930"/>
                    <a:pt x="486628" y="688265"/>
                  </a:cubicBezTo>
                  <a:cubicBezTo>
                    <a:pt x="486557" y="687988"/>
                    <a:pt x="486557" y="687705"/>
                    <a:pt x="486628" y="687429"/>
                  </a:cubicBezTo>
                  <a:lnTo>
                    <a:pt x="486628" y="687429"/>
                  </a:lnTo>
                  <a:close/>
                  <a:moveTo>
                    <a:pt x="540763" y="469409"/>
                  </a:moveTo>
                  <a:cubicBezTo>
                    <a:pt x="541207" y="468888"/>
                    <a:pt x="541702" y="468419"/>
                    <a:pt x="542242" y="467994"/>
                  </a:cubicBezTo>
                  <a:cubicBezTo>
                    <a:pt x="541702" y="468419"/>
                    <a:pt x="541207" y="468888"/>
                    <a:pt x="540763" y="469409"/>
                  </a:cubicBezTo>
                  <a:close/>
                  <a:moveTo>
                    <a:pt x="501737" y="543475"/>
                  </a:moveTo>
                  <a:cubicBezTo>
                    <a:pt x="501737" y="543475"/>
                    <a:pt x="501737" y="543154"/>
                    <a:pt x="501737" y="542961"/>
                  </a:cubicBezTo>
                  <a:cubicBezTo>
                    <a:pt x="501737" y="542768"/>
                    <a:pt x="501608" y="543282"/>
                    <a:pt x="501672" y="543475"/>
                  </a:cubicBezTo>
                  <a:close/>
                  <a:moveTo>
                    <a:pt x="501737" y="542447"/>
                  </a:moveTo>
                  <a:lnTo>
                    <a:pt x="501737" y="541546"/>
                  </a:lnTo>
                  <a:close/>
                  <a:moveTo>
                    <a:pt x="501737" y="541225"/>
                  </a:moveTo>
                  <a:cubicBezTo>
                    <a:pt x="501698" y="540839"/>
                    <a:pt x="501698" y="540453"/>
                    <a:pt x="501737" y="540068"/>
                  </a:cubicBezTo>
                  <a:cubicBezTo>
                    <a:pt x="501505" y="540434"/>
                    <a:pt x="501312" y="540820"/>
                    <a:pt x="501158" y="541225"/>
                  </a:cubicBezTo>
                  <a:close/>
                  <a:moveTo>
                    <a:pt x="501737" y="533188"/>
                  </a:moveTo>
                  <a:cubicBezTo>
                    <a:pt x="501692" y="533638"/>
                    <a:pt x="501692" y="534088"/>
                    <a:pt x="501737" y="534538"/>
                  </a:cubicBezTo>
                  <a:cubicBezTo>
                    <a:pt x="501518" y="534108"/>
                    <a:pt x="501351" y="533658"/>
                    <a:pt x="501222" y="533188"/>
                  </a:cubicBezTo>
                  <a:close/>
                  <a:moveTo>
                    <a:pt x="501737" y="534796"/>
                  </a:moveTo>
                  <a:cubicBezTo>
                    <a:pt x="501698" y="535291"/>
                    <a:pt x="501698" y="535779"/>
                    <a:pt x="501737" y="536274"/>
                  </a:cubicBezTo>
                  <a:cubicBezTo>
                    <a:pt x="501441" y="535805"/>
                    <a:pt x="501177" y="535310"/>
                    <a:pt x="500965" y="534796"/>
                  </a:cubicBezTo>
                  <a:close/>
                  <a:moveTo>
                    <a:pt x="501737" y="536403"/>
                  </a:moveTo>
                  <a:lnTo>
                    <a:pt x="501737" y="536403"/>
                  </a:lnTo>
                  <a:close/>
                  <a:moveTo>
                    <a:pt x="501737" y="539939"/>
                  </a:moveTo>
                  <a:cubicBezTo>
                    <a:pt x="501737" y="539360"/>
                    <a:pt x="501737" y="538782"/>
                    <a:pt x="501737" y="538203"/>
                  </a:cubicBezTo>
                  <a:cubicBezTo>
                    <a:pt x="500901" y="538782"/>
                    <a:pt x="500901" y="539360"/>
                    <a:pt x="500965" y="539939"/>
                  </a:cubicBezTo>
                  <a:close/>
                  <a:moveTo>
                    <a:pt x="492928" y="599154"/>
                  </a:moveTo>
                  <a:cubicBezTo>
                    <a:pt x="493018" y="598839"/>
                    <a:pt x="493018" y="598504"/>
                    <a:pt x="492928" y="598189"/>
                  </a:cubicBezTo>
                  <a:cubicBezTo>
                    <a:pt x="492845" y="598614"/>
                    <a:pt x="492556" y="598974"/>
                    <a:pt x="492157" y="599154"/>
                  </a:cubicBezTo>
                  <a:close/>
                  <a:moveTo>
                    <a:pt x="488235" y="660233"/>
                  </a:moveTo>
                  <a:lnTo>
                    <a:pt x="488878" y="659654"/>
                  </a:lnTo>
                  <a:close/>
                  <a:moveTo>
                    <a:pt x="488814" y="655796"/>
                  </a:moveTo>
                  <a:lnTo>
                    <a:pt x="488814" y="655796"/>
                  </a:lnTo>
                  <a:close/>
                  <a:moveTo>
                    <a:pt x="488814" y="655025"/>
                  </a:moveTo>
                  <a:cubicBezTo>
                    <a:pt x="488782" y="654555"/>
                    <a:pt x="488782" y="654080"/>
                    <a:pt x="488814" y="653610"/>
                  </a:cubicBezTo>
                  <a:cubicBezTo>
                    <a:pt x="488454" y="654054"/>
                    <a:pt x="488126" y="654523"/>
                    <a:pt x="487849" y="655025"/>
                  </a:cubicBezTo>
                  <a:close/>
                  <a:moveTo>
                    <a:pt x="485663" y="590217"/>
                  </a:moveTo>
                  <a:cubicBezTo>
                    <a:pt x="485689" y="590776"/>
                    <a:pt x="485843" y="591329"/>
                    <a:pt x="486113" y="591824"/>
                  </a:cubicBezTo>
                  <a:cubicBezTo>
                    <a:pt x="485496" y="591438"/>
                    <a:pt x="485007" y="590879"/>
                    <a:pt x="484699" y="590217"/>
                  </a:cubicBezTo>
                  <a:close/>
                  <a:moveTo>
                    <a:pt x="486242" y="592146"/>
                  </a:moveTo>
                  <a:cubicBezTo>
                    <a:pt x="486583" y="592692"/>
                    <a:pt x="486975" y="593206"/>
                    <a:pt x="487399" y="593689"/>
                  </a:cubicBezTo>
                  <a:cubicBezTo>
                    <a:pt x="486640" y="593251"/>
                    <a:pt x="485927" y="592737"/>
                    <a:pt x="485277" y="592146"/>
                  </a:cubicBezTo>
                  <a:close/>
                  <a:moveTo>
                    <a:pt x="487721" y="594010"/>
                  </a:moveTo>
                  <a:lnTo>
                    <a:pt x="488878" y="594974"/>
                  </a:lnTo>
                  <a:lnTo>
                    <a:pt x="488235" y="594524"/>
                  </a:lnTo>
                  <a:cubicBezTo>
                    <a:pt x="487714" y="594454"/>
                    <a:pt x="487206" y="594280"/>
                    <a:pt x="486756" y="594010"/>
                  </a:cubicBezTo>
                  <a:close/>
                  <a:moveTo>
                    <a:pt x="491128" y="596325"/>
                  </a:moveTo>
                  <a:cubicBezTo>
                    <a:pt x="490537" y="596087"/>
                    <a:pt x="489977" y="595785"/>
                    <a:pt x="489456" y="595425"/>
                  </a:cubicBezTo>
                  <a:cubicBezTo>
                    <a:pt x="489977" y="595785"/>
                    <a:pt x="490537" y="596087"/>
                    <a:pt x="491128" y="596325"/>
                  </a:cubicBezTo>
                  <a:cubicBezTo>
                    <a:pt x="491630" y="596453"/>
                    <a:pt x="492086" y="596698"/>
                    <a:pt x="492478" y="597032"/>
                  </a:cubicBezTo>
                  <a:cubicBezTo>
                    <a:pt x="491823" y="596518"/>
                    <a:pt x="491000" y="596260"/>
                    <a:pt x="490164" y="596325"/>
                  </a:cubicBezTo>
                  <a:close/>
                  <a:moveTo>
                    <a:pt x="491128" y="580701"/>
                  </a:moveTo>
                  <a:cubicBezTo>
                    <a:pt x="491199" y="580470"/>
                    <a:pt x="491199" y="580225"/>
                    <a:pt x="491128" y="579994"/>
                  </a:cubicBezTo>
                  <a:cubicBezTo>
                    <a:pt x="491012" y="580322"/>
                    <a:pt x="490749" y="580585"/>
                    <a:pt x="490421" y="580701"/>
                  </a:cubicBezTo>
                  <a:close/>
                  <a:moveTo>
                    <a:pt x="491128" y="579930"/>
                  </a:moveTo>
                  <a:cubicBezTo>
                    <a:pt x="491090" y="577769"/>
                    <a:pt x="490852" y="575616"/>
                    <a:pt x="490421" y="573500"/>
                  </a:cubicBezTo>
                  <a:cubicBezTo>
                    <a:pt x="490678" y="575635"/>
                    <a:pt x="490742" y="577782"/>
                    <a:pt x="490614" y="579930"/>
                  </a:cubicBezTo>
                  <a:close/>
                  <a:moveTo>
                    <a:pt x="490421" y="572600"/>
                  </a:moveTo>
                  <a:lnTo>
                    <a:pt x="490421" y="572600"/>
                  </a:lnTo>
                  <a:close/>
                  <a:moveTo>
                    <a:pt x="469268" y="626671"/>
                  </a:moveTo>
                  <a:cubicBezTo>
                    <a:pt x="469075" y="626838"/>
                    <a:pt x="468863" y="626967"/>
                    <a:pt x="468625" y="627057"/>
                  </a:cubicBezTo>
                  <a:cubicBezTo>
                    <a:pt x="468683" y="626935"/>
                    <a:pt x="468722" y="626806"/>
                    <a:pt x="468754" y="626671"/>
                  </a:cubicBezTo>
                  <a:close/>
                  <a:moveTo>
                    <a:pt x="466311" y="628536"/>
                  </a:moveTo>
                  <a:lnTo>
                    <a:pt x="465604" y="628922"/>
                  </a:lnTo>
                  <a:close/>
                  <a:moveTo>
                    <a:pt x="464575" y="629629"/>
                  </a:moveTo>
                  <a:lnTo>
                    <a:pt x="464896" y="629629"/>
                  </a:lnTo>
                  <a:cubicBezTo>
                    <a:pt x="464613" y="629815"/>
                    <a:pt x="464388" y="630085"/>
                    <a:pt x="464253" y="630400"/>
                  </a:cubicBezTo>
                  <a:cubicBezTo>
                    <a:pt x="464151" y="630156"/>
                    <a:pt x="464086" y="629892"/>
                    <a:pt x="464061" y="629629"/>
                  </a:cubicBezTo>
                  <a:close/>
                  <a:moveTo>
                    <a:pt x="487656" y="683378"/>
                  </a:moveTo>
                  <a:cubicBezTo>
                    <a:pt x="487721" y="682825"/>
                    <a:pt x="487721" y="682260"/>
                    <a:pt x="487656" y="681707"/>
                  </a:cubicBezTo>
                  <a:cubicBezTo>
                    <a:pt x="487553" y="682285"/>
                    <a:pt x="487380" y="682845"/>
                    <a:pt x="487142" y="683378"/>
                  </a:cubicBezTo>
                  <a:close/>
                  <a:moveTo>
                    <a:pt x="488878" y="659204"/>
                  </a:moveTo>
                  <a:lnTo>
                    <a:pt x="488878" y="659204"/>
                  </a:lnTo>
                  <a:lnTo>
                    <a:pt x="488878" y="659204"/>
                  </a:lnTo>
                  <a:close/>
                  <a:moveTo>
                    <a:pt x="491514" y="600439"/>
                  </a:moveTo>
                  <a:cubicBezTo>
                    <a:pt x="491938" y="600163"/>
                    <a:pt x="492292" y="599784"/>
                    <a:pt x="492543" y="599346"/>
                  </a:cubicBezTo>
                  <a:cubicBezTo>
                    <a:pt x="492150" y="599854"/>
                    <a:pt x="491610" y="600240"/>
                    <a:pt x="491000" y="600439"/>
                  </a:cubicBezTo>
                  <a:close/>
                  <a:moveTo>
                    <a:pt x="492800" y="597932"/>
                  </a:moveTo>
                  <a:cubicBezTo>
                    <a:pt x="492710" y="597733"/>
                    <a:pt x="492575" y="597559"/>
                    <a:pt x="492414" y="597418"/>
                  </a:cubicBezTo>
                  <a:lnTo>
                    <a:pt x="492736" y="597739"/>
                  </a:lnTo>
                  <a:lnTo>
                    <a:pt x="492285" y="597932"/>
                  </a:lnTo>
                  <a:close/>
                  <a:moveTo>
                    <a:pt x="537806" y="594846"/>
                  </a:moveTo>
                  <a:lnTo>
                    <a:pt x="537163" y="595167"/>
                  </a:lnTo>
                  <a:close/>
                  <a:moveTo>
                    <a:pt x="542049" y="593110"/>
                  </a:moveTo>
                  <a:lnTo>
                    <a:pt x="540442" y="593689"/>
                  </a:lnTo>
                  <a:close/>
                  <a:moveTo>
                    <a:pt x="539799" y="593946"/>
                  </a:moveTo>
                  <a:lnTo>
                    <a:pt x="538577" y="594396"/>
                  </a:lnTo>
                  <a:close/>
                  <a:moveTo>
                    <a:pt x="544814" y="592274"/>
                  </a:moveTo>
                  <a:lnTo>
                    <a:pt x="542499" y="592981"/>
                  </a:lnTo>
                  <a:close/>
                  <a:moveTo>
                    <a:pt x="549314" y="591117"/>
                  </a:moveTo>
                  <a:lnTo>
                    <a:pt x="547707" y="591503"/>
                  </a:lnTo>
                  <a:close/>
                  <a:moveTo>
                    <a:pt x="547257" y="591631"/>
                  </a:moveTo>
                  <a:lnTo>
                    <a:pt x="545071" y="592146"/>
                  </a:lnTo>
                  <a:close/>
                  <a:moveTo>
                    <a:pt x="551436" y="590731"/>
                  </a:moveTo>
                  <a:lnTo>
                    <a:pt x="549893" y="590731"/>
                  </a:lnTo>
                  <a:close/>
                  <a:moveTo>
                    <a:pt x="557351" y="453271"/>
                  </a:moveTo>
                  <a:cubicBezTo>
                    <a:pt x="557737" y="453702"/>
                    <a:pt x="558045" y="454203"/>
                    <a:pt x="558251" y="454750"/>
                  </a:cubicBezTo>
                  <a:cubicBezTo>
                    <a:pt x="557820" y="454133"/>
                    <a:pt x="557248" y="453625"/>
                    <a:pt x="556579" y="453271"/>
                  </a:cubicBezTo>
                  <a:close/>
                  <a:moveTo>
                    <a:pt x="558379" y="455071"/>
                  </a:moveTo>
                  <a:cubicBezTo>
                    <a:pt x="558592" y="455618"/>
                    <a:pt x="558759" y="456177"/>
                    <a:pt x="558894" y="456743"/>
                  </a:cubicBezTo>
                  <a:cubicBezTo>
                    <a:pt x="558514" y="456151"/>
                    <a:pt x="558084" y="455592"/>
                    <a:pt x="557608" y="455071"/>
                  </a:cubicBezTo>
                  <a:close/>
                  <a:moveTo>
                    <a:pt x="551950" y="439255"/>
                  </a:moveTo>
                  <a:cubicBezTo>
                    <a:pt x="551449" y="438760"/>
                    <a:pt x="551018" y="438194"/>
                    <a:pt x="550664" y="437583"/>
                  </a:cubicBezTo>
                  <a:cubicBezTo>
                    <a:pt x="550831" y="438168"/>
                    <a:pt x="551069" y="438728"/>
                    <a:pt x="551371" y="439255"/>
                  </a:cubicBezTo>
                  <a:close/>
                  <a:moveTo>
                    <a:pt x="549828" y="436040"/>
                  </a:moveTo>
                  <a:lnTo>
                    <a:pt x="549828" y="436040"/>
                  </a:lnTo>
                  <a:lnTo>
                    <a:pt x="550150" y="436748"/>
                  </a:lnTo>
                  <a:cubicBezTo>
                    <a:pt x="549828" y="436542"/>
                    <a:pt x="549526" y="436304"/>
                    <a:pt x="549250" y="436040"/>
                  </a:cubicBezTo>
                  <a:close/>
                  <a:moveTo>
                    <a:pt x="502315" y="500334"/>
                  </a:moveTo>
                  <a:cubicBezTo>
                    <a:pt x="502444" y="499936"/>
                    <a:pt x="502444" y="499511"/>
                    <a:pt x="502315" y="499112"/>
                  </a:cubicBezTo>
                  <a:lnTo>
                    <a:pt x="502315" y="499112"/>
                  </a:lnTo>
                  <a:cubicBezTo>
                    <a:pt x="502328" y="499607"/>
                    <a:pt x="502116" y="500083"/>
                    <a:pt x="501737" y="500398"/>
                  </a:cubicBezTo>
                  <a:close/>
                  <a:moveTo>
                    <a:pt x="501737" y="497891"/>
                  </a:moveTo>
                  <a:cubicBezTo>
                    <a:pt x="501865" y="498045"/>
                    <a:pt x="501975" y="498219"/>
                    <a:pt x="502058" y="498405"/>
                  </a:cubicBezTo>
                  <a:cubicBezTo>
                    <a:pt x="501794" y="498187"/>
                    <a:pt x="501486" y="498032"/>
                    <a:pt x="501158" y="497955"/>
                  </a:cubicBezTo>
                  <a:close/>
                  <a:moveTo>
                    <a:pt x="501094" y="497248"/>
                  </a:moveTo>
                  <a:lnTo>
                    <a:pt x="500579" y="496734"/>
                  </a:lnTo>
                  <a:close/>
                  <a:moveTo>
                    <a:pt x="499036" y="495705"/>
                  </a:moveTo>
                  <a:cubicBezTo>
                    <a:pt x="499248" y="495891"/>
                    <a:pt x="499486" y="496046"/>
                    <a:pt x="499744" y="496155"/>
                  </a:cubicBezTo>
                  <a:cubicBezTo>
                    <a:pt x="499287" y="496142"/>
                    <a:pt x="498844" y="496007"/>
                    <a:pt x="498458" y="495769"/>
                  </a:cubicBezTo>
                  <a:close/>
                  <a:moveTo>
                    <a:pt x="497236" y="494869"/>
                  </a:moveTo>
                  <a:lnTo>
                    <a:pt x="498136" y="495255"/>
                  </a:lnTo>
                  <a:close/>
                  <a:moveTo>
                    <a:pt x="493957" y="493712"/>
                  </a:moveTo>
                  <a:lnTo>
                    <a:pt x="494793" y="493712"/>
                  </a:lnTo>
                  <a:close/>
                  <a:moveTo>
                    <a:pt x="495500" y="494162"/>
                  </a:moveTo>
                  <a:lnTo>
                    <a:pt x="496400" y="494162"/>
                  </a:lnTo>
                  <a:close/>
                  <a:moveTo>
                    <a:pt x="492671" y="493455"/>
                  </a:moveTo>
                  <a:cubicBezTo>
                    <a:pt x="492671" y="493455"/>
                    <a:pt x="492671" y="493455"/>
                    <a:pt x="492671" y="493455"/>
                  </a:cubicBezTo>
                  <a:cubicBezTo>
                    <a:pt x="492671" y="493455"/>
                    <a:pt x="492671" y="493455"/>
                    <a:pt x="492671" y="493455"/>
                  </a:cubicBezTo>
                  <a:lnTo>
                    <a:pt x="493507" y="493455"/>
                  </a:lnTo>
                  <a:close/>
                  <a:moveTo>
                    <a:pt x="492671" y="486254"/>
                  </a:moveTo>
                  <a:cubicBezTo>
                    <a:pt x="492697" y="485720"/>
                    <a:pt x="492697" y="485180"/>
                    <a:pt x="492671" y="484646"/>
                  </a:cubicBezTo>
                  <a:cubicBezTo>
                    <a:pt x="492491" y="485212"/>
                    <a:pt x="492273" y="485772"/>
                    <a:pt x="492028" y="486318"/>
                  </a:cubicBezTo>
                  <a:close/>
                  <a:moveTo>
                    <a:pt x="450109" y="647888"/>
                  </a:moveTo>
                  <a:cubicBezTo>
                    <a:pt x="450263" y="648190"/>
                    <a:pt x="450372" y="648518"/>
                    <a:pt x="450430" y="648853"/>
                  </a:cubicBezTo>
                  <a:cubicBezTo>
                    <a:pt x="450173" y="648493"/>
                    <a:pt x="449845" y="648184"/>
                    <a:pt x="449466" y="647953"/>
                  </a:cubicBezTo>
                  <a:close/>
                  <a:moveTo>
                    <a:pt x="450494" y="649238"/>
                  </a:moveTo>
                  <a:lnTo>
                    <a:pt x="450494" y="650460"/>
                  </a:lnTo>
                  <a:close/>
                  <a:moveTo>
                    <a:pt x="448244" y="667562"/>
                  </a:moveTo>
                  <a:lnTo>
                    <a:pt x="447794" y="667948"/>
                  </a:lnTo>
                  <a:close/>
                  <a:moveTo>
                    <a:pt x="446958" y="668784"/>
                  </a:moveTo>
                  <a:lnTo>
                    <a:pt x="446380" y="669427"/>
                  </a:lnTo>
                  <a:close/>
                  <a:moveTo>
                    <a:pt x="445544" y="670391"/>
                  </a:moveTo>
                  <a:lnTo>
                    <a:pt x="444772" y="671355"/>
                  </a:lnTo>
                  <a:close/>
                  <a:moveTo>
                    <a:pt x="449144" y="667112"/>
                  </a:moveTo>
                  <a:cubicBezTo>
                    <a:pt x="449144" y="667112"/>
                    <a:pt x="449530" y="667112"/>
                    <a:pt x="449659" y="666662"/>
                  </a:cubicBezTo>
                  <a:cubicBezTo>
                    <a:pt x="449787" y="666212"/>
                    <a:pt x="448694" y="667176"/>
                    <a:pt x="448501" y="667176"/>
                  </a:cubicBezTo>
                  <a:close/>
                  <a:moveTo>
                    <a:pt x="450945" y="658111"/>
                  </a:moveTo>
                  <a:cubicBezTo>
                    <a:pt x="451041" y="656401"/>
                    <a:pt x="451041" y="654678"/>
                    <a:pt x="450945" y="652968"/>
                  </a:cubicBezTo>
                  <a:cubicBezTo>
                    <a:pt x="450829" y="654716"/>
                    <a:pt x="450617" y="656452"/>
                    <a:pt x="450302" y="658175"/>
                  </a:cubicBezTo>
                  <a:close/>
                  <a:moveTo>
                    <a:pt x="449723" y="666533"/>
                  </a:moveTo>
                  <a:cubicBezTo>
                    <a:pt x="449935" y="666199"/>
                    <a:pt x="450090" y="665826"/>
                    <a:pt x="450173" y="665440"/>
                  </a:cubicBezTo>
                  <a:cubicBezTo>
                    <a:pt x="449877" y="665813"/>
                    <a:pt x="449504" y="666115"/>
                    <a:pt x="449080" y="666341"/>
                  </a:cubicBezTo>
                  <a:close/>
                  <a:moveTo>
                    <a:pt x="450237" y="665119"/>
                  </a:moveTo>
                  <a:cubicBezTo>
                    <a:pt x="450237" y="664605"/>
                    <a:pt x="450237" y="664026"/>
                    <a:pt x="450559" y="663383"/>
                  </a:cubicBezTo>
                  <a:cubicBezTo>
                    <a:pt x="449787" y="664090"/>
                    <a:pt x="449723" y="664669"/>
                    <a:pt x="449594" y="665183"/>
                  </a:cubicBezTo>
                  <a:close/>
                  <a:moveTo>
                    <a:pt x="450559" y="663383"/>
                  </a:moveTo>
                  <a:lnTo>
                    <a:pt x="450559" y="661133"/>
                  </a:lnTo>
                  <a:close/>
                  <a:moveTo>
                    <a:pt x="450559" y="660811"/>
                  </a:moveTo>
                  <a:cubicBezTo>
                    <a:pt x="450559" y="660040"/>
                    <a:pt x="450559" y="659204"/>
                    <a:pt x="450559" y="658368"/>
                  </a:cubicBezTo>
                  <a:cubicBezTo>
                    <a:pt x="450302" y="659268"/>
                    <a:pt x="450237" y="659911"/>
                    <a:pt x="450173" y="660876"/>
                  </a:cubicBezTo>
                  <a:close/>
                  <a:moveTo>
                    <a:pt x="450559" y="650589"/>
                  </a:moveTo>
                  <a:cubicBezTo>
                    <a:pt x="450629" y="651334"/>
                    <a:pt x="450629" y="652093"/>
                    <a:pt x="450559" y="652839"/>
                  </a:cubicBezTo>
                  <a:cubicBezTo>
                    <a:pt x="450456" y="652093"/>
                    <a:pt x="450282" y="651366"/>
                    <a:pt x="450045" y="650653"/>
                  </a:cubicBezTo>
                  <a:close/>
                  <a:moveTo>
                    <a:pt x="461296" y="686143"/>
                  </a:moveTo>
                  <a:lnTo>
                    <a:pt x="460910" y="686143"/>
                  </a:lnTo>
                  <a:close/>
                  <a:moveTo>
                    <a:pt x="459496" y="684986"/>
                  </a:moveTo>
                  <a:lnTo>
                    <a:pt x="458981" y="684986"/>
                  </a:lnTo>
                  <a:close/>
                  <a:moveTo>
                    <a:pt x="457695" y="683957"/>
                  </a:moveTo>
                  <a:lnTo>
                    <a:pt x="457181" y="683957"/>
                  </a:lnTo>
                  <a:close/>
                  <a:moveTo>
                    <a:pt x="456024" y="683185"/>
                  </a:moveTo>
                  <a:lnTo>
                    <a:pt x="455638" y="683185"/>
                  </a:lnTo>
                  <a:close/>
                  <a:moveTo>
                    <a:pt x="487463" y="685243"/>
                  </a:moveTo>
                  <a:cubicBezTo>
                    <a:pt x="487463" y="685243"/>
                    <a:pt x="487463" y="685564"/>
                    <a:pt x="487463" y="685757"/>
                  </a:cubicBezTo>
                  <a:lnTo>
                    <a:pt x="487463" y="685629"/>
                  </a:lnTo>
                  <a:close/>
                  <a:moveTo>
                    <a:pt x="537163" y="693601"/>
                  </a:moveTo>
                  <a:lnTo>
                    <a:pt x="537163" y="693601"/>
                  </a:lnTo>
                  <a:close/>
                  <a:moveTo>
                    <a:pt x="537163" y="694630"/>
                  </a:moveTo>
                  <a:lnTo>
                    <a:pt x="537163" y="694630"/>
                  </a:lnTo>
                  <a:close/>
                  <a:moveTo>
                    <a:pt x="537163" y="692958"/>
                  </a:moveTo>
                  <a:cubicBezTo>
                    <a:pt x="537163" y="692958"/>
                    <a:pt x="537163" y="692958"/>
                    <a:pt x="537163" y="692958"/>
                  </a:cubicBezTo>
                  <a:cubicBezTo>
                    <a:pt x="537163" y="692958"/>
                    <a:pt x="536712" y="693022"/>
                    <a:pt x="536648" y="693022"/>
                  </a:cubicBezTo>
                  <a:close/>
                  <a:moveTo>
                    <a:pt x="567059" y="628665"/>
                  </a:moveTo>
                  <a:lnTo>
                    <a:pt x="567059" y="629050"/>
                  </a:lnTo>
                  <a:close/>
                  <a:moveTo>
                    <a:pt x="566352" y="630079"/>
                  </a:moveTo>
                  <a:lnTo>
                    <a:pt x="566352" y="630465"/>
                  </a:lnTo>
                  <a:close/>
                  <a:moveTo>
                    <a:pt x="565323" y="631750"/>
                  </a:moveTo>
                  <a:lnTo>
                    <a:pt x="565323" y="632136"/>
                  </a:lnTo>
                  <a:close/>
                  <a:moveTo>
                    <a:pt x="564102" y="633551"/>
                  </a:moveTo>
                  <a:lnTo>
                    <a:pt x="564102" y="633872"/>
                  </a:lnTo>
                  <a:close/>
                  <a:moveTo>
                    <a:pt x="562816" y="635287"/>
                  </a:moveTo>
                  <a:lnTo>
                    <a:pt x="562816" y="635287"/>
                  </a:lnTo>
                  <a:close/>
                  <a:moveTo>
                    <a:pt x="549507" y="434240"/>
                  </a:moveTo>
                  <a:cubicBezTo>
                    <a:pt x="549507" y="434240"/>
                    <a:pt x="549507" y="434562"/>
                    <a:pt x="549507" y="434690"/>
                  </a:cubicBezTo>
                  <a:cubicBezTo>
                    <a:pt x="549507" y="434819"/>
                    <a:pt x="548928" y="434176"/>
                    <a:pt x="548993" y="434047"/>
                  </a:cubicBezTo>
                  <a:close/>
                  <a:moveTo>
                    <a:pt x="443872" y="574079"/>
                  </a:moveTo>
                  <a:lnTo>
                    <a:pt x="443872" y="574079"/>
                  </a:lnTo>
                  <a:cubicBezTo>
                    <a:pt x="444316" y="574703"/>
                    <a:pt x="444882" y="575230"/>
                    <a:pt x="445544" y="575622"/>
                  </a:cubicBezTo>
                  <a:cubicBezTo>
                    <a:pt x="444663" y="575268"/>
                    <a:pt x="443898" y="574671"/>
                    <a:pt x="443358" y="573886"/>
                  </a:cubicBezTo>
                  <a:close/>
                  <a:moveTo>
                    <a:pt x="443101" y="572986"/>
                  </a:moveTo>
                  <a:lnTo>
                    <a:pt x="442522" y="571957"/>
                  </a:lnTo>
                  <a:close/>
                  <a:moveTo>
                    <a:pt x="441365" y="570028"/>
                  </a:moveTo>
                  <a:cubicBezTo>
                    <a:pt x="441384" y="569836"/>
                    <a:pt x="441384" y="569643"/>
                    <a:pt x="441365" y="569450"/>
                  </a:cubicBezTo>
                  <a:cubicBezTo>
                    <a:pt x="441210" y="569623"/>
                    <a:pt x="441043" y="569771"/>
                    <a:pt x="440850" y="569900"/>
                  </a:cubicBezTo>
                  <a:close/>
                  <a:moveTo>
                    <a:pt x="439886" y="679778"/>
                  </a:moveTo>
                  <a:cubicBezTo>
                    <a:pt x="439783" y="680241"/>
                    <a:pt x="439783" y="680730"/>
                    <a:pt x="439886" y="681192"/>
                  </a:cubicBezTo>
                  <a:cubicBezTo>
                    <a:pt x="439577" y="680710"/>
                    <a:pt x="439397" y="680157"/>
                    <a:pt x="439372" y="679585"/>
                  </a:cubicBezTo>
                  <a:close/>
                  <a:moveTo>
                    <a:pt x="444065" y="672449"/>
                  </a:moveTo>
                  <a:lnTo>
                    <a:pt x="442908" y="674184"/>
                  </a:lnTo>
                  <a:close/>
                  <a:moveTo>
                    <a:pt x="442265" y="675084"/>
                  </a:moveTo>
                  <a:lnTo>
                    <a:pt x="441365" y="676692"/>
                  </a:lnTo>
                  <a:close/>
                  <a:moveTo>
                    <a:pt x="440850" y="677656"/>
                  </a:moveTo>
                  <a:cubicBezTo>
                    <a:pt x="440613" y="678093"/>
                    <a:pt x="440394" y="678544"/>
                    <a:pt x="440207" y="679006"/>
                  </a:cubicBezTo>
                  <a:cubicBezTo>
                    <a:pt x="440220" y="678492"/>
                    <a:pt x="440259" y="677978"/>
                    <a:pt x="440336" y="677463"/>
                  </a:cubicBezTo>
                  <a:close/>
                  <a:moveTo>
                    <a:pt x="449466" y="688843"/>
                  </a:moveTo>
                  <a:lnTo>
                    <a:pt x="449466" y="688843"/>
                  </a:lnTo>
                  <a:close/>
                  <a:moveTo>
                    <a:pt x="450880" y="686143"/>
                  </a:moveTo>
                  <a:lnTo>
                    <a:pt x="450880" y="686143"/>
                  </a:lnTo>
                  <a:close/>
                  <a:moveTo>
                    <a:pt x="474926" y="709289"/>
                  </a:moveTo>
                  <a:lnTo>
                    <a:pt x="474926" y="709289"/>
                  </a:lnTo>
                  <a:close/>
                  <a:moveTo>
                    <a:pt x="538320" y="698616"/>
                  </a:moveTo>
                  <a:cubicBezTo>
                    <a:pt x="538403" y="699388"/>
                    <a:pt x="538403" y="700159"/>
                    <a:pt x="538320" y="700931"/>
                  </a:cubicBezTo>
                  <a:cubicBezTo>
                    <a:pt x="538249" y="700101"/>
                    <a:pt x="538076" y="699278"/>
                    <a:pt x="537806" y="698487"/>
                  </a:cubicBezTo>
                  <a:close/>
                  <a:moveTo>
                    <a:pt x="537806" y="696559"/>
                  </a:moveTo>
                  <a:cubicBezTo>
                    <a:pt x="537806" y="697201"/>
                    <a:pt x="538127" y="697844"/>
                    <a:pt x="538320" y="698487"/>
                  </a:cubicBezTo>
                  <a:cubicBezTo>
                    <a:pt x="537613" y="697652"/>
                    <a:pt x="537420" y="697009"/>
                    <a:pt x="537291" y="696366"/>
                  </a:cubicBezTo>
                  <a:close/>
                  <a:moveTo>
                    <a:pt x="603899" y="530938"/>
                  </a:moveTo>
                  <a:lnTo>
                    <a:pt x="603899" y="530938"/>
                  </a:lnTo>
                  <a:close/>
                  <a:moveTo>
                    <a:pt x="604800" y="530938"/>
                  </a:moveTo>
                  <a:lnTo>
                    <a:pt x="604800" y="530938"/>
                  </a:lnTo>
                  <a:close/>
                  <a:moveTo>
                    <a:pt x="716221" y="803158"/>
                  </a:moveTo>
                  <a:lnTo>
                    <a:pt x="715320" y="803608"/>
                  </a:lnTo>
                  <a:close/>
                  <a:moveTo>
                    <a:pt x="677644" y="823153"/>
                  </a:moveTo>
                  <a:lnTo>
                    <a:pt x="677130" y="823153"/>
                  </a:lnTo>
                  <a:close/>
                  <a:moveTo>
                    <a:pt x="676037" y="823860"/>
                  </a:moveTo>
                  <a:lnTo>
                    <a:pt x="675266" y="824182"/>
                  </a:lnTo>
                  <a:close/>
                  <a:moveTo>
                    <a:pt x="674623" y="824439"/>
                  </a:moveTo>
                  <a:lnTo>
                    <a:pt x="673722" y="824439"/>
                  </a:lnTo>
                  <a:close/>
                  <a:moveTo>
                    <a:pt x="649805" y="874138"/>
                  </a:moveTo>
                  <a:lnTo>
                    <a:pt x="648905" y="873752"/>
                  </a:lnTo>
                  <a:close/>
                  <a:moveTo>
                    <a:pt x="648391" y="829132"/>
                  </a:moveTo>
                  <a:cubicBezTo>
                    <a:pt x="648358" y="829389"/>
                    <a:pt x="648358" y="829647"/>
                    <a:pt x="648391" y="829904"/>
                  </a:cubicBezTo>
                  <a:cubicBezTo>
                    <a:pt x="648114" y="829685"/>
                    <a:pt x="647876" y="829428"/>
                    <a:pt x="647684" y="829132"/>
                  </a:cubicBezTo>
                  <a:close/>
                  <a:moveTo>
                    <a:pt x="646333" y="847649"/>
                  </a:moveTo>
                  <a:cubicBezTo>
                    <a:pt x="646372" y="847797"/>
                    <a:pt x="646372" y="847951"/>
                    <a:pt x="646333" y="848099"/>
                  </a:cubicBezTo>
                  <a:cubicBezTo>
                    <a:pt x="646179" y="847848"/>
                    <a:pt x="645915" y="847681"/>
                    <a:pt x="645626" y="847649"/>
                  </a:cubicBezTo>
                  <a:close/>
                  <a:moveTo>
                    <a:pt x="645819" y="850028"/>
                  </a:moveTo>
                  <a:cubicBezTo>
                    <a:pt x="645845" y="850195"/>
                    <a:pt x="645845" y="850375"/>
                    <a:pt x="645819" y="850542"/>
                  </a:cubicBezTo>
                  <a:cubicBezTo>
                    <a:pt x="645639" y="850304"/>
                    <a:pt x="645395" y="850131"/>
                    <a:pt x="645112" y="850028"/>
                  </a:cubicBezTo>
                  <a:close/>
                  <a:moveTo>
                    <a:pt x="646848" y="872916"/>
                  </a:moveTo>
                  <a:lnTo>
                    <a:pt x="645498" y="872273"/>
                  </a:lnTo>
                  <a:close/>
                  <a:moveTo>
                    <a:pt x="646848" y="845334"/>
                  </a:moveTo>
                  <a:cubicBezTo>
                    <a:pt x="646848" y="845334"/>
                    <a:pt x="646848" y="844691"/>
                    <a:pt x="646848" y="844370"/>
                  </a:cubicBezTo>
                  <a:cubicBezTo>
                    <a:pt x="646848" y="844049"/>
                    <a:pt x="646012" y="845013"/>
                    <a:pt x="646012" y="845334"/>
                  </a:cubicBezTo>
                  <a:close/>
                  <a:moveTo>
                    <a:pt x="647169" y="842184"/>
                  </a:moveTo>
                  <a:cubicBezTo>
                    <a:pt x="647169" y="841734"/>
                    <a:pt x="647169" y="841284"/>
                    <a:pt x="647169" y="840770"/>
                  </a:cubicBezTo>
                  <a:cubicBezTo>
                    <a:pt x="646398" y="841284"/>
                    <a:pt x="646333" y="841734"/>
                    <a:pt x="646333" y="842184"/>
                  </a:cubicBezTo>
                  <a:close/>
                  <a:moveTo>
                    <a:pt x="647169" y="838648"/>
                  </a:moveTo>
                  <a:cubicBezTo>
                    <a:pt x="647169" y="838005"/>
                    <a:pt x="647169" y="837426"/>
                    <a:pt x="647169" y="836848"/>
                  </a:cubicBezTo>
                  <a:close/>
                  <a:moveTo>
                    <a:pt x="647169" y="835112"/>
                  </a:moveTo>
                  <a:cubicBezTo>
                    <a:pt x="647169" y="834469"/>
                    <a:pt x="647169" y="833890"/>
                    <a:pt x="647169" y="833376"/>
                  </a:cubicBezTo>
                  <a:cubicBezTo>
                    <a:pt x="646912" y="833890"/>
                    <a:pt x="646912" y="834469"/>
                    <a:pt x="646848" y="835112"/>
                  </a:cubicBezTo>
                  <a:close/>
                  <a:moveTo>
                    <a:pt x="647169" y="832797"/>
                  </a:moveTo>
                  <a:cubicBezTo>
                    <a:pt x="647118" y="832328"/>
                    <a:pt x="647118" y="831852"/>
                    <a:pt x="647169" y="831383"/>
                  </a:cubicBezTo>
                  <a:cubicBezTo>
                    <a:pt x="647073" y="831846"/>
                    <a:pt x="647034" y="832321"/>
                    <a:pt x="647041" y="832797"/>
                  </a:cubicBezTo>
                  <a:close/>
                  <a:moveTo>
                    <a:pt x="647876" y="828682"/>
                  </a:moveTo>
                  <a:cubicBezTo>
                    <a:pt x="647876" y="827782"/>
                    <a:pt x="647876" y="826754"/>
                    <a:pt x="648262" y="825725"/>
                  </a:cubicBezTo>
                  <a:cubicBezTo>
                    <a:pt x="648005" y="827075"/>
                    <a:pt x="647876" y="827782"/>
                    <a:pt x="647748" y="828682"/>
                  </a:cubicBezTo>
                  <a:close/>
                  <a:moveTo>
                    <a:pt x="641447" y="870409"/>
                  </a:moveTo>
                  <a:lnTo>
                    <a:pt x="643183" y="871309"/>
                  </a:lnTo>
                  <a:close/>
                  <a:moveTo>
                    <a:pt x="844679" y="1013527"/>
                  </a:moveTo>
                  <a:lnTo>
                    <a:pt x="845515" y="1013527"/>
                  </a:lnTo>
                  <a:close/>
                  <a:moveTo>
                    <a:pt x="842043" y="1014298"/>
                  </a:moveTo>
                  <a:lnTo>
                    <a:pt x="842751" y="1014298"/>
                  </a:lnTo>
                  <a:close/>
                  <a:moveTo>
                    <a:pt x="891550" y="963635"/>
                  </a:moveTo>
                  <a:lnTo>
                    <a:pt x="891550" y="963635"/>
                  </a:lnTo>
                  <a:close/>
                  <a:moveTo>
                    <a:pt x="889942" y="963635"/>
                  </a:moveTo>
                  <a:lnTo>
                    <a:pt x="891100" y="963635"/>
                  </a:lnTo>
                  <a:cubicBezTo>
                    <a:pt x="889621" y="963635"/>
                    <a:pt x="887435" y="963635"/>
                    <a:pt x="884670" y="963185"/>
                  </a:cubicBezTo>
                  <a:close/>
                  <a:moveTo>
                    <a:pt x="884606" y="963249"/>
                  </a:moveTo>
                  <a:lnTo>
                    <a:pt x="882999" y="963249"/>
                  </a:lnTo>
                  <a:close/>
                  <a:moveTo>
                    <a:pt x="882291" y="963249"/>
                  </a:moveTo>
                  <a:lnTo>
                    <a:pt x="880877" y="963249"/>
                  </a:lnTo>
                  <a:close/>
                  <a:moveTo>
                    <a:pt x="879720" y="963249"/>
                  </a:moveTo>
                  <a:lnTo>
                    <a:pt x="878498" y="963249"/>
                  </a:lnTo>
                  <a:close/>
                  <a:moveTo>
                    <a:pt x="876826" y="962928"/>
                  </a:moveTo>
                  <a:lnTo>
                    <a:pt x="876826" y="962928"/>
                  </a:lnTo>
                  <a:close/>
                  <a:moveTo>
                    <a:pt x="868725" y="961899"/>
                  </a:moveTo>
                  <a:lnTo>
                    <a:pt x="868725" y="961899"/>
                  </a:lnTo>
                  <a:close/>
                  <a:moveTo>
                    <a:pt x="866668" y="961899"/>
                  </a:moveTo>
                  <a:lnTo>
                    <a:pt x="866668" y="961899"/>
                  </a:lnTo>
                  <a:close/>
                  <a:moveTo>
                    <a:pt x="864803" y="961899"/>
                  </a:moveTo>
                  <a:lnTo>
                    <a:pt x="864289" y="961899"/>
                  </a:lnTo>
                  <a:close/>
                  <a:moveTo>
                    <a:pt x="863260" y="961578"/>
                  </a:moveTo>
                  <a:lnTo>
                    <a:pt x="863260" y="961578"/>
                  </a:lnTo>
                  <a:close/>
                  <a:moveTo>
                    <a:pt x="862103" y="961578"/>
                  </a:moveTo>
                  <a:lnTo>
                    <a:pt x="862103" y="961578"/>
                  </a:lnTo>
                  <a:close/>
                  <a:moveTo>
                    <a:pt x="871040" y="1006583"/>
                  </a:moveTo>
                  <a:cubicBezTo>
                    <a:pt x="864611" y="1008640"/>
                    <a:pt x="858181" y="1010826"/>
                    <a:pt x="852266" y="1012562"/>
                  </a:cubicBezTo>
                  <a:lnTo>
                    <a:pt x="851109" y="1012948"/>
                  </a:lnTo>
                  <a:cubicBezTo>
                    <a:pt x="857024" y="1010055"/>
                    <a:pt x="864289" y="1007740"/>
                    <a:pt x="871040" y="1005490"/>
                  </a:cubicBezTo>
                  <a:close/>
                  <a:moveTo>
                    <a:pt x="890328" y="999768"/>
                  </a:moveTo>
                  <a:lnTo>
                    <a:pt x="889621" y="1000089"/>
                  </a:lnTo>
                  <a:close/>
                  <a:moveTo>
                    <a:pt x="889299" y="1000218"/>
                  </a:moveTo>
                  <a:lnTo>
                    <a:pt x="888142" y="1000668"/>
                  </a:lnTo>
                  <a:close/>
                  <a:moveTo>
                    <a:pt x="887756" y="1000861"/>
                  </a:moveTo>
                  <a:lnTo>
                    <a:pt x="885635" y="1001632"/>
                  </a:lnTo>
                  <a:close/>
                  <a:moveTo>
                    <a:pt x="885313" y="1001761"/>
                  </a:moveTo>
                  <a:lnTo>
                    <a:pt x="882934" y="1002597"/>
                  </a:lnTo>
                  <a:close/>
                  <a:moveTo>
                    <a:pt x="882291" y="1002790"/>
                  </a:moveTo>
                  <a:lnTo>
                    <a:pt x="879334" y="1003818"/>
                  </a:lnTo>
                  <a:close/>
                  <a:moveTo>
                    <a:pt x="879141" y="1003883"/>
                  </a:moveTo>
                  <a:lnTo>
                    <a:pt x="875669" y="1005040"/>
                  </a:lnTo>
                  <a:close/>
                  <a:moveTo>
                    <a:pt x="874833" y="1005362"/>
                  </a:moveTo>
                  <a:lnTo>
                    <a:pt x="871747" y="1006326"/>
                  </a:lnTo>
                  <a:close/>
                  <a:moveTo>
                    <a:pt x="847894" y="1013913"/>
                  </a:moveTo>
                  <a:lnTo>
                    <a:pt x="849309" y="1013462"/>
                  </a:lnTo>
                  <a:close/>
                  <a:moveTo>
                    <a:pt x="877984" y="769275"/>
                  </a:moveTo>
                  <a:cubicBezTo>
                    <a:pt x="876055" y="772168"/>
                    <a:pt x="861782" y="774804"/>
                    <a:pt x="851109" y="775126"/>
                  </a:cubicBezTo>
                  <a:cubicBezTo>
                    <a:pt x="840436" y="775447"/>
                    <a:pt x="839729" y="761560"/>
                    <a:pt x="828349" y="761560"/>
                  </a:cubicBezTo>
                  <a:cubicBezTo>
                    <a:pt x="820370" y="761135"/>
                    <a:pt x="813934" y="754867"/>
                    <a:pt x="813304" y="746901"/>
                  </a:cubicBezTo>
                  <a:cubicBezTo>
                    <a:pt x="813105" y="744252"/>
                    <a:pt x="813883" y="741622"/>
                    <a:pt x="815490" y="739507"/>
                  </a:cubicBezTo>
                  <a:cubicBezTo>
                    <a:pt x="821920" y="731792"/>
                    <a:pt x="826484" y="719704"/>
                    <a:pt x="822820" y="713082"/>
                  </a:cubicBezTo>
                  <a:cubicBezTo>
                    <a:pt x="819438" y="708074"/>
                    <a:pt x="815747" y="703284"/>
                    <a:pt x="811761" y="698745"/>
                  </a:cubicBezTo>
                  <a:cubicBezTo>
                    <a:pt x="804753" y="690193"/>
                    <a:pt x="797295" y="680742"/>
                    <a:pt x="797488" y="677078"/>
                  </a:cubicBezTo>
                  <a:cubicBezTo>
                    <a:pt x="797874" y="670648"/>
                    <a:pt x="800446" y="666791"/>
                    <a:pt x="792730" y="660168"/>
                  </a:cubicBezTo>
                  <a:cubicBezTo>
                    <a:pt x="785015" y="653546"/>
                    <a:pt x="793437" y="649110"/>
                    <a:pt x="799160" y="642166"/>
                  </a:cubicBezTo>
                  <a:cubicBezTo>
                    <a:pt x="804882" y="635222"/>
                    <a:pt x="814526" y="633165"/>
                    <a:pt x="821148" y="628729"/>
                  </a:cubicBezTo>
                  <a:lnTo>
                    <a:pt x="821148" y="628729"/>
                  </a:lnTo>
                  <a:cubicBezTo>
                    <a:pt x="821913" y="628227"/>
                    <a:pt x="822646" y="627668"/>
                    <a:pt x="823334" y="627057"/>
                  </a:cubicBezTo>
                  <a:cubicBezTo>
                    <a:pt x="830393" y="620583"/>
                    <a:pt x="839928" y="617509"/>
                    <a:pt x="849437" y="618635"/>
                  </a:cubicBezTo>
                  <a:cubicBezTo>
                    <a:pt x="857860" y="620821"/>
                    <a:pt x="864868" y="617156"/>
                    <a:pt x="868725" y="622299"/>
                  </a:cubicBezTo>
                  <a:cubicBezTo>
                    <a:pt x="872583" y="627443"/>
                    <a:pt x="868725" y="637023"/>
                    <a:pt x="870204" y="640687"/>
                  </a:cubicBezTo>
                  <a:cubicBezTo>
                    <a:pt x="871683" y="644352"/>
                    <a:pt x="863775" y="644738"/>
                    <a:pt x="858053" y="643966"/>
                  </a:cubicBezTo>
                  <a:cubicBezTo>
                    <a:pt x="852330" y="643195"/>
                    <a:pt x="841143" y="646217"/>
                    <a:pt x="842622" y="649496"/>
                  </a:cubicBezTo>
                  <a:cubicBezTo>
                    <a:pt x="844101" y="652775"/>
                    <a:pt x="848151" y="660554"/>
                    <a:pt x="840822" y="656504"/>
                  </a:cubicBezTo>
                  <a:cubicBezTo>
                    <a:pt x="833492" y="652453"/>
                    <a:pt x="830535" y="660490"/>
                    <a:pt x="834393" y="660490"/>
                  </a:cubicBezTo>
                  <a:cubicBezTo>
                    <a:pt x="838250" y="660490"/>
                    <a:pt x="843908" y="665312"/>
                    <a:pt x="843908" y="668591"/>
                  </a:cubicBezTo>
                  <a:cubicBezTo>
                    <a:pt x="843908" y="671870"/>
                    <a:pt x="844294" y="679264"/>
                    <a:pt x="847959" y="678171"/>
                  </a:cubicBezTo>
                  <a:cubicBezTo>
                    <a:pt x="851623" y="677078"/>
                    <a:pt x="851623" y="683636"/>
                    <a:pt x="856767" y="683314"/>
                  </a:cubicBezTo>
                  <a:cubicBezTo>
                    <a:pt x="861910" y="682993"/>
                    <a:pt x="866668" y="684793"/>
                    <a:pt x="862682" y="689744"/>
                  </a:cubicBezTo>
                  <a:cubicBezTo>
                    <a:pt x="858696" y="694694"/>
                    <a:pt x="865189" y="707746"/>
                    <a:pt x="866668" y="704788"/>
                  </a:cubicBezTo>
                  <a:cubicBezTo>
                    <a:pt x="867632" y="702924"/>
                    <a:pt x="866668" y="698938"/>
                    <a:pt x="868275" y="696366"/>
                  </a:cubicBezTo>
                  <a:cubicBezTo>
                    <a:pt x="869111" y="694887"/>
                    <a:pt x="870783" y="693858"/>
                    <a:pt x="874062" y="694180"/>
                  </a:cubicBezTo>
                  <a:cubicBezTo>
                    <a:pt x="882870" y="694887"/>
                    <a:pt x="878819" y="705174"/>
                    <a:pt x="883577" y="705560"/>
                  </a:cubicBezTo>
                  <a:cubicBezTo>
                    <a:pt x="888335" y="705946"/>
                    <a:pt x="893864" y="713275"/>
                    <a:pt x="889492" y="712889"/>
                  </a:cubicBezTo>
                  <a:cubicBezTo>
                    <a:pt x="885120" y="712503"/>
                    <a:pt x="881391" y="716940"/>
                    <a:pt x="876633" y="715461"/>
                  </a:cubicBezTo>
                  <a:cubicBezTo>
                    <a:pt x="871876" y="713982"/>
                    <a:pt x="866732" y="710317"/>
                    <a:pt x="865254" y="715461"/>
                  </a:cubicBezTo>
                  <a:cubicBezTo>
                    <a:pt x="863775" y="720604"/>
                    <a:pt x="861975" y="726134"/>
                    <a:pt x="867825" y="725748"/>
                  </a:cubicBezTo>
                  <a:cubicBezTo>
                    <a:pt x="873676" y="725362"/>
                    <a:pt x="872583" y="729413"/>
                    <a:pt x="868597" y="733463"/>
                  </a:cubicBezTo>
                  <a:cubicBezTo>
                    <a:pt x="864611" y="737514"/>
                    <a:pt x="875026" y="732692"/>
                    <a:pt x="875541" y="736421"/>
                  </a:cubicBezTo>
                  <a:cubicBezTo>
                    <a:pt x="876055" y="740150"/>
                    <a:pt x="879591" y="740471"/>
                    <a:pt x="878112" y="746322"/>
                  </a:cubicBezTo>
                  <a:cubicBezTo>
                    <a:pt x="877534" y="751858"/>
                    <a:pt x="877534" y="757438"/>
                    <a:pt x="878112" y="762974"/>
                  </a:cubicBezTo>
                  <a:cubicBezTo>
                    <a:pt x="878357" y="764704"/>
                    <a:pt x="878337" y="766459"/>
                    <a:pt x="878048" y="768182"/>
                  </a:cubicBezTo>
                  <a:close/>
                  <a:moveTo>
                    <a:pt x="966645" y="870666"/>
                  </a:moveTo>
                  <a:lnTo>
                    <a:pt x="967095" y="871245"/>
                  </a:lnTo>
                  <a:close/>
                  <a:moveTo>
                    <a:pt x="966002" y="869573"/>
                  </a:moveTo>
                  <a:cubicBezTo>
                    <a:pt x="966002" y="869573"/>
                    <a:pt x="966002" y="869573"/>
                    <a:pt x="966002" y="869959"/>
                  </a:cubicBezTo>
                  <a:cubicBezTo>
                    <a:pt x="966002" y="870345"/>
                    <a:pt x="966066" y="868609"/>
                    <a:pt x="966066" y="868480"/>
                  </a:cubicBezTo>
                  <a:close/>
                  <a:moveTo>
                    <a:pt x="1032610" y="761109"/>
                  </a:moveTo>
                  <a:cubicBezTo>
                    <a:pt x="1034796" y="762357"/>
                    <a:pt x="1037297" y="762942"/>
                    <a:pt x="1039811" y="762781"/>
                  </a:cubicBezTo>
                  <a:cubicBezTo>
                    <a:pt x="1037201" y="762646"/>
                    <a:pt x="1034693" y="761682"/>
                    <a:pt x="1032675" y="760017"/>
                  </a:cubicBezTo>
                  <a:close/>
                  <a:moveTo>
                    <a:pt x="1052477" y="766253"/>
                  </a:moveTo>
                  <a:cubicBezTo>
                    <a:pt x="1052078" y="766054"/>
                    <a:pt x="1051635" y="765944"/>
                    <a:pt x="1051191" y="765932"/>
                  </a:cubicBezTo>
                  <a:cubicBezTo>
                    <a:pt x="1051570" y="765565"/>
                    <a:pt x="1052033" y="765301"/>
                    <a:pt x="1052541" y="765160"/>
                  </a:cubicBezTo>
                  <a:close/>
                  <a:moveTo>
                    <a:pt x="1053891" y="766896"/>
                  </a:moveTo>
                  <a:lnTo>
                    <a:pt x="1052991" y="766446"/>
                  </a:lnTo>
                  <a:close/>
                  <a:moveTo>
                    <a:pt x="1054470" y="766896"/>
                  </a:moveTo>
                  <a:lnTo>
                    <a:pt x="1055434" y="767475"/>
                  </a:lnTo>
                  <a:close/>
                  <a:moveTo>
                    <a:pt x="1059678" y="769725"/>
                  </a:moveTo>
                  <a:cubicBezTo>
                    <a:pt x="1059974" y="769789"/>
                    <a:pt x="1060282" y="769789"/>
                    <a:pt x="1060578" y="769725"/>
                  </a:cubicBezTo>
                  <a:cubicBezTo>
                    <a:pt x="1060263" y="769622"/>
                    <a:pt x="1059974" y="769448"/>
                    <a:pt x="1059742" y="769211"/>
                  </a:cubicBezTo>
                  <a:close/>
                  <a:moveTo>
                    <a:pt x="1061028" y="769725"/>
                  </a:moveTo>
                  <a:cubicBezTo>
                    <a:pt x="1061465" y="769513"/>
                    <a:pt x="1061812" y="769146"/>
                    <a:pt x="1061992" y="768696"/>
                  </a:cubicBezTo>
                  <a:cubicBezTo>
                    <a:pt x="1061710" y="768812"/>
                    <a:pt x="1061401" y="768857"/>
                    <a:pt x="1061092" y="768825"/>
                  </a:cubicBezTo>
                  <a:close/>
                  <a:moveTo>
                    <a:pt x="1104234" y="774290"/>
                  </a:moveTo>
                  <a:lnTo>
                    <a:pt x="1104683" y="774290"/>
                  </a:lnTo>
                  <a:close/>
                  <a:moveTo>
                    <a:pt x="1105648" y="774290"/>
                  </a:moveTo>
                  <a:lnTo>
                    <a:pt x="1105648" y="774290"/>
                  </a:lnTo>
                  <a:close/>
                  <a:moveTo>
                    <a:pt x="1107898" y="773968"/>
                  </a:moveTo>
                  <a:lnTo>
                    <a:pt x="1107320" y="773968"/>
                  </a:lnTo>
                  <a:close/>
                  <a:moveTo>
                    <a:pt x="1109184" y="773647"/>
                  </a:moveTo>
                  <a:lnTo>
                    <a:pt x="1110213" y="773261"/>
                  </a:lnTo>
                  <a:lnTo>
                    <a:pt x="1109248" y="773582"/>
                  </a:lnTo>
                  <a:close/>
                  <a:moveTo>
                    <a:pt x="1138695" y="766574"/>
                  </a:moveTo>
                  <a:lnTo>
                    <a:pt x="1137730" y="766574"/>
                  </a:lnTo>
                  <a:close/>
                  <a:moveTo>
                    <a:pt x="1136445" y="766060"/>
                  </a:moveTo>
                  <a:lnTo>
                    <a:pt x="1136445" y="766060"/>
                  </a:lnTo>
                  <a:close/>
                  <a:moveTo>
                    <a:pt x="1128279" y="762331"/>
                  </a:moveTo>
                  <a:cubicBezTo>
                    <a:pt x="1124975" y="763630"/>
                    <a:pt x="1121979" y="765604"/>
                    <a:pt x="1119471" y="768117"/>
                  </a:cubicBezTo>
                  <a:cubicBezTo>
                    <a:pt x="1121934" y="765359"/>
                    <a:pt x="1124962" y="763167"/>
                    <a:pt x="1128344" y="761688"/>
                  </a:cubicBezTo>
                  <a:close/>
                  <a:moveTo>
                    <a:pt x="1289978" y="577872"/>
                  </a:moveTo>
                  <a:lnTo>
                    <a:pt x="1289978" y="577872"/>
                  </a:lnTo>
                  <a:close/>
                  <a:moveTo>
                    <a:pt x="1644429" y="570864"/>
                  </a:moveTo>
                  <a:lnTo>
                    <a:pt x="1644429" y="570864"/>
                  </a:lnTo>
                  <a:close/>
                  <a:moveTo>
                    <a:pt x="1512499" y="529974"/>
                  </a:moveTo>
                  <a:cubicBezTo>
                    <a:pt x="1517449" y="518979"/>
                    <a:pt x="1536288" y="513321"/>
                    <a:pt x="1545610" y="498598"/>
                  </a:cubicBezTo>
                  <a:cubicBezTo>
                    <a:pt x="1552039" y="488118"/>
                    <a:pt x="1557697" y="472109"/>
                    <a:pt x="1561555" y="473202"/>
                  </a:cubicBezTo>
                  <a:cubicBezTo>
                    <a:pt x="1565412" y="474295"/>
                    <a:pt x="1558276" y="507921"/>
                    <a:pt x="1547796" y="517308"/>
                  </a:cubicBezTo>
                  <a:cubicBezTo>
                    <a:pt x="1537316" y="526695"/>
                    <a:pt x="1516356" y="528880"/>
                    <a:pt x="1516356" y="536596"/>
                  </a:cubicBezTo>
                  <a:cubicBezTo>
                    <a:pt x="1516356" y="544311"/>
                    <a:pt x="1491025" y="548169"/>
                    <a:pt x="1488839" y="544890"/>
                  </a:cubicBezTo>
                  <a:cubicBezTo>
                    <a:pt x="1486653" y="541611"/>
                    <a:pt x="1507612" y="540389"/>
                    <a:pt x="1512563" y="529331"/>
                  </a:cubicBezTo>
                  <a:close/>
                  <a:moveTo>
                    <a:pt x="1301165" y="582887"/>
                  </a:moveTo>
                  <a:lnTo>
                    <a:pt x="1301165" y="582887"/>
                  </a:lnTo>
                  <a:close/>
                  <a:moveTo>
                    <a:pt x="1641922" y="570864"/>
                  </a:moveTo>
                  <a:cubicBezTo>
                    <a:pt x="1641369" y="570794"/>
                    <a:pt x="1640803" y="570794"/>
                    <a:pt x="1640250" y="570864"/>
                  </a:cubicBezTo>
                  <a:cubicBezTo>
                    <a:pt x="1640836" y="570556"/>
                    <a:pt x="1641465" y="570337"/>
                    <a:pt x="1642115" y="570221"/>
                  </a:cubicBezTo>
                  <a:close/>
                  <a:moveTo>
                    <a:pt x="1644494" y="570864"/>
                  </a:moveTo>
                  <a:cubicBezTo>
                    <a:pt x="1646127" y="571038"/>
                    <a:pt x="1647721" y="571424"/>
                    <a:pt x="1649251" y="572022"/>
                  </a:cubicBezTo>
                  <a:cubicBezTo>
                    <a:pt x="1647818" y="571218"/>
                    <a:pt x="1646281" y="570614"/>
                    <a:pt x="1644687" y="570221"/>
                  </a:cubicBezTo>
                  <a:close/>
                </a:path>
              </a:pathLst>
            </a:custGeom>
            <a:solidFill>
              <a:srgbClr val="99BDED"/>
            </a:solidFill>
            <a:ln w="6429" cap="flat">
              <a:solidFill>
                <a:srgbClr val="99BDED"/>
              </a:solidFill>
              <a:prstDash val="solid"/>
              <a:miter/>
            </a:ln>
          </p:spPr>
          <p:txBody>
            <a:bodyPr rtlCol="0" anchor="ctr"/>
            <a:lstStyle/>
            <a:p>
              <a:endParaRPr lang="en-GB" sz="2400" dirty="0">
                <a:solidFill>
                  <a:srgbClr val="FFFFFF"/>
                </a:solidFill>
              </a:endParaRPr>
            </a:p>
          </p:txBody>
        </p:sp>
        <p:sp>
          <p:nvSpPr>
            <p:cNvPr id="361" name="Freeform 151">
              <a:extLst>
                <a:ext uri="{FF2B5EF4-FFF2-40B4-BE49-F238E27FC236}">
                  <a16:creationId xmlns:a16="http://schemas.microsoft.com/office/drawing/2014/main" id="{A55106F6-6BF6-46B1-9B0E-D942890B05FE}"/>
                </a:ext>
              </a:extLst>
            </p:cNvPr>
            <p:cNvSpPr/>
            <p:nvPr/>
          </p:nvSpPr>
          <p:spPr>
            <a:xfrm>
              <a:off x="4958533" y="1605169"/>
              <a:ext cx="38576" cy="6429"/>
            </a:xfrm>
            <a:custGeom>
              <a:avLst/>
              <a:gdLst>
                <a:gd name="connsiteX0" fmla="*/ 20503 w 38576"/>
                <a:gd name="connsiteY0" fmla="*/ 7509 h 6429"/>
                <a:gd name="connsiteX1" fmla="*/ 41463 w 38576"/>
                <a:gd name="connsiteY1" fmla="*/ 3459 h 6429"/>
                <a:gd name="connsiteX2" fmla="*/ 19410 w 38576"/>
                <a:gd name="connsiteY2" fmla="*/ 1980 h 6429"/>
                <a:gd name="connsiteX3" fmla="*/ 122 w 38576"/>
                <a:gd name="connsiteY3" fmla="*/ 6738 h 6429"/>
                <a:gd name="connsiteX4" fmla="*/ 20285 w 38576"/>
                <a:gd name="connsiteY4" fmla="*/ 7715 h 6429"/>
                <a:gd name="connsiteX5" fmla="*/ 20503 w 38576"/>
                <a:gd name="connsiteY5" fmla="*/ 7509 h 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76" h="6429">
                  <a:moveTo>
                    <a:pt x="20503" y="7509"/>
                  </a:moveTo>
                  <a:cubicBezTo>
                    <a:pt x="28990" y="-206"/>
                    <a:pt x="39791" y="7124"/>
                    <a:pt x="41463" y="3459"/>
                  </a:cubicBezTo>
                  <a:cubicBezTo>
                    <a:pt x="43135" y="-206"/>
                    <a:pt x="25647" y="-1363"/>
                    <a:pt x="19410" y="1980"/>
                  </a:cubicBezTo>
                  <a:cubicBezTo>
                    <a:pt x="13174" y="5323"/>
                    <a:pt x="-1485" y="2623"/>
                    <a:pt x="122" y="6738"/>
                  </a:cubicBezTo>
                  <a:cubicBezTo>
                    <a:pt x="5420" y="12576"/>
                    <a:pt x="14447" y="13013"/>
                    <a:pt x="20285" y="7715"/>
                  </a:cubicBezTo>
                  <a:cubicBezTo>
                    <a:pt x="20355" y="7644"/>
                    <a:pt x="20433" y="7580"/>
                    <a:pt x="20503" y="7509"/>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62" name="Freeform 152">
              <a:extLst>
                <a:ext uri="{FF2B5EF4-FFF2-40B4-BE49-F238E27FC236}">
                  <a16:creationId xmlns:a16="http://schemas.microsoft.com/office/drawing/2014/main" id="{865910D0-174A-46BE-8EF8-84E979D13C5F}"/>
                </a:ext>
              </a:extLst>
            </p:cNvPr>
            <p:cNvSpPr/>
            <p:nvPr/>
          </p:nvSpPr>
          <p:spPr>
            <a:xfrm>
              <a:off x="4995338" y="1893021"/>
              <a:ext cx="25718" cy="12859"/>
            </a:xfrm>
            <a:custGeom>
              <a:avLst/>
              <a:gdLst>
                <a:gd name="connsiteX0" fmla="*/ 2409 w 25717"/>
                <a:gd name="connsiteY0" fmla="*/ 13222 h 12858"/>
                <a:gd name="connsiteX1" fmla="*/ 25619 w 25717"/>
                <a:gd name="connsiteY1" fmla="*/ 8465 h 12858"/>
                <a:gd name="connsiteX2" fmla="*/ 14560 w 25717"/>
                <a:gd name="connsiteY2" fmla="*/ 363 h 12858"/>
                <a:gd name="connsiteX3" fmla="*/ 2409 w 25717"/>
                <a:gd name="connsiteY3" fmla="*/ 13222 h 12858"/>
              </a:gdLst>
              <a:ahLst/>
              <a:cxnLst>
                <a:cxn ang="0">
                  <a:pos x="connsiteX0" y="connsiteY0"/>
                </a:cxn>
                <a:cxn ang="0">
                  <a:pos x="connsiteX1" y="connsiteY1"/>
                </a:cxn>
                <a:cxn ang="0">
                  <a:pos x="connsiteX2" y="connsiteY2"/>
                </a:cxn>
                <a:cxn ang="0">
                  <a:pos x="connsiteX3" y="connsiteY3"/>
                </a:cxn>
              </a:cxnLst>
              <a:rect l="l" t="t" r="r" b="b"/>
              <a:pathLst>
                <a:path w="25717" h="12858">
                  <a:moveTo>
                    <a:pt x="2409" y="13222"/>
                  </a:moveTo>
                  <a:cubicBezTo>
                    <a:pt x="12374" y="22416"/>
                    <a:pt x="20797" y="9172"/>
                    <a:pt x="25619" y="8465"/>
                  </a:cubicBezTo>
                  <a:cubicBezTo>
                    <a:pt x="30441" y="7757"/>
                    <a:pt x="22661" y="2549"/>
                    <a:pt x="14560" y="363"/>
                  </a:cubicBezTo>
                  <a:cubicBezTo>
                    <a:pt x="6459" y="-1822"/>
                    <a:pt x="-5049" y="6279"/>
                    <a:pt x="2409" y="13222"/>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63" name="Freeform 153">
              <a:extLst>
                <a:ext uri="{FF2B5EF4-FFF2-40B4-BE49-F238E27FC236}">
                  <a16:creationId xmlns:a16="http://schemas.microsoft.com/office/drawing/2014/main" id="{723814C0-3840-4C1A-A936-006B2C9732B2}"/>
                </a:ext>
              </a:extLst>
            </p:cNvPr>
            <p:cNvSpPr/>
            <p:nvPr/>
          </p:nvSpPr>
          <p:spPr>
            <a:xfrm>
              <a:off x="5772341" y="1776108"/>
              <a:ext cx="19288" cy="6429"/>
            </a:xfrm>
            <a:custGeom>
              <a:avLst/>
              <a:gdLst>
                <a:gd name="connsiteX0" fmla="*/ 7731 w 19288"/>
                <a:gd name="connsiteY0" fmla="*/ 2256 h 6429"/>
                <a:gd name="connsiteX1" fmla="*/ 337 w 19288"/>
                <a:gd name="connsiteY1" fmla="*/ 8106 h 6429"/>
                <a:gd name="connsiteX2" fmla="*/ 22776 w 19288"/>
                <a:gd name="connsiteY2" fmla="*/ 4442 h 6429"/>
                <a:gd name="connsiteX3" fmla="*/ 7731 w 19288"/>
                <a:gd name="connsiteY3" fmla="*/ 2256 h 6429"/>
              </a:gdLst>
              <a:ahLst/>
              <a:cxnLst>
                <a:cxn ang="0">
                  <a:pos x="connsiteX0" y="connsiteY0"/>
                </a:cxn>
                <a:cxn ang="0">
                  <a:pos x="connsiteX1" y="connsiteY1"/>
                </a:cxn>
                <a:cxn ang="0">
                  <a:pos x="connsiteX2" y="connsiteY2"/>
                </a:cxn>
                <a:cxn ang="0">
                  <a:pos x="connsiteX3" y="connsiteY3"/>
                </a:cxn>
              </a:cxnLst>
              <a:rect l="l" t="t" r="r" b="b"/>
              <a:pathLst>
                <a:path w="19288" h="6429">
                  <a:moveTo>
                    <a:pt x="7731" y="2256"/>
                  </a:moveTo>
                  <a:cubicBezTo>
                    <a:pt x="6252" y="5213"/>
                    <a:pt x="-1720" y="5406"/>
                    <a:pt x="337" y="8106"/>
                  </a:cubicBezTo>
                  <a:cubicBezTo>
                    <a:pt x="4066" y="12928"/>
                    <a:pt x="22390" y="10357"/>
                    <a:pt x="22776" y="4442"/>
                  </a:cubicBezTo>
                  <a:cubicBezTo>
                    <a:pt x="23161" y="-1473"/>
                    <a:pt x="9210" y="-702"/>
                    <a:pt x="7731" y="2256"/>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64" name="Freeform 154">
              <a:extLst>
                <a:ext uri="{FF2B5EF4-FFF2-40B4-BE49-F238E27FC236}">
                  <a16:creationId xmlns:a16="http://schemas.microsoft.com/office/drawing/2014/main" id="{4BFB5128-268A-48EC-86AC-FC99E3B94655}"/>
                </a:ext>
              </a:extLst>
            </p:cNvPr>
            <p:cNvSpPr/>
            <p:nvPr/>
          </p:nvSpPr>
          <p:spPr>
            <a:xfrm>
              <a:off x="6150716" y="2192189"/>
              <a:ext cx="32147" cy="135017"/>
            </a:xfrm>
            <a:custGeom>
              <a:avLst/>
              <a:gdLst>
                <a:gd name="connsiteX0" fmla="*/ 18460 w 32146"/>
                <a:gd name="connsiteY0" fmla="*/ 41439 h 135016"/>
                <a:gd name="connsiteX1" fmla="*/ 16982 w 32146"/>
                <a:gd name="connsiteY1" fmla="*/ 14950 h 135016"/>
                <a:gd name="connsiteX2" fmla="*/ 8881 w 32146"/>
                <a:gd name="connsiteY2" fmla="*/ 291 h 135016"/>
                <a:gd name="connsiteX3" fmla="*/ 3030 w 32146"/>
                <a:gd name="connsiteY3" fmla="*/ 13149 h 135016"/>
                <a:gd name="connsiteX4" fmla="*/ 458 w 32146"/>
                <a:gd name="connsiteY4" fmla="*/ 26715 h 135016"/>
                <a:gd name="connsiteX5" fmla="*/ 4509 w 32146"/>
                <a:gd name="connsiteY5" fmla="*/ 51340 h 135016"/>
                <a:gd name="connsiteX6" fmla="*/ 3416 w 32146"/>
                <a:gd name="connsiteY6" fmla="*/ 99110 h 135016"/>
                <a:gd name="connsiteX7" fmla="*/ 1165 w 32146"/>
                <a:gd name="connsiteY7" fmla="*/ 134022 h 135016"/>
                <a:gd name="connsiteX8" fmla="*/ 9267 w 32146"/>
                <a:gd name="connsiteY8" fmla="*/ 125921 h 135016"/>
                <a:gd name="connsiteX9" fmla="*/ 19939 w 32146"/>
                <a:gd name="connsiteY9" fmla="*/ 135115 h 135016"/>
                <a:gd name="connsiteX10" fmla="*/ 17689 w 32146"/>
                <a:gd name="connsiteY10" fmla="*/ 124120 h 135016"/>
                <a:gd name="connsiteX11" fmla="*/ 9267 w 32146"/>
                <a:gd name="connsiteY11" fmla="*/ 109397 h 135016"/>
                <a:gd name="connsiteX12" fmla="*/ 12931 w 32146"/>
                <a:gd name="connsiteY12" fmla="*/ 89209 h 135016"/>
                <a:gd name="connsiteX13" fmla="*/ 27654 w 32146"/>
                <a:gd name="connsiteY13" fmla="*/ 87730 h 135016"/>
                <a:gd name="connsiteX14" fmla="*/ 31705 w 32146"/>
                <a:gd name="connsiteY14" fmla="*/ 85544 h 135016"/>
                <a:gd name="connsiteX15" fmla="*/ 18460 w 32146"/>
                <a:gd name="connsiteY15" fmla="*/ 41439 h 13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146" h="135016">
                  <a:moveTo>
                    <a:pt x="18460" y="41439"/>
                  </a:moveTo>
                  <a:cubicBezTo>
                    <a:pt x="14410" y="30766"/>
                    <a:pt x="24311" y="20479"/>
                    <a:pt x="16982" y="14950"/>
                  </a:cubicBezTo>
                  <a:cubicBezTo>
                    <a:pt x="9652" y="9420"/>
                    <a:pt x="12546" y="-1960"/>
                    <a:pt x="8881" y="291"/>
                  </a:cubicBezTo>
                  <a:cubicBezTo>
                    <a:pt x="5216" y="2541"/>
                    <a:pt x="8881" y="12378"/>
                    <a:pt x="3030" y="13149"/>
                  </a:cubicBezTo>
                  <a:cubicBezTo>
                    <a:pt x="-2821" y="13921"/>
                    <a:pt x="2644" y="19579"/>
                    <a:pt x="458" y="26715"/>
                  </a:cubicBezTo>
                  <a:cubicBezTo>
                    <a:pt x="-821" y="35144"/>
                    <a:pt x="593" y="43766"/>
                    <a:pt x="4509" y="51340"/>
                  </a:cubicBezTo>
                  <a:cubicBezTo>
                    <a:pt x="7402" y="57769"/>
                    <a:pt x="458" y="93259"/>
                    <a:pt x="3416" y="99110"/>
                  </a:cubicBezTo>
                  <a:cubicBezTo>
                    <a:pt x="6373" y="104961"/>
                    <a:pt x="-1406" y="131257"/>
                    <a:pt x="1165" y="134022"/>
                  </a:cubicBezTo>
                  <a:cubicBezTo>
                    <a:pt x="5602" y="139165"/>
                    <a:pt x="2644" y="127014"/>
                    <a:pt x="9267" y="125921"/>
                  </a:cubicBezTo>
                  <a:cubicBezTo>
                    <a:pt x="15889" y="124828"/>
                    <a:pt x="15696" y="133314"/>
                    <a:pt x="19939" y="135115"/>
                  </a:cubicBezTo>
                  <a:cubicBezTo>
                    <a:pt x="24183" y="136915"/>
                    <a:pt x="21418" y="123349"/>
                    <a:pt x="17689" y="124120"/>
                  </a:cubicBezTo>
                  <a:cubicBezTo>
                    <a:pt x="13960" y="124892"/>
                    <a:pt x="11260" y="115248"/>
                    <a:pt x="9267" y="109397"/>
                  </a:cubicBezTo>
                  <a:cubicBezTo>
                    <a:pt x="7273" y="103546"/>
                    <a:pt x="12931" y="96538"/>
                    <a:pt x="12931" y="89209"/>
                  </a:cubicBezTo>
                  <a:cubicBezTo>
                    <a:pt x="12931" y="81879"/>
                    <a:pt x="22125" y="82201"/>
                    <a:pt x="27654" y="87730"/>
                  </a:cubicBezTo>
                  <a:cubicBezTo>
                    <a:pt x="33184" y="93259"/>
                    <a:pt x="34084" y="89530"/>
                    <a:pt x="31705" y="85544"/>
                  </a:cubicBezTo>
                  <a:cubicBezTo>
                    <a:pt x="29326" y="81558"/>
                    <a:pt x="22511" y="52111"/>
                    <a:pt x="18460" y="41439"/>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65" name="Freeform 155">
              <a:extLst>
                <a:ext uri="{FF2B5EF4-FFF2-40B4-BE49-F238E27FC236}">
                  <a16:creationId xmlns:a16="http://schemas.microsoft.com/office/drawing/2014/main" id="{EE4DFFC7-722E-4C55-98E8-4569F4156133}"/>
                </a:ext>
              </a:extLst>
            </p:cNvPr>
            <p:cNvSpPr/>
            <p:nvPr/>
          </p:nvSpPr>
          <p:spPr>
            <a:xfrm>
              <a:off x="5073469" y="1595605"/>
              <a:ext cx="38576" cy="12859"/>
            </a:xfrm>
            <a:custGeom>
              <a:avLst/>
              <a:gdLst>
                <a:gd name="connsiteX0" fmla="*/ 43734 w 38576"/>
                <a:gd name="connsiteY0" fmla="*/ 8201 h 12858"/>
                <a:gd name="connsiteX1" fmla="*/ 22389 w 38576"/>
                <a:gd name="connsiteY1" fmla="*/ 2737 h 12858"/>
                <a:gd name="connsiteX2" fmla="*/ 13580 w 38576"/>
                <a:gd name="connsiteY2" fmla="*/ 4537 h 12858"/>
                <a:gd name="connsiteX3" fmla="*/ 336 w 38576"/>
                <a:gd name="connsiteY3" fmla="*/ 12252 h 12858"/>
                <a:gd name="connsiteX4" fmla="*/ 43734 w 38576"/>
                <a:gd name="connsiteY4" fmla="*/ 8201 h 12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6" h="12858">
                  <a:moveTo>
                    <a:pt x="43734" y="8201"/>
                  </a:moveTo>
                  <a:cubicBezTo>
                    <a:pt x="44827" y="486"/>
                    <a:pt x="31968" y="6787"/>
                    <a:pt x="22389" y="2737"/>
                  </a:cubicBezTo>
                  <a:cubicBezTo>
                    <a:pt x="12809" y="-1314"/>
                    <a:pt x="7215" y="-993"/>
                    <a:pt x="13580" y="4537"/>
                  </a:cubicBezTo>
                  <a:cubicBezTo>
                    <a:pt x="16538" y="7108"/>
                    <a:pt x="-2750" y="9166"/>
                    <a:pt x="336" y="12252"/>
                  </a:cubicBezTo>
                  <a:cubicBezTo>
                    <a:pt x="7344" y="19260"/>
                    <a:pt x="42641" y="15917"/>
                    <a:pt x="43734" y="8201"/>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66" name="Freeform 156">
              <a:extLst>
                <a:ext uri="{FF2B5EF4-FFF2-40B4-BE49-F238E27FC236}">
                  <a16:creationId xmlns:a16="http://schemas.microsoft.com/office/drawing/2014/main" id="{75DCB6CC-E0A2-4AB1-9D98-3CEA7AFB4715}"/>
                </a:ext>
              </a:extLst>
            </p:cNvPr>
            <p:cNvSpPr/>
            <p:nvPr/>
          </p:nvSpPr>
          <p:spPr>
            <a:xfrm>
              <a:off x="4984673" y="1601673"/>
              <a:ext cx="51435" cy="19288"/>
            </a:xfrm>
            <a:custGeom>
              <a:avLst/>
              <a:gdLst>
                <a:gd name="connsiteX0" fmla="*/ 28889 w 51435"/>
                <a:gd name="connsiteY0" fmla="*/ 7661 h 19288"/>
                <a:gd name="connsiteX1" fmla="*/ 11980 w 51435"/>
                <a:gd name="connsiteY1" fmla="*/ 14091 h 19288"/>
                <a:gd name="connsiteX2" fmla="*/ 279 w 51435"/>
                <a:gd name="connsiteY2" fmla="*/ 20520 h 19288"/>
                <a:gd name="connsiteX3" fmla="*/ 20788 w 51435"/>
                <a:gd name="connsiteY3" fmla="*/ 21613 h 19288"/>
                <a:gd name="connsiteX4" fmla="*/ 30754 w 51435"/>
                <a:gd name="connsiteY4" fmla="*/ 17948 h 19288"/>
                <a:gd name="connsiteX5" fmla="*/ 45413 w 51435"/>
                <a:gd name="connsiteY5" fmla="*/ 10233 h 19288"/>
                <a:gd name="connsiteX6" fmla="*/ 46184 w 51435"/>
                <a:gd name="connsiteY6" fmla="*/ 1425 h 19288"/>
                <a:gd name="connsiteX7" fmla="*/ 28889 w 51435"/>
                <a:gd name="connsiteY7" fmla="*/ 7661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35" h="19288">
                  <a:moveTo>
                    <a:pt x="28889" y="7661"/>
                  </a:moveTo>
                  <a:cubicBezTo>
                    <a:pt x="34033" y="11326"/>
                    <a:pt x="14552" y="10233"/>
                    <a:pt x="11980" y="14091"/>
                  </a:cubicBezTo>
                  <a:cubicBezTo>
                    <a:pt x="9408" y="17948"/>
                    <a:pt x="-1907" y="16470"/>
                    <a:pt x="279" y="20520"/>
                  </a:cubicBezTo>
                  <a:cubicBezTo>
                    <a:pt x="2465" y="24571"/>
                    <a:pt x="20788" y="25278"/>
                    <a:pt x="20788" y="21613"/>
                  </a:cubicBezTo>
                  <a:cubicBezTo>
                    <a:pt x="20788" y="17948"/>
                    <a:pt x="30368" y="21613"/>
                    <a:pt x="30754" y="17948"/>
                  </a:cubicBezTo>
                  <a:cubicBezTo>
                    <a:pt x="31140" y="14284"/>
                    <a:pt x="35126" y="11005"/>
                    <a:pt x="45413" y="10233"/>
                  </a:cubicBezTo>
                  <a:cubicBezTo>
                    <a:pt x="55700" y="9462"/>
                    <a:pt x="55764" y="5861"/>
                    <a:pt x="46184" y="1425"/>
                  </a:cubicBezTo>
                  <a:cubicBezTo>
                    <a:pt x="36605" y="-3011"/>
                    <a:pt x="23746" y="3997"/>
                    <a:pt x="28889" y="7661"/>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67" name="Freeform 157">
              <a:extLst>
                <a:ext uri="{FF2B5EF4-FFF2-40B4-BE49-F238E27FC236}">
                  <a16:creationId xmlns:a16="http://schemas.microsoft.com/office/drawing/2014/main" id="{D86BB7BE-9AC6-46BA-9E9D-01C643EE8CF5}"/>
                </a:ext>
              </a:extLst>
            </p:cNvPr>
            <p:cNvSpPr/>
            <p:nvPr/>
          </p:nvSpPr>
          <p:spPr>
            <a:xfrm>
              <a:off x="5094762" y="1586594"/>
              <a:ext cx="38576" cy="6429"/>
            </a:xfrm>
            <a:custGeom>
              <a:avLst/>
              <a:gdLst>
                <a:gd name="connsiteX0" fmla="*/ 16206 w 38576"/>
                <a:gd name="connsiteY0" fmla="*/ 10268 h 6429"/>
                <a:gd name="connsiteX1" fmla="*/ 28293 w 38576"/>
                <a:gd name="connsiteY1" fmla="*/ 5510 h 6429"/>
                <a:gd name="connsiteX2" fmla="*/ 38966 w 38576"/>
                <a:gd name="connsiteY2" fmla="*/ 2167 h 6429"/>
                <a:gd name="connsiteX3" fmla="*/ 16913 w 38576"/>
                <a:gd name="connsiteY3" fmla="*/ 2939 h 6429"/>
                <a:gd name="connsiteX4" fmla="*/ 4 w 38576"/>
                <a:gd name="connsiteY4" fmla="*/ 5832 h 6429"/>
                <a:gd name="connsiteX5" fmla="*/ 16206 w 38576"/>
                <a:gd name="connsiteY5" fmla="*/ 10268 h 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76" h="6429">
                  <a:moveTo>
                    <a:pt x="16206" y="10268"/>
                  </a:moveTo>
                  <a:cubicBezTo>
                    <a:pt x="25014" y="10268"/>
                    <a:pt x="22635" y="4739"/>
                    <a:pt x="28293" y="5510"/>
                  </a:cubicBezTo>
                  <a:cubicBezTo>
                    <a:pt x="33951" y="6282"/>
                    <a:pt x="41923" y="5832"/>
                    <a:pt x="38966" y="2167"/>
                  </a:cubicBezTo>
                  <a:cubicBezTo>
                    <a:pt x="36008" y="-1498"/>
                    <a:pt x="14727" y="-19"/>
                    <a:pt x="16913" y="2939"/>
                  </a:cubicBezTo>
                  <a:cubicBezTo>
                    <a:pt x="19099" y="5896"/>
                    <a:pt x="-317" y="4739"/>
                    <a:pt x="4" y="5832"/>
                  </a:cubicBezTo>
                  <a:cubicBezTo>
                    <a:pt x="775" y="7889"/>
                    <a:pt x="7398" y="10268"/>
                    <a:pt x="16206" y="10268"/>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68" name="Freeform 158">
              <a:extLst>
                <a:ext uri="{FF2B5EF4-FFF2-40B4-BE49-F238E27FC236}">
                  <a16:creationId xmlns:a16="http://schemas.microsoft.com/office/drawing/2014/main" id="{8F46CE13-9D8E-4011-8803-F27CFDE424C7}"/>
                </a:ext>
              </a:extLst>
            </p:cNvPr>
            <p:cNvSpPr/>
            <p:nvPr/>
          </p:nvSpPr>
          <p:spPr>
            <a:xfrm>
              <a:off x="5034654" y="1714516"/>
              <a:ext cx="218599" cy="154305"/>
            </a:xfrm>
            <a:custGeom>
              <a:avLst/>
              <a:gdLst>
                <a:gd name="connsiteX0" fmla="*/ 42107 w 218598"/>
                <a:gd name="connsiteY0" fmla="*/ 80756 h 154305"/>
                <a:gd name="connsiteX1" fmla="*/ 38828 w 218598"/>
                <a:gd name="connsiteY1" fmla="*/ 87764 h 154305"/>
                <a:gd name="connsiteX2" fmla="*/ 27770 w 218598"/>
                <a:gd name="connsiteY2" fmla="*/ 93229 h 154305"/>
                <a:gd name="connsiteX3" fmla="*/ 18961 w 218598"/>
                <a:gd name="connsiteY3" fmla="*/ 99658 h 154305"/>
                <a:gd name="connsiteX4" fmla="*/ 23012 w 218598"/>
                <a:gd name="connsiteY4" fmla="*/ 108145 h 154305"/>
                <a:gd name="connsiteX5" fmla="*/ 15682 w 218598"/>
                <a:gd name="connsiteY5" fmla="*/ 115475 h 154305"/>
                <a:gd name="connsiteX6" fmla="*/ 252 w 218598"/>
                <a:gd name="connsiteY6" fmla="*/ 123576 h 154305"/>
                <a:gd name="connsiteX7" fmla="*/ 12725 w 218598"/>
                <a:gd name="connsiteY7" fmla="*/ 130905 h 154305"/>
                <a:gd name="connsiteX8" fmla="*/ 14911 w 218598"/>
                <a:gd name="connsiteY8" fmla="*/ 140099 h 154305"/>
                <a:gd name="connsiteX9" fmla="*/ 19733 w 218598"/>
                <a:gd name="connsiteY9" fmla="*/ 136049 h 154305"/>
                <a:gd name="connsiteX10" fmla="*/ 29634 w 218598"/>
                <a:gd name="connsiteY10" fmla="*/ 143057 h 154305"/>
                <a:gd name="connsiteX11" fmla="*/ 45450 w 218598"/>
                <a:gd name="connsiteY11" fmla="*/ 151865 h 154305"/>
                <a:gd name="connsiteX12" fmla="*/ 77597 w 218598"/>
                <a:gd name="connsiteY12" fmla="*/ 151865 h 154305"/>
                <a:gd name="connsiteX13" fmla="*/ 60688 w 218598"/>
                <a:gd name="connsiteY13" fmla="*/ 136820 h 154305"/>
                <a:gd name="connsiteX14" fmla="*/ 56252 w 218598"/>
                <a:gd name="connsiteY14" fmla="*/ 109945 h 154305"/>
                <a:gd name="connsiteX15" fmla="*/ 66153 w 218598"/>
                <a:gd name="connsiteY15" fmla="*/ 95608 h 154305"/>
                <a:gd name="connsiteX16" fmla="*/ 77212 w 218598"/>
                <a:gd name="connsiteY16" fmla="*/ 82749 h 154305"/>
                <a:gd name="connsiteX17" fmla="*/ 83641 w 218598"/>
                <a:gd name="connsiteY17" fmla="*/ 74327 h 154305"/>
                <a:gd name="connsiteX18" fmla="*/ 91478 w 218598"/>
                <a:gd name="connsiteY18" fmla="*/ 62722 h 154305"/>
                <a:gd name="connsiteX19" fmla="*/ 91356 w 218598"/>
                <a:gd name="connsiteY19" fmla="*/ 62175 h 154305"/>
                <a:gd name="connsiteX20" fmla="*/ 103122 w 218598"/>
                <a:gd name="connsiteY20" fmla="*/ 58189 h 154305"/>
                <a:gd name="connsiteX21" fmla="*/ 119646 w 218598"/>
                <a:gd name="connsiteY21" fmla="*/ 50474 h 154305"/>
                <a:gd name="connsiteX22" fmla="*/ 188697 w 218598"/>
                <a:gd name="connsiteY22" fmla="*/ 24370 h 154305"/>
                <a:gd name="connsiteX23" fmla="*/ 220844 w 218598"/>
                <a:gd name="connsiteY23" fmla="*/ 2318 h 154305"/>
                <a:gd name="connsiteX24" fmla="*/ 182268 w 218598"/>
                <a:gd name="connsiteY24" fmla="*/ 9647 h 154305"/>
                <a:gd name="connsiteX25" fmla="*/ 162079 w 218598"/>
                <a:gd name="connsiteY25" fmla="*/ 14405 h 154305"/>
                <a:gd name="connsiteX26" fmla="*/ 137455 w 218598"/>
                <a:gd name="connsiteY26" fmla="*/ 16655 h 154305"/>
                <a:gd name="connsiteX27" fmla="*/ 119067 w 218598"/>
                <a:gd name="connsiteY27" fmla="*/ 21027 h 154305"/>
                <a:gd name="connsiteX28" fmla="*/ 103636 w 218598"/>
                <a:gd name="connsiteY28" fmla="*/ 25463 h 154305"/>
                <a:gd name="connsiteX29" fmla="*/ 87499 w 218598"/>
                <a:gd name="connsiteY29" fmla="*/ 32471 h 154305"/>
                <a:gd name="connsiteX30" fmla="*/ 77919 w 218598"/>
                <a:gd name="connsiteY30" fmla="*/ 38322 h 154305"/>
                <a:gd name="connsiteX31" fmla="*/ 67246 w 218598"/>
                <a:gd name="connsiteY31" fmla="*/ 41987 h 154305"/>
                <a:gd name="connsiteX32" fmla="*/ 64353 w 218598"/>
                <a:gd name="connsiteY32" fmla="*/ 50474 h 154305"/>
                <a:gd name="connsiteX33" fmla="*/ 57345 w 218598"/>
                <a:gd name="connsiteY33" fmla="*/ 58510 h 154305"/>
                <a:gd name="connsiteX34" fmla="*/ 53680 w 218598"/>
                <a:gd name="connsiteY34" fmla="*/ 66611 h 154305"/>
                <a:gd name="connsiteX35" fmla="*/ 43007 w 218598"/>
                <a:gd name="connsiteY35" fmla="*/ 72141 h 154305"/>
                <a:gd name="connsiteX36" fmla="*/ 42107 w 218598"/>
                <a:gd name="connsiteY36" fmla="*/ 80756 h 15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598" h="154305">
                  <a:moveTo>
                    <a:pt x="42107" y="80756"/>
                  </a:moveTo>
                  <a:cubicBezTo>
                    <a:pt x="49115" y="81142"/>
                    <a:pt x="38057" y="82235"/>
                    <a:pt x="38828" y="87764"/>
                  </a:cubicBezTo>
                  <a:cubicBezTo>
                    <a:pt x="39600" y="93293"/>
                    <a:pt x="27448" y="89564"/>
                    <a:pt x="27770" y="93229"/>
                  </a:cubicBezTo>
                  <a:cubicBezTo>
                    <a:pt x="28091" y="96894"/>
                    <a:pt x="25969" y="99658"/>
                    <a:pt x="18961" y="99658"/>
                  </a:cubicBezTo>
                  <a:cubicBezTo>
                    <a:pt x="11953" y="99658"/>
                    <a:pt x="22305" y="104095"/>
                    <a:pt x="23012" y="108145"/>
                  </a:cubicBezTo>
                  <a:cubicBezTo>
                    <a:pt x="23719" y="112196"/>
                    <a:pt x="16004" y="109238"/>
                    <a:pt x="15682" y="115475"/>
                  </a:cubicBezTo>
                  <a:cubicBezTo>
                    <a:pt x="15361" y="121711"/>
                    <a:pt x="2052" y="115475"/>
                    <a:pt x="252" y="123576"/>
                  </a:cubicBezTo>
                  <a:cubicBezTo>
                    <a:pt x="-1548" y="131677"/>
                    <a:pt x="6681" y="130519"/>
                    <a:pt x="12725" y="130905"/>
                  </a:cubicBezTo>
                  <a:cubicBezTo>
                    <a:pt x="18769" y="131291"/>
                    <a:pt x="10539" y="136820"/>
                    <a:pt x="14911" y="140099"/>
                  </a:cubicBezTo>
                  <a:cubicBezTo>
                    <a:pt x="19283" y="143378"/>
                    <a:pt x="22626" y="142285"/>
                    <a:pt x="19733" y="136049"/>
                  </a:cubicBezTo>
                  <a:cubicBezTo>
                    <a:pt x="16840" y="129812"/>
                    <a:pt x="35163" y="138235"/>
                    <a:pt x="29634" y="143057"/>
                  </a:cubicBezTo>
                  <a:cubicBezTo>
                    <a:pt x="24105" y="147879"/>
                    <a:pt x="38442" y="151479"/>
                    <a:pt x="45450" y="151865"/>
                  </a:cubicBezTo>
                  <a:cubicBezTo>
                    <a:pt x="52458" y="152251"/>
                    <a:pt x="77212" y="157651"/>
                    <a:pt x="77597" y="151865"/>
                  </a:cubicBezTo>
                  <a:cubicBezTo>
                    <a:pt x="77919" y="148200"/>
                    <a:pt x="68403" y="144857"/>
                    <a:pt x="60688" y="136820"/>
                  </a:cubicBezTo>
                  <a:cubicBezTo>
                    <a:pt x="52973" y="128784"/>
                    <a:pt x="47444" y="115475"/>
                    <a:pt x="56252" y="109945"/>
                  </a:cubicBezTo>
                  <a:cubicBezTo>
                    <a:pt x="65060" y="104416"/>
                    <a:pt x="57345" y="101909"/>
                    <a:pt x="66153" y="95608"/>
                  </a:cubicBezTo>
                  <a:cubicBezTo>
                    <a:pt x="74961" y="89307"/>
                    <a:pt x="69882" y="83521"/>
                    <a:pt x="77212" y="82749"/>
                  </a:cubicBezTo>
                  <a:cubicBezTo>
                    <a:pt x="84541" y="81978"/>
                    <a:pt x="76504" y="75420"/>
                    <a:pt x="83641" y="74327"/>
                  </a:cubicBezTo>
                  <a:cubicBezTo>
                    <a:pt x="89009" y="73285"/>
                    <a:pt x="92520" y="68090"/>
                    <a:pt x="91478" y="62722"/>
                  </a:cubicBezTo>
                  <a:cubicBezTo>
                    <a:pt x="91446" y="62542"/>
                    <a:pt x="91401" y="62355"/>
                    <a:pt x="91356" y="62175"/>
                  </a:cubicBezTo>
                  <a:cubicBezTo>
                    <a:pt x="90263" y="59282"/>
                    <a:pt x="99071" y="62561"/>
                    <a:pt x="103122" y="58189"/>
                  </a:cubicBezTo>
                  <a:cubicBezTo>
                    <a:pt x="107173" y="53817"/>
                    <a:pt x="116688" y="56710"/>
                    <a:pt x="119646" y="50474"/>
                  </a:cubicBezTo>
                  <a:cubicBezTo>
                    <a:pt x="122603" y="44237"/>
                    <a:pt x="164651" y="29835"/>
                    <a:pt x="188697" y="24370"/>
                  </a:cubicBezTo>
                  <a:cubicBezTo>
                    <a:pt x="212743" y="18905"/>
                    <a:pt x="229138" y="8940"/>
                    <a:pt x="220844" y="2318"/>
                  </a:cubicBezTo>
                  <a:cubicBezTo>
                    <a:pt x="212550" y="-4305"/>
                    <a:pt x="188697" y="4889"/>
                    <a:pt x="182268" y="9647"/>
                  </a:cubicBezTo>
                  <a:cubicBezTo>
                    <a:pt x="175838" y="14405"/>
                    <a:pt x="167930" y="11126"/>
                    <a:pt x="162079" y="14405"/>
                  </a:cubicBezTo>
                  <a:cubicBezTo>
                    <a:pt x="156229" y="17684"/>
                    <a:pt x="143691" y="20834"/>
                    <a:pt x="137455" y="16655"/>
                  </a:cubicBezTo>
                  <a:cubicBezTo>
                    <a:pt x="131218" y="12476"/>
                    <a:pt x="123825" y="21413"/>
                    <a:pt x="119067" y="21027"/>
                  </a:cubicBezTo>
                  <a:cubicBezTo>
                    <a:pt x="114309" y="20641"/>
                    <a:pt x="108780" y="25849"/>
                    <a:pt x="103636" y="25463"/>
                  </a:cubicBezTo>
                  <a:cubicBezTo>
                    <a:pt x="98493" y="25078"/>
                    <a:pt x="88206" y="29514"/>
                    <a:pt x="87499" y="32471"/>
                  </a:cubicBezTo>
                  <a:cubicBezTo>
                    <a:pt x="86791" y="35429"/>
                    <a:pt x="77919" y="34657"/>
                    <a:pt x="77919" y="38322"/>
                  </a:cubicBezTo>
                  <a:cubicBezTo>
                    <a:pt x="77919" y="41987"/>
                    <a:pt x="70911" y="45266"/>
                    <a:pt x="67246" y="41987"/>
                  </a:cubicBezTo>
                  <a:cubicBezTo>
                    <a:pt x="63581" y="38708"/>
                    <a:pt x="59209" y="45652"/>
                    <a:pt x="64353" y="50474"/>
                  </a:cubicBezTo>
                  <a:cubicBezTo>
                    <a:pt x="69496" y="55296"/>
                    <a:pt x="54773" y="55617"/>
                    <a:pt x="57345" y="58510"/>
                  </a:cubicBezTo>
                  <a:cubicBezTo>
                    <a:pt x="59917" y="61404"/>
                    <a:pt x="51815" y="63332"/>
                    <a:pt x="53680" y="66611"/>
                  </a:cubicBezTo>
                  <a:cubicBezTo>
                    <a:pt x="55545" y="69890"/>
                    <a:pt x="48537" y="71048"/>
                    <a:pt x="43007" y="72141"/>
                  </a:cubicBezTo>
                  <a:cubicBezTo>
                    <a:pt x="37478" y="73234"/>
                    <a:pt x="35163" y="80370"/>
                    <a:pt x="42107" y="80756"/>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69" name="Freeform 159">
              <a:extLst>
                <a:ext uri="{FF2B5EF4-FFF2-40B4-BE49-F238E27FC236}">
                  <a16:creationId xmlns:a16="http://schemas.microsoft.com/office/drawing/2014/main" id="{ADE0CB0A-E0FB-4BB3-B778-239E3B646964}"/>
                </a:ext>
              </a:extLst>
            </p:cNvPr>
            <p:cNvSpPr/>
            <p:nvPr/>
          </p:nvSpPr>
          <p:spPr>
            <a:xfrm>
              <a:off x="5049442" y="1619035"/>
              <a:ext cx="12859" cy="6429"/>
            </a:xfrm>
            <a:custGeom>
              <a:avLst/>
              <a:gdLst>
                <a:gd name="connsiteX0" fmla="*/ 15941 w 12858"/>
                <a:gd name="connsiteY0" fmla="*/ 2451 h 0"/>
                <a:gd name="connsiteX1" fmla="*/ 510 w 12858"/>
                <a:gd name="connsiteY1" fmla="*/ 4251 h 0"/>
                <a:gd name="connsiteX2" fmla="*/ 15941 w 12858"/>
                <a:gd name="connsiteY2" fmla="*/ 2451 h 0"/>
              </a:gdLst>
              <a:ahLst/>
              <a:cxnLst>
                <a:cxn ang="0">
                  <a:pos x="connsiteX0" y="connsiteY0"/>
                </a:cxn>
                <a:cxn ang="0">
                  <a:pos x="connsiteX1" y="connsiteY1"/>
                </a:cxn>
                <a:cxn ang="0">
                  <a:pos x="connsiteX2" y="connsiteY2"/>
                </a:cxn>
              </a:cxnLst>
              <a:rect l="l" t="t" r="r" b="b"/>
              <a:pathLst>
                <a:path w="12858">
                  <a:moveTo>
                    <a:pt x="15941" y="2451"/>
                  </a:moveTo>
                  <a:cubicBezTo>
                    <a:pt x="15941" y="-3464"/>
                    <a:pt x="-3348" y="3030"/>
                    <a:pt x="510" y="4251"/>
                  </a:cubicBezTo>
                  <a:cubicBezTo>
                    <a:pt x="4368" y="5473"/>
                    <a:pt x="15941" y="8302"/>
                    <a:pt x="15941" y="2451"/>
                  </a:cubicBezTo>
                  <a:close/>
                </a:path>
              </a:pathLst>
            </a:custGeom>
            <a:solidFill>
              <a:srgbClr val="99BDED"/>
            </a:solidFill>
            <a:ln w="6429" cap="flat">
              <a:solidFill>
                <a:srgbClr val="99BDED"/>
              </a:solidFill>
              <a:prstDash val="solid"/>
              <a:miter/>
            </a:ln>
          </p:spPr>
          <p:txBody>
            <a:bodyPr rtlCol="0" anchor="ctr"/>
            <a:lstStyle/>
            <a:p>
              <a:endParaRPr lang="en-GB" sz="2400">
                <a:solidFill>
                  <a:srgbClr val="FFFFFF"/>
                </a:solidFill>
              </a:endParaRPr>
            </a:p>
          </p:txBody>
        </p:sp>
        <p:sp>
          <p:nvSpPr>
            <p:cNvPr id="370" name="Freeform 160">
              <a:extLst>
                <a:ext uri="{FF2B5EF4-FFF2-40B4-BE49-F238E27FC236}">
                  <a16:creationId xmlns:a16="http://schemas.microsoft.com/office/drawing/2014/main" id="{B2F98C53-078B-4F85-A96A-DABAAC0E515A}"/>
                </a:ext>
              </a:extLst>
            </p:cNvPr>
            <p:cNvSpPr/>
            <p:nvPr/>
          </p:nvSpPr>
          <p:spPr>
            <a:xfrm>
              <a:off x="4500092" y="2399554"/>
              <a:ext cx="19288" cy="32147"/>
            </a:xfrm>
            <a:custGeom>
              <a:avLst/>
              <a:gdLst>
                <a:gd name="connsiteX0" fmla="*/ 9215 w 19288"/>
                <a:gd name="connsiteY0" fmla="*/ 1622 h 32146"/>
                <a:gd name="connsiteX1" fmla="*/ 214 w 19288"/>
                <a:gd name="connsiteY1" fmla="*/ 3808 h 32146"/>
                <a:gd name="connsiteX2" fmla="*/ 4779 w 19288"/>
                <a:gd name="connsiteY2" fmla="*/ 19817 h 32146"/>
                <a:gd name="connsiteX3" fmla="*/ 9922 w 19288"/>
                <a:gd name="connsiteY3" fmla="*/ 31711 h 32146"/>
                <a:gd name="connsiteX4" fmla="*/ 18538 w 19288"/>
                <a:gd name="connsiteY4" fmla="*/ 26375 h 32146"/>
                <a:gd name="connsiteX5" fmla="*/ 20595 w 19288"/>
                <a:gd name="connsiteY5" fmla="*/ 6187 h 32146"/>
                <a:gd name="connsiteX6" fmla="*/ 9215 w 19288"/>
                <a:gd name="connsiteY6" fmla="*/ 1622 h 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88" h="32146">
                  <a:moveTo>
                    <a:pt x="9215" y="1622"/>
                  </a:moveTo>
                  <a:cubicBezTo>
                    <a:pt x="5165" y="5094"/>
                    <a:pt x="1821" y="979"/>
                    <a:pt x="214" y="3808"/>
                  </a:cubicBezTo>
                  <a:cubicBezTo>
                    <a:pt x="-1393" y="6637"/>
                    <a:pt x="6643" y="12616"/>
                    <a:pt x="4779" y="19817"/>
                  </a:cubicBezTo>
                  <a:cubicBezTo>
                    <a:pt x="2914" y="27018"/>
                    <a:pt x="5679" y="35955"/>
                    <a:pt x="9922" y="31711"/>
                  </a:cubicBezTo>
                  <a:cubicBezTo>
                    <a:pt x="14166" y="27468"/>
                    <a:pt x="16352" y="29525"/>
                    <a:pt x="18538" y="26375"/>
                  </a:cubicBezTo>
                  <a:cubicBezTo>
                    <a:pt x="20724" y="23225"/>
                    <a:pt x="18923" y="11716"/>
                    <a:pt x="20595" y="6187"/>
                  </a:cubicBezTo>
                  <a:cubicBezTo>
                    <a:pt x="22267" y="658"/>
                    <a:pt x="13201" y="-1914"/>
                    <a:pt x="9215" y="1622"/>
                  </a:cubicBezTo>
                  <a:close/>
                </a:path>
              </a:pathLst>
            </a:custGeom>
            <a:solidFill>
              <a:srgbClr val="0098E4"/>
            </a:solidFill>
            <a:ln w="6429" cap="flat">
              <a:noFill/>
              <a:prstDash val="solid"/>
              <a:miter/>
            </a:ln>
          </p:spPr>
          <p:txBody>
            <a:bodyPr rtlCol="0" anchor="ctr"/>
            <a:lstStyle/>
            <a:p>
              <a:endParaRPr lang="en-GB" sz="2400"/>
            </a:p>
          </p:txBody>
        </p:sp>
        <p:sp>
          <p:nvSpPr>
            <p:cNvPr id="371" name="Freeform 161">
              <a:extLst>
                <a:ext uri="{FF2B5EF4-FFF2-40B4-BE49-F238E27FC236}">
                  <a16:creationId xmlns:a16="http://schemas.microsoft.com/office/drawing/2014/main" id="{A290D18B-FD58-4FCE-AFAA-58F690CA4943}"/>
                </a:ext>
              </a:extLst>
            </p:cNvPr>
            <p:cNvSpPr/>
            <p:nvPr/>
          </p:nvSpPr>
          <p:spPr>
            <a:xfrm>
              <a:off x="4554726" y="2442302"/>
              <a:ext cx="32147" cy="19288"/>
            </a:xfrm>
            <a:custGeom>
              <a:avLst/>
              <a:gdLst>
                <a:gd name="connsiteX0" fmla="*/ 25626 w 32146"/>
                <a:gd name="connsiteY0" fmla="*/ 858 h 19288"/>
                <a:gd name="connsiteX1" fmla="*/ 10581 w 32146"/>
                <a:gd name="connsiteY1" fmla="*/ 858 h 19288"/>
                <a:gd name="connsiteX2" fmla="*/ 101 w 32146"/>
                <a:gd name="connsiteY2" fmla="*/ 5873 h 19288"/>
                <a:gd name="connsiteX3" fmla="*/ 12960 w 32146"/>
                <a:gd name="connsiteY3" fmla="*/ 12816 h 19288"/>
                <a:gd name="connsiteX4" fmla="*/ 27104 w 32146"/>
                <a:gd name="connsiteY4" fmla="*/ 21625 h 19288"/>
                <a:gd name="connsiteX5" fmla="*/ 30448 w 32146"/>
                <a:gd name="connsiteY5" fmla="*/ 13202 h 19288"/>
                <a:gd name="connsiteX6" fmla="*/ 35591 w 32146"/>
                <a:gd name="connsiteY6" fmla="*/ 1629 h 19288"/>
                <a:gd name="connsiteX7" fmla="*/ 25626 w 32146"/>
                <a:gd name="connsiteY7" fmla="*/ 858 h 19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46" h="19288">
                  <a:moveTo>
                    <a:pt x="25626" y="858"/>
                  </a:moveTo>
                  <a:cubicBezTo>
                    <a:pt x="18103" y="2530"/>
                    <a:pt x="15017" y="3108"/>
                    <a:pt x="10581" y="858"/>
                  </a:cubicBezTo>
                  <a:cubicBezTo>
                    <a:pt x="6145" y="-1392"/>
                    <a:pt x="-928" y="2915"/>
                    <a:pt x="101" y="5873"/>
                  </a:cubicBezTo>
                  <a:cubicBezTo>
                    <a:pt x="873" y="7866"/>
                    <a:pt x="3830" y="10438"/>
                    <a:pt x="12960" y="12816"/>
                  </a:cubicBezTo>
                  <a:cubicBezTo>
                    <a:pt x="22089" y="15195"/>
                    <a:pt x="23247" y="21432"/>
                    <a:pt x="27104" y="21625"/>
                  </a:cubicBezTo>
                  <a:cubicBezTo>
                    <a:pt x="30962" y="21818"/>
                    <a:pt x="31348" y="18153"/>
                    <a:pt x="30448" y="13202"/>
                  </a:cubicBezTo>
                  <a:cubicBezTo>
                    <a:pt x="29548" y="8252"/>
                    <a:pt x="35013" y="2530"/>
                    <a:pt x="35591" y="1629"/>
                  </a:cubicBezTo>
                  <a:cubicBezTo>
                    <a:pt x="36170" y="729"/>
                    <a:pt x="33212" y="-1071"/>
                    <a:pt x="25626" y="858"/>
                  </a:cubicBezTo>
                  <a:close/>
                </a:path>
              </a:pathLst>
            </a:custGeom>
            <a:solidFill>
              <a:srgbClr val="0098E4"/>
            </a:solidFill>
            <a:ln w="6429" cap="flat">
              <a:noFill/>
              <a:prstDash val="solid"/>
              <a:miter/>
            </a:ln>
          </p:spPr>
          <p:txBody>
            <a:bodyPr rtlCol="0" anchor="ctr"/>
            <a:lstStyle/>
            <a:p>
              <a:endParaRPr lang="en-GB" sz="2400"/>
            </a:p>
          </p:txBody>
        </p:sp>
        <p:sp>
          <p:nvSpPr>
            <p:cNvPr id="372" name="Freeform 162">
              <a:extLst>
                <a:ext uri="{FF2B5EF4-FFF2-40B4-BE49-F238E27FC236}">
                  <a16:creationId xmlns:a16="http://schemas.microsoft.com/office/drawing/2014/main" id="{FCD7B2DE-F4AA-4437-8CE6-233944BC98EF}"/>
                </a:ext>
              </a:extLst>
            </p:cNvPr>
            <p:cNvSpPr/>
            <p:nvPr/>
          </p:nvSpPr>
          <p:spPr>
            <a:xfrm>
              <a:off x="4481918" y="2307760"/>
              <a:ext cx="141446" cy="135017"/>
            </a:xfrm>
            <a:custGeom>
              <a:avLst/>
              <a:gdLst>
                <a:gd name="connsiteX0" fmla="*/ 4507 w 141446"/>
                <a:gd name="connsiteY0" fmla="*/ 39412 h 135016"/>
                <a:gd name="connsiteX1" fmla="*/ 5111 w 141446"/>
                <a:gd name="connsiteY1" fmla="*/ 44652 h 135016"/>
                <a:gd name="connsiteX2" fmla="*/ 7271 w 141446"/>
                <a:gd name="connsiteY2" fmla="*/ 45456 h 135016"/>
                <a:gd name="connsiteX3" fmla="*/ 13058 w 141446"/>
                <a:gd name="connsiteY3" fmla="*/ 47384 h 135016"/>
                <a:gd name="connsiteX4" fmla="*/ 11643 w 141446"/>
                <a:gd name="connsiteY4" fmla="*/ 51564 h 135016"/>
                <a:gd name="connsiteX5" fmla="*/ 17623 w 141446"/>
                <a:gd name="connsiteY5" fmla="*/ 49828 h 135016"/>
                <a:gd name="connsiteX6" fmla="*/ 26238 w 141446"/>
                <a:gd name="connsiteY6" fmla="*/ 42498 h 135016"/>
                <a:gd name="connsiteX7" fmla="*/ 43726 w 141446"/>
                <a:gd name="connsiteY7" fmla="*/ 49828 h 135016"/>
                <a:gd name="connsiteX8" fmla="*/ 47584 w 141446"/>
                <a:gd name="connsiteY8" fmla="*/ 57221 h 135016"/>
                <a:gd name="connsiteX9" fmla="*/ 59349 w 141446"/>
                <a:gd name="connsiteY9" fmla="*/ 72266 h 135016"/>
                <a:gd name="connsiteX10" fmla="*/ 76259 w 141446"/>
                <a:gd name="connsiteY10" fmla="*/ 86797 h 135016"/>
                <a:gd name="connsiteX11" fmla="*/ 88153 w 141446"/>
                <a:gd name="connsiteY11" fmla="*/ 91940 h 135016"/>
                <a:gd name="connsiteX12" fmla="*/ 99019 w 141446"/>
                <a:gd name="connsiteY12" fmla="*/ 99077 h 135016"/>
                <a:gd name="connsiteX13" fmla="*/ 107827 w 141446"/>
                <a:gd name="connsiteY13" fmla="*/ 106470 h 135016"/>
                <a:gd name="connsiteX14" fmla="*/ 111878 w 141446"/>
                <a:gd name="connsiteY14" fmla="*/ 113800 h 135016"/>
                <a:gd name="connsiteX15" fmla="*/ 112456 w 141446"/>
                <a:gd name="connsiteY15" fmla="*/ 127237 h 135016"/>
                <a:gd name="connsiteX16" fmla="*/ 112970 w 141446"/>
                <a:gd name="connsiteY16" fmla="*/ 137138 h 135016"/>
                <a:gd name="connsiteX17" fmla="*/ 119400 w 141446"/>
                <a:gd name="connsiteY17" fmla="*/ 126852 h 135016"/>
                <a:gd name="connsiteX18" fmla="*/ 126601 w 141446"/>
                <a:gd name="connsiteY18" fmla="*/ 119522 h 135016"/>
                <a:gd name="connsiteX19" fmla="*/ 120879 w 141446"/>
                <a:gd name="connsiteY19" fmla="*/ 109749 h 135016"/>
                <a:gd name="connsiteX20" fmla="*/ 132837 w 141446"/>
                <a:gd name="connsiteY20" fmla="*/ 104413 h 135016"/>
                <a:gd name="connsiteX21" fmla="*/ 142224 w 141446"/>
                <a:gd name="connsiteY21" fmla="*/ 104992 h 135016"/>
                <a:gd name="connsiteX22" fmla="*/ 117600 w 141446"/>
                <a:gd name="connsiteY22" fmla="*/ 87504 h 135016"/>
                <a:gd name="connsiteX23" fmla="*/ 108406 w 141446"/>
                <a:gd name="connsiteY23" fmla="*/ 80174 h 135016"/>
                <a:gd name="connsiteX24" fmla="*/ 89118 w 141446"/>
                <a:gd name="connsiteY24" fmla="*/ 60308 h 135016"/>
                <a:gd name="connsiteX25" fmla="*/ 71630 w 141446"/>
                <a:gd name="connsiteY25" fmla="*/ 42498 h 135016"/>
                <a:gd name="connsiteX26" fmla="*/ 71630 w 141446"/>
                <a:gd name="connsiteY26" fmla="*/ 30025 h 135016"/>
                <a:gd name="connsiteX27" fmla="*/ 77159 w 141446"/>
                <a:gd name="connsiteY27" fmla="*/ 22953 h 135016"/>
                <a:gd name="connsiteX28" fmla="*/ 77802 w 141446"/>
                <a:gd name="connsiteY28" fmla="*/ 6494 h 135016"/>
                <a:gd name="connsiteX29" fmla="*/ 71372 w 141446"/>
                <a:gd name="connsiteY29" fmla="*/ 5208 h 135016"/>
                <a:gd name="connsiteX30" fmla="*/ 68929 w 141446"/>
                <a:gd name="connsiteY30" fmla="*/ 0 h 135016"/>
                <a:gd name="connsiteX31" fmla="*/ 59028 w 141446"/>
                <a:gd name="connsiteY31" fmla="*/ 1350 h 135016"/>
                <a:gd name="connsiteX32" fmla="*/ 51313 w 141446"/>
                <a:gd name="connsiteY32" fmla="*/ 3858 h 135016"/>
                <a:gd name="connsiteX33" fmla="*/ 49770 w 141446"/>
                <a:gd name="connsiteY33" fmla="*/ 2957 h 135016"/>
                <a:gd name="connsiteX34" fmla="*/ 47327 w 141446"/>
                <a:gd name="connsiteY34" fmla="*/ 5208 h 135016"/>
                <a:gd name="connsiteX35" fmla="*/ 45462 w 141446"/>
                <a:gd name="connsiteY35" fmla="*/ 8165 h 135016"/>
                <a:gd name="connsiteX36" fmla="*/ 41797 w 141446"/>
                <a:gd name="connsiteY36" fmla="*/ 9644 h 135016"/>
                <a:gd name="connsiteX37" fmla="*/ 35946 w 141446"/>
                <a:gd name="connsiteY37" fmla="*/ 11123 h 135016"/>
                <a:gd name="connsiteX38" fmla="*/ 31510 w 141446"/>
                <a:gd name="connsiteY38" fmla="*/ 13695 h 135016"/>
                <a:gd name="connsiteX39" fmla="*/ 28231 w 141446"/>
                <a:gd name="connsiteY39" fmla="*/ 18067 h 135016"/>
                <a:gd name="connsiteX40" fmla="*/ 21223 w 141446"/>
                <a:gd name="connsiteY40" fmla="*/ 9644 h 135016"/>
                <a:gd name="connsiteX41" fmla="*/ 14794 w 141446"/>
                <a:gd name="connsiteY41" fmla="*/ 18452 h 135016"/>
                <a:gd name="connsiteX42" fmla="*/ 4186 w 141446"/>
                <a:gd name="connsiteY42" fmla="*/ 19224 h 135016"/>
                <a:gd name="connsiteX43" fmla="*/ 5600 w 141446"/>
                <a:gd name="connsiteY43" fmla="*/ 25075 h 135016"/>
                <a:gd name="connsiteX44" fmla="*/ 3157 w 141446"/>
                <a:gd name="connsiteY44" fmla="*/ 30025 h 135016"/>
                <a:gd name="connsiteX45" fmla="*/ 649 w 141446"/>
                <a:gd name="connsiteY45" fmla="*/ 33047 h 135016"/>
                <a:gd name="connsiteX46" fmla="*/ 4507 w 141446"/>
                <a:gd name="connsiteY46" fmla="*/ 39412 h 13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41446" h="135016">
                  <a:moveTo>
                    <a:pt x="4507" y="39412"/>
                  </a:moveTo>
                  <a:cubicBezTo>
                    <a:pt x="3227" y="41026"/>
                    <a:pt x="3497" y="43373"/>
                    <a:pt x="5111" y="44652"/>
                  </a:cubicBezTo>
                  <a:cubicBezTo>
                    <a:pt x="5729" y="45141"/>
                    <a:pt x="6487" y="45424"/>
                    <a:pt x="7271" y="45456"/>
                  </a:cubicBezTo>
                  <a:cubicBezTo>
                    <a:pt x="10036" y="45456"/>
                    <a:pt x="13701" y="45456"/>
                    <a:pt x="13058" y="47384"/>
                  </a:cubicBezTo>
                  <a:cubicBezTo>
                    <a:pt x="12421" y="48715"/>
                    <a:pt x="11952" y="50117"/>
                    <a:pt x="11643" y="51564"/>
                  </a:cubicBezTo>
                  <a:cubicBezTo>
                    <a:pt x="13701" y="51236"/>
                    <a:pt x="15713" y="50657"/>
                    <a:pt x="17623" y="49828"/>
                  </a:cubicBezTo>
                  <a:cubicBezTo>
                    <a:pt x="21480" y="47835"/>
                    <a:pt x="19873" y="44363"/>
                    <a:pt x="26238" y="42498"/>
                  </a:cubicBezTo>
                  <a:cubicBezTo>
                    <a:pt x="32951" y="41707"/>
                    <a:pt x="39586" y="44491"/>
                    <a:pt x="43726" y="49828"/>
                  </a:cubicBezTo>
                  <a:cubicBezTo>
                    <a:pt x="46298" y="53749"/>
                    <a:pt x="47005" y="54071"/>
                    <a:pt x="47584" y="57221"/>
                  </a:cubicBezTo>
                  <a:cubicBezTo>
                    <a:pt x="49255" y="63651"/>
                    <a:pt x="53512" y="69097"/>
                    <a:pt x="59349" y="72266"/>
                  </a:cubicBezTo>
                  <a:cubicBezTo>
                    <a:pt x="68158" y="77988"/>
                    <a:pt x="71630" y="84418"/>
                    <a:pt x="76259" y="86797"/>
                  </a:cubicBezTo>
                  <a:cubicBezTo>
                    <a:pt x="80888" y="89175"/>
                    <a:pt x="85453" y="88661"/>
                    <a:pt x="88153" y="91940"/>
                  </a:cubicBezTo>
                  <a:cubicBezTo>
                    <a:pt x="91181" y="95122"/>
                    <a:pt x="94897" y="97566"/>
                    <a:pt x="99019" y="99077"/>
                  </a:cubicBezTo>
                  <a:cubicBezTo>
                    <a:pt x="103455" y="101134"/>
                    <a:pt x="103584" y="105892"/>
                    <a:pt x="107827" y="106470"/>
                  </a:cubicBezTo>
                  <a:cubicBezTo>
                    <a:pt x="112070" y="107049"/>
                    <a:pt x="109306" y="110649"/>
                    <a:pt x="111878" y="113800"/>
                  </a:cubicBezTo>
                  <a:cubicBezTo>
                    <a:pt x="114706" y="117773"/>
                    <a:pt x="114938" y="123039"/>
                    <a:pt x="112456" y="127237"/>
                  </a:cubicBezTo>
                  <a:cubicBezTo>
                    <a:pt x="109691" y="130902"/>
                    <a:pt x="111170" y="137138"/>
                    <a:pt x="112970" y="137138"/>
                  </a:cubicBezTo>
                  <a:cubicBezTo>
                    <a:pt x="114771" y="137138"/>
                    <a:pt x="118693" y="130709"/>
                    <a:pt x="119400" y="126852"/>
                  </a:cubicBezTo>
                  <a:cubicBezTo>
                    <a:pt x="120107" y="122994"/>
                    <a:pt x="123643" y="123380"/>
                    <a:pt x="126601" y="119522"/>
                  </a:cubicBezTo>
                  <a:cubicBezTo>
                    <a:pt x="129558" y="115664"/>
                    <a:pt x="122164" y="114700"/>
                    <a:pt x="120879" y="109749"/>
                  </a:cubicBezTo>
                  <a:cubicBezTo>
                    <a:pt x="119593" y="104799"/>
                    <a:pt x="126408" y="100362"/>
                    <a:pt x="132837" y="104413"/>
                  </a:cubicBezTo>
                  <a:cubicBezTo>
                    <a:pt x="139267" y="108464"/>
                    <a:pt x="141838" y="111228"/>
                    <a:pt x="142224" y="104992"/>
                  </a:cubicBezTo>
                  <a:cubicBezTo>
                    <a:pt x="142610" y="98755"/>
                    <a:pt x="122357" y="90461"/>
                    <a:pt x="117600" y="87504"/>
                  </a:cubicBezTo>
                  <a:cubicBezTo>
                    <a:pt x="112842" y="84546"/>
                    <a:pt x="115928" y="79789"/>
                    <a:pt x="108406" y="80174"/>
                  </a:cubicBezTo>
                  <a:cubicBezTo>
                    <a:pt x="100883" y="80560"/>
                    <a:pt x="91882" y="71173"/>
                    <a:pt x="89118" y="60308"/>
                  </a:cubicBezTo>
                  <a:cubicBezTo>
                    <a:pt x="86353" y="49442"/>
                    <a:pt x="74587" y="48927"/>
                    <a:pt x="71630" y="42498"/>
                  </a:cubicBezTo>
                  <a:cubicBezTo>
                    <a:pt x="68672" y="36069"/>
                    <a:pt x="74394" y="35362"/>
                    <a:pt x="71630" y="30025"/>
                  </a:cubicBezTo>
                  <a:cubicBezTo>
                    <a:pt x="70215" y="27068"/>
                    <a:pt x="73365" y="24432"/>
                    <a:pt x="77159" y="22953"/>
                  </a:cubicBezTo>
                  <a:cubicBezTo>
                    <a:pt x="76947" y="17456"/>
                    <a:pt x="77165" y="11952"/>
                    <a:pt x="77802" y="6494"/>
                  </a:cubicBezTo>
                  <a:cubicBezTo>
                    <a:pt x="75609" y="6384"/>
                    <a:pt x="73443" y="5947"/>
                    <a:pt x="71372" y="5208"/>
                  </a:cubicBezTo>
                  <a:cubicBezTo>
                    <a:pt x="70022" y="4372"/>
                    <a:pt x="69765" y="0"/>
                    <a:pt x="68929" y="0"/>
                  </a:cubicBezTo>
                  <a:cubicBezTo>
                    <a:pt x="68093" y="0"/>
                    <a:pt x="60378" y="0"/>
                    <a:pt x="59028" y="1350"/>
                  </a:cubicBezTo>
                  <a:cubicBezTo>
                    <a:pt x="57678" y="2700"/>
                    <a:pt x="53499" y="5208"/>
                    <a:pt x="51313" y="3858"/>
                  </a:cubicBezTo>
                  <a:lnTo>
                    <a:pt x="49770" y="2957"/>
                  </a:lnTo>
                  <a:lnTo>
                    <a:pt x="47327" y="5208"/>
                  </a:lnTo>
                  <a:cubicBezTo>
                    <a:pt x="47327" y="5208"/>
                    <a:pt x="46941" y="8165"/>
                    <a:pt x="45462" y="8165"/>
                  </a:cubicBezTo>
                  <a:cubicBezTo>
                    <a:pt x="43983" y="8165"/>
                    <a:pt x="41797" y="7072"/>
                    <a:pt x="41797" y="9644"/>
                  </a:cubicBezTo>
                  <a:cubicBezTo>
                    <a:pt x="41797" y="12216"/>
                    <a:pt x="37747" y="11444"/>
                    <a:pt x="35946" y="11123"/>
                  </a:cubicBezTo>
                  <a:cubicBezTo>
                    <a:pt x="34146" y="10801"/>
                    <a:pt x="31510" y="11444"/>
                    <a:pt x="31510" y="13695"/>
                  </a:cubicBezTo>
                  <a:cubicBezTo>
                    <a:pt x="31510" y="15945"/>
                    <a:pt x="31510" y="20638"/>
                    <a:pt x="28231" y="18067"/>
                  </a:cubicBezTo>
                  <a:cubicBezTo>
                    <a:pt x="24952" y="15495"/>
                    <a:pt x="22316" y="8873"/>
                    <a:pt x="21223" y="9644"/>
                  </a:cubicBezTo>
                  <a:cubicBezTo>
                    <a:pt x="20130" y="10416"/>
                    <a:pt x="17559" y="18452"/>
                    <a:pt x="14794" y="18452"/>
                  </a:cubicBezTo>
                  <a:cubicBezTo>
                    <a:pt x="13187" y="18452"/>
                    <a:pt x="7979" y="18838"/>
                    <a:pt x="4186" y="19224"/>
                  </a:cubicBezTo>
                  <a:cubicBezTo>
                    <a:pt x="3221" y="22374"/>
                    <a:pt x="4186" y="24239"/>
                    <a:pt x="5600" y="25075"/>
                  </a:cubicBezTo>
                  <a:cubicBezTo>
                    <a:pt x="7014" y="25910"/>
                    <a:pt x="4764" y="29189"/>
                    <a:pt x="3157" y="30025"/>
                  </a:cubicBezTo>
                  <a:cubicBezTo>
                    <a:pt x="1549" y="30861"/>
                    <a:pt x="-1279" y="30025"/>
                    <a:pt x="649" y="33047"/>
                  </a:cubicBezTo>
                  <a:cubicBezTo>
                    <a:pt x="2578" y="36069"/>
                    <a:pt x="6500" y="36326"/>
                    <a:pt x="4507" y="39412"/>
                  </a:cubicBezTo>
                  <a:close/>
                </a:path>
              </a:pathLst>
            </a:custGeom>
            <a:solidFill>
              <a:srgbClr val="0098E4"/>
            </a:solidFill>
            <a:ln w="6429" cap="flat">
              <a:noFill/>
              <a:prstDash val="solid"/>
              <a:miter/>
            </a:ln>
          </p:spPr>
          <p:txBody>
            <a:bodyPr rtlCol="0" anchor="ctr"/>
            <a:lstStyle/>
            <a:p>
              <a:endParaRPr lang="en-GB" sz="2400"/>
            </a:p>
          </p:txBody>
        </p:sp>
      </p:grpSp>
      <p:grpSp>
        <p:nvGrpSpPr>
          <p:cNvPr id="180" name="Group 179">
            <a:extLst>
              <a:ext uri="{FF2B5EF4-FFF2-40B4-BE49-F238E27FC236}">
                <a16:creationId xmlns:a16="http://schemas.microsoft.com/office/drawing/2014/main" id="{BB13D813-F320-46DD-A14F-1D8522547075}"/>
              </a:ext>
            </a:extLst>
          </p:cNvPr>
          <p:cNvGrpSpPr/>
          <p:nvPr/>
        </p:nvGrpSpPr>
        <p:grpSpPr>
          <a:xfrm>
            <a:off x="5913609" y="1527995"/>
            <a:ext cx="4347526" cy="1488269"/>
            <a:chOff x="5913609" y="1527995"/>
            <a:chExt cx="4347526" cy="1488269"/>
          </a:xfrm>
        </p:grpSpPr>
        <p:sp>
          <p:nvSpPr>
            <p:cNvPr id="181" name="Oval 180">
              <a:extLst>
                <a:ext uri="{FF2B5EF4-FFF2-40B4-BE49-F238E27FC236}">
                  <a16:creationId xmlns:a16="http://schemas.microsoft.com/office/drawing/2014/main" id="{C0E67ADE-A689-4069-B1B5-B4BCFAE169E4}"/>
                </a:ext>
              </a:extLst>
            </p:cNvPr>
            <p:cNvSpPr/>
            <p:nvPr/>
          </p:nvSpPr>
          <p:spPr>
            <a:xfrm>
              <a:off x="10045484" y="1794184"/>
              <a:ext cx="105465" cy="103891"/>
            </a:xfrm>
            <a:prstGeom prst="ellipse">
              <a:avLst/>
            </a:prstGeom>
            <a:solidFill>
              <a:srgbClr val="FFFFFF"/>
            </a:solidFill>
            <a:ln w="1270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GB" sz="2400" dirty="0">
                <a:solidFill>
                  <a:srgbClr val="000000"/>
                </a:solidFill>
                <a:latin typeface="Verdana"/>
              </a:endParaRPr>
            </a:p>
          </p:txBody>
        </p:sp>
        <p:sp>
          <p:nvSpPr>
            <p:cNvPr id="182" name="Oval 181">
              <a:extLst>
                <a:ext uri="{FF2B5EF4-FFF2-40B4-BE49-F238E27FC236}">
                  <a16:creationId xmlns:a16="http://schemas.microsoft.com/office/drawing/2014/main" id="{DE2E095E-D19B-4F31-B27E-E902D1DBE34E}"/>
                </a:ext>
              </a:extLst>
            </p:cNvPr>
            <p:cNvSpPr/>
            <p:nvPr/>
          </p:nvSpPr>
          <p:spPr>
            <a:xfrm>
              <a:off x="7994353" y="1589551"/>
              <a:ext cx="105464" cy="103891"/>
            </a:xfrm>
            <a:prstGeom prst="ellipse">
              <a:avLst/>
            </a:prstGeom>
            <a:solidFill>
              <a:srgbClr val="FFFFFF"/>
            </a:solidFill>
            <a:ln w="1270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GB" sz="2400" dirty="0">
                <a:solidFill>
                  <a:srgbClr val="000000"/>
                </a:solidFill>
                <a:latin typeface="Verdana"/>
              </a:endParaRPr>
            </a:p>
          </p:txBody>
        </p:sp>
        <p:sp>
          <p:nvSpPr>
            <p:cNvPr id="183" name="Oval 182">
              <a:extLst>
                <a:ext uri="{FF2B5EF4-FFF2-40B4-BE49-F238E27FC236}">
                  <a16:creationId xmlns:a16="http://schemas.microsoft.com/office/drawing/2014/main" id="{2FDD7D3B-9C22-4D4E-933F-5366D87DE7EF}"/>
                </a:ext>
              </a:extLst>
            </p:cNvPr>
            <p:cNvSpPr/>
            <p:nvPr/>
          </p:nvSpPr>
          <p:spPr>
            <a:xfrm>
              <a:off x="8165053" y="1558069"/>
              <a:ext cx="105465" cy="103891"/>
            </a:xfrm>
            <a:prstGeom prst="ellipse">
              <a:avLst/>
            </a:prstGeom>
            <a:solidFill>
              <a:srgbClr val="FFFFFF"/>
            </a:solidFill>
            <a:ln w="1270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GB" sz="2400" dirty="0">
                <a:solidFill>
                  <a:srgbClr val="000000"/>
                </a:solidFill>
                <a:latin typeface="Verdana"/>
              </a:endParaRPr>
            </a:p>
          </p:txBody>
        </p:sp>
        <p:sp>
          <p:nvSpPr>
            <p:cNvPr id="184" name="Oval 183">
              <a:extLst>
                <a:ext uri="{FF2B5EF4-FFF2-40B4-BE49-F238E27FC236}">
                  <a16:creationId xmlns:a16="http://schemas.microsoft.com/office/drawing/2014/main" id="{E01C6719-8FFD-4B55-B90A-BF940E63711A}"/>
                </a:ext>
              </a:extLst>
            </p:cNvPr>
            <p:cNvSpPr/>
            <p:nvPr/>
          </p:nvSpPr>
          <p:spPr>
            <a:xfrm>
              <a:off x="9381578" y="2369728"/>
              <a:ext cx="105465" cy="103891"/>
            </a:xfrm>
            <a:prstGeom prst="ellipse">
              <a:avLst/>
            </a:prstGeom>
            <a:solidFill>
              <a:srgbClr val="FFFFFF"/>
            </a:solidFill>
            <a:ln w="1270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9170">
                <a:defRPr/>
              </a:pPr>
              <a:endParaRPr lang="en-GB" sz="2400" dirty="0">
                <a:solidFill>
                  <a:srgbClr val="000000"/>
                </a:solidFill>
                <a:latin typeface="Verdana"/>
              </a:endParaRPr>
            </a:p>
          </p:txBody>
        </p:sp>
        <p:sp>
          <p:nvSpPr>
            <p:cNvPr id="185" name="Oval 184">
              <a:extLst>
                <a:ext uri="{FF2B5EF4-FFF2-40B4-BE49-F238E27FC236}">
                  <a16:creationId xmlns:a16="http://schemas.microsoft.com/office/drawing/2014/main" id="{51A6C540-0CEE-4C8D-B9D9-0C9ECA9274DD}"/>
                </a:ext>
              </a:extLst>
            </p:cNvPr>
            <p:cNvSpPr>
              <a:spLocks noChangeAspect="1"/>
            </p:cNvSpPr>
            <p:nvPr/>
          </p:nvSpPr>
          <p:spPr>
            <a:xfrm>
              <a:off x="5939976" y="1991181"/>
              <a:ext cx="52732" cy="51946"/>
            </a:xfrm>
            <a:prstGeom prst="ellipse">
              <a:avLst/>
            </a:prstGeom>
            <a:solidFill>
              <a:srgbClr val="FFFFFF"/>
            </a:solidFill>
            <a:ln w="1270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GB" sz="2400" dirty="0">
                <a:solidFill>
                  <a:srgbClr val="000000"/>
                </a:solidFill>
                <a:latin typeface="Verdana"/>
              </a:endParaRPr>
            </a:p>
          </p:txBody>
        </p:sp>
        <p:sp>
          <p:nvSpPr>
            <p:cNvPr id="186" name="Oval 185">
              <a:extLst>
                <a:ext uri="{FF2B5EF4-FFF2-40B4-BE49-F238E27FC236}">
                  <a16:creationId xmlns:a16="http://schemas.microsoft.com/office/drawing/2014/main" id="{87A8E989-CC4F-4B65-846B-FA9DE8AA19F0}"/>
                </a:ext>
              </a:extLst>
            </p:cNvPr>
            <p:cNvSpPr/>
            <p:nvPr/>
          </p:nvSpPr>
          <p:spPr>
            <a:xfrm>
              <a:off x="6540283" y="1911994"/>
              <a:ext cx="52732" cy="51946"/>
            </a:xfrm>
            <a:prstGeom prst="ellipse">
              <a:avLst/>
            </a:prstGeom>
            <a:solidFill>
              <a:srgbClr val="FFFFFF"/>
            </a:solidFill>
            <a:ln w="1270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GB" sz="2400" dirty="0">
                <a:solidFill>
                  <a:srgbClr val="000000"/>
                </a:solidFill>
                <a:latin typeface="Verdana"/>
              </a:endParaRPr>
            </a:p>
          </p:txBody>
        </p:sp>
        <p:sp>
          <p:nvSpPr>
            <p:cNvPr id="187" name="Oval 186">
              <a:extLst>
                <a:ext uri="{FF2B5EF4-FFF2-40B4-BE49-F238E27FC236}">
                  <a16:creationId xmlns:a16="http://schemas.microsoft.com/office/drawing/2014/main" id="{E5940DAD-28B1-4FC6-B67F-D1794003C0A1}"/>
                </a:ext>
              </a:extLst>
            </p:cNvPr>
            <p:cNvSpPr/>
            <p:nvPr/>
          </p:nvSpPr>
          <p:spPr>
            <a:xfrm>
              <a:off x="6929793" y="1837129"/>
              <a:ext cx="52732" cy="51946"/>
            </a:xfrm>
            <a:prstGeom prst="ellipse">
              <a:avLst/>
            </a:prstGeom>
            <a:solidFill>
              <a:srgbClr val="FFFFFF"/>
            </a:solidFill>
            <a:ln w="1270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GB" sz="2400" dirty="0">
                <a:solidFill>
                  <a:srgbClr val="000000"/>
                </a:solidFill>
                <a:latin typeface="Verdana"/>
              </a:endParaRPr>
            </a:p>
          </p:txBody>
        </p:sp>
        <p:sp>
          <p:nvSpPr>
            <p:cNvPr id="188" name="Oval 187">
              <a:extLst>
                <a:ext uri="{FF2B5EF4-FFF2-40B4-BE49-F238E27FC236}">
                  <a16:creationId xmlns:a16="http://schemas.microsoft.com/office/drawing/2014/main" id="{068EDA0C-0D5C-4491-997C-F3E89E942395}"/>
                </a:ext>
              </a:extLst>
            </p:cNvPr>
            <p:cNvSpPr/>
            <p:nvPr/>
          </p:nvSpPr>
          <p:spPr>
            <a:xfrm>
              <a:off x="5913609" y="1767831"/>
              <a:ext cx="105465" cy="103891"/>
            </a:xfrm>
            <a:prstGeom prst="ellipse">
              <a:avLst/>
            </a:prstGeom>
            <a:solidFill>
              <a:srgbClr val="FFFFFF"/>
            </a:solidFill>
            <a:ln w="1270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GB" sz="2400" dirty="0">
                <a:solidFill>
                  <a:srgbClr val="000000"/>
                </a:solidFill>
                <a:latin typeface="Verdana"/>
              </a:endParaRPr>
            </a:p>
          </p:txBody>
        </p:sp>
        <p:sp>
          <p:nvSpPr>
            <p:cNvPr id="189" name="Oval 188">
              <a:extLst>
                <a:ext uri="{FF2B5EF4-FFF2-40B4-BE49-F238E27FC236}">
                  <a16:creationId xmlns:a16="http://schemas.microsoft.com/office/drawing/2014/main" id="{4A01D250-10F7-4C7A-A155-B01E71BA3052}"/>
                </a:ext>
              </a:extLst>
            </p:cNvPr>
            <p:cNvSpPr/>
            <p:nvPr/>
          </p:nvSpPr>
          <p:spPr>
            <a:xfrm>
              <a:off x="6599129" y="2009984"/>
              <a:ext cx="105465" cy="103891"/>
            </a:xfrm>
            <a:prstGeom prst="ellipse">
              <a:avLst/>
            </a:prstGeom>
            <a:solidFill>
              <a:srgbClr val="FFFFFF"/>
            </a:solidFill>
            <a:ln w="1270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GB" sz="2400" dirty="0">
                <a:solidFill>
                  <a:srgbClr val="000000"/>
                </a:solidFill>
                <a:latin typeface="Verdana"/>
              </a:endParaRPr>
            </a:p>
          </p:txBody>
        </p:sp>
        <p:sp>
          <p:nvSpPr>
            <p:cNvPr id="190" name="Oval 189">
              <a:extLst>
                <a:ext uri="{FF2B5EF4-FFF2-40B4-BE49-F238E27FC236}">
                  <a16:creationId xmlns:a16="http://schemas.microsoft.com/office/drawing/2014/main" id="{DED74F14-6272-400F-847F-765627FB4584}"/>
                </a:ext>
              </a:extLst>
            </p:cNvPr>
            <p:cNvSpPr/>
            <p:nvPr/>
          </p:nvSpPr>
          <p:spPr>
            <a:xfrm>
              <a:off x="8152461" y="1693441"/>
              <a:ext cx="105465" cy="103891"/>
            </a:xfrm>
            <a:prstGeom prst="ellipse">
              <a:avLst/>
            </a:prstGeom>
            <a:solidFill>
              <a:srgbClr val="FFFFFF"/>
            </a:solidFill>
            <a:ln w="1270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GB" sz="2400" dirty="0">
                <a:solidFill>
                  <a:srgbClr val="000000"/>
                </a:solidFill>
                <a:latin typeface="Verdana"/>
              </a:endParaRPr>
            </a:p>
          </p:txBody>
        </p:sp>
        <p:sp>
          <p:nvSpPr>
            <p:cNvPr id="191" name="Oval 190">
              <a:extLst>
                <a:ext uri="{FF2B5EF4-FFF2-40B4-BE49-F238E27FC236}">
                  <a16:creationId xmlns:a16="http://schemas.microsoft.com/office/drawing/2014/main" id="{8081BAE4-2BBA-4449-8A99-C78745F76EFB}"/>
                </a:ext>
              </a:extLst>
            </p:cNvPr>
            <p:cNvSpPr/>
            <p:nvPr/>
          </p:nvSpPr>
          <p:spPr>
            <a:xfrm>
              <a:off x="10155670" y="1797332"/>
              <a:ext cx="105465" cy="103891"/>
            </a:xfrm>
            <a:prstGeom prst="ellipse">
              <a:avLst/>
            </a:prstGeom>
            <a:solidFill>
              <a:srgbClr val="FFFFFF"/>
            </a:solidFill>
            <a:ln w="1270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GB" sz="2400" dirty="0">
                <a:solidFill>
                  <a:srgbClr val="000000"/>
                </a:solidFill>
                <a:latin typeface="Verdana"/>
              </a:endParaRPr>
            </a:p>
          </p:txBody>
        </p:sp>
        <p:sp>
          <p:nvSpPr>
            <p:cNvPr id="192" name="Oval 191">
              <a:extLst>
                <a:ext uri="{FF2B5EF4-FFF2-40B4-BE49-F238E27FC236}">
                  <a16:creationId xmlns:a16="http://schemas.microsoft.com/office/drawing/2014/main" id="{F239A469-F14B-4766-8F88-2B3AE998BA38}"/>
                </a:ext>
              </a:extLst>
            </p:cNvPr>
            <p:cNvSpPr/>
            <p:nvPr/>
          </p:nvSpPr>
          <p:spPr>
            <a:xfrm>
              <a:off x="8237625" y="1527995"/>
              <a:ext cx="105464" cy="103891"/>
            </a:xfrm>
            <a:prstGeom prst="ellipse">
              <a:avLst/>
            </a:prstGeom>
            <a:solidFill>
              <a:srgbClr val="FFFFFF"/>
            </a:solidFill>
            <a:ln w="1270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GB" sz="2400" dirty="0">
                <a:solidFill>
                  <a:srgbClr val="000000"/>
                </a:solidFill>
                <a:latin typeface="Verdana"/>
              </a:endParaRPr>
            </a:p>
          </p:txBody>
        </p:sp>
        <p:sp>
          <p:nvSpPr>
            <p:cNvPr id="193" name="Oval 192">
              <a:extLst>
                <a:ext uri="{FF2B5EF4-FFF2-40B4-BE49-F238E27FC236}">
                  <a16:creationId xmlns:a16="http://schemas.microsoft.com/office/drawing/2014/main" id="{86B8AE8D-DA26-440A-9D89-C76DF12779BE}"/>
                </a:ext>
              </a:extLst>
            </p:cNvPr>
            <p:cNvSpPr/>
            <p:nvPr/>
          </p:nvSpPr>
          <p:spPr>
            <a:xfrm>
              <a:off x="7203502" y="2912373"/>
              <a:ext cx="105465" cy="103891"/>
            </a:xfrm>
            <a:prstGeom prst="ellipse">
              <a:avLst/>
            </a:prstGeom>
            <a:solidFill>
              <a:srgbClr val="FFFFFF"/>
            </a:solidFill>
            <a:ln w="12700">
              <a:solidFill>
                <a:srgbClr val="939A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GB" sz="2400" dirty="0">
                <a:solidFill>
                  <a:srgbClr val="000000"/>
                </a:solidFill>
                <a:latin typeface="Verdana"/>
              </a:endParaRPr>
            </a:p>
          </p:txBody>
        </p:sp>
      </p:grpSp>
    </p:spTree>
    <p:custDataLst>
      <p:tags r:id="rId1"/>
    </p:custDataLst>
    <p:extLst>
      <p:ext uri="{BB962C8B-B14F-4D97-AF65-F5344CB8AC3E}">
        <p14:creationId xmlns:p14="http://schemas.microsoft.com/office/powerpoint/2010/main" val="9950770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Nt1QZNKCTf7PeY1w2mV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2Cdh3fcVK_hb.JcBRtwS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oBlgIzdqaUbHqsPrXj5_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50H68cSn72666AzZaITV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rI0x6Ik9xZY8swyZpMJ8w"/>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6p825vwXycOcaCvBYZIQR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MEEdYOkFHIK2K_avFA3.s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y4DLgGfFQIP0ZlYRCBJVX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d9LBgnD8227p5mH5sHjc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sJBnvdEuGoervXU6RP9bg"/>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Baf7Fbx9IbiNSXTHZROA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AXneiMCZPN1fkdFUt7MY.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XKyS7rGVKysPyD3UPkH5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XHxV0gUcEK5Qj05sNwvDA"/>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FCxjAdijTMKVURsnwRLe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__Nvarp98S8weD8K3Ok9b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weFDQ70T82yhywpyypnf8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tcKfGzYjan5tgx.MnZHoy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_cFkNFdKFu1FeLVSE6b71w"/>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3xm3M8OgI49Lr_myR49pt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08tCS9i1L3kBcqxEi3P0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CAS3QzcIiPwzLv7Ryv7R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AikXyt9Yc2Q.S3tH9hs2tw"/>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Je4WdsHJ9feeFlpxl6yM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umiMwaQ653evE_Oz2bzl6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WqGp3ZzYNTmYRjoMFc9Vu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594jlhoZY1qE4UNjU8EPv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NdrDbnMhJs3IkT9G4I1nQA"/>
</p:tagLst>
</file>

<file path=ppt/tags/tag163.xml><?xml version="1.0" encoding="utf-8"?>
<p:tagLst xmlns:a="http://schemas.openxmlformats.org/drawingml/2006/main" xmlns:r="http://schemas.openxmlformats.org/officeDocument/2006/relationships" xmlns:p="http://schemas.openxmlformats.org/presentationml/2006/main">
  <p:tag name="[SUBGRID]" val="[SubGrid]"/>
</p:tagLst>
</file>

<file path=ppt/tags/tag164.xml><?xml version="1.0" encoding="utf-8"?>
<p:tagLst xmlns:a="http://schemas.openxmlformats.org/drawingml/2006/main" xmlns:r="http://schemas.openxmlformats.org/officeDocument/2006/relationships" xmlns:p="http://schemas.openxmlformats.org/presentationml/2006/main">
  <p:tag name="[SUBGRID]" val="[SubGrid]"/>
</p:tagLst>
</file>

<file path=ppt/tags/tag165.xml><?xml version="1.0" encoding="utf-8"?>
<p:tagLst xmlns:a="http://schemas.openxmlformats.org/drawingml/2006/main" xmlns:r="http://schemas.openxmlformats.org/officeDocument/2006/relationships" xmlns:p="http://schemas.openxmlformats.org/presentationml/2006/main">
  <p:tag name="[SUBGRID]" val="[SubGrid]"/>
</p:tagLst>
</file>

<file path=ppt/tags/tag166.xml><?xml version="1.0" encoding="utf-8"?>
<p:tagLst xmlns:a="http://schemas.openxmlformats.org/drawingml/2006/main" xmlns:r="http://schemas.openxmlformats.org/officeDocument/2006/relationships" xmlns:p="http://schemas.openxmlformats.org/presentationml/2006/main">
  <p:tag name="[SUBGRID]" val="[SubGrid]"/>
</p:tagLst>
</file>

<file path=ppt/tags/tag167.xml><?xml version="1.0" encoding="utf-8"?>
<p:tagLst xmlns:a="http://schemas.openxmlformats.org/drawingml/2006/main" xmlns:r="http://schemas.openxmlformats.org/officeDocument/2006/relationships" xmlns:p="http://schemas.openxmlformats.org/presentationml/2006/main">
  <p:tag name="[SUBGRID]" val="[SubGrid]"/>
</p:tagLst>
</file>

<file path=ppt/tags/tag168.xml><?xml version="1.0" encoding="utf-8"?>
<p:tagLst xmlns:a="http://schemas.openxmlformats.org/drawingml/2006/main" xmlns:r="http://schemas.openxmlformats.org/officeDocument/2006/relationships" xmlns:p="http://schemas.openxmlformats.org/presentationml/2006/main">
  <p:tag name="[SUBGRID]" val="[SubGrid]"/>
</p:tagLst>
</file>

<file path=ppt/tags/tag169.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70.xml><?xml version="1.0" encoding="utf-8"?>
<p:tagLst xmlns:a="http://schemas.openxmlformats.org/drawingml/2006/main" xmlns:r="http://schemas.openxmlformats.org/officeDocument/2006/relationships" xmlns:p="http://schemas.openxmlformats.org/presentationml/2006/main">
  <p:tag name="[SUBGRID]" val="[SubGrid]"/>
</p:tagLst>
</file>

<file path=ppt/tags/tag171.xml><?xml version="1.0" encoding="utf-8"?>
<p:tagLst xmlns:a="http://schemas.openxmlformats.org/drawingml/2006/main" xmlns:r="http://schemas.openxmlformats.org/officeDocument/2006/relationships" xmlns:p="http://schemas.openxmlformats.org/presentationml/2006/main">
  <p:tag name="[SUBGRID]" val="[SubGrid]"/>
</p:tagLst>
</file>

<file path=ppt/tags/tag172.xml><?xml version="1.0" encoding="utf-8"?>
<p:tagLst xmlns:a="http://schemas.openxmlformats.org/drawingml/2006/main" xmlns:r="http://schemas.openxmlformats.org/officeDocument/2006/relationships" xmlns:p="http://schemas.openxmlformats.org/presentationml/2006/main">
  <p:tag name="[SUBGRID]" val="[SubGrid]"/>
</p:tagLst>
</file>

<file path=ppt/tags/tag173.xml><?xml version="1.0" encoding="utf-8"?>
<p:tagLst xmlns:a="http://schemas.openxmlformats.org/drawingml/2006/main" xmlns:r="http://schemas.openxmlformats.org/officeDocument/2006/relationships" xmlns:p="http://schemas.openxmlformats.org/presentationml/2006/main">
  <p:tag name="[SUBGRID]" val="[SubGrid]"/>
</p:tagLst>
</file>

<file path=ppt/tags/tag174.xml><?xml version="1.0" encoding="utf-8"?>
<p:tagLst xmlns:a="http://schemas.openxmlformats.org/drawingml/2006/main" xmlns:r="http://schemas.openxmlformats.org/officeDocument/2006/relationships" xmlns:p="http://schemas.openxmlformats.org/presentationml/2006/main">
  <p:tag name="[SUBGRID]" val="[SubGrid]"/>
</p:tagLst>
</file>

<file path=ppt/tags/tag175.xml><?xml version="1.0" encoding="utf-8"?>
<p:tagLst xmlns:a="http://schemas.openxmlformats.org/drawingml/2006/main" xmlns:r="http://schemas.openxmlformats.org/officeDocument/2006/relationships" xmlns:p="http://schemas.openxmlformats.org/presentationml/2006/main">
  <p:tag name="[SUBGRID]" val="[SubGrid]"/>
</p:tagLst>
</file>

<file path=ppt/tags/tag176.xml><?xml version="1.0" encoding="utf-8"?>
<p:tagLst xmlns:a="http://schemas.openxmlformats.org/drawingml/2006/main" xmlns:r="http://schemas.openxmlformats.org/officeDocument/2006/relationships" xmlns:p="http://schemas.openxmlformats.org/presentationml/2006/main">
  <p:tag name="[SUBGRID]" val="[SubGrid]"/>
</p:tagLst>
</file>

<file path=ppt/tags/tag177.xml><?xml version="1.0" encoding="utf-8"?>
<p:tagLst xmlns:a="http://schemas.openxmlformats.org/drawingml/2006/main" xmlns:r="http://schemas.openxmlformats.org/officeDocument/2006/relationships" xmlns:p="http://schemas.openxmlformats.org/presentationml/2006/main">
  <p:tag name="[SUBGRID]" val="[SubGrid]"/>
</p:tagLst>
</file>

<file path=ppt/tags/tag178.xml><?xml version="1.0" encoding="utf-8"?>
<p:tagLst xmlns:a="http://schemas.openxmlformats.org/drawingml/2006/main" xmlns:r="http://schemas.openxmlformats.org/officeDocument/2006/relationships" xmlns:p="http://schemas.openxmlformats.org/presentationml/2006/main">
  <p:tag name="[SUBGRID]" val="[SubGrid]"/>
</p:tagLst>
</file>

<file path=ppt/tags/tag179.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80.xml><?xml version="1.0" encoding="utf-8"?>
<p:tagLst xmlns:a="http://schemas.openxmlformats.org/drawingml/2006/main" xmlns:r="http://schemas.openxmlformats.org/officeDocument/2006/relationships" xmlns:p="http://schemas.openxmlformats.org/presentationml/2006/main">
  <p:tag name="[SUBGRID]" val="[SubGrid]"/>
</p:tagLst>
</file>

<file path=ppt/tags/tag181.xml><?xml version="1.0" encoding="utf-8"?>
<p:tagLst xmlns:a="http://schemas.openxmlformats.org/drawingml/2006/main" xmlns:r="http://schemas.openxmlformats.org/officeDocument/2006/relationships" xmlns:p="http://schemas.openxmlformats.org/presentationml/2006/main">
  <p:tag name="[SUBGRID]" val="[SubGrid]"/>
</p:tagLst>
</file>

<file path=ppt/tags/tag182.xml><?xml version="1.0" encoding="utf-8"?>
<p:tagLst xmlns:a="http://schemas.openxmlformats.org/drawingml/2006/main" xmlns:r="http://schemas.openxmlformats.org/officeDocument/2006/relationships" xmlns:p="http://schemas.openxmlformats.org/presentationml/2006/main">
  <p:tag name="[SUBGRID]" val="[SubGrid]"/>
</p:tagLst>
</file>

<file path=ppt/tags/tag183.xml><?xml version="1.0" encoding="utf-8"?>
<p:tagLst xmlns:a="http://schemas.openxmlformats.org/drawingml/2006/main" xmlns:r="http://schemas.openxmlformats.org/officeDocument/2006/relationships" xmlns:p="http://schemas.openxmlformats.org/presentationml/2006/main">
  <p:tag name="[SUBGRID]" val="[SubGrid]"/>
</p:tagLst>
</file>

<file path=ppt/tags/tag184.xml><?xml version="1.0" encoding="utf-8"?>
<p:tagLst xmlns:a="http://schemas.openxmlformats.org/drawingml/2006/main" xmlns:r="http://schemas.openxmlformats.org/officeDocument/2006/relationships" xmlns:p="http://schemas.openxmlformats.org/presentationml/2006/main">
  <p:tag name="[SUBGRID]" val="[SubGrid]"/>
</p:tagLst>
</file>

<file path=ppt/tags/tag185.xml><?xml version="1.0" encoding="utf-8"?>
<p:tagLst xmlns:a="http://schemas.openxmlformats.org/drawingml/2006/main" xmlns:r="http://schemas.openxmlformats.org/officeDocument/2006/relationships" xmlns:p="http://schemas.openxmlformats.org/presentationml/2006/main">
  <p:tag name="[SUBGRID]" val="[SubGrid]"/>
</p:tagLst>
</file>

<file path=ppt/tags/tag186.xml><?xml version="1.0" encoding="utf-8"?>
<p:tagLst xmlns:a="http://schemas.openxmlformats.org/drawingml/2006/main" xmlns:r="http://schemas.openxmlformats.org/officeDocument/2006/relationships" xmlns:p="http://schemas.openxmlformats.org/presentationml/2006/main">
  <p:tag name="[SUBGRID]" val="[SubGrid]"/>
</p:tagLst>
</file>

<file path=ppt/tags/tag187.xml><?xml version="1.0" encoding="utf-8"?>
<p:tagLst xmlns:a="http://schemas.openxmlformats.org/drawingml/2006/main" xmlns:r="http://schemas.openxmlformats.org/officeDocument/2006/relationships" xmlns:p="http://schemas.openxmlformats.org/presentationml/2006/main">
  <p:tag name="[SUBGRID]" val="[SubGrid]"/>
</p:tagLst>
</file>

<file path=ppt/tags/tag188.xml><?xml version="1.0" encoding="utf-8"?>
<p:tagLst xmlns:a="http://schemas.openxmlformats.org/drawingml/2006/main" xmlns:r="http://schemas.openxmlformats.org/officeDocument/2006/relationships" xmlns:p="http://schemas.openxmlformats.org/presentationml/2006/main">
  <p:tag name="[SUBGRID]" val="[SubGrid]"/>
</p:tagLst>
</file>

<file path=ppt/tags/tag189.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190.xml><?xml version="1.0" encoding="utf-8"?>
<p:tagLst xmlns:a="http://schemas.openxmlformats.org/drawingml/2006/main" xmlns:r="http://schemas.openxmlformats.org/officeDocument/2006/relationships" xmlns:p="http://schemas.openxmlformats.org/presentationml/2006/main">
  <p:tag name="[SUBGRID]" val="[SubGrid]"/>
</p:tagLst>
</file>

<file path=ppt/tags/tag191.xml><?xml version="1.0" encoding="utf-8"?>
<p:tagLst xmlns:a="http://schemas.openxmlformats.org/drawingml/2006/main" xmlns:r="http://schemas.openxmlformats.org/officeDocument/2006/relationships" xmlns:p="http://schemas.openxmlformats.org/presentationml/2006/main">
  <p:tag name="[SUBGRID]" val="[SubGrid]"/>
</p:tagLst>
</file>

<file path=ppt/tags/tag192.xml><?xml version="1.0" encoding="utf-8"?>
<p:tagLst xmlns:a="http://schemas.openxmlformats.org/drawingml/2006/main" xmlns:r="http://schemas.openxmlformats.org/officeDocument/2006/relationships" xmlns:p="http://schemas.openxmlformats.org/presentationml/2006/main">
  <p:tag name="[SUBGRID]" val="[SubGrid]"/>
</p:tagLst>
</file>

<file path=ppt/tags/tag193.xml><?xml version="1.0" encoding="utf-8"?>
<p:tagLst xmlns:a="http://schemas.openxmlformats.org/drawingml/2006/main" xmlns:r="http://schemas.openxmlformats.org/officeDocument/2006/relationships" xmlns:p="http://schemas.openxmlformats.org/presentationml/2006/main">
  <p:tag name="[SUBGRID]" val="[SubGrid]"/>
</p:tagLst>
</file>

<file path=ppt/tags/tag194.xml><?xml version="1.0" encoding="utf-8"?>
<p:tagLst xmlns:a="http://schemas.openxmlformats.org/drawingml/2006/main" xmlns:r="http://schemas.openxmlformats.org/officeDocument/2006/relationships" xmlns:p="http://schemas.openxmlformats.org/presentationml/2006/main">
  <p:tag name="[SUBGRID]" val="[SubGrid]"/>
</p:tagLst>
</file>

<file path=ppt/tags/tag195.xml><?xml version="1.0" encoding="utf-8"?>
<p:tagLst xmlns:a="http://schemas.openxmlformats.org/drawingml/2006/main" xmlns:r="http://schemas.openxmlformats.org/officeDocument/2006/relationships" xmlns:p="http://schemas.openxmlformats.org/presentationml/2006/main">
  <p:tag name="[SUBGRID]" val="[SubGrid]"/>
</p:tagLst>
</file>

<file path=ppt/tags/tag196.xml><?xml version="1.0" encoding="utf-8"?>
<p:tagLst xmlns:a="http://schemas.openxmlformats.org/drawingml/2006/main" xmlns:r="http://schemas.openxmlformats.org/officeDocument/2006/relationships" xmlns:p="http://schemas.openxmlformats.org/presentationml/2006/main">
  <p:tag name="[SUBGRID]" val="[SubGrid]"/>
</p:tagLst>
</file>

<file path=ppt/tags/tag197.xml><?xml version="1.0" encoding="utf-8"?>
<p:tagLst xmlns:a="http://schemas.openxmlformats.org/drawingml/2006/main" xmlns:r="http://schemas.openxmlformats.org/officeDocument/2006/relationships" xmlns:p="http://schemas.openxmlformats.org/presentationml/2006/main">
  <p:tag name="[SUBGRID]" val="[SubGrid]"/>
</p:tagLst>
</file>

<file path=ppt/tags/tag198.xml><?xml version="1.0" encoding="utf-8"?>
<p:tagLst xmlns:a="http://schemas.openxmlformats.org/drawingml/2006/main" xmlns:r="http://schemas.openxmlformats.org/officeDocument/2006/relationships" xmlns:p="http://schemas.openxmlformats.org/presentationml/2006/main">
  <p:tag name="[SUBGRID]" val="[SubGrid]"/>
</p:tagLst>
</file>

<file path=ppt/tags/tag19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00.xml><?xml version="1.0" encoding="utf-8"?>
<p:tagLst xmlns:a="http://schemas.openxmlformats.org/drawingml/2006/main" xmlns:r="http://schemas.openxmlformats.org/officeDocument/2006/relationships" xmlns:p="http://schemas.openxmlformats.org/presentationml/2006/main">
  <p:tag name="[SUBGRID]" val="[SubGrid]"/>
</p:tagLst>
</file>

<file path=ppt/tags/tag201.xml><?xml version="1.0" encoding="utf-8"?>
<p:tagLst xmlns:a="http://schemas.openxmlformats.org/drawingml/2006/main" xmlns:r="http://schemas.openxmlformats.org/officeDocument/2006/relationships" xmlns:p="http://schemas.openxmlformats.org/presentationml/2006/main">
  <p:tag name="[SUBGRID]" val="[SubGrid]"/>
</p:tagLst>
</file>

<file path=ppt/tags/tag202.xml><?xml version="1.0" encoding="utf-8"?>
<p:tagLst xmlns:a="http://schemas.openxmlformats.org/drawingml/2006/main" xmlns:r="http://schemas.openxmlformats.org/officeDocument/2006/relationships" xmlns:p="http://schemas.openxmlformats.org/presentationml/2006/main">
  <p:tag name="[SUBGRID]" val="[SubGrid]"/>
</p:tagLst>
</file>

<file path=ppt/tags/tag203.xml><?xml version="1.0" encoding="utf-8"?>
<p:tagLst xmlns:a="http://schemas.openxmlformats.org/drawingml/2006/main" xmlns:r="http://schemas.openxmlformats.org/officeDocument/2006/relationships" xmlns:p="http://schemas.openxmlformats.org/presentationml/2006/main">
  <p:tag name="[SUBGRID]" val="[SubGrid]"/>
</p:tagLst>
</file>

<file path=ppt/tags/tag204.xml><?xml version="1.0" encoding="utf-8"?>
<p:tagLst xmlns:a="http://schemas.openxmlformats.org/drawingml/2006/main" xmlns:r="http://schemas.openxmlformats.org/officeDocument/2006/relationships" xmlns:p="http://schemas.openxmlformats.org/presentationml/2006/main">
  <p:tag name="[SUBGRID]" val="[SubGrid]"/>
</p:tagLst>
</file>

<file path=ppt/tags/tag205.xml><?xml version="1.0" encoding="utf-8"?>
<p:tagLst xmlns:a="http://schemas.openxmlformats.org/drawingml/2006/main" xmlns:r="http://schemas.openxmlformats.org/officeDocument/2006/relationships" xmlns:p="http://schemas.openxmlformats.org/presentationml/2006/main">
  <p:tag name="[SUBGRID]" val="[SubGrid]"/>
</p:tagLst>
</file>

<file path=ppt/tags/tag206.xml><?xml version="1.0" encoding="utf-8"?>
<p:tagLst xmlns:a="http://schemas.openxmlformats.org/drawingml/2006/main" xmlns:r="http://schemas.openxmlformats.org/officeDocument/2006/relationships" xmlns:p="http://schemas.openxmlformats.org/presentationml/2006/main">
  <p:tag name="[SUBGRID]" val="[SubGrid]"/>
</p:tagLst>
</file>

<file path=ppt/tags/tag207.xml><?xml version="1.0" encoding="utf-8"?>
<p:tagLst xmlns:a="http://schemas.openxmlformats.org/drawingml/2006/main" xmlns:r="http://schemas.openxmlformats.org/officeDocument/2006/relationships" xmlns:p="http://schemas.openxmlformats.org/presentationml/2006/main">
  <p:tag name="[SUBGRID]" val="[SubGrid]"/>
</p:tagLst>
</file>

<file path=ppt/tags/tag208.xml><?xml version="1.0" encoding="utf-8"?>
<p:tagLst xmlns:a="http://schemas.openxmlformats.org/drawingml/2006/main" xmlns:r="http://schemas.openxmlformats.org/officeDocument/2006/relationships" xmlns:p="http://schemas.openxmlformats.org/presentationml/2006/main">
  <p:tag name="[SUBGRID]" val="[SubGrid]"/>
</p:tagLst>
</file>

<file path=ppt/tags/tag209.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10.xml><?xml version="1.0" encoding="utf-8"?>
<p:tagLst xmlns:a="http://schemas.openxmlformats.org/drawingml/2006/main" xmlns:r="http://schemas.openxmlformats.org/officeDocument/2006/relationships" xmlns:p="http://schemas.openxmlformats.org/presentationml/2006/main">
  <p:tag name="[SUBGRID]" val="[SubGrid]"/>
</p:tagLst>
</file>

<file path=ppt/tags/tag211.xml><?xml version="1.0" encoding="utf-8"?>
<p:tagLst xmlns:a="http://schemas.openxmlformats.org/drawingml/2006/main" xmlns:r="http://schemas.openxmlformats.org/officeDocument/2006/relationships" xmlns:p="http://schemas.openxmlformats.org/presentationml/2006/main">
  <p:tag name="[SUBGRID]" val="[SubGrid]"/>
</p:tagLst>
</file>

<file path=ppt/tags/tag212.xml><?xml version="1.0" encoding="utf-8"?>
<p:tagLst xmlns:a="http://schemas.openxmlformats.org/drawingml/2006/main" xmlns:r="http://schemas.openxmlformats.org/officeDocument/2006/relationships" xmlns:p="http://schemas.openxmlformats.org/presentationml/2006/main">
  <p:tag name="[SUBGRID]" val="[SubGrid]"/>
</p:tagLst>
</file>

<file path=ppt/tags/tag213.xml><?xml version="1.0" encoding="utf-8"?>
<p:tagLst xmlns:a="http://schemas.openxmlformats.org/drawingml/2006/main" xmlns:r="http://schemas.openxmlformats.org/officeDocument/2006/relationships" xmlns:p="http://schemas.openxmlformats.org/presentationml/2006/main">
  <p:tag name="[SUBGRID]" val="[SubGrid]"/>
</p:tagLst>
</file>

<file path=ppt/tags/tag214.xml><?xml version="1.0" encoding="utf-8"?>
<p:tagLst xmlns:a="http://schemas.openxmlformats.org/drawingml/2006/main" xmlns:r="http://schemas.openxmlformats.org/officeDocument/2006/relationships" xmlns:p="http://schemas.openxmlformats.org/presentationml/2006/main">
  <p:tag name="[SUBGRID]" val="[SubGrid]"/>
</p:tagLst>
</file>

<file path=ppt/tags/tag215.xml><?xml version="1.0" encoding="utf-8"?>
<p:tagLst xmlns:a="http://schemas.openxmlformats.org/drawingml/2006/main" xmlns:r="http://schemas.openxmlformats.org/officeDocument/2006/relationships" xmlns:p="http://schemas.openxmlformats.org/presentationml/2006/main">
  <p:tag name="[SUBGRID]" val="[SubGrid]"/>
</p:tagLst>
</file>

<file path=ppt/tags/tag216.xml><?xml version="1.0" encoding="utf-8"?>
<p:tagLst xmlns:a="http://schemas.openxmlformats.org/drawingml/2006/main" xmlns:r="http://schemas.openxmlformats.org/officeDocument/2006/relationships" xmlns:p="http://schemas.openxmlformats.org/presentationml/2006/main">
  <p:tag name="[SUBGRID]" val="[SubGrid]"/>
</p:tagLst>
</file>

<file path=ppt/tags/tag217.xml><?xml version="1.0" encoding="utf-8"?>
<p:tagLst xmlns:a="http://schemas.openxmlformats.org/drawingml/2006/main" xmlns:r="http://schemas.openxmlformats.org/officeDocument/2006/relationships" xmlns:p="http://schemas.openxmlformats.org/presentationml/2006/main">
  <p:tag name="[SUBGRID]" val="[SubGrid]"/>
</p:tagLst>
</file>

<file path=ppt/tags/tag218.xml><?xml version="1.0" encoding="utf-8"?>
<p:tagLst xmlns:a="http://schemas.openxmlformats.org/drawingml/2006/main" xmlns:r="http://schemas.openxmlformats.org/officeDocument/2006/relationships" xmlns:p="http://schemas.openxmlformats.org/presentationml/2006/main">
  <p:tag name="[SUBGRID]" val="[SubGrid]"/>
</p:tagLst>
</file>

<file path=ppt/tags/tag219.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20.xml><?xml version="1.0" encoding="utf-8"?>
<p:tagLst xmlns:a="http://schemas.openxmlformats.org/drawingml/2006/main" xmlns:r="http://schemas.openxmlformats.org/officeDocument/2006/relationships" xmlns:p="http://schemas.openxmlformats.org/presentationml/2006/main">
  <p:tag name="[SUBGRID]" val="[SubGrid]"/>
</p:tagLst>
</file>

<file path=ppt/tags/tag221.xml><?xml version="1.0" encoding="utf-8"?>
<p:tagLst xmlns:a="http://schemas.openxmlformats.org/drawingml/2006/main" xmlns:r="http://schemas.openxmlformats.org/officeDocument/2006/relationships" xmlns:p="http://schemas.openxmlformats.org/presentationml/2006/main">
  <p:tag name="[SUBGRID]" val="[SubGrid]"/>
</p:tagLst>
</file>

<file path=ppt/tags/tag222.xml><?xml version="1.0" encoding="utf-8"?>
<p:tagLst xmlns:a="http://schemas.openxmlformats.org/drawingml/2006/main" xmlns:r="http://schemas.openxmlformats.org/officeDocument/2006/relationships" xmlns:p="http://schemas.openxmlformats.org/presentationml/2006/main">
  <p:tag name="[SUBGRID]" val="[SubGrid]"/>
</p:tagLst>
</file>

<file path=ppt/tags/tag223.xml><?xml version="1.0" encoding="utf-8"?>
<p:tagLst xmlns:a="http://schemas.openxmlformats.org/drawingml/2006/main" xmlns:r="http://schemas.openxmlformats.org/officeDocument/2006/relationships" xmlns:p="http://schemas.openxmlformats.org/presentationml/2006/main">
  <p:tag name="[SUBGRID]" val="[SubGrid]"/>
</p:tagLst>
</file>

<file path=ppt/tags/tag224.xml><?xml version="1.0" encoding="utf-8"?>
<p:tagLst xmlns:a="http://schemas.openxmlformats.org/drawingml/2006/main" xmlns:r="http://schemas.openxmlformats.org/officeDocument/2006/relationships" xmlns:p="http://schemas.openxmlformats.org/presentationml/2006/main">
  <p:tag name="[SUBGRID]" val="[SubGrid]"/>
</p:tagLst>
</file>

<file path=ppt/tags/tag225.xml><?xml version="1.0" encoding="utf-8"?>
<p:tagLst xmlns:a="http://schemas.openxmlformats.org/drawingml/2006/main" xmlns:r="http://schemas.openxmlformats.org/officeDocument/2006/relationships" xmlns:p="http://schemas.openxmlformats.org/presentationml/2006/main">
  <p:tag name="[SUBGRID]" val="[SubGrid]"/>
</p:tagLst>
</file>

<file path=ppt/tags/tag226.xml><?xml version="1.0" encoding="utf-8"?>
<p:tagLst xmlns:a="http://schemas.openxmlformats.org/drawingml/2006/main" xmlns:r="http://schemas.openxmlformats.org/officeDocument/2006/relationships" xmlns:p="http://schemas.openxmlformats.org/presentationml/2006/main">
  <p:tag name="[SUBGRID]" val="[SubGrid]"/>
</p:tagLst>
</file>

<file path=ppt/tags/tag227.xml><?xml version="1.0" encoding="utf-8"?>
<p:tagLst xmlns:a="http://schemas.openxmlformats.org/drawingml/2006/main" xmlns:r="http://schemas.openxmlformats.org/officeDocument/2006/relationships" xmlns:p="http://schemas.openxmlformats.org/presentationml/2006/main">
  <p:tag name="[SUBGRID]" val="[SubGrid]"/>
</p:tagLst>
</file>

<file path=ppt/tags/tag228.xml><?xml version="1.0" encoding="utf-8"?>
<p:tagLst xmlns:a="http://schemas.openxmlformats.org/drawingml/2006/main" xmlns:r="http://schemas.openxmlformats.org/officeDocument/2006/relationships" xmlns:p="http://schemas.openxmlformats.org/presentationml/2006/main">
  <p:tag name="[SUBGRID]" val="[SubGrid]"/>
</p:tagLst>
</file>

<file path=ppt/tags/tag229.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30.xml><?xml version="1.0" encoding="utf-8"?>
<p:tagLst xmlns:a="http://schemas.openxmlformats.org/drawingml/2006/main" xmlns:r="http://schemas.openxmlformats.org/officeDocument/2006/relationships" xmlns:p="http://schemas.openxmlformats.org/presentationml/2006/main">
  <p:tag name="[SUBGRID]" val="[SubGrid]"/>
</p:tagLst>
</file>

<file path=ppt/tags/tag231.xml><?xml version="1.0" encoding="utf-8"?>
<p:tagLst xmlns:a="http://schemas.openxmlformats.org/drawingml/2006/main" xmlns:r="http://schemas.openxmlformats.org/officeDocument/2006/relationships" xmlns:p="http://schemas.openxmlformats.org/presentationml/2006/main">
  <p:tag name="[SUBGRID]" val="[SubGrid]"/>
</p:tagLst>
</file>

<file path=ppt/tags/tag232.xml><?xml version="1.0" encoding="utf-8"?>
<p:tagLst xmlns:a="http://schemas.openxmlformats.org/drawingml/2006/main" xmlns:r="http://schemas.openxmlformats.org/officeDocument/2006/relationships" xmlns:p="http://schemas.openxmlformats.org/presentationml/2006/main">
  <p:tag name="[SUBGRID]" val="[SubGrid]"/>
</p:tagLst>
</file>

<file path=ppt/tags/tag233.xml><?xml version="1.0" encoding="utf-8"?>
<p:tagLst xmlns:a="http://schemas.openxmlformats.org/drawingml/2006/main" xmlns:r="http://schemas.openxmlformats.org/officeDocument/2006/relationships" xmlns:p="http://schemas.openxmlformats.org/presentationml/2006/main">
  <p:tag name="[SUBGRID]" val="[SubGrid]"/>
</p:tagLst>
</file>

<file path=ppt/tags/tag234.xml><?xml version="1.0" encoding="utf-8"?>
<p:tagLst xmlns:a="http://schemas.openxmlformats.org/drawingml/2006/main" xmlns:r="http://schemas.openxmlformats.org/officeDocument/2006/relationships" xmlns:p="http://schemas.openxmlformats.org/presentationml/2006/main">
  <p:tag name="[SUBGRID]" val="[SubGrid]"/>
</p:tagLst>
</file>

<file path=ppt/tags/tag235.xml><?xml version="1.0" encoding="utf-8"?>
<p:tagLst xmlns:a="http://schemas.openxmlformats.org/drawingml/2006/main" xmlns:r="http://schemas.openxmlformats.org/officeDocument/2006/relationships" xmlns:p="http://schemas.openxmlformats.org/presentationml/2006/main">
  <p:tag name="[SUBGRID]" val="[SubGrid]"/>
</p:tagLst>
</file>

<file path=ppt/tags/tag236.xml><?xml version="1.0" encoding="utf-8"?>
<p:tagLst xmlns:a="http://schemas.openxmlformats.org/drawingml/2006/main" xmlns:r="http://schemas.openxmlformats.org/officeDocument/2006/relationships" xmlns:p="http://schemas.openxmlformats.org/presentationml/2006/main">
  <p:tag name="[SUBGRID]" val="[SubGrid]"/>
</p:tagLst>
</file>

<file path=ppt/tags/tag237.xml><?xml version="1.0" encoding="utf-8"?>
<p:tagLst xmlns:a="http://schemas.openxmlformats.org/drawingml/2006/main" xmlns:r="http://schemas.openxmlformats.org/officeDocument/2006/relationships" xmlns:p="http://schemas.openxmlformats.org/presentationml/2006/main">
  <p:tag name="[SUBGRID]" val="[SubGrid]"/>
</p:tagLst>
</file>

<file path=ppt/tags/tag238.xml><?xml version="1.0" encoding="utf-8"?>
<p:tagLst xmlns:a="http://schemas.openxmlformats.org/drawingml/2006/main" xmlns:r="http://schemas.openxmlformats.org/officeDocument/2006/relationships" xmlns:p="http://schemas.openxmlformats.org/presentationml/2006/main">
  <p:tag name="[SUBGRID]" val="[SubGrid]"/>
</p:tagLst>
</file>

<file path=ppt/tags/tag239.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40.xml><?xml version="1.0" encoding="utf-8"?>
<p:tagLst xmlns:a="http://schemas.openxmlformats.org/drawingml/2006/main" xmlns:r="http://schemas.openxmlformats.org/officeDocument/2006/relationships" xmlns:p="http://schemas.openxmlformats.org/presentationml/2006/main">
  <p:tag name="[SUBGRID]" val="[SubGrid]"/>
</p:tagLst>
</file>

<file path=ppt/tags/tag241.xml><?xml version="1.0" encoding="utf-8"?>
<p:tagLst xmlns:a="http://schemas.openxmlformats.org/drawingml/2006/main" xmlns:r="http://schemas.openxmlformats.org/officeDocument/2006/relationships" xmlns:p="http://schemas.openxmlformats.org/presentationml/2006/main">
  <p:tag name="[SUBGRID]" val="[SubGrid]"/>
</p:tagLst>
</file>

<file path=ppt/tags/tag242.xml><?xml version="1.0" encoding="utf-8"?>
<p:tagLst xmlns:a="http://schemas.openxmlformats.org/drawingml/2006/main" xmlns:r="http://schemas.openxmlformats.org/officeDocument/2006/relationships" xmlns:p="http://schemas.openxmlformats.org/presentationml/2006/main">
  <p:tag name="[SUBGRID]" val="[SubGrid]"/>
</p:tagLst>
</file>

<file path=ppt/tags/tag243.xml><?xml version="1.0" encoding="utf-8"?>
<p:tagLst xmlns:a="http://schemas.openxmlformats.org/drawingml/2006/main" xmlns:r="http://schemas.openxmlformats.org/officeDocument/2006/relationships" xmlns:p="http://schemas.openxmlformats.org/presentationml/2006/main">
  <p:tag name="[SUBGRID]" val="[SubGrid]"/>
</p:tagLst>
</file>

<file path=ppt/tags/tag244.xml><?xml version="1.0" encoding="utf-8"?>
<p:tagLst xmlns:a="http://schemas.openxmlformats.org/drawingml/2006/main" xmlns:r="http://schemas.openxmlformats.org/officeDocument/2006/relationships" xmlns:p="http://schemas.openxmlformats.org/presentationml/2006/main">
  <p:tag name="[SUBGRID]" val="[SubGrid]"/>
</p:tagLst>
</file>

<file path=ppt/tags/tag245.xml><?xml version="1.0" encoding="utf-8"?>
<p:tagLst xmlns:a="http://schemas.openxmlformats.org/drawingml/2006/main" xmlns:r="http://schemas.openxmlformats.org/officeDocument/2006/relationships" xmlns:p="http://schemas.openxmlformats.org/presentationml/2006/main">
  <p:tag name="[SUBGRID]" val="[SubGrid]"/>
</p:tagLst>
</file>

<file path=ppt/tags/tag246.xml><?xml version="1.0" encoding="utf-8"?>
<p:tagLst xmlns:a="http://schemas.openxmlformats.org/drawingml/2006/main" xmlns:r="http://schemas.openxmlformats.org/officeDocument/2006/relationships" xmlns:p="http://schemas.openxmlformats.org/presentationml/2006/main">
  <p:tag name="[SUBGRID]" val="[SubGrid]"/>
</p:tagLst>
</file>

<file path=ppt/tags/tag247.xml><?xml version="1.0" encoding="utf-8"?>
<p:tagLst xmlns:a="http://schemas.openxmlformats.org/drawingml/2006/main" xmlns:r="http://schemas.openxmlformats.org/officeDocument/2006/relationships" xmlns:p="http://schemas.openxmlformats.org/presentationml/2006/main">
  <p:tag name="[SUBGRID]" val="[SubGrid]"/>
</p:tagLst>
</file>

<file path=ppt/tags/tag248.xml><?xml version="1.0" encoding="utf-8"?>
<p:tagLst xmlns:a="http://schemas.openxmlformats.org/drawingml/2006/main" xmlns:r="http://schemas.openxmlformats.org/officeDocument/2006/relationships" xmlns:p="http://schemas.openxmlformats.org/presentationml/2006/main">
  <p:tag name="[SUBGRID]" val="[SubGrid]"/>
</p:tagLst>
</file>

<file path=ppt/tags/tag249.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50.xml><?xml version="1.0" encoding="utf-8"?>
<p:tagLst xmlns:a="http://schemas.openxmlformats.org/drawingml/2006/main" xmlns:r="http://schemas.openxmlformats.org/officeDocument/2006/relationships" xmlns:p="http://schemas.openxmlformats.org/presentationml/2006/main">
  <p:tag name="[SUBGRID]" val="[SubGrid]"/>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ULpMebGZuDLdN5fIO5JSD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C7sGTWD2pUvt_tjw9H1u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_Dn5I82aCpXJQeJJ4RQOb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lizsb04Ayla_z4UUCSp_F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IfBePy6xmFVxtYTHKFMh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G3Xmuo615Cs9Z.8sW4rDt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STH40DfsZ87_GkkJEWJKr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6Hr30mAYqY2peiR4yyM9Cw"/>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FniocgAhyjTtCoBW8IpZZ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dBa1k3yzJLAx11ZtAEBMr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qX5lpTs0YgfxQj4SZ80q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_gjunVxnTXX1IJaARMjI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CbJQbOKgZ1CAImj0wjQztQ"/>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YPaw0qZH1FivP1Eg9CuPj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xfrxzQAgjsJIpEo_PD2KY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Z8NEhNt8BqzfMqAXHKY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r0Yjm3hr0ticooPdOmglq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xugUZclcbCQ2DBz2yxlVUA"/>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Xvf0H97lu1EntLCfvcCKZ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3j5F0LrWc7ZSsaJrBbqrd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TpRZWg8FBOeqjKqhrjEeo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RsmIsrtW99rmIktcj84Ll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0cTbHdPy4PGknLfPnmA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D5n.BA6.PvBI7D7idxOGA"/>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ZnCrA109u0n2CMlOB.8.Z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ZG8wtsHiBdYwT5c4SPG.D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R9LExww9cWakKU3axrKnY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TIpH5P1IHMjJgin_bq4mN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66Rmn4kswe_sFdCv.2u9NQ"/>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bck0Qcw6DNaY4NFFCxlsy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8u1xk0dxk5nwMujrfo7Lx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MhIkQVpyBtkxStBnwIOUm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t82uc6VOnsCVVEDdh1xCk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b12Gko7sCliiFljz6qWcDQ"/>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JGoh97MgnSTLC0cZHfkVw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NdrDbnMhJs3IkT9G4I1nQA"/>
</p:tagLst>
</file>

<file path=ppt/tags/tag328.xml><?xml version="1.0" encoding="utf-8"?>
<p:tagLst xmlns:a="http://schemas.openxmlformats.org/drawingml/2006/main" xmlns:r="http://schemas.openxmlformats.org/officeDocument/2006/relationships" xmlns:p="http://schemas.openxmlformats.org/presentationml/2006/main">
  <p:tag name="[SUBGRID]" val="[SubGrid]"/>
</p:tagLst>
</file>

<file path=ppt/tags/tag329.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30.xml><?xml version="1.0" encoding="utf-8"?>
<p:tagLst xmlns:a="http://schemas.openxmlformats.org/drawingml/2006/main" xmlns:r="http://schemas.openxmlformats.org/officeDocument/2006/relationships" xmlns:p="http://schemas.openxmlformats.org/presentationml/2006/main">
  <p:tag name="[SUBGRID]" val="[SubGrid]"/>
</p:tagLst>
</file>

<file path=ppt/tags/tag331.xml><?xml version="1.0" encoding="utf-8"?>
<p:tagLst xmlns:a="http://schemas.openxmlformats.org/drawingml/2006/main" xmlns:r="http://schemas.openxmlformats.org/officeDocument/2006/relationships" xmlns:p="http://schemas.openxmlformats.org/presentationml/2006/main">
  <p:tag name="[SUBGRID]" val="[SubGrid]"/>
</p:tagLst>
</file>

<file path=ppt/tags/tag332.xml><?xml version="1.0" encoding="utf-8"?>
<p:tagLst xmlns:a="http://schemas.openxmlformats.org/drawingml/2006/main" xmlns:r="http://schemas.openxmlformats.org/officeDocument/2006/relationships" xmlns:p="http://schemas.openxmlformats.org/presentationml/2006/main">
  <p:tag name="[SUBGRID]" val="[SubGrid]"/>
</p:tagLst>
</file>

<file path=ppt/tags/tag333.xml><?xml version="1.0" encoding="utf-8"?>
<p:tagLst xmlns:a="http://schemas.openxmlformats.org/drawingml/2006/main" xmlns:r="http://schemas.openxmlformats.org/officeDocument/2006/relationships" xmlns:p="http://schemas.openxmlformats.org/presentationml/2006/main">
  <p:tag name="[SUBGRID]" val="[SubGrid]"/>
</p:tagLst>
</file>

<file path=ppt/tags/tag334.xml><?xml version="1.0" encoding="utf-8"?>
<p:tagLst xmlns:a="http://schemas.openxmlformats.org/drawingml/2006/main" xmlns:r="http://schemas.openxmlformats.org/officeDocument/2006/relationships" xmlns:p="http://schemas.openxmlformats.org/presentationml/2006/main">
  <p:tag name="[SUBGRID]" val="[SubGrid]"/>
</p:tagLst>
</file>

<file path=ppt/tags/tag335.xml><?xml version="1.0" encoding="utf-8"?>
<p:tagLst xmlns:a="http://schemas.openxmlformats.org/drawingml/2006/main" xmlns:r="http://schemas.openxmlformats.org/officeDocument/2006/relationships" xmlns:p="http://schemas.openxmlformats.org/presentationml/2006/main">
  <p:tag name="[SUBGRID]" val="[SubGrid]"/>
</p:tagLst>
</file>

<file path=ppt/tags/tag336.xml><?xml version="1.0" encoding="utf-8"?>
<p:tagLst xmlns:a="http://schemas.openxmlformats.org/drawingml/2006/main" xmlns:r="http://schemas.openxmlformats.org/officeDocument/2006/relationships" xmlns:p="http://schemas.openxmlformats.org/presentationml/2006/main">
  <p:tag name="[SUBGRID]" val="[SubGrid]"/>
</p:tagLst>
</file>

<file path=ppt/tags/tag337.xml><?xml version="1.0" encoding="utf-8"?>
<p:tagLst xmlns:a="http://schemas.openxmlformats.org/drawingml/2006/main" xmlns:r="http://schemas.openxmlformats.org/officeDocument/2006/relationships" xmlns:p="http://schemas.openxmlformats.org/presentationml/2006/main">
  <p:tag name="[SUBGRID]" val="[SubGrid]"/>
</p:tagLst>
</file>

<file path=ppt/tags/tag338.xml><?xml version="1.0" encoding="utf-8"?>
<p:tagLst xmlns:a="http://schemas.openxmlformats.org/drawingml/2006/main" xmlns:r="http://schemas.openxmlformats.org/officeDocument/2006/relationships" xmlns:p="http://schemas.openxmlformats.org/presentationml/2006/main">
  <p:tag name="[SUBGRID]" val="[SubGrid]"/>
</p:tagLst>
</file>

<file path=ppt/tags/tag339.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40.xml><?xml version="1.0" encoding="utf-8"?>
<p:tagLst xmlns:a="http://schemas.openxmlformats.org/drawingml/2006/main" xmlns:r="http://schemas.openxmlformats.org/officeDocument/2006/relationships" xmlns:p="http://schemas.openxmlformats.org/presentationml/2006/main">
  <p:tag name="[SUBGRID]" val="[SubGrid]"/>
</p:tagLst>
</file>

<file path=ppt/tags/tag341.xml><?xml version="1.0" encoding="utf-8"?>
<p:tagLst xmlns:a="http://schemas.openxmlformats.org/drawingml/2006/main" xmlns:r="http://schemas.openxmlformats.org/officeDocument/2006/relationships" xmlns:p="http://schemas.openxmlformats.org/presentationml/2006/main">
  <p:tag name="[SUBGRID]" val="[SubGrid]"/>
</p:tagLst>
</file>

<file path=ppt/tags/tag342.xml><?xml version="1.0" encoding="utf-8"?>
<p:tagLst xmlns:a="http://schemas.openxmlformats.org/drawingml/2006/main" xmlns:r="http://schemas.openxmlformats.org/officeDocument/2006/relationships" xmlns:p="http://schemas.openxmlformats.org/presentationml/2006/main">
  <p:tag name="[SUBGRID]" val="[SubGrid]"/>
</p:tagLst>
</file>

<file path=ppt/tags/tag343.xml><?xml version="1.0" encoding="utf-8"?>
<p:tagLst xmlns:a="http://schemas.openxmlformats.org/drawingml/2006/main" xmlns:r="http://schemas.openxmlformats.org/officeDocument/2006/relationships" xmlns:p="http://schemas.openxmlformats.org/presentationml/2006/main">
  <p:tag name="[SUBGRID]" val="[SubGrid]"/>
</p:tagLst>
</file>

<file path=ppt/tags/tag344.xml><?xml version="1.0" encoding="utf-8"?>
<p:tagLst xmlns:a="http://schemas.openxmlformats.org/drawingml/2006/main" xmlns:r="http://schemas.openxmlformats.org/officeDocument/2006/relationships" xmlns:p="http://schemas.openxmlformats.org/presentationml/2006/main">
  <p:tag name="[SUBGRID]" val="[SubGrid]"/>
</p:tagLst>
</file>

<file path=ppt/tags/tag345.xml><?xml version="1.0" encoding="utf-8"?>
<p:tagLst xmlns:a="http://schemas.openxmlformats.org/drawingml/2006/main" xmlns:r="http://schemas.openxmlformats.org/officeDocument/2006/relationships" xmlns:p="http://schemas.openxmlformats.org/presentationml/2006/main">
  <p:tag name="[SUBGRID]" val="[SubGrid]"/>
</p:tagLst>
</file>

<file path=ppt/tags/tag346.xml><?xml version="1.0" encoding="utf-8"?>
<p:tagLst xmlns:a="http://schemas.openxmlformats.org/drawingml/2006/main" xmlns:r="http://schemas.openxmlformats.org/officeDocument/2006/relationships" xmlns:p="http://schemas.openxmlformats.org/presentationml/2006/main">
  <p:tag name="[SUBGRID]" val="[SubGrid]"/>
</p:tagLst>
</file>

<file path=ppt/tags/tag347.xml><?xml version="1.0" encoding="utf-8"?>
<p:tagLst xmlns:a="http://schemas.openxmlformats.org/drawingml/2006/main" xmlns:r="http://schemas.openxmlformats.org/officeDocument/2006/relationships" xmlns:p="http://schemas.openxmlformats.org/presentationml/2006/main">
  <p:tag name="[SUBGRID]" val="[SubGrid]"/>
</p:tagLst>
</file>

<file path=ppt/tags/tag348.xml><?xml version="1.0" encoding="utf-8"?>
<p:tagLst xmlns:a="http://schemas.openxmlformats.org/drawingml/2006/main" xmlns:r="http://schemas.openxmlformats.org/officeDocument/2006/relationships" xmlns:p="http://schemas.openxmlformats.org/presentationml/2006/main">
  <p:tag name="[SUBGRID]" val="[SubGrid]"/>
</p:tagLst>
</file>

<file path=ppt/tags/tag349.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50.xml><?xml version="1.0" encoding="utf-8"?>
<p:tagLst xmlns:a="http://schemas.openxmlformats.org/drawingml/2006/main" xmlns:r="http://schemas.openxmlformats.org/officeDocument/2006/relationships" xmlns:p="http://schemas.openxmlformats.org/presentationml/2006/main">
  <p:tag name="[SUBGRID]" val="[SubGrid]"/>
</p:tagLst>
</file>

<file path=ppt/tags/tag351.xml><?xml version="1.0" encoding="utf-8"?>
<p:tagLst xmlns:a="http://schemas.openxmlformats.org/drawingml/2006/main" xmlns:r="http://schemas.openxmlformats.org/officeDocument/2006/relationships" xmlns:p="http://schemas.openxmlformats.org/presentationml/2006/main">
  <p:tag name="[SUBGRID]" val="[SubGrid]"/>
</p:tagLst>
</file>

<file path=ppt/tags/tag352.xml><?xml version="1.0" encoding="utf-8"?>
<p:tagLst xmlns:a="http://schemas.openxmlformats.org/drawingml/2006/main" xmlns:r="http://schemas.openxmlformats.org/officeDocument/2006/relationships" xmlns:p="http://schemas.openxmlformats.org/presentationml/2006/main">
  <p:tag name="[SUBGRID]" val="[SubGrid]"/>
</p:tagLst>
</file>

<file path=ppt/tags/tag353.xml><?xml version="1.0" encoding="utf-8"?>
<p:tagLst xmlns:a="http://schemas.openxmlformats.org/drawingml/2006/main" xmlns:r="http://schemas.openxmlformats.org/officeDocument/2006/relationships" xmlns:p="http://schemas.openxmlformats.org/presentationml/2006/main">
  <p:tag name="[SUBGRID]" val="[SubGrid]"/>
</p:tagLst>
</file>

<file path=ppt/tags/tag354.xml><?xml version="1.0" encoding="utf-8"?>
<p:tagLst xmlns:a="http://schemas.openxmlformats.org/drawingml/2006/main" xmlns:r="http://schemas.openxmlformats.org/officeDocument/2006/relationships" xmlns:p="http://schemas.openxmlformats.org/presentationml/2006/main">
  <p:tag name="[SUBGRID]" val="[SubGrid]"/>
</p:tagLst>
</file>

<file path=ppt/tags/tag355.xml><?xml version="1.0" encoding="utf-8"?>
<p:tagLst xmlns:a="http://schemas.openxmlformats.org/drawingml/2006/main" xmlns:r="http://schemas.openxmlformats.org/officeDocument/2006/relationships" xmlns:p="http://schemas.openxmlformats.org/presentationml/2006/main">
  <p:tag name="[SUBGRID]" val="[SubGrid]"/>
</p:tagLst>
</file>

<file path=ppt/tags/tag356.xml><?xml version="1.0" encoding="utf-8"?>
<p:tagLst xmlns:a="http://schemas.openxmlformats.org/drawingml/2006/main" xmlns:r="http://schemas.openxmlformats.org/officeDocument/2006/relationships" xmlns:p="http://schemas.openxmlformats.org/presentationml/2006/main">
  <p:tag name="[SUBGRID]" val="[SubGrid]"/>
</p:tagLst>
</file>

<file path=ppt/tags/tag357.xml><?xml version="1.0" encoding="utf-8"?>
<p:tagLst xmlns:a="http://schemas.openxmlformats.org/drawingml/2006/main" xmlns:r="http://schemas.openxmlformats.org/officeDocument/2006/relationships" xmlns:p="http://schemas.openxmlformats.org/presentationml/2006/main">
  <p:tag name="[SUBGRID]" val="[SubGrid]"/>
</p:tagLst>
</file>

<file path=ppt/tags/tag358.xml><?xml version="1.0" encoding="utf-8"?>
<p:tagLst xmlns:a="http://schemas.openxmlformats.org/drawingml/2006/main" xmlns:r="http://schemas.openxmlformats.org/officeDocument/2006/relationships" xmlns:p="http://schemas.openxmlformats.org/presentationml/2006/main">
  <p:tag name="[SUBGRID]" val="[SubGrid]"/>
</p:tagLst>
</file>

<file path=ppt/tags/tag359.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60.xml><?xml version="1.0" encoding="utf-8"?>
<p:tagLst xmlns:a="http://schemas.openxmlformats.org/drawingml/2006/main" xmlns:r="http://schemas.openxmlformats.org/officeDocument/2006/relationships" xmlns:p="http://schemas.openxmlformats.org/presentationml/2006/main">
  <p:tag name="[SUBGRID]" val="[SubGrid]"/>
</p:tagLst>
</file>

<file path=ppt/tags/tag361.xml><?xml version="1.0" encoding="utf-8"?>
<p:tagLst xmlns:a="http://schemas.openxmlformats.org/drawingml/2006/main" xmlns:r="http://schemas.openxmlformats.org/officeDocument/2006/relationships" xmlns:p="http://schemas.openxmlformats.org/presentationml/2006/main">
  <p:tag name="[SUBGRID]" val="[SubGrid]"/>
</p:tagLst>
</file>

<file path=ppt/tags/tag362.xml><?xml version="1.0" encoding="utf-8"?>
<p:tagLst xmlns:a="http://schemas.openxmlformats.org/drawingml/2006/main" xmlns:r="http://schemas.openxmlformats.org/officeDocument/2006/relationships" xmlns:p="http://schemas.openxmlformats.org/presentationml/2006/main">
  <p:tag name="[SUBGRID]" val="[SubGrid]"/>
</p:tagLst>
</file>

<file path=ppt/tags/tag363.xml><?xml version="1.0" encoding="utf-8"?>
<p:tagLst xmlns:a="http://schemas.openxmlformats.org/drawingml/2006/main" xmlns:r="http://schemas.openxmlformats.org/officeDocument/2006/relationships" xmlns:p="http://schemas.openxmlformats.org/presentationml/2006/main">
  <p:tag name="[SUBGRID]" val="[SubGrid]"/>
</p:tagLst>
</file>

<file path=ppt/tags/tag364.xml><?xml version="1.0" encoding="utf-8"?>
<p:tagLst xmlns:a="http://schemas.openxmlformats.org/drawingml/2006/main" xmlns:r="http://schemas.openxmlformats.org/officeDocument/2006/relationships" xmlns:p="http://schemas.openxmlformats.org/presentationml/2006/main">
  <p:tag name="[SUBGRID]" val="[SubGrid]"/>
</p:tagLst>
</file>

<file path=ppt/tags/tag365.xml><?xml version="1.0" encoding="utf-8"?>
<p:tagLst xmlns:a="http://schemas.openxmlformats.org/drawingml/2006/main" xmlns:r="http://schemas.openxmlformats.org/officeDocument/2006/relationships" xmlns:p="http://schemas.openxmlformats.org/presentationml/2006/main">
  <p:tag name="[SUBGRID]" val="[SubGrid]"/>
</p:tagLst>
</file>

<file path=ppt/tags/tag366.xml><?xml version="1.0" encoding="utf-8"?>
<p:tagLst xmlns:a="http://schemas.openxmlformats.org/drawingml/2006/main" xmlns:r="http://schemas.openxmlformats.org/officeDocument/2006/relationships" xmlns:p="http://schemas.openxmlformats.org/presentationml/2006/main">
  <p:tag name="[SUBGRID]" val="[SubGrid]"/>
</p:tagLst>
</file>

<file path=ppt/tags/tag367.xml><?xml version="1.0" encoding="utf-8"?>
<p:tagLst xmlns:a="http://schemas.openxmlformats.org/drawingml/2006/main" xmlns:r="http://schemas.openxmlformats.org/officeDocument/2006/relationships" xmlns:p="http://schemas.openxmlformats.org/presentationml/2006/main">
  <p:tag name="[SUBGRID]" val="[SubGrid]"/>
</p:tagLst>
</file>

<file path=ppt/tags/tag368.xml><?xml version="1.0" encoding="utf-8"?>
<p:tagLst xmlns:a="http://schemas.openxmlformats.org/drawingml/2006/main" xmlns:r="http://schemas.openxmlformats.org/officeDocument/2006/relationships" xmlns:p="http://schemas.openxmlformats.org/presentationml/2006/main">
  <p:tag name="[SUBGRID]" val="[SubGrid]"/>
</p:tagLst>
</file>

<file path=ppt/tags/tag369.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70.xml><?xml version="1.0" encoding="utf-8"?>
<p:tagLst xmlns:a="http://schemas.openxmlformats.org/drawingml/2006/main" xmlns:r="http://schemas.openxmlformats.org/officeDocument/2006/relationships" xmlns:p="http://schemas.openxmlformats.org/presentationml/2006/main">
  <p:tag name="[SUBGRID]" val="[SubGrid]"/>
</p:tagLst>
</file>

<file path=ppt/tags/tag371.xml><?xml version="1.0" encoding="utf-8"?>
<p:tagLst xmlns:a="http://schemas.openxmlformats.org/drawingml/2006/main" xmlns:r="http://schemas.openxmlformats.org/officeDocument/2006/relationships" xmlns:p="http://schemas.openxmlformats.org/presentationml/2006/main">
  <p:tag name="[SUBGRID]" val="[SubGrid]"/>
</p:tagLst>
</file>

<file path=ppt/tags/tag372.xml><?xml version="1.0" encoding="utf-8"?>
<p:tagLst xmlns:a="http://schemas.openxmlformats.org/drawingml/2006/main" xmlns:r="http://schemas.openxmlformats.org/officeDocument/2006/relationships" xmlns:p="http://schemas.openxmlformats.org/presentationml/2006/main">
  <p:tag name="[SUBGRID]" val="[SubGrid]"/>
</p:tagLst>
</file>

<file path=ppt/tags/tag373.xml><?xml version="1.0" encoding="utf-8"?>
<p:tagLst xmlns:a="http://schemas.openxmlformats.org/drawingml/2006/main" xmlns:r="http://schemas.openxmlformats.org/officeDocument/2006/relationships" xmlns:p="http://schemas.openxmlformats.org/presentationml/2006/main">
  <p:tag name="[SUBGRID]" val="[SubGrid]"/>
</p:tagLst>
</file>

<file path=ppt/tags/tag374.xml><?xml version="1.0" encoding="utf-8"?>
<p:tagLst xmlns:a="http://schemas.openxmlformats.org/drawingml/2006/main" xmlns:r="http://schemas.openxmlformats.org/officeDocument/2006/relationships" xmlns:p="http://schemas.openxmlformats.org/presentationml/2006/main">
  <p:tag name="[SUBGRID]" val="[SubGrid]"/>
</p:tagLst>
</file>

<file path=ppt/tags/tag375.xml><?xml version="1.0" encoding="utf-8"?>
<p:tagLst xmlns:a="http://schemas.openxmlformats.org/drawingml/2006/main" xmlns:r="http://schemas.openxmlformats.org/officeDocument/2006/relationships" xmlns:p="http://schemas.openxmlformats.org/presentationml/2006/main">
  <p:tag name="[SUBGRID]" val="[SubGrid]"/>
</p:tagLst>
</file>

<file path=ppt/tags/tag376.xml><?xml version="1.0" encoding="utf-8"?>
<p:tagLst xmlns:a="http://schemas.openxmlformats.org/drawingml/2006/main" xmlns:r="http://schemas.openxmlformats.org/officeDocument/2006/relationships" xmlns:p="http://schemas.openxmlformats.org/presentationml/2006/main">
  <p:tag name="[SUBGRID]" val="[SubGrid]"/>
</p:tagLst>
</file>

<file path=ppt/tags/tag377.xml><?xml version="1.0" encoding="utf-8"?>
<p:tagLst xmlns:a="http://schemas.openxmlformats.org/drawingml/2006/main" xmlns:r="http://schemas.openxmlformats.org/officeDocument/2006/relationships" xmlns:p="http://schemas.openxmlformats.org/presentationml/2006/main">
  <p:tag name="[SUBGRID]" val="[SubGrid]"/>
</p:tagLst>
</file>

<file path=ppt/tags/tag378.xml><?xml version="1.0" encoding="utf-8"?>
<p:tagLst xmlns:a="http://schemas.openxmlformats.org/drawingml/2006/main" xmlns:r="http://schemas.openxmlformats.org/officeDocument/2006/relationships" xmlns:p="http://schemas.openxmlformats.org/presentationml/2006/main">
  <p:tag name="[SUBGRID]" val="[SubGrid]"/>
</p:tagLst>
</file>

<file path=ppt/tags/tag379.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80.xml><?xml version="1.0" encoding="utf-8"?>
<p:tagLst xmlns:a="http://schemas.openxmlformats.org/drawingml/2006/main" xmlns:r="http://schemas.openxmlformats.org/officeDocument/2006/relationships" xmlns:p="http://schemas.openxmlformats.org/presentationml/2006/main">
  <p:tag name="[SUBGRID]" val="[SubGrid]"/>
</p:tagLst>
</file>

<file path=ppt/tags/tag381.xml><?xml version="1.0" encoding="utf-8"?>
<p:tagLst xmlns:a="http://schemas.openxmlformats.org/drawingml/2006/main" xmlns:r="http://schemas.openxmlformats.org/officeDocument/2006/relationships" xmlns:p="http://schemas.openxmlformats.org/presentationml/2006/main">
  <p:tag name="[SUBGRID]" val="[SubGrid]"/>
</p:tagLst>
</file>

<file path=ppt/tags/tag382.xml><?xml version="1.0" encoding="utf-8"?>
<p:tagLst xmlns:a="http://schemas.openxmlformats.org/drawingml/2006/main" xmlns:r="http://schemas.openxmlformats.org/officeDocument/2006/relationships" xmlns:p="http://schemas.openxmlformats.org/presentationml/2006/main">
  <p:tag name="[SUBGRID]" val="[SubGrid]"/>
</p:tagLst>
</file>

<file path=ppt/tags/tag383.xml><?xml version="1.0" encoding="utf-8"?>
<p:tagLst xmlns:a="http://schemas.openxmlformats.org/drawingml/2006/main" xmlns:r="http://schemas.openxmlformats.org/officeDocument/2006/relationships" xmlns:p="http://schemas.openxmlformats.org/presentationml/2006/main">
  <p:tag name="[SUBGRID]" val="[SubGrid]"/>
</p:tagLst>
</file>

<file path=ppt/tags/tag384.xml><?xml version="1.0" encoding="utf-8"?>
<p:tagLst xmlns:a="http://schemas.openxmlformats.org/drawingml/2006/main" xmlns:r="http://schemas.openxmlformats.org/officeDocument/2006/relationships" xmlns:p="http://schemas.openxmlformats.org/presentationml/2006/main">
  <p:tag name="[SUBGRID]" val="[SubGrid]"/>
</p:tagLst>
</file>

<file path=ppt/tags/tag385.xml><?xml version="1.0" encoding="utf-8"?>
<p:tagLst xmlns:a="http://schemas.openxmlformats.org/drawingml/2006/main" xmlns:r="http://schemas.openxmlformats.org/officeDocument/2006/relationships" xmlns:p="http://schemas.openxmlformats.org/presentationml/2006/main">
  <p:tag name="[SUBGRID]" val="[SubGrid]"/>
</p:tagLst>
</file>

<file path=ppt/tags/tag386.xml><?xml version="1.0" encoding="utf-8"?>
<p:tagLst xmlns:a="http://schemas.openxmlformats.org/drawingml/2006/main" xmlns:r="http://schemas.openxmlformats.org/officeDocument/2006/relationships" xmlns:p="http://schemas.openxmlformats.org/presentationml/2006/main">
  <p:tag name="[SUBGRID]" val="[SubGrid]"/>
</p:tagLst>
</file>

<file path=ppt/tags/tag387.xml><?xml version="1.0" encoding="utf-8"?>
<p:tagLst xmlns:a="http://schemas.openxmlformats.org/drawingml/2006/main" xmlns:r="http://schemas.openxmlformats.org/officeDocument/2006/relationships" xmlns:p="http://schemas.openxmlformats.org/presentationml/2006/main">
  <p:tag name="[SUBGRID]" val="[SubGrid]"/>
</p:tagLst>
</file>

<file path=ppt/tags/tag388.xml><?xml version="1.0" encoding="utf-8"?>
<p:tagLst xmlns:a="http://schemas.openxmlformats.org/drawingml/2006/main" xmlns:r="http://schemas.openxmlformats.org/officeDocument/2006/relationships" xmlns:p="http://schemas.openxmlformats.org/presentationml/2006/main">
  <p:tag name="[SUBGRID]" val="[SubGrid]"/>
</p:tagLst>
</file>

<file path=ppt/tags/tag389.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390.xml><?xml version="1.0" encoding="utf-8"?>
<p:tagLst xmlns:a="http://schemas.openxmlformats.org/drawingml/2006/main" xmlns:r="http://schemas.openxmlformats.org/officeDocument/2006/relationships" xmlns:p="http://schemas.openxmlformats.org/presentationml/2006/main">
  <p:tag name="[SUBGRID]" val="[SubGrid]"/>
</p:tagLst>
</file>

<file path=ppt/tags/tag391.xml><?xml version="1.0" encoding="utf-8"?>
<p:tagLst xmlns:a="http://schemas.openxmlformats.org/drawingml/2006/main" xmlns:r="http://schemas.openxmlformats.org/officeDocument/2006/relationships" xmlns:p="http://schemas.openxmlformats.org/presentationml/2006/main">
  <p:tag name="[SUBGRID]" val="[SubGrid]"/>
</p:tagLst>
</file>

<file path=ppt/tags/tag392.xml><?xml version="1.0" encoding="utf-8"?>
<p:tagLst xmlns:a="http://schemas.openxmlformats.org/drawingml/2006/main" xmlns:r="http://schemas.openxmlformats.org/officeDocument/2006/relationships" xmlns:p="http://schemas.openxmlformats.org/presentationml/2006/main">
  <p:tag name="[SUBGRID]" val="[SubGrid]"/>
</p:tagLst>
</file>

<file path=ppt/tags/tag393.xml><?xml version="1.0" encoding="utf-8"?>
<p:tagLst xmlns:a="http://schemas.openxmlformats.org/drawingml/2006/main" xmlns:r="http://schemas.openxmlformats.org/officeDocument/2006/relationships" xmlns:p="http://schemas.openxmlformats.org/presentationml/2006/main">
  <p:tag name="[SUBGRID]" val="[SubGrid]"/>
</p:tagLst>
</file>

<file path=ppt/tags/tag394.xml><?xml version="1.0" encoding="utf-8"?>
<p:tagLst xmlns:a="http://schemas.openxmlformats.org/drawingml/2006/main" xmlns:r="http://schemas.openxmlformats.org/officeDocument/2006/relationships" xmlns:p="http://schemas.openxmlformats.org/presentationml/2006/main">
  <p:tag name="[SUBGRID]" val="[SubGrid]"/>
</p:tagLst>
</file>

<file path=ppt/tags/tag395.xml><?xml version="1.0" encoding="utf-8"?>
<p:tagLst xmlns:a="http://schemas.openxmlformats.org/drawingml/2006/main" xmlns:r="http://schemas.openxmlformats.org/officeDocument/2006/relationships" xmlns:p="http://schemas.openxmlformats.org/presentationml/2006/main">
  <p:tag name="[SUBGRID]" val="[SubGrid]"/>
</p:tagLst>
</file>

<file path=ppt/tags/tag396.xml><?xml version="1.0" encoding="utf-8"?>
<p:tagLst xmlns:a="http://schemas.openxmlformats.org/drawingml/2006/main" xmlns:r="http://schemas.openxmlformats.org/officeDocument/2006/relationships" xmlns:p="http://schemas.openxmlformats.org/presentationml/2006/main">
  <p:tag name="[SUBGRID]" val="[SubGrid]"/>
</p:tagLst>
</file>

<file path=ppt/tags/tag397.xml><?xml version="1.0" encoding="utf-8"?>
<p:tagLst xmlns:a="http://schemas.openxmlformats.org/drawingml/2006/main" xmlns:r="http://schemas.openxmlformats.org/officeDocument/2006/relationships" xmlns:p="http://schemas.openxmlformats.org/presentationml/2006/main">
  <p:tag name="[SUBGRID]" val="[SubGrid]"/>
</p:tagLst>
</file>

<file path=ppt/tags/tag398.xml><?xml version="1.0" encoding="utf-8"?>
<p:tagLst xmlns:a="http://schemas.openxmlformats.org/drawingml/2006/main" xmlns:r="http://schemas.openxmlformats.org/officeDocument/2006/relationships" xmlns:p="http://schemas.openxmlformats.org/presentationml/2006/main">
  <p:tag name="[SUBGRID]" val="[SubGrid]"/>
</p:tagLst>
</file>

<file path=ppt/tags/tag39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00.xml><?xml version="1.0" encoding="utf-8"?>
<p:tagLst xmlns:a="http://schemas.openxmlformats.org/drawingml/2006/main" xmlns:r="http://schemas.openxmlformats.org/officeDocument/2006/relationships" xmlns:p="http://schemas.openxmlformats.org/presentationml/2006/main">
  <p:tag name="[SUBGRID]" val="[SubGrid]"/>
</p:tagLst>
</file>

<file path=ppt/tags/tag401.xml><?xml version="1.0" encoding="utf-8"?>
<p:tagLst xmlns:a="http://schemas.openxmlformats.org/drawingml/2006/main" xmlns:r="http://schemas.openxmlformats.org/officeDocument/2006/relationships" xmlns:p="http://schemas.openxmlformats.org/presentationml/2006/main">
  <p:tag name="[SUBGRID]" val="[SubGrid]"/>
</p:tagLst>
</file>

<file path=ppt/tags/tag402.xml><?xml version="1.0" encoding="utf-8"?>
<p:tagLst xmlns:a="http://schemas.openxmlformats.org/drawingml/2006/main" xmlns:r="http://schemas.openxmlformats.org/officeDocument/2006/relationships" xmlns:p="http://schemas.openxmlformats.org/presentationml/2006/main">
  <p:tag name="[SUBGRID]" val="[SubGrid]"/>
</p:tagLst>
</file>

<file path=ppt/tags/tag403.xml><?xml version="1.0" encoding="utf-8"?>
<p:tagLst xmlns:a="http://schemas.openxmlformats.org/drawingml/2006/main" xmlns:r="http://schemas.openxmlformats.org/officeDocument/2006/relationships" xmlns:p="http://schemas.openxmlformats.org/presentationml/2006/main">
  <p:tag name="[SUBGRID]" val="[SubGrid]"/>
</p:tagLst>
</file>

<file path=ppt/tags/tag404.xml><?xml version="1.0" encoding="utf-8"?>
<p:tagLst xmlns:a="http://schemas.openxmlformats.org/drawingml/2006/main" xmlns:r="http://schemas.openxmlformats.org/officeDocument/2006/relationships" xmlns:p="http://schemas.openxmlformats.org/presentationml/2006/main">
  <p:tag name="[SUBGRID]" val="[SubGrid]"/>
</p:tagLst>
</file>

<file path=ppt/tags/tag405.xml><?xml version="1.0" encoding="utf-8"?>
<p:tagLst xmlns:a="http://schemas.openxmlformats.org/drawingml/2006/main" xmlns:r="http://schemas.openxmlformats.org/officeDocument/2006/relationships" xmlns:p="http://schemas.openxmlformats.org/presentationml/2006/main">
  <p:tag name="[SUBGRID]" val="[SubGrid]"/>
</p:tagLst>
</file>

<file path=ppt/tags/tag406.xml><?xml version="1.0" encoding="utf-8"?>
<p:tagLst xmlns:a="http://schemas.openxmlformats.org/drawingml/2006/main" xmlns:r="http://schemas.openxmlformats.org/officeDocument/2006/relationships" xmlns:p="http://schemas.openxmlformats.org/presentationml/2006/main">
  <p:tag name="[SUBGRID]" val="[SubGrid]"/>
</p:tagLst>
</file>

<file path=ppt/tags/tag407.xml><?xml version="1.0" encoding="utf-8"?>
<p:tagLst xmlns:a="http://schemas.openxmlformats.org/drawingml/2006/main" xmlns:r="http://schemas.openxmlformats.org/officeDocument/2006/relationships" xmlns:p="http://schemas.openxmlformats.org/presentationml/2006/main">
  <p:tag name="[SUBGRID]" val="[SubGrid]"/>
</p:tagLst>
</file>

<file path=ppt/tags/tag408.xml><?xml version="1.0" encoding="utf-8"?>
<p:tagLst xmlns:a="http://schemas.openxmlformats.org/drawingml/2006/main" xmlns:r="http://schemas.openxmlformats.org/officeDocument/2006/relationships" xmlns:p="http://schemas.openxmlformats.org/presentationml/2006/main">
  <p:tag name="[SUBGRID]" val="[SubGrid]"/>
</p:tagLst>
</file>

<file path=ppt/tags/tag409.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10.xml><?xml version="1.0" encoding="utf-8"?>
<p:tagLst xmlns:a="http://schemas.openxmlformats.org/drawingml/2006/main" xmlns:r="http://schemas.openxmlformats.org/officeDocument/2006/relationships" xmlns:p="http://schemas.openxmlformats.org/presentationml/2006/main">
  <p:tag name="[SUBGRID]" val="[SubGrid]"/>
</p:tagLst>
</file>

<file path=ppt/tags/tag411.xml><?xml version="1.0" encoding="utf-8"?>
<p:tagLst xmlns:a="http://schemas.openxmlformats.org/drawingml/2006/main" xmlns:r="http://schemas.openxmlformats.org/officeDocument/2006/relationships" xmlns:p="http://schemas.openxmlformats.org/presentationml/2006/main">
  <p:tag name="[SUBGRID]" val="[SubGrid]"/>
</p:tagLst>
</file>

<file path=ppt/tags/tag412.xml><?xml version="1.0" encoding="utf-8"?>
<p:tagLst xmlns:a="http://schemas.openxmlformats.org/drawingml/2006/main" xmlns:r="http://schemas.openxmlformats.org/officeDocument/2006/relationships" xmlns:p="http://schemas.openxmlformats.org/presentationml/2006/main">
  <p:tag name="[SUBGRID]" val="[SubGrid]"/>
</p:tagLst>
</file>

<file path=ppt/tags/tag413.xml><?xml version="1.0" encoding="utf-8"?>
<p:tagLst xmlns:a="http://schemas.openxmlformats.org/drawingml/2006/main" xmlns:r="http://schemas.openxmlformats.org/officeDocument/2006/relationships" xmlns:p="http://schemas.openxmlformats.org/presentationml/2006/main">
  <p:tag name="[SUBGRID]" val="[SubGrid]"/>
</p:tagLst>
</file>

<file path=ppt/tags/tag414.xml><?xml version="1.0" encoding="utf-8"?>
<p:tagLst xmlns:a="http://schemas.openxmlformats.org/drawingml/2006/main" xmlns:r="http://schemas.openxmlformats.org/officeDocument/2006/relationships" xmlns:p="http://schemas.openxmlformats.org/presentationml/2006/main">
  <p:tag name="[SUBGRID]" val="[SubGrid]"/>
</p:tagLst>
</file>

<file path=ppt/tags/tag415.xml><?xml version="1.0" encoding="utf-8"?>
<p:tagLst xmlns:a="http://schemas.openxmlformats.org/drawingml/2006/main" xmlns:r="http://schemas.openxmlformats.org/officeDocument/2006/relationships" xmlns:p="http://schemas.openxmlformats.org/presentationml/2006/main">
  <p:tag name="[SUBGRID]" val="[SubGrid]"/>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ULpMebGZuDLdN5fIO5JSD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C7sGTWD2pUvt_tjw9H1uQ"/>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_Dn5I82aCpXJQeJJ4RQOb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lizsb04Ayla_z4UUCSp_F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gIfBePy6xmFVxtYTHKFMh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G3Xmuo615Cs9Z.8sW4rDt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STH40DfsZ87_GkkJEWJKr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6Hr30mAYqY2peiR4yyM9C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FniocgAhyjTtCoBW8IpZZ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dBa1k3yzJLAx11ZtAEBMr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qX5lpTs0YgfxQj4SZ80qX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Y_gjunVxnTXX1IJaARMjI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CbJQbOKgZ1CAImj0wjQzt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YPaw0qZH1FivP1Eg9CuPj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xfrxzQAgjsJIpEo_PD2KY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B.Z8NEhNt8BqzfMqAXHKY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r0Yjm3hr0ticooPdOmglq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xugUZclcbCQ2DBz2yxlVU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Xvf0H97lu1EntLCfvcCKZ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3j5F0LrWc7ZSsaJrBbqrd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TpRZWg8FBOeqjKqhrjEeo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RsmIsrtW99rmIktcj84Ll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l0cTbHdPy4PGknLfPnmAg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ZnCrA109u0n2CMlOB.8.Z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ZG8wtsHiBdYwT5c4SPG.D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R9LExww9cWakKU3axrKnY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TIpH5P1IHMjJgin_bq4mN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66Rmn4kswe_sFdCv.2u9N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bck0Qcw6DNaY4NFFCxlsy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8u1xk0dxk5nwMujrfo7Lx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MhIkQVpyBtkxStBnwIOUm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t82uc6VOnsCVVEDdh1xCk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b12Gko7sCliiFljz6qWcD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JGoh97MgnSTLC0cZHfkVwA"/>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NdrDbnMhJs3IkT9G4I1nQA"/>
</p:tagLst>
</file>

<file path=ppt/tags/tag493.xml><?xml version="1.0" encoding="utf-8"?>
<p:tagLst xmlns:a="http://schemas.openxmlformats.org/drawingml/2006/main" xmlns:r="http://schemas.openxmlformats.org/officeDocument/2006/relationships" xmlns:p="http://schemas.openxmlformats.org/presentationml/2006/main">
  <p:tag name="[SUBGRID]" val="[SubGrid]"/>
</p:tagLst>
</file>

<file path=ppt/tags/tag494.xml><?xml version="1.0" encoding="utf-8"?>
<p:tagLst xmlns:a="http://schemas.openxmlformats.org/drawingml/2006/main" xmlns:r="http://schemas.openxmlformats.org/officeDocument/2006/relationships" xmlns:p="http://schemas.openxmlformats.org/presentationml/2006/main">
  <p:tag name="[SUBGRID]" val="[SubGrid]"/>
</p:tagLst>
</file>

<file path=ppt/tags/tag495.xml><?xml version="1.0" encoding="utf-8"?>
<p:tagLst xmlns:a="http://schemas.openxmlformats.org/drawingml/2006/main" xmlns:r="http://schemas.openxmlformats.org/officeDocument/2006/relationships" xmlns:p="http://schemas.openxmlformats.org/presentationml/2006/main">
  <p:tag name="[SUBGRID]" val="[SubGrid]"/>
</p:tagLst>
</file>

<file path=ppt/tags/tag496.xml><?xml version="1.0" encoding="utf-8"?>
<p:tagLst xmlns:a="http://schemas.openxmlformats.org/drawingml/2006/main" xmlns:r="http://schemas.openxmlformats.org/officeDocument/2006/relationships" xmlns:p="http://schemas.openxmlformats.org/presentationml/2006/main">
  <p:tag name="[SUBGRID]" val="[SubGrid]"/>
</p:tagLst>
</file>

<file path=ppt/tags/tag497.xml><?xml version="1.0" encoding="utf-8"?>
<p:tagLst xmlns:a="http://schemas.openxmlformats.org/drawingml/2006/main" xmlns:r="http://schemas.openxmlformats.org/officeDocument/2006/relationships" xmlns:p="http://schemas.openxmlformats.org/presentationml/2006/main">
  <p:tag name="[SUBGRID]" val="[SubGrid]"/>
</p:tagLst>
</file>

<file path=ppt/tags/tag498.xml><?xml version="1.0" encoding="utf-8"?>
<p:tagLst xmlns:a="http://schemas.openxmlformats.org/drawingml/2006/main" xmlns:r="http://schemas.openxmlformats.org/officeDocument/2006/relationships" xmlns:p="http://schemas.openxmlformats.org/presentationml/2006/main">
  <p:tag name="[SUBGRID]" val="[SubGrid]"/>
</p:tagLst>
</file>

<file path=ppt/tags/tag49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00.xml><?xml version="1.0" encoding="utf-8"?>
<p:tagLst xmlns:a="http://schemas.openxmlformats.org/drawingml/2006/main" xmlns:r="http://schemas.openxmlformats.org/officeDocument/2006/relationships" xmlns:p="http://schemas.openxmlformats.org/presentationml/2006/main">
  <p:tag name="[SUBGRID]" val="[SubGrid]"/>
</p:tagLst>
</file>

<file path=ppt/tags/tag501.xml><?xml version="1.0" encoding="utf-8"?>
<p:tagLst xmlns:a="http://schemas.openxmlformats.org/drawingml/2006/main" xmlns:r="http://schemas.openxmlformats.org/officeDocument/2006/relationships" xmlns:p="http://schemas.openxmlformats.org/presentationml/2006/main">
  <p:tag name="[SUBGRID]" val="[SubGrid]"/>
</p:tagLst>
</file>

<file path=ppt/tags/tag502.xml><?xml version="1.0" encoding="utf-8"?>
<p:tagLst xmlns:a="http://schemas.openxmlformats.org/drawingml/2006/main" xmlns:r="http://schemas.openxmlformats.org/officeDocument/2006/relationships" xmlns:p="http://schemas.openxmlformats.org/presentationml/2006/main">
  <p:tag name="[SUBGRID]" val="[SubGrid]"/>
</p:tagLst>
</file>

<file path=ppt/tags/tag503.xml><?xml version="1.0" encoding="utf-8"?>
<p:tagLst xmlns:a="http://schemas.openxmlformats.org/drawingml/2006/main" xmlns:r="http://schemas.openxmlformats.org/officeDocument/2006/relationships" xmlns:p="http://schemas.openxmlformats.org/presentationml/2006/main">
  <p:tag name="[SUBGRID]" val="[SubGrid]"/>
</p:tagLst>
</file>

<file path=ppt/tags/tag504.xml><?xml version="1.0" encoding="utf-8"?>
<p:tagLst xmlns:a="http://schemas.openxmlformats.org/drawingml/2006/main" xmlns:r="http://schemas.openxmlformats.org/officeDocument/2006/relationships" xmlns:p="http://schemas.openxmlformats.org/presentationml/2006/main">
  <p:tag name="[SUBGRID]" val="[SubGrid]"/>
</p:tagLst>
</file>

<file path=ppt/tags/tag505.xml><?xml version="1.0" encoding="utf-8"?>
<p:tagLst xmlns:a="http://schemas.openxmlformats.org/drawingml/2006/main" xmlns:r="http://schemas.openxmlformats.org/officeDocument/2006/relationships" xmlns:p="http://schemas.openxmlformats.org/presentationml/2006/main">
  <p:tag name="[SUBGRID]" val="[SubGrid]"/>
</p:tagLst>
</file>

<file path=ppt/tags/tag506.xml><?xml version="1.0" encoding="utf-8"?>
<p:tagLst xmlns:a="http://schemas.openxmlformats.org/drawingml/2006/main" xmlns:r="http://schemas.openxmlformats.org/officeDocument/2006/relationships" xmlns:p="http://schemas.openxmlformats.org/presentationml/2006/main">
  <p:tag name="[SUBGRID]" val="[SubGrid]"/>
</p:tagLst>
</file>

<file path=ppt/tags/tag507.xml><?xml version="1.0" encoding="utf-8"?>
<p:tagLst xmlns:a="http://schemas.openxmlformats.org/drawingml/2006/main" xmlns:r="http://schemas.openxmlformats.org/officeDocument/2006/relationships" xmlns:p="http://schemas.openxmlformats.org/presentationml/2006/main">
  <p:tag name="[SUBGRID]" val="[SubGrid]"/>
</p:tagLst>
</file>

<file path=ppt/tags/tag508.xml><?xml version="1.0" encoding="utf-8"?>
<p:tagLst xmlns:a="http://schemas.openxmlformats.org/drawingml/2006/main" xmlns:r="http://schemas.openxmlformats.org/officeDocument/2006/relationships" xmlns:p="http://schemas.openxmlformats.org/presentationml/2006/main">
  <p:tag name="[SUBGRID]" val="[SubGrid]"/>
</p:tagLst>
</file>

<file path=ppt/tags/tag509.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10.xml><?xml version="1.0" encoding="utf-8"?>
<p:tagLst xmlns:a="http://schemas.openxmlformats.org/drawingml/2006/main" xmlns:r="http://schemas.openxmlformats.org/officeDocument/2006/relationships" xmlns:p="http://schemas.openxmlformats.org/presentationml/2006/main">
  <p:tag name="[SUBGRID]" val="[SubGrid]"/>
</p:tagLst>
</file>

<file path=ppt/tags/tag511.xml><?xml version="1.0" encoding="utf-8"?>
<p:tagLst xmlns:a="http://schemas.openxmlformats.org/drawingml/2006/main" xmlns:r="http://schemas.openxmlformats.org/officeDocument/2006/relationships" xmlns:p="http://schemas.openxmlformats.org/presentationml/2006/main">
  <p:tag name="[SUBGRID]" val="[SubGrid]"/>
</p:tagLst>
</file>

<file path=ppt/tags/tag512.xml><?xml version="1.0" encoding="utf-8"?>
<p:tagLst xmlns:a="http://schemas.openxmlformats.org/drawingml/2006/main" xmlns:r="http://schemas.openxmlformats.org/officeDocument/2006/relationships" xmlns:p="http://schemas.openxmlformats.org/presentationml/2006/main">
  <p:tag name="[SUBGRID]" val="[SubGrid]"/>
</p:tagLst>
</file>

<file path=ppt/tags/tag513.xml><?xml version="1.0" encoding="utf-8"?>
<p:tagLst xmlns:a="http://schemas.openxmlformats.org/drawingml/2006/main" xmlns:r="http://schemas.openxmlformats.org/officeDocument/2006/relationships" xmlns:p="http://schemas.openxmlformats.org/presentationml/2006/main">
  <p:tag name="[SUBGRID]" val="[SubGrid]"/>
</p:tagLst>
</file>

<file path=ppt/tags/tag514.xml><?xml version="1.0" encoding="utf-8"?>
<p:tagLst xmlns:a="http://schemas.openxmlformats.org/drawingml/2006/main" xmlns:r="http://schemas.openxmlformats.org/officeDocument/2006/relationships" xmlns:p="http://schemas.openxmlformats.org/presentationml/2006/main">
  <p:tag name="[SUBGRID]" val="[SubGrid]"/>
</p:tagLst>
</file>

<file path=ppt/tags/tag515.xml><?xml version="1.0" encoding="utf-8"?>
<p:tagLst xmlns:a="http://schemas.openxmlformats.org/drawingml/2006/main" xmlns:r="http://schemas.openxmlformats.org/officeDocument/2006/relationships" xmlns:p="http://schemas.openxmlformats.org/presentationml/2006/main">
  <p:tag name="[SUBGRID]" val="[SubGrid]"/>
</p:tagLst>
</file>

<file path=ppt/tags/tag516.xml><?xml version="1.0" encoding="utf-8"?>
<p:tagLst xmlns:a="http://schemas.openxmlformats.org/drawingml/2006/main" xmlns:r="http://schemas.openxmlformats.org/officeDocument/2006/relationships" xmlns:p="http://schemas.openxmlformats.org/presentationml/2006/main">
  <p:tag name="[SUBGRID]" val="[SubGrid]"/>
</p:tagLst>
</file>

<file path=ppt/tags/tag517.xml><?xml version="1.0" encoding="utf-8"?>
<p:tagLst xmlns:a="http://schemas.openxmlformats.org/drawingml/2006/main" xmlns:r="http://schemas.openxmlformats.org/officeDocument/2006/relationships" xmlns:p="http://schemas.openxmlformats.org/presentationml/2006/main">
  <p:tag name="[SUBGRID]" val="[SubGrid]"/>
</p:tagLst>
</file>

<file path=ppt/tags/tag518.xml><?xml version="1.0" encoding="utf-8"?>
<p:tagLst xmlns:a="http://schemas.openxmlformats.org/drawingml/2006/main" xmlns:r="http://schemas.openxmlformats.org/officeDocument/2006/relationships" xmlns:p="http://schemas.openxmlformats.org/presentationml/2006/main">
  <p:tag name="[SUBGRID]" val="[SubGrid]"/>
</p:tagLst>
</file>

<file path=ppt/tags/tag519.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20.xml><?xml version="1.0" encoding="utf-8"?>
<p:tagLst xmlns:a="http://schemas.openxmlformats.org/drawingml/2006/main" xmlns:r="http://schemas.openxmlformats.org/officeDocument/2006/relationships" xmlns:p="http://schemas.openxmlformats.org/presentationml/2006/main">
  <p:tag name="[SUBGRID]" val="[SubGrid]"/>
</p:tagLst>
</file>

<file path=ppt/tags/tag521.xml><?xml version="1.0" encoding="utf-8"?>
<p:tagLst xmlns:a="http://schemas.openxmlformats.org/drawingml/2006/main" xmlns:r="http://schemas.openxmlformats.org/officeDocument/2006/relationships" xmlns:p="http://schemas.openxmlformats.org/presentationml/2006/main">
  <p:tag name="[SUBGRID]" val="[SubGrid]"/>
</p:tagLst>
</file>

<file path=ppt/tags/tag522.xml><?xml version="1.0" encoding="utf-8"?>
<p:tagLst xmlns:a="http://schemas.openxmlformats.org/drawingml/2006/main" xmlns:r="http://schemas.openxmlformats.org/officeDocument/2006/relationships" xmlns:p="http://schemas.openxmlformats.org/presentationml/2006/main">
  <p:tag name="[SUBGRID]" val="[SubGrid]"/>
</p:tagLst>
</file>

<file path=ppt/tags/tag523.xml><?xml version="1.0" encoding="utf-8"?>
<p:tagLst xmlns:a="http://schemas.openxmlformats.org/drawingml/2006/main" xmlns:r="http://schemas.openxmlformats.org/officeDocument/2006/relationships" xmlns:p="http://schemas.openxmlformats.org/presentationml/2006/main">
  <p:tag name="[SUBGRID]" val="[SubGrid]"/>
</p:tagLst>
</file>

<file path=ppt/tags/tag524.xml><?xml version="1.0" encoding="utf-8"?>
<p:tagLst xmlns:a="http://schemas.openxmlformats.org/drawingml/2006/main" xmlns:r="http://schemas.openxmlformats.org/officeDocument/2006/relationships" xmlns:p="http://schemas.openxmlformats.org/presentationml/2006/main">
  <p:tag name="[SUBGRID]" val="[SubGrid]"/>
</p:tagLst>
</file>

<file path=ppt/tags/tag525.xml><?xml version="1.0" encoding="utf-8"?>
<p:tagLst xmlns:a="http://schemas.openxmlformats.org/drawingml/2006/main" xmlns:r="http://schemas.openxmlformats.org/officeDocument/2006/relationships" xmlns:p="http://schemas.openxmlformats.org/presentationml/2006/main">
  <p:tag name="[SUBGRID]" val="[SubGrid]"/>
</p:tagLst>
</file>

<file path=ppt/tags/tag526.xml><?xml version="1.0" encoding="utf-8"?>
<p:tagLst xmlns:a="http://schemas.openxmlformats.org/drawingml/2006/main" xmlns:r="http://schemas.openxmlformats.org/officeDocument/2006/relationships" xmlns:p="http://schemas.openxmlformats.org/presentationml/2006/main">
  <p:tag name="[SUBGRID]" val="[SubGrid]"/>
</p:tagLst>
</file>

<file path=ppt/tags/tag527.xml><?xml version="1.0" encoding="utf-8"?>
<p:tagLst xmlns:a="http://schemas.openxmlformats.org/drawingml/2006/main" xmlns:r="http://schemas.openxmlformats.org/officeDocument/2006/relationships" xmlns:p="http://schemas.openxmlformats.org/presentationml/2006/main">
  <p:tag name="[SUBGRID]" val="[SubGrid]"/>
</p:tagLst>
</file>

<file path=ppt/tags/tag528.xml><?xml version="1.0" encoding="utf-8"?>
<p:tagLst xmlns:a="http://schemas.openxmlformats.org/drawingml/2006/main" xmlns:r="http://schemas.openxmlformats.org/officeDocument/2006/relationships" xmlns:p="http://schemas.openxmlformats.org/presentationml/2006/main">
  <p:tag name="[SUBGRID]" val="[SubGrid]"/>
</p:tagLst>
</file>

<file path=ppt/tags/tag529.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30.xml><?xml version="1.0" encoding="utf-8"?>
<p:tagLst xmlns:a="http://schemas.openxmlformats.org/drawingml/2006/main" xmlns:r="http://schemas.openxmlformats.org/officeDocument/2006/relationships" xmlns:p="http://schemas.openxmlformats.org/presentationml/2006/main">
  <p:tag name="[SUBGRID]" val="[SubGrid]"/>
</p:tagLst>
</file>

<file path=ppt/tags/tag531.xml><?xml version="1.0" encoding="utf-8"?>
<p:tagLst xmlns:a="http://schemas.openxmlformats.org/drawingml/2006/main" xmlns:r="http://schemas.openxmlformats.org/officeDocument/2006/relationships" xmlns:p="http://schemas.openxmlformats.org/presentationml/2006/main">
  <p:tag name="[SUBGRID]" val="[SubGrid]"/>
</p:tagLst>
</file>

<file path=ppt/tags/tag532.xml><?xml version="1.0" encoding="utf-8"?>
<p:tagLst xmlns:a="http://schemas.openxmlformats.org/drawingml/2006/main" xmlns:r="http://schemas.openxmlformats.org/officeDocument/2006/relationships" xmlns:p="http://schemas.openxmlformats.org/presentationml/2006/main">
  <p:tag name="[SUBGRID]" val="[SubGrid]"/>
</p:tagLst>
</file>

<file path=ppt/tags/tag533.xml><?xml version="1.0" encoding="utf-8"?>
<p:tagLst xmlns:a="http://schemas.openxmlformats.org/drawingml/2006/main" xmlns:r="http://schemas.openxmlformats.org/officeDocument/2006/relationships" xmlns:p="http://schemas.openxmlformats.org/presentationml/2006/main">
  <p:tag name="[SUBGRID]" val="[SubGrid]"/>
</p:tagLst>
</file>

<file path=ppt/tags/tag534.xml><?xml version="1.0" encoding="utf-8"?>
<p:tagLst xmlns:a="http://schemas.openxmlformats.org/drawingml/2006/main" xmlns:r="http://schemas.openxmlformats.org/officeDocument/2006/relationships" xmlns:p="http://schemas.openxmlformats.org/presentationml/2006/main">
  <p:tag name="[SUBGRID]" val="[SubGrid]"/>
</p:tagLst>
</file>

<file path=ppt/tags/tag535.xml><?xml version="1.0" encoding="utf-8"?>
<p:tagLst xmlns:a="http://schemas.openxmlformats.org/drawingml/2006/main" xmlns:r="http://schemas.openxmlformats.org/officeDocument/2006/relationships" xmlns:p="http://schemas.openxmlformats.org/presentationml/2006/main">
  <p:tag name="[SUBGRID]" val="[SubGrid]"/>
</p:tagLst>
</file>

<file path=ppt/tags/tag536.xml><?xml version="1.0" encoding="utf-8"?>
<p:tagLst xmlns:a="http://schemas.openxmlformats.org/drawingml/2006/main" xmlns:r="http://schemas.openxmlformats.org/officeDocument/2006/relationships" xmlns:p="http://schemas.openxmlformats.org/presentationml/2006/main">
  <p:tag name="[SUBGRID]" val="[SubGrid]"/>
</p:tagLst>
</file>

<file path=ppt/tags/tag537.xml><?xml version="1.0" encoding="utf-8"?>
<p:tagLst xmlns:a="http://schemas.openxmlformats.org/drawingml/2006/main" xmlns:r="http://schemas.openxmlformats.org/officeDocument/2006/relationships" xmlns:p="http://schemas.openxmlformats.org/presentationml/2006/main">
  <p:tag name="[SUBGRID]" val="[SubGrid]"/>
</p:tagLst>
</file>

<file path=ppt/tags/tag538.xml><?xml version="1.0" encoding="utf-8"?>
<p:tagLst xmlns:a="http://schemas.openxmlformats.org/drawingml/2006/main" xmlns:r="http://schemas.openxmlformats.org/officeDocument/2006/relationships" xmlns:p="http://schemas.openxmlformats.org/presentationml/2006/main">
  <p:tag name="[SUBGRID]" val="[SubGrid]"/>
</p:tagLst>
</file>

<file path=ppt/tags/tag539.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40.xml><?xml version="1.0" encoding="utf-8"?>
<p:tagLst xmlns:a="http://schemas.openxmlformats.org/drawingml/2006/main" xmlns:r="http://schemas.openxmlformats.org/officeDocument/2006/relationships" xmlns:p="http://schemas.openxmlformats.org/presentationml/2006/main">
  <p:tag name="[SUBGRID]" val="[SubGrid]"/>
</p:tagLst>
</file>

<file path=ppt/tags/tag541.xml><?xml version="1.0" encoding="utf-8"?>
<p:tagLst xmlns:a="http://schemas.openxmlformats.org/drawingml/2006/main" xmlns:r="http://schemas.openxmlformats.org/officeDocument/2006/relationships" xmlns:p="http://schemas.openxmlformats.org/presentationml/2006/main">
  <p:tag name="[SUBGRID]" val="[SubGrid]"/>
</p:tagLst>
</file>

<file path=ppt/tags/tag542.xml><?xml version="1.0" encoding="utf-8"?>
<p:tagLst xmlns:a="http://schemas.openxmlformats.org/drawingml/2006/main" xmlns:r="http://schemas.openxmlformats.org/officeDocument/2006/relationships" xmlns:p="http://schemas.openxmlformats.org/presentationml/2006/main">
  <p:tag name="[SUBGRID]" val="[SubGrid]"/>
</p:tagLst>
</file>

<file path=ppt/tags/tag543.xml><?xml version="1.0" encoding="utf-8"?>
<p:tagLst xmlns:a="http://schemas.openxmlformats.org/drawingml/2006/main" xmlns:r="http://schemas.openxmlformats.org/officeDocument/2006/relationships" xmlns:p="http://schemas.openxmlformats.org/presentationml/2006/main">
  <p:tag name="[SUBGRID]" val="[SubGrid]"/>
</p:tagLst>
</file>

<file path=ppt/tags/tag544.xml><?xml version="1.0" encoding="utf-8"?>
<p:tagLst xmlns:a="http://schemas.openxmlformats.org/drawingml/2006/main" xmlns:r="http://schemas.openxmlformats.org/officeDocument/2006/relationships" xmlns:p="http://schemas.openxmlformats.org/presentationml/2006/main">
  <p:tag name="[SUBGRID]" val="[SubGrid]"/>
</p:tagLst>
</file>

<file path=ppt/tags/tag545.xml><?xml version="1.0" encoding="utf-8"?>
<p:tagLst xmlns:a="http://schemas.openxmlformats.org/drawingml/2006/main" xmlns:r="http://schemas.openxmlformats.org/officeDocument/2006/relationships" xmlns:p="http://schemas.openxmlformats.org/presentationml/2006/main">
  <p:tag name="[SUBGRID]" val="[SubGrid]"/>
</p:tagLst>
</file>

<file path=ppt/tags/tag546.xml><?xml version="1.0" encoding="utf-8"?>
<p:tagLst xmlns:a="http://schemas.openxmlformats.org/drawingml/2006/main" xmlns:r="http://schemas.openxmlformats.org/officeDocument/2006/relationships" xmlns:p="http://schemas.openxmlformats.org/presentationml/2006/main">
  <p:tag name="[SUBGRID]" val="[SubGrid]"/>
</p:tagLst>
</file>

<file path=ppt/tags/tag547.xml><?xml version="1.0" encoding="utf-8"?>
<p:tagLst xmlns:a="http://schemas.openxmlformats.org/drawingml/2006/main" xmlns:r="http://schemas.openxmlformats.org/officeDocument/2006/relationships" xmlns:p="http://schemas.openxmlformats.org/presentationml/2006/main">
  <p:tag name="[SUBGRID]" val="[SubGrid]"/>
</p:tagLst>
</file>

<file path=ppt/tags/tag548.xml><?xml version="1.0" encoding="utf-8"?>
<p:tagLst xmlns:a="http://schemas.openxmlformats.org/drawingml/2006/main" xmlns:r="http://schemas.openxmlformats.org/officeDocument/2006/relationships" xmlns:p="http://schemas.openxmlformats.org/presentationml/2006/main">
  <p:tag name="[SUBGRID]" val="[SubGrid]"/>
</p:tagLst>
</file>

<file path=ppt/tags/tag549.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50.xml><?xml version="1.0" encoding="utf-8"?>
<p:tagLst xmlns:a="http://schemas.openxmlformats.org/drawingml/2006/main" xmlns:r="http://schemas.openxmlformats.org/officeDocument/2006/relationships" xmlns:p="http://schemas.openxmlformats.org/presentationml/2006/main">
  <p:tag name="[SUBGRID]" val="[SubGrid]"/>
</p:tagLst>
</file>

<file path=ppt/tags/tag551.xml><?xml version="1.0" encoding="utf-8"?>
<p:tagLst xmlns:a="http://schemas.openxmlformats.org/drawingml/2006/main" xmlns:r="http://schemas.openxmlformats.org/officeDocument/2006/relationships" xmlns:p="http://schemas.openxmlformats.org/presentationml/2006/main">
  <p:tag name="[SUBGRID]" val="[SubGrid]"/>
</p:tagLst>
</file>

<file path=ppt/tags/tag552.xml><?xml version="1.0" encoding="utf-8"?>
<p:tagLst xmlns:a="http://schemas.openxmlformats.org/drawingml/2006/main" xmlns:r="http://schemas.openxmlformats.org/officeDocument/2006/relationships" xmlns:p="http://schemas.openxmlformats.org/presentationml/2006/main">
  <p:tag name="[SUBGRID]" val="[SubGrid]"/>
</p:tagLst>
</file>

<file path=ppt/tags/tag553.xml><?xml version="1.0" encoding="utf-8"?>
<p:tagLst xmlns:a="http://schemas.openxmlformats.org/drawingml/2006/main" xmlns:r="http://schemas.openxmlformats.org/officeDocument/2006/relationships" xmlns:p="http://schemas.openxmlformats.org/presentationml/2006/main">
  <p:tag name="[SUBGRID]" val="[SubGrid]"/>
</p:tagLst>
</file>

<file path=ppt/tags/tag554.xml><?xml version="1.0" encoding="utf-8"?>
<p:tagLst xmlns:a="http://schemas.openxmlformats.org/drawingml/2006/main" xmlns:r="http://schemas.openxmlformats.org/officeDocument/2006/relationships" xmlns:p="http://schemas.openxmlformats.org/presentationml/2006/main">
  <p:tag name="[SUBGRID]" val="[SubGrid]"/>
</p:tagLst>
</file>

<file path=ppt/tags/tag555.xml><?xml version="1.0" encoding="utf-8"?>
<p:tagLst xmlns:a="http://schemas.openxmlformats.org/drawingml/2006/main" xmlns:r="http://schemas.openxmlformats.org/officeDocument/2006/relationships" xmlns:p="http://schemas.openxmlformats.org/presentationml/2006/main">
  <p:tag name="[SUBGRID]" val="[SubGrid]"/>
</p:tagLst>
</file>

<file path=ppt/tags/tag556.xml><?xml version="1.0" encoding="utf-8"?>
<p:tagLst xmlns:a="http://schemas.openxmlformats.org/drawingml/2006/main" xmlns:r="http://schemas.openxmlformats.org/officeDocument/2006/relationships" xmlns:p="http://schemas.openxmlformats.org/presentationml/2006/main">
  <p:tag name="[SUBGRID]" val="[SubGrid]"/>
</p:tagLst>
</file>

<file path=ppt/tags/tag557.xml><?xml version="1.0" encoding="utf-8"?>
<p:tagLst xmlns:a="http://schemas.openxmlformats.org/drawingml/2006/main" xmlns:r="http://schemas.openxmlformats.org/officeDocument/2006/relationships" xmlns:p="http://schemas.openxmlformats.org/presentationml/2006/main">
  <p:tag name="[SUBGRID]" val="[SubGrid]"/>
</p:tagLst>
</file>

<file path=ppt/tags/tag558.xml><?xml version="1.0" encoding="utf-8"?>
<p:tagLst xmlns:a="http://schemas.openxmlformats.org/drawingml/2006/main" xmlns:r="http://schemas.openxmlformats.org/officeDocument/2006/relationships" xmlns:p="http://schemas.openxmlformats.org/presentationml/2006/main">
  <p:tag name="[SUBGRID]" val="[SubGrid]"/>
</p:tagLst>
</file>

<file path=ppt/tags/tag559.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60.xml><?xml version="1.0" encoding="utf-8"?>
<p:tagLst xmlns:a="http://schemas.openxmlformats.org/drawingml/2006/main" xmlns:r="http://schemas.openxmlformats.org/officeDocument/2006/relationships" xmlns:p="http://schemas.openxmlformats.org/presentationml/2006/main">
  <p:tag name="[SUBGRID]" val="[SubGrid]"/>
</p:tagLst>
</file>

<file path=ppt/tags/tag561.xml><?xml version="1.0" encoding="utf-8"?>
<p:tagLst xmlns:a="http://schemas.openxmlformats.org/drawingml/2006/main" xmlns:r="http://schemas.openxmlformats.org/officeDocument/2006/relationships" xmlns:p="http://schemas.openxmlformats.org/presentationml/2006/main">
  <p:tag name="[SUBGRID]" val="[SubGrid]"/>
</p:tagLst>
</file>

<file path=ppt/tags/tag562.xml><?xml version="1.0" encoding="utf-8"?>
<p:tagLst xmlns:a="http://schemas.openxmlformats.org/drawingml/2006/main" xmlns:r="http://schemas.openxmlformats.org/officeDocument/2006/relationships" xmlns:p="http://schemas.openxmlformats.org/presentationml/2006/main">
  <p:tag name="[SUBGRID]" val="[SubGrid]"/>
</p:tagLst>
</file>

<file path=ppt/tags/tag563.xml><?xml version="1.0" encoding="utf-8"?>
<p:tagLst xmlns:a="http://schemas.openxmlformats.org/drawingml/2006/main" xmlns:r="http://schemas.openxmlformats.org/officeDocument/2006/relationships" xmlns:p="http://schemas.openxmlformats.org/presentationml/2006/main">
  <p:tag name="[SUBGRID]" val="[SubGrid]"/>
</p:tagLst>
</file>

<file path=ppt/tags/tag564.xml><?xml version="1.0" encoding="utf-8"?>
<p:tagLst xmlns:a="http://schemas.openxmlformats.org/drawingml/2006/main" xmlns:r="http://schemas.openxmlformats.org/officeDocument/2006/relationships" xmlns:p="http://schemas.openxmlformats.org/presentationml/2006/main">
  <p:tag name="[SUBGRID]" val="[SubGrid]"/>
</p:tagLst>
</file>

<file path=ppt/tags/tag565.xml><?xml version="1.0" encoding="utf-8"?>
<p:tagLst xmlns:a="http://schemas.openxmlformats.org/drawingml/2006/main" xmlns:r="http://schemas.openxmlformats.org/officeDocument/2006/relationships" xmlns:p="http://schemas.openxmlformats.org/presentationml/2006/main">
  <p:tag name="[SUBGRID]" val="[SubGrid]"/>
</p:tagLst>
</file>

<file path=ppt/tags/tag566.xml><?xml version="1.0" encoding="utf-8"?>
<p:tagLst xmlns:a="http://schemas.openxmlformats.org/drawingml/2006/main" xmlns:r="http://schemas.openxmlformats.org/officeDocument/2006/relationships" xmlns:p="http://schemas.openxmlformats.org/presentationml/2006/main">
  <p:tag name="[SUBGRID]" val="[SubGrid]"/>
</p:tagLst>
</file>

<file path=ppt/tags/tag567.xml><?xml version="1.0" encoding="utf-8"?>
<p:tagLst xmlns:a="http://schemas.openxmlformats.org/drawingml/2006/main" xmlns:r="http://schemas.openxmlformats.org/officeDocument/2006/relationships" xmlns:p="http://schemas.openxmlformats.org/presentationml/2006/main">
  <p:tag name="[SUBGRID]" val="[SubGrid]"/>
</p:tagLst>
</file>

<file path=ppt/tags/tag568.xml><?xml version="1.0" encoding="utf-8"?>
<p:tagLst xmlns:a="http://schemas.openxmlformats.org/drawingml/2006/main" xmlns:r="http://schemas.openxmlformats.org/officeDocument/2006/relationships" xmlns:p="http://schemas.openxmlformats.org/presentationml/2006/main">
  <p:tag name="[SUBGRID]" val="[SubGrid]"/>
</p:tagLst>
</file>

<file path=ppt/tags/tag569.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70.xml><?xml version="1.0" encoding="utf-8"?>
<p:tagLst xmlns:a="http://schemas.openxmlformats.org/drawingml/2006/main" xmlns:r="http://schemas.openxmlformats.org/officeDocument/2006/relationships" xmlns:p="http://schemas.openxmlformats.org/presentationml/2006/main">
  <p:tag name="[SUBGRID]" val="[SubGrid]"/>
</p:tagLst>
</file>

<file path=ppt/tags/tag571.xml><?xml version="1.0" encoding="utf-8"?>
<p:tagLst xmlns:a="http://schemas.openxmlformats.org/drawingml/2006/main" xmlns:r="http://schemas.openxmlformats.org/officeDocument/2006/relationships" xmlns:p="http://schemas.openxmlformats.org/presentationml/2006/main">
  <p:tag name="[SUBGRID]" val="[SubGrid]"/>
</p:tagLst>
</file>

<file path=ppt/tags/tag572.xml><?xml version="1.0" encoding="utf-8"?>
<p:tagLst xmlns:a="http://schemas.openxmlformats.org/drawingml/2006/main" xmlns:r="http://schemas.openxmlformats.org/officeDocument/2006/relationships" xmlns:p="http://schemas.openxmlformats.org/presentationml/2006/main">
  <p:tag name="[SUBGRID]" val="[SubGrid]"/>
</p:tagLst>
</file>

<file path=ppt/tags/tag573.xml><?xml version="1.0" encoding="utf-8"?>
<p:tagLst xmlns:a="http://schemas.openxmlformats.org/drawingml/2006/main" xmlns:r="http://schemas.openxmlformats.org/officeDocument/2006/relationships" xmlns:p="http://schemas.openxmlformats.org/presentationml/2006/main">
  <p:tag name="[SUBGRID]" val="[SubGrid]"/>
</p:tagLst>
</file>

<file path=ppt/tags/tag574.xml><?xml version="1.0" encoding="utf-8"?>
<p:tagLst xmlns:a="http://schemas.openxmlformats.org/drawingml/2006/main" xmlns:r="http://schemas.openxmlformats.org/officeDocument/2006/relationships" xmlns:p="http://schemas.openxmlformats.org/presentationml/2006/main">
  <p:tag name="[SUBGRID]" val="[SubGrid]"/>
</p:tagLst>
</file>

<file path=ppt/tags/tag575.xml><?xml version="1.0" encoding="utf-8"?>
<p:tagLst xmlns:a="http://schemas.openxmlformats.org/drawingml/2006/main" xmlns:r="http://schemas.openxmlformats.org/officeDocument/2006/relationships" xmlns:p="http://schemas.openxmlformats.org/presentationml/2006/main">
  <p:tag name="[SUBGRID]" val="[SubGrid]"/>
</p:tagLst>
</file>

<file path=ppt/tags/tag576.xml><?xml version="1.0" encoding="utf-8"?>
<p:tagLst xmlns:a="http://schemas.openxmlformats.org/drawingml/2006/main" xmlns:r="http://schemas.openxmlformats.org/officeDocument/2006/relationships" xmlns:p="http://schemas.openxmlformats.org/presentationml/2006/main">
  <p:tag name="[SUBGRID]" val="[SubGrid]"/>
</p:tagLst>
</file>

<file path=ppt/tags/tag577.xml><?xml version="1.0" encoding="utf-8"?>
<p:tagLst xmlns:a="http://schemas.openxmlformats.org/drawingml/2006/main" xmlns:r="http://schemas.openxmlformats.org/officeDocument/2006/relationships" xmlns:p="http://schemas.openxmlformats.org/presentationml/2006/main">
  <p:tag name="[SUBGRID]" val="[SubGrid]"/>
</p:tagLst>
</file>

<file path=ppt/tags/tag578.xml><?xml version="1.0" encoding="utf-8"?>
<p:tagLst xmlns:a="http://schemas.openxmlformats.org/drawingml/2006/main" xmlns:r="http://schemas.openxmlformats.org/officeDocument/2006/relationships" xmlns:p="http://schemas.openxmlformats.org/presentationml/2006/main">
  <p:tag name="[SUBGRID]" val="[SubGrid]"/>
</p:tagLst>
</file>

<file path=ppt/tags/tag579.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80.xml><?xml version="1.0" encoding="utf-8"?>
<p:tagLst xmlns:a="http://schemas.openxmlformats.org/drawingml/2006/main" xmlns:r="http://schemas.openxmlformats.org/officeDocument/2006/relationships" xmlns:p="http://schemas.openxmlformats.org/presentationml/2006/main">
  <p:tag name="[SUBGRID]" val="[SubGrid]"/>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ULpMebGZuDLdN5fIO5JSD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C7sGTWD2pUvt_tjw9H1u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_Dn5I82aCpXJQeJJ4RQOb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lizsb04Ayla_z4UUCSp_F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gIfBePy6xmFVxtYTHKFMh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G3Xmuo615Cs9Z.8sW4rDt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STH40DfsZ87_GkkJEWJKr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6Hr30mAYqY2peiR4yyM9Cw"/>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FniocgAhyjTtCoBW8IpZZ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dBa1k3yzJLAx11ZtAEBMr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qX5lpTs0YgfxQj4SZ80qX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Y_gjunVxnTXX1IJaARMjI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CbJQbOKgZ1CAImj0wjQztQ"/>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YPaw0qZH1FivP1Eg9CuPj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xfrxzQAgjsJIpEo_PD2KY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B.Z8NEhNt8BqzfMqAXHKY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r0Yjm3hr0ticooPdOmglq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xugUZclcbCQ2DBz2yxlVUA"/>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Xvf0H97lu1EntLCfvcCKZ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3j5F0LrWc7ZSsaJrBbqrd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TpRZWg8FBOeqjKqhrjEeo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RsmIsrtW99rmIktcj84Ll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l0cTbHdPy4PGknLfPnmAgA"/>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ZnCrA109u0n2CMlOB.8.Z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ZG8wtsHiBdYwT5c4SPG.D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R9LExww9cWakKU3axrKnY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TIpH5P1IHMjJgin_bq4mN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66Rmn4kswe_sFdCv.2u9NQ"/>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bck0Qcw6DNaY4NFFCxlsy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8u1xk0dxk5nwMujrfo7Lx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MhIkQVpyBtkxStBnwIOUm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t82uc6VOnsCVVEDdh1xCk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b12Gko7sCliiFljz6qWcDQ"/>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JGoh97MgnSTLC0cZHfkVw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EMPLAFYSLIDEID" val="637286348111782463"/>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7FrJJ1zZY4wFvzXgp3cBL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2.Alx3AMuLHslonY8cDmA"/>
</p:tagLst>
</file>

<file path=ppt/tags/tag661.xml><?xml version="1.0" encoding="utf-8"?>
<p:tagLst xmlns:a="http://schemas.openxmlformats.org/drawingml/2006/main" xmlns:r="http://schemas.openxmlformats.org/officeDocument/2006/relationships" xmlns:p="http://schemas.openxmlformats.org/presentationml/2006/main">
  <p:tag name="TEMPLAFYSLIDEID" val="637286349972695987"/>
</p:tagLst>
</file>

<file path=ppt/tags/tag662.xml><?xml version="1.0" encoding="utf-8"?>
<p:tagLst xmlns:a="http://schemas.openxmlformats.org/drawingml/2006/main" xmlns:r="http://schemas.openxmlformats.org/officeDocument/2006/relationships" xmlns:p="http://schemas.openxmlformats.org/presentationml/2006/main">
  <p:tag name="ARTICULATE_SLIDE_THUMBNAIL_REFRESH" val="1"/>
  <p:tag name="TEMPLAFYSLIDEID" val="637042808498921965"/>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mBmrnv3CfdVoiqEZfZgCzw"/>
</p:tagLst>
</file>

<file path=ppt/tags/tag665.xml><?xml version="1.0" encoding="utf-8"?>
<p:tagLst xmlns:a="http://schemas.openxmlformats.org/drawingml/2006/main" xmlns:r="http://schemas.openxmlformats.org/officeDocument/2006/relationships" xmlns:p="http://schemas.openxmlformats.org/presentationml/2006/main">
  <p:tag name="ARTICULATE_SLIDE_THUMBNAIL_REFRESH" val="1"/>
  <p:tag name="TEMPLAFYSLIDEID" val="637042808498921965"/>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mBmrnv3CfdVoiqEZfZgCzw"/>
</p:tagLst>
</file>

<file path=ppt/tags/tag668.xml><?xml version="1.0" encoding="utf-8"?>
<p:tagLst xmlns:a="http://schemas.openxmlformats.org/drawingml/2006/main" xmlns:r="http://schemas.openxmlformats.org/officeDocument/2006/relationships" xmlns:p="http://schemas.openxmlformats.org/presentationml/2006/main">
  <p:tag name="TEMPLAFYSLIDEID" val="637286738637020043"/>
</p:tagLst>
</file>

<file path=ppt/tags/tag669.xml><?xml version="1.0" encoding="utf-8"?>
<p:tagLst xmlns:a="http://schemas.openxmlformats.org/drawingml/2006/main" xmlns:r="http://schemas.openxmlformats.org/officeDocument/2006/relationships" xmlns:p="http://schemas.openxmlformats.org/presentationml/2006/main">
  <p:tag name="TEMPLAFYSLIDEID" val="637286738637176065"/>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70.xml><?xml version="1.0" encoding="utf-8"?>
<p:tagLst xmlns:a="http://schemas.openxmlformats.org/drawingml/2006/main" xmlns:r="http://schemas.openxmlformats.org/officeDocument/2006/relationships" xmlns:p="http://schemas.openxmlformats.org/presentationml/2006/main">
  <p:tag name="TEMPLAFYSLIDEID" val="637286738637020053"/>
</p:tagLst>
</file>

<file path=ppt/tags/tag671.xml><?xml version="1.0" encoding="utf-8"?>
<p:tagLst xmlns:a="http://schemas.openxmlformats.org/drawingml/2006/main" xmlns:r="http://schemas.openxmlformats.org/officeDocument/2006/relationships" xmlns:p="http://schemas.openxmlformats.org/presentationml/2006/main">
  <p:tag name="TEMPLAFYSLIDEID" val="637286738637020057"/>
</p:tagLst>
</file>

<file path=ppt/tags/tag672.xml><?xml version="1.0" encoding="utf-8"?>
<p:tagLst xmlns:a="http://schemas.openxmlformats.org/drawingml/2006/main" xmlns:r="http://schemas.openxmlformats.org/officeDocument/2006/relationships" xmlns:p="http://schemas.openxmlformats.org/presentationml/2006/main">
  <p:tag name="TEMPLAFYSLIDEID" val="637286738637176014"/>
</p:tagLst>
</file>

<file path=ppt/tags/tag673.xml><?xml version="1.0" encoding="utf-8"?>
<p:tagLst xmlns:a="http://schemas.openxmlformats.org/drawingml/2006/main" xmlns:r="http://schemas.openxmlformats.org/officeDocument/2006/relationships" xmlns:p="http://schemas.openxmlformats.org/presentationml/2006/main">
  <p:tag name="TEMPLAFYSLIDEID" val="637286738637176018"/>
</p:tagLst>
</file>

<file path=ppt/tags/tag674.xml><?xml version="1.0" encoding="utf-8"?>
<p:tagLst xmlns:a="http://schemas.openxmlformats.org/drawingml/2006/main" xmlns:r="http://schemas.openxmlformats.org/officeDocument/2006/relationships" xmlns:p="http://schemas.openxmlformats.org/presentationml/2006/main">
  <p:tag name="TEMPLAFYSLIDEID" val="637286738637176028"/>
</p:tagLst>
</file>

<file path=ppt/tags/tag675.xml><?xml version="1.0" encoding="utf-8"?>
<p:tagLst xmlns:a="http://schemas.openxmlformats.org/drawingml/2006/main" xmlns:r="http://schemas.openxmlformats.org/officeDocument/2006/relationships" xmlns:p="http://schemas.openxmlformats.org/presentationml/2006/main">
  <p:tag name="TEMPLAFYSLIDEID" val="637286738637176038"/>
</p:tagLst>
</file>

<file path=ppt/tags/tag676.xml><?xml version="1.0" encoding="utf-8"?>
<p:tagLst xmlns:a="http://schemas.openxmlformats.org/drawingml/2006/main" xmlns:r="http://schemas.openxmlformats.org/officeDocument/2006/relationships" xmlns:p="http://schemas.openxmlformats.org/presentationml/2006/main">
  <p:tag name="TEMPLAFYSLIDEID" val="637286738637176042"/>
</p:tagLst>
</file>

<file path=ppt/tags/tag677.xml><?xml version="1.0" encoding="utf-8"?>
<p:tagLst xmlns:a="http://schemas.openxmlformats.org/drawingml/2006/main" xmlns:r="http://schemas.openxmlformats.org/officeDocument/2006/relationships" xmlns:p="http://schemas.openxmlformats.org/presentationml/2006/main">
  <p:tag name="TEMPLAFYSLIDEID" val="637286738638113602"/>
</p:tagLst>
</file>

<file path=ppt/tags/tag678.xml><?xml version="1.0" encoding="utf-8"?>
<p:tagLst xmlns:a="http://schemas.openxmlformats.org/drawingml/2006/main" xmlns:r="http://schemas.openxmlformats.org/officeDocument/2006/relationships" xmlns:p="http://schemas.openxmlformats.org/presentationml/2006/main">
  <p:tag name="TEMPLAFYSLIDEID" val="637286738637176048"/>
</p:tagLst>
</file>

<file path=ppt/tags/tag679.xml><?xml version="1.0" encoding="utf-8"?>
<p:tagLst xmlns:a="http://schemas.openxmlformats.org/drawingml/2006/main" xmlns:r="http://schemas.openxmlformats.org/officeDocument/2006/relationships" xmlns:p="http://schemas.openxmlformats.org/presentationml/2006/main">
  <p:tag name="TEMPLAFYSLIDEID" val="637286738637176064"/>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80.xml><?xml version="1.0" encoding="utf-8"?>
<p:tagLst xmlns:a="http://schemas.openxmlformats.org/drawingml/2006/main" xmlns:r="http://schemas.openxmlformats.org/officeDocument/2006/relationships" xmlns:p="http://schemas.openxmlformats.org/presentationml/2006/main">
  <p:tag name="TEMPLAFYSLIDEID" val="636698516070140624"/>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CONTAINEDIMAGEPATH" val="C:\Users\VTMU\AppData\Local\Temp\Templafy\PowerPointVsto\Assets\Vertical--MSIQ--Oral-Finished-Products--DK.jpg"/>
</p:tagLst>
</file>

<file path=ppt/tags/tag683.xml><?xml version="1.0" encoding="utf-8"?>
<p:tagLst xmlns:a="http://schemas.openxmlformats.org/drawingml/2006/main" xmlns:r="http://schemas.openxmlformats.org/officeDocument/2006/relationships" xmlns:p="http://schemas.openxmlformats.org/presentationml/2006/main">
  <p:tag name="TEMPLAFYSLIDEID" val="637286738637644826"/>
</p:tagLst>
</file>

<file path=ppt/tags/tag684.xml><?xml version="1.0" encoding="utf-8"?>
<p:tagLst xmlns:a="http://schemas.openxmlformats.org/drawingml/2006/main" xmlns:r="http://schemas.openxmlformats.org/officeDocument/2006/relationships" xmlns:p="http://schemas.openxmlformats.org/presentationml/2006/main">
  <p:tag name="TEMPLAFYSLIDEID" val="636698516071693494"/>
</p:tagLst>
</file>

<file path=ppt/tags/tag685.xml><?xml version="1.0" encoding="utf-8"?>
<p:tagLst xmlns:a="http://schemas.openxmlformats.org/drawingml/2006/main" xmlns:r="http://schemas.openxmlformats.org/officeDocument/2006/relationships" xmlns:p="http://schemas.openxmlformats.org/presentationml/2006/main">
  <p:tag name="TEMPLAFYSLIDEID" val="637286738637644880"/>
</p:tagLst>
</file>

<file path=ppt/tags/tag686.xml><?xml version="1.0" encoding="utf-8"?>
<p:tagLst xmlns:a="http://schemas.openxmlformats.org/drawingml/2006/main" xmlns:r="http://schemas.openxmlformats.org/officeDocument/2006/relationships" xmlns:p="http://schemas.openxmlformats.org/presentationml/2006/main">
  <p:tag name="TEMPLAFYSLIDEID" val="637286348111782463"/>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7FrJJ1zZY4wFvzXgp3cBL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05ZwRPMgDQP_3hxW5kUqPg"/>
</p:tagLst>
</file>

<file path=ppt/tags/tag691.xml><?xml version="1.0" encoding="utf-8"?>
<p:tagLst xmlns:a="http://schemas.openxmlformats.org/drawingml/2006/main" xmlns:r="http://schemas.openxmlformats.org/officeDocument/2006/relationships" xmlns:p="http://schemas.openxmlformats.org/presentationml/2006/main">
  <p:tag name="TEMPLAFYSLIDEID" val="637286348089595071"/>
</p:tagLst>
</file>

<file path=ppt/tags/tag692.xml><?xml version="1.0" encoding="utf-8"?>
<p:tagLst xmlns:a="http://schemas.openxmlformats.org/drawingml/2006/main" xmlns:r="http://schemas.openxmlformats.org/officeDocument/2006/relationships" xmlns:p="http://schemas.openxmlformats.org/presentationml/2006/main">
  <p:tag name="ARTICULATE_SLIDE_THUMBNAIL_REFRESH" val="1"/>
  <p:tag name="TEMPLAFYSLIDEID" val="637286348089595072"/>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DJ03nnw2l7YtcEE7.lw0h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joayERi72mbx9AmG4LP2s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mk7hWUu82nAoY1Rc4sKK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joayERi72mbx9AmG4LP2s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1PFPCRbfIFpReuUoWrhia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T_l9Xz92OsYDXRe9RtUktA"/>
</p:tagLst>
</file>

<file path=ppt/tags/tag705.xml><?xml version="1.0" encoding="utf-8"?>
<p:tagLst xmlns:a="http://schemas.openxmlformats.org/drawingml/2006/main" xmlns:r="http://schemas.openxmlformats.org/officeDocument/2006/relationships" xmlns:p="http://schemas.openxmlformats.org/presentationml/2006/main">
  <p:tag name="SHAPE_LOCKS" val="0"/>
</p:tagLst>
</file>

<file path=ppt/tags/tag706.xml><?xml version="1.0" encoding="utf-8"?>
<p:tagLst xmlns:a="http://schemas.openxmlformats.org/drawingml/2006/main" xmlns:r="http://schemas.openxmlformats.org/officeDocument/2006/relationships" xmlns:p="http://schemas.openxmlformats.org/presentationml/2006/main">
  <p:tag name="SHAPE_LOCKS" val="0"/>
</p:tagLst>
</file>

<file path=ppt/tags/tag707.xml><?xml version="1.0" encoding="utf-8"?>
<p:tagLst xmlns:a="http://schemas.openxmlformats.org/drawingml/2006/main" xmlns:r="http://schemas.openxmlformats.org/officeDocument/2006/relationships" xmlns:p="http://schemas.openxmlformats.org/presentationml/2006/main">
  <p:tag name="SHAPE_LOCKS" val="0"/>
</p:tagLst>
</file>

<file path=ppt/tags/tag708.xml><?xml version="1.0" encoding="utf-8"?>
<p:tagLst xmlns:a="http://schemas.openxmlformats.org/drawingml/2006/main" xmlns:r="http://schemas.openxmlformats.org/officeDocument/2006/relationships" xmlns:p="http://schemas.openxmlformats.org/presentationml/2006/main">
  <p:tag name="SHAPE_LOCKS" val="0"/>
</p:tagLst>
</file>

<file path=ppt/tags/tag709.xml><?xml version="1.0" encoding="utf-8"?>
<p:tagLst xmlns:a="http://schemas.openxmlformats.org/drawingml/2006/main" xmlns:r="http://schemas.openxmlformats.org/officeDocument/2006/relationships" xmlns:p="http://schemas.openxmlformats.org/presentationml/2006/main">
  <p:tag name="SHAPE_LOCKS" val="0"/>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1PFPCRbfIFpReuUoWrhia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3.xml><?xml version="1.0" encoding="utf-8"?>
<p:tagLst xmlns:a="http://schemas.openxmlformats.org/drawingml/2006/main" xmlns:r="http://schemas.openxmlformats.org/officeDocument/2006/relationships" xmlns:p="http://schemas.openxmlformats.org/presentationml/2006/main">
  <p:tag name="TEMPLAFYSLIDEID" val="637286348089595073"/>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ASEw_PMcRzISL1jQBh41C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FbVZ3DGzQres_Dnw5Ij0V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o73wBD1C2OlghnboLshAb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KWDfmIZ4RaWzUXdAP4CnEw"/>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rweroPwdSPS584Qh6eDVQ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_BiysaZSvuErgrSbciLw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m_eYXEKwTISaIQewpgY_c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jiU3icukQEOY_H_3SuFCq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PUpdkqYYRfKnTy_n8liu0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FN.92q2gSyyY2NkgZ7vIc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_SdNwavERji_A2fn4qYxL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a9hvufhZSPGQi9DgkeQBd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T_sEdeCAS6OyGWcTLoMNP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fZxaRqK1QqO7YOmu_eZCOw"/>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eDjqnw0YS8GDg.jFhu25Y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wFSXauRuS6Oq3XCEh6LP8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VVelbaWiRCygnPqnXllrL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desk_I1SGC_2U1v52Hft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sfSDCu..TzelxjpSOGug0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2WiIGaI.Q6iml41T55GrQ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v0oO.YB9QAewpUhEH_23a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kXrNrnkRDYs1XsZcf5nxQ"/>
</p:tagLst>
</file>

<file path=ppt/tags/tag739.xml><?xml version="1.0" encoding="utf-8"?>
<p:tagLst xmlns:a="http://schemas.openxmlformats.org/drawingml/2006/main" xmlns:r="http://schemas.openxmlformats.org/officeDocument/2006/relationships" xmlns:p="http://schemas.openxmlformats.org/presentationml/2006/main">
  <p:tag name="CONTAINEDIMAGEPATH" val="C:\Users\frd\AppData\Local\Temp\Templafy\PowerPointVsto\Assets\ff0dc686-c47d-444e-af4f-2c39508ed017.jpeg"/>
  <p:tag name="TEMPLAFYSLIDEID" val="637286349972695986"/>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ags/tag90.xml><?xml version="1.0" encoding="utf-8"?>
<p:tagLst xmlns:a="http://schemas.openxmlformats.org/drawingml/2006/main" xmlns:r="http://schemas.openxmlformats.org/officeDocument/2006/relationships" xmlns:p="http://schemas.openxmlformats.org/presentationml/2006/main">
  <p:tag name="[SUBGRID]" val="[SubGrid]"/>
</p:tagLst>
</file>

<file path=ppt/tags/tag91.xml><?xml version="1.0" encoding="utf-8"?>
<p:tagLst xmlns:a="http://schemas.openxmlformats.org/drawingml/2006/main" xmlns:r="http://schemas.openxmlformats.org/officeDocument/2006/relationships" xmlns:p="http://schemas.openxmlformats.org/presentationml/2006/main">
  <p:tag name="[SUBGRID]" val="[SubGrid]"/>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Goh97MgnSTLC0cZHfkVw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9PTUK0rW5GHeqn5Frmp3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MHK2bDisYKUirEy4Cig5D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nfKEupJNj_8fAYG1.rBw"/>
</p:tagLst>
</file>

<file path=ppt/theme/theme1.xml><?xml version="1.0" encoding="utf-8"?>
<a:theme xmlns:a="http://schemas.openxmlformats.org/drawingml/2006/main" name="Novo Nordisk 16:9">
  <a:themeElements>
    <a:clrScheme name="NovoNordisk 2020">
      <a:dk1>
        <a:sysClr val="windowText" lastClr="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20000"/>
          </a:lnSpc>
          <a:defRPr sz="2000" dirty="0"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name="Light 1">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D9E6F8"/>
    </a:custClr>
    <a:custClr name="Accent 3">
      <a:srgbClr val="E2F0FA"/>
    </a:custClr>
    <a:custClr name="Accent 4">
      <a:srgbClr val="FCF2F5"/>
    </a:custClr>
    <a:custClr name="Accent 5">
      <a:srgbClr val="DFEFEE"/>
    </a:custClr>
    <a:custClr name="Accent 6">
      <a:srgbClr val="EFF0F2"/>
    </a:custClr>
    <a:custClr name="Light 2">
      <a:srgbClr val="F7F6F5"/>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rest Green">
      <a:srgbClr val="3F9C35"/>
    </a:custClr>
  </a:custClrLst>
  <a:extLst>
    <a:ext uri="{05A4C25C-085E-4340-85A3-A5531E510DB2}">
      <thm15:themeFamily xmlns:thm15="http://schemas.microsoft.com/office/thememl/2012/main" name="NN template 008 Apis.potx" id="{923DA631-0C11-4137-826C-E07B65C858F6}" vid="{C750CE9F-171F-46FD-884D-F746C697035E}"/>
    </a:ext>
  </a:extLst>
</a:theme>
</file>

<file path=ppt/theme/theme2.xml><?xml version="1.0" encoding="utf-8"?>
<a:theme xmlns:a="http://schemas.openxmlformats.org/drawingml/2006/main" name="Blank">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3.xml><?xml version="1.0" encoding="utf-8"?>
<a:theme xmlns:a="http://schemas.openxmlformats.org/drawingml/2006/main" name="1_Novo Nordisk 16:9">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19F1F4CC-E50E-4E34-8EB9-E9E372C62EB9}" vid="{18D152BD-36C0-43FC-891C-4E416CFD5944}"/>
    </a:ext>
  </a:extLst>
</a:theme>
</file>

<file path=ppt/theme/theme4.xml><?xml version="1.0" encoding="utf-8"?>
<a:theme xmlns:a="http://schemas.openxmlformats.org/drawingml/2006/main" name="2_Novo Nordisk 16:9">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19F1F4CC-E50E-4E34-8EB9-E9E372C62EB9}" vid="{18D152BD-36C0-43FC-891C-4E416CFD5944}"/>
    </a:ext>
  </a:extLst>
</a:theme>
</file>

<file path=ppt/theme/theme5.xml><?xml version="1.0" encoding="utf-8"?>
<a:theme xmlns:a="http://schemas.openxmlformats.org/drawingml/2006/main" name="3_Novo Nordisk 16:9">
  <a:themeElements>
    <a:clrScheme name="NovoNordisk 2020">
      <a:dk1>
        <a:srgbClr val="000000"/>
      </a:dk1>
      <a:lt1>
        <a:srgbClr val="FFFFFF"/>
      </a:lt1>
      <a:dk2>
        <a:srgbClr val="001965"/>
      </a:dk2>
      <a:lt2>
        <a:srgbClr val="CCC5BD"/>
      </a:lt2>
      <a:accent1>
        <a:srgbClr val="001965"/>
      </a:accent1>
      <a:accent2>
        <a:srgbClr val="005AD2"/>
      </a:accent2>
      <a:accent3>
        <a:srgbClr val="2A918B"/>
      </a:accent3>
      <a:accent4>
        <a:srgbClr val="EEA7BF"/>
      </a:accent4>
      <a:accent5>
        <a:srgbClr val="3B97DE"/>
      </a:accent5>
      <a:accent6>
        <a:srgbClr val="939AA7"/>
      </a:accent6>
      <a:hlink>
        <a:srgbClr val="005AD2"/>
      </a:hlink>
      <a:folHlink>
        <a:srgbClr val="3B97DE"/>
      </a:folHlink>
    </a:clrScheme>
    <a:fontScheme name="Novo Nordisk 2020">
      <a:majorFont>
        <a:latin typeface="Apis For Office"/>
        <a:ea typeface=""/>
        <a:cs typeface=""/>
      </a:majorFont>
      <a:minorFont>
        <a:latin typeface="Apis Fo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True Blue">
      <a:srgbClr val="001965"/>
    </a:custClr>
    <a:custClr name="Light Blue">
      <a:srgbClr val="3B97DE"/>
    </a:custClr>
    <a:custClr name="Sea Blue">
      <a:srgbClr val="005AD2"/>
    </a:custClr>
    <a:custClr name="Rose Pink">
      <a:srgbClr val="EEA7BF"/>
    </a:custClr>
    <a:custClr name="Ocean Green">
      <a:srgbClr val="2A918B"/>
    </a:custClr>
    <a:custClr name="Concrete Grey">
      <a:srgbClr val="939AA7"/>
    </a:custClr>
    <a:custClr name="Sand Grey">
      <a:srgbClr val="CCC5BD"/>
    </a:custClr>
    <a:custClr name="Color has no name">
      <a:srgbClr val="FFFFFF"/>
    </a:custClr>
    <a:custClr name="Color has no name">
      <a:srgbClr val="FFFFFF"/>
    </a:custClr>
    <a:custClr name="Color has no name">
      <a:srgbClr val="FFFFFF"/>
    </a:custClr>
    <a:custClr name="Color has no name">
      <a:srgbClr val="FFFFFF"/>
    </a:custClr>
    <a:custClr name="Light Blue 40%">
      <a:srgbClr val="B1D5F2"/>
    </a:custClr>
    <a:custClr name="Sea Blue 40%">
      <a:srgbClr val="99BDED"/>
    </a:custClr>
    <a:custClr name="Rose Pink 40%">
      <a:srgbClr val="F8DCE5"/>
    </a:custClr>
    <a:custClr name="Ocean Green 40%">
      <a:srgbClr val="AAD3D1"/>
    </a:custClr>
    <a:custClr name="Concrete Grey 40%">
      <a:srgbClr val="D4D7DC"/>
    </a:custClr>
    <a:custClr name="Sand Grey 40%">
      <a:srgbClr val="EBE8E5"/>
    </a:custClr>
    <a:custClr name="Color has no name">
      <a:srgbClr val="FFFFFF"/>
    </a:custClr>
    <a:custClr name="Color has no name">
      <a:srgbClr val="FFFFFF"/>
    </a:custClr>
    <a:custClr name="Color has no name">
      <a:srgbClr val="FFFFFF"/>
    </a:custClr>
    <a:custClr name="Color has no name">
      <a:srgbClr val="FFFFFF"/>
    </a:custClr>
    <a:custClr name="Light Blue 20%">
      <a:srgbClr val="D8EAF8"/>
    </a:custClr>
    <a:custClr name="Sea Blue 20%">
      <a:srgbClr val="CCDEF6"/>
    </a:custClr>
    <a:custClr name="Rose Pink 20%">
      <a:srgbClr val="FCEDF2"/>
    </a:custClr>
    <a:custClr name="Ocean Green 20%">
      <a:srgbClr val="D4E9E8"/>
    </a:custClr>
    <a:custClr name="Concrete Grey 20%">
      <a:srgbClr val="E9EBED"/>
    </a:custClr>
    <a:custClr name="Sand Grey 20%">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19F1F4CC-E50E-4E34-8EB9-E9E372C62EB9}" vid="{18D152BD-36C0-43FC-891C-4E416CFD5944}"/>
    </a:ext>
  </a:extLst>
</a:theme>
</file>

<file path=ppt/theme/theme6.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name="Light 1">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D9E6F8"/>
    </a:custClr>
    <a:custClr name="Accent 3">
      <a:srgbClr val="E2F0FA"/>
    </a:custClr>
    <a:custClr name="Accent 4">
      <a:srgbClr val="FCF2F5"/>
    </a:custClr>
    <a:custClr name="Accent 5">
      <a:srgbClr val="DFEFEE"/>
    </a:custClr>
    <a:custClr name="Accent 6">
      <a:srgbClr val="EFF0F2"/>
    </a:custClr>
    <a:custClr name="Light 2">
      <a:srgbClr val="F7F6F5"/>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rest Green">
      <a:srgbClr val="3F9C35"/>
    </a:custClr>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name="Light 1">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D9E6F8"/>
    </a:custClr>
    <a:custClr name="Accent 3">
      <a:srgbClr val="E2F0FA"/>
    </a:custClr>
    <a:custClr name="Accent 4">
      <a:srgbClr val="FCF2F5"/>
    </a:custClr>
    <a:custClr name="Accent 5">
      <a:srgbClr val="DFEFEE"/>
    </a:custClr>
    <a:custClr name="Accent 6">
      <a:srgbClr val="EFF0F2"/>
    </a:custClr>
    <a:custClr name="Light 2">
      <a:srgbClr val="F7F6F5"/>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rest Green">
      <a:srgbClr val="3F9C35"/>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7302324514717955","enableDocumentContentUpdater":true,"version":"1.1"}]]></TemplafySlideTemplateConfiguration>
</file>

<file path=customXml/item10.xml><?xml version="1.0" encoding="utf-8"?>
<TemplafySlideTemplateConfiguration><![CDATA[{"documentContentValidatorConfiguration":{"enableDocumentContentValidator":false,"documentContentValidatorVersion":0},"elementsMetadata":[],"slideId":"637302325965443065","enableDocumentContentUpdater":true,"version":"1.1"}]]></TemplafySlideTemplateConfiguration>
</file>

<file path=customXml/item11.xml><?xml version="1.0" encoding="utf-8"?>
<TemplafySlideTemplateConfiguration><![CDATA[{"documentContentValidatorConfiguration":{"enableDocumentContentValidator":false,"documentContentValidatorVersion":0},"elementsMetadata":[],"slideId":"637302325965286828","enableDocumentContentUpdater":true,"version":"1.1"}]]></TemplafySlideTemplateConfigura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TemplafySlideFormConfiguration><![CDATA[{"formFields":[],"formDataEntries":[]}]]></TemplafySlideFormConfiguration>
</file>

<file path=customXml/item5.xml><?xml version="1.0" encoding="utf-8"?>
<ct:contentTypeSchema xmlns:ct="http://schemas.microsoft.com/office/2006/metadata/contentType" xmlns:ma="http://schemas.microsoft.com/office/2006/metadata/properties/metaAttributes" ct:_="" ma:_="" ma:contentTypeName="Document" ma:contentTypeID="0x0101004E31B0FBCB73654EBCCBA32525343BB9" ma:contentTypeVersion="10" ma:contentTypeDescription="Create a new document." ma:contentTypeScope="" ma:versionID="aee4d5cdb82ecda09528de42517d8a15">
  <xsd:schema xmlns:xsd="http://www.w3.org/2001/XMLSchema" xmlns:xs="http://www.w3.org/2001/XMLSchema" xmlns:p="http://schemas.microsoft.com/office/2006/metadata/properties" xmlns:ns2="9fad19eb-70aa-4918-87ff-95a20fa8c0c7" xmlns:ns3="1206ca9c-373c-4ed2-94e7-f7781fc53141" targetNamespace="http://schemas.microsoft.com/office/2006/metadata/properties" ma:root="true" ma:fieldsID="ff92915486a125a085c0ae8025e51ad6" ns2:_="" ns3:_="">
    <xsd:import namespace="9fad19eb-70aa-4918-87ff-95a20fa8c0c7"/>
    <xsd:import namespace="1206ca9c-373c-4ed2-94e7-f7781fc5314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ad19eb-70aa-4918-87ff-95a20fa8c0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06ca9c-373c-4ed2-94e7-f7781fc53141"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TemplafySlideTemplateConfiguration><![CDATA[{"documentContentValidatorConfiguration":{"enableDocumentContentValidator":false,"documentContentValidatorVersion":0},"elementsMetadata":[],"slideId":"637302324514717955","enableDocumentContentUpdater":true,"version":"1.1"}]]></TemplafySlideTemplateConfiguration>
</file>

<file path=customXml/item7.xml><?xml version="1.0" encoding="utf-8"?>
<TemplafySlideFormConfiguration><![CDATA[{"formFields":[],"formDataEntries":[]}]]></TemplafySlideFormConfiguration>
</file>

<file path=customXml/item8.xml><?xml version="1.0" encoding="utf-8"?>
<TemplafySlideFormConfiguration><![CDATA[{"formFields":[],"formDataEntries":[]}]]></TemplafySlideForm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ED407F82-90E9-404C-94FD-49462A916E5E}">
  <ds:schemaRefs/>
</ds:datastoreItem>
</file>

<file path=customXml/itemProps10.xml><?xml version="1.0" encoding="utf-8"?>
<ds:datastoreItem xmlns:ds="http://schemas.openxmlformats.org/officeDocument/2006/customXml" ds:itemID="{875ED6F9-0187-4265-B59F-EFC22A02EE05}">
  <ds:schemaRefs/>
</ds:datastoreItem>
</file>

<file path=customXml/itemProps11.xml><?xml version="1.0" encoding="utf-8"?>
<ds:datastoreItem xmlns:ds="http://schemas.openxmlformats.org/officeDocument/2006/customXml" ds:itemID="{CF161B97-C1B0-4B31-B1A7-73A325092B8B}">
  <ds:schemaRefs/>
</ds:datastoreItem>
</file>

<file path=customXml/itemProps2.xml><?xml version="1.0" encoding="utf-8"?>
<ds:datastoreItem xmlns:ds="http://schemas.openxmlformats.org/officeDocument/2006/customXml" ds:itemID="{686E16BA-1236-4A90-A3C1-7FDD6A9F0444}">
  <ds:schemaRefs>
    <ds:schemaRef ds:uri="http://schemas.microsoft.com/sharepoint/v3/contenttype/forms"/>
  </ds:schemaRefs>
</ds:datastoreItem>
</file>

<file path=customXml/itemProps3.xml><?xml version="1.0" encoding="utf-8"?>
<ds:datastoreItem xmlns:ds="http://schemas.openxmlformats.org/officeDocument/2006/customXml" ds:itemID="{58BD38AE-BB73-4379-ACC8-C0B7D206D91D}">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9fad19eb-70aa-4918-87ff-95a20fa8c0c7"/>
    <ds:schemaRef ds:uri="http://purl.org/dc/terms/"/>
    <ds:schemaRef ds:uri="http://schemas.openxmlformats.org/package/2006/metadata/core-properties"/>
    <ds:schemaRef ds:uri="1206ca9c-373c-4ed2-94e7-f7781fc53141"/>
    <ds:schemaRef ds:uri="http://www.w3.org/XML/1998/namespace"/>
    <ds:schemaRef ds:uri="http://purl.org/dc/dcmitype/"/>
  </ds:schemaRefs>
</ds:datastoreItem>
</file>

<file path=customXml/itemProps4.xml><?xml version="1.0" encoding="utf-8"?>
<ds:datastoreItem xmlns:ds="http://schemas.openxmlformats.org/officeDocument/2006/customXml" ds:itemID="{6FBC278A-D5AA-4E9B-9B47-BA7FDF428E5F}">
  <ds:schemaRefs/>
</ds:datastoreItem>
</file>

<file path=customXml/itemProps5.xml><?xml version="1.0" encoding="utf-8"?>
<ds:datastoreItem xmlns:ds="http://schemas.openxmlformats.org/officeDocument/2006/customXml" ds:itemID="{C0FA33E5-BCD4-4E10-A1A9-200F13E925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ad19eb-70aa-4918-87ff-95a20fa8c0c7"/>
    <ds:schemaRef ds:uri="1206ca9c-373c-4ed2-94e7-f7781fc5314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CE758EC0-4090-4C16-A12B-4D8F5F654B61}">
  <ds:schemaRefs/>
</ds:datastoreItem>
</file>

<file path=customXml/itemProps7.xml><?xml version="1.0" encoding="utf-8"?>
<ds:datastoreItem xmlns:ds="http://schemas.openxmlformats.org/officeDocument/2006/customXml" ds:itemID="{9BFC1038-A393-4732-92A6-5694B74582BD}">
  <ds:schemaRefs/>
</ds:datastoreItem>
</file>

<file path=customXml/itemProps8.xml><?xml version="1.0" encoding="utf-8"?>
<ds:datastoreItem xmlns:ds="http://schemas.openxmlformats.org/officeDocument/2006/customXml" ds:itemID="{78A4676E-09A7-40B0-B39C-A359559BB8B1}">
  <ds:schemaRefs/>
</ds:datastoreItem>
</file>

<file path=customXml/itemProps9.xml><?xml version="1.0" encoding="utf-8"?>
<ds:datastoreItem xmlns:ds="http://schemas.openxmlformats.org/officeDocument/2006/customXml" ds:itemID="{EF944C46-D556-4E34-A220-DBC6C9ED4167}">
  <ds:schemaRefs/>
</ds:datastoreItem>
</file>

<file path=docProps/app.xml><?xml version="1.0" encoding="utf-8"?>
<Properties xmlns="http://schemas.openxmlformats.org/officeDocument/2006/extended-properties" xmlns:vt="http://schemas.openxmlformats.org/officeDocument/2006/docPropsVTypes">
  <TotalTime>0</TotalTime>
  <Words>3655</Words>
  <Application>Microsoft Office PowerPoint</Application>
  <PresentationFormat>Widescreen</PresentationFormat>
  <Paragraphs>712</Paragraphs>
  <Slides>36</Slides>
  <Notes>33</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36</vt:i4>
      </vt:variant>
    </vt:vector>
  </HeadingPairs>
  <TitlesOfParts>
    <vt:vector size="49" baseType="lpstr">
      <vt:lpstr>Apis For Office Medium</vt:lpstr>
      <vt:lpstr>Apis For Office Light</vt:lpstr>
      <vt:lpstr>Wingdings</vt:lpstr>
      <vt:lpstr>Verdana</vt:lpstr>
      <vt:lpstr>Arial</vt:lpstr>
      <vt:lpstr>Apis</vt:lpstr>
      <vt:lpstr>Apis For Office</vt:lpstr>
      <vt:lpstr>Novo Nordisk 16:9</vt:lpstr>
      <vt:lpstr>Blank</vt:lpstr>
      <vt:lpstr>1_Novo Nordisk 16:9</vt:lpstr>
      <vt:lpstr>2_Novo Nordisk 16:9</vt:lpstr>
      <vt:lpstr>3_Novo Nordisk 16:9</vt:lpstr>
      <vt:lpstr>think-cell Slide</vt:lpstr>
      <vt:lpstr>Novo Nordisk Graduate Programme</vt:lpstr>
      <vt:lpstr>Today’s agenda</vt:lpstr>
      <vt:lpstr>PowerPoint Presentation</vt:lpstr>
      <vt:lpstr>Victor Meeus</vt:lpstr>
      <vt:lpstr>Alice Burckhardt</vt:lpstr>
      <vt:lpstr>PowerPoint Presentation</vt:lpstr>
      <vt:lpstr>PowerPoint Presentation</vt:lpstr>
      <vt:lpstr>PowerPoint Presentation</vt:lpstr>
      <vt:lpstr>PowerPoint Presentation</vt:lpstr>
      <vt:lpstr>PowerPoint Presentation</vt:lpstr>
      <vt:lpstr>Non-communicable diseases (NCDs) are the leading cause of death and disability globally1 </vt:lpstr>
      <vt:lpstr>Four major NCDs drive the burden, accounting for 38 million deaths1  </vt:lpstr>
      <vt:lpstr>Diabetes is a rapidly growing  social challenge worldwide</vt:lpstr>
      <vt:lpstr>Obesity is a  global pandemic</vt:lpstr>
      <vt:lpstr>Our corporate strategy</vt:lpstr>
      <vt:lpstr>Our  purpose</vt:lpstr>
      <vt:lpstr>PowerPoint Presentation</vt:lpstr>
      <vt:lpstr>PowerPoint Presentation</vt:lpstr>
      <vt:lpstr>PowerPoint Presentation</vt:lpstr>
      <vt:lpstr>We are acting with financial, social and environmental responsibility by considering…</vt:lpstr>
      <vt:lpstr>Defeat Diabetes –  our social responsibility strategy</vt:lpstr>
      <vt:lpstr>Novo Nordisk Graduate Programme</vt:lpstr>
      <vt:lpstr>Key building blocks of the graduate programme</vt:lpstr>
      <vt:lpstr>Graduate programme set-up</vt:lpstr>
      <vt:lpstr>Two years with personal and professional development</vt:lpstr>
      <vt:lpstr>Graduate campaign 2020 | Facts and figures</vt:lpstr>
      <vt:lpstr>Graduate programme job opportunities 2021</vt:lpstr>
      <vt:lpstr>Some questions to think about…</vt:lpstr>
      <vt:lpstr>What does the application process look like?</vt:lpstr>
      <vt:lpstr>Graduate recruitment process</vt:lpstr>
      <vt:lpstr>What are we looking for?</vt:lpstr>
      <vt:lpstr>PowerPoint Presentation</vt:lpstr>
      <vt:lpstr>The graduate profiles</vt:lpstr>
      <vt:lpstr>PowerPoint Presentation</vt:lpstr>
      <vt:lpstr>Next Step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vo Nordisk Graduate Programme</dc:title>
  <dc:creator/>
  <cp:lastModifiedBy/>
  <cp:revision>10</cp:revision>
  <dcterms:created xsi:type="dcterms:W3CDTF">2020-06-15T08:12:20Z</dcterms:created>
  <dcterms:modified xsi:type="dcterms:W3CDTF">2020-11-06T16:2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ustomerId">
    <vt:lpwstr>novonordisk</vt:lpwstr>
  </property>
  <property fmtid="{D5CDD505-2E9C-101B-9397-08002B2CF9AE}" pid="3" name="TemplateId">
    <vt:lpwstr>637286738614354085</vt:lpwstr>
  </property>
  <property fmtid="{D5CDD505-2E9C-101B-9397-08002B2CF9AE}" pid="4" name="UserProfileId">
    <vt:lpwstr>636993757765050651</vt:lpwstr>
  </property>
  <property fmtid="{D5CDD505-2E9C-101B-9397-08002B2CF9AE}" pid="5" name="ContentTypeId">
    <vt:lpwstr>0x0101004E31B0FBCB73654EBCCBA32525343BB9</vt:lpwstr>
  </property>
</Properties>
</file>